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theme/theme3.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4.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5.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6.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7.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8.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9.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10.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11.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12.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13.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14.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15.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17.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18.xml" ContentType="application/vnd.openxmlformats-officedocument.theme+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19.xml" ContentType="application/vnd.openxmlformats-officedocument.theme+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theme/theme20.xml" ContentType="application/vnd.openxmlformats-officedocument.theme+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21.xml" ContentType="application/vnd.openxmlformats-officedocument.theme+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22.xml" ContentType="application/vnd.openxmlformats-officedocument.theme+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theme/theme23.xml" ContentType="application/vnd.openxmlformats-officedocument.theme+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24.xml" ContentType="application/vnd.openxmlformats-officedocument.theme+xml"/>
  <Override PartName="/ppt/theme/theme2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4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6" r:id="rId2"/>
    <p:sldMasterId id="2147483668" r:id="rId3"/>
    <p:sldMasterId id="2147483670" r:id="rId4"/>
    <p:sldMasterId id="2147483674" r:id="rId5"/>
    <p:sldMasterId id="2147483712" r:id="rId6"/>
    <p:sldMasterId id="2147483725" r:id="rId7"/>
    <p:sldMasterId id="2147483738" r:id="rId8"/>
    <p:sldMasterId id="2147483750" r:id="rId9"/>
    <p:sldMasterId id="2147483762" r:id="rId10"/>
    <p:sldMasterId id="2147483766" r:id="rId11"/>
    <p:sldMasterId id="2147483774" r:id="rId12"/>
    <p:sldMasterId id="2147483787" r:id="rId13"/>
    <p:sldMasterId id="2147483792" r:id="rId14"/>
    <p:sldMasterId id="2147483800" r:id="rId15"/>
    <p:sldMasterId id="2147483818" r:id="rId16"/>
    <p:sldMasterId id="2147483824" r:id="rId17"/>
    <p:sldMasterId id="2147483866" r:id="rId18"/>
    <p:sldMasterId id="2147483893" r:id="rId19"/>
    <p:sldMasterId id="2147483908" r:id="rId20"/>
    <p:sldMasterId id="2147483951" r:id="rId21"/>
    <p:sldMasterId id="2147483964" r:id="rId22"/>
    <p:sldMasterId id="2147483977" r:id="rId23"/>
    <p:sldMasterId id="2147483990" r:id="rId24"/>
  </p:sldMasterIdLst>
  <p:notesMasterIdLst>
    <p:notesMasterId r:id="rId152"/>
  </p:notesMasterIdLst>
  <p:sldIdLst>
    <p:sldId id="257" r:id="rId25"/>
    <p:sldId id="1845" r:id="rId26"/>
    <p:sldId id="258" r:id="rId27"/>
    <p:sldId id="6076" r:id="rId28"/>
    <p:sldId id="6077" r:id="rId29"/>
    <p:sldId id="293" r:id="rId30"/>
    <p:sldId id="6078" r:id="rId31"/>
    <p:sldId id="6079" r:id="rId32"/>
    <p:sldId id="6080" r:id="rId33"/>
    <p:sldId id="296" r:id="rId34"/>
    <p:sldId id="295" r:id="rId35"/>
    <p:sldId id="292" r:id="rId36"/>
    <p:sldId id="294" r:id="rId37"/>
    <p:sldId id="297" r:id="rId38"/>
    <p:sldId id="6081" r:id="rId39"/>
    <p:sldId id="264" r:id="rId40"/>
    <p:sldId id="259" r:id="rId41"/>
    <p:sldId id="1848" r:id="rId42"/>
    <p:sldId id="1846" r:id="rId43"/>
    <p:sldId id="1847" r:id="rId44"/>
    <p:sldId id="1850" r:id="rId45"/>
    <p:sldId id="265" r:id="rId46"/>
    <p:sldId id="720" r:id="rId47"/>
    <p:sldId id="696" r:id="rId48"/>
    <p:sldId id="654" r:id="rId49"/>
    <p:sldId id="674" r:id="rId50"/>
    <p:sldId id="713" r:id="rId51"/>
    <p:sldId id="704" r:id="rId52"/>
    <p:sldId id="655" r:id="rId53"/>
    <p:sldId id="694" r:id="rId54"/>
    <p:sldId id="705" r:id="rId55"/>
    <p:sldId id="661" r:id="rId56"/>
    <p:sldId id="682" r:id="rId57"/>
    <p:sldId id="693" r:id="rId58"/>
    <p:sldId id="651" r:id="rId59"/>
    <p:sldId id="650" r:id="rId60"/>
    <p:sldId id="700" r:id="rId61"/>
    <p:sldId id="712" r:id="rId62"/>
    <p:sldId id="709" r:id="rId63"/>
    <p:sldId id="710" r:id="rId64"/>
    <p:sldId id="716" r:id="rId65"/>
    <p:sldId id="721" r:id="rId66"/>
    <p:sldId id="256" r:id="rId67"/>
    <p:sldId id="6085" r:id="rId68"/>
    <p:sldId id="6086" r:id="rId69"/>
    <p:sldId id="309" r:id="rId70"/>
    <p:sldId id="970" r:id="rId71"/>
    <p:sldId id="937" r:id="rId72"/>
    <p:sldId id="262" r:id="rId73"/>
    <p:sldId id="995" r:id="rId74"/>
    <p:sldId id="996" r:id="rId75"/>
    <p:sldId id="992" r:id="rId76"/>
    <p:sldId id="993" r:id="rId77"/>
    <p:sldId id="997" r:id="rId78"/>
    <p:sldId id="311" r:id="rId79"/>
    <p:sldId id="1154" r:id="rId80"/>
    <p:sldId id="1155" r:id="rId81"/>
    <p:sldId id="300" r:id="rId82"/>
    <p:sldId id="298" r:id="rId83"/>
    <p:sldId id="299" r:id="rId84"/>
    <p:sldId id="302" r:id="rId85"/>
    <p:sldId id="303" r:id="rId86"/>
    <p:sldId id="261" r:id="rId87"/>
    <p:sldId id="1156" r:id="rId88"/>
    <p:sldId id="1840" r:id="rId89"/>
    <p:sldId id="477" r:id="rId90"/>
    <p:sldId id="312" r:id="rId91"/>
    <p:sldId id="1841" r:id="rId92"/>
    <p:sldId id="1842" r:id="rId93"/>
    <p:sldId id="287" r:id="rId94"/>
    <p:sldId id="291" r:id="rId95"/>
    <p:sldId id="289" r:id="rId96"/>
    <p:sldId id="290" r:id="rId97"/>
    <p:sldId id="270" r:id="rId98"/>
    <p:sldId id="269" r:id="rId99"/>
    <p:sldId id="1843" r:id="rId100"/>
    <p:sldId id="285" r:id="rId101"/>
    <p:sldId id="282" r:id="rId102"/>
    <p:sldId id="286" r:id="rId103"/>
    <p:sldId id="277" r:id="rId104"/>
    <p:sldId id="279" r:id="rId105"/>
    <p:sldId id="280" r:id="rId106"/>
    <p:sldId id="284" r:id="rId107"/>
    <p:sldId id="273" r:id="rId108"/>
    <p:sldId id="275" r:id="rId109"/>
    <p:sldId id="276" r:id="rId110"/>
    <p:sldId id="288" r:id="rId111"/>
    <p:sldId id="313" r:id="rId112"/>
    <p:sldId id="6082" r:id="rId113"/>
    <p:sldId id="2258" r:id="rId114"/>
    <p:sldId id="2298" r:id="rId115"/>
    <p:sldId id="2309" r:id="rId116"/>
    <p:sldId id="2310" r:id="rId117"/>
    <p:sldId id="476" r:id="rId118"/>
    <p:sldId id="2311" r:id="rId119"/>
    <p:sldId id="2312" r:id="rId120"/>
    <p:sldId id="1003" r:id="rId121"/>
    <p:sldId id="6068" r:id="rId122"/>
    <p:sldId id="6069" r:id="rId123"/>
    <p:sldId id="6070" r:id="rId124"/>
    <p:sldId id="6071" r:id="rId125"/>
    <p:sldId id="16540" r:id="rId126"/>
    <p:sldId id="16541" r:id="rId127"/>
    <p:sldId id="16542" r:id="rId128"/>
    <p:sldId id="6073" r:id="rId129"/>
    <p:sldId id="2313" r:id="rId130"/>
    <p:sldId id="6074" r:id="rId131"/>
    <p:sldId id="2304" r:id="rId132"/>
    <p:sldId id="314" r:id="rId133"/>
    <p:sldId id="717" r:id="rId134"/>
    <p:sldId id="718" r:id="rId135"/>
    <p:sldId id="719" r:id="rId136"/>
    <p:sldId id="711" r:id="rId137"/>
    <p:sldId id="1519" r:id="rId138"/>
    <p:sldId id="1835" r:id="rId139"/>
    <p:sldId id="1844" r:id="rId140"/>
    <p:sldId id="723" r:id="rId141"/>
    <p:sldId id="1151" r:id="rId142"/>
    <p:sldId id="1152" r:id="rId143"/>
    <p:sldId id="1153" r:id="rId144"/>
    <p:sldId id="1112" r:id="rId145"/>
    <p:sldId id="722" r:id="rId146"/>
    <p:sldId id="473" r:id="rId147"/>
    <p:sldId id="315" r:id="rId148"/>
    <p:sldId id="316" r:id="rId149"/>
    <p:sldId id="6083" r:id="rId150"/>
    <p:sldId id="6084" r:id="rId151"/>
  </p:sldIdLst>
  <p:sldSz cx="12192000" cy="6858000"/>
  <p:notesSz cx="12192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BF0E9"/>
    <a:srgbClr val="D4E2C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63D95D2-8333-42B7-B941-D7F2404DDA52}" v="87" dt="2021-07-26T19:34:15.157"/>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607" autoAdjust="0"/>
    <p:restoredTop sz="94660"/>
  </p:normalViewPr>
  <p:slideViewPr>
    <p:cSldViewPr>
      <p:cViewPr varScale="1">
        <p:scale>
          <a:sx n="119" d="100"/>
          <a:sy n="119" d="100"/>
        </p:scale>
        <p:origin x="120" y="192"/>
      </p:cViewPr>
      <p:guideLst>
        <p:guide orient="horz" pos="2880"/>
        <p:guide pos="216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xml"/><Relationship Id="rId117" Type="http://schemas.openxmlformats.org/officeDocument/2006/relationships/slide" Target="slides/slide93.xml"/><Relationship Id="rId21" Type="http://schemas.openxmlformats.org/officeDocument/2006/relationships/slideMaster" Target="slideMasters/slideMaster21.xml"/><Relationship Id="rId42" Type="http://schemas.openxmlformats.org/officeDocument/2006/relationships/slide" Target="slides/slide18.xml"/><Relationship Id="rId47" Type="http://schemas.openxmlformats.org/officeDocument/2006/relationships/slide" Target="slides/slide23.xml"/><Relationship Id="rId63" Type="http://schemas.openxmlformats.org/officeDocument/2006/relationships/slide" Target="slides/slide39.xml"/><Relationship Id="rId68" Type="http://schemas.openxmlformats.org/officeDocument/2006/relationships/slide" Target="slides/slide44.xml"/><Relationship Id="rId84" Type="http://schemas.openxmlformats.org/officeDocument/2006/relationships/slide" Target="slides/slide60.xml"/><Relationship Id="rId89" Type="http://schemas.openxmlformats.org/officeDocument/2006/relationships/slide" Target="slides/slide65.xml"/><Relationship Id="rId112" Type="http://schemas.openxmlformats.org/officeDocument/2006/relationships/slide" Target="slides/slide88.xml"/><Relationship Id="rId133" Type="http://schemas.openxmlformats.org/officeDocument/2006/relationships/slide" Target="slides/slide109.xml"/><Relationship Id="rId138" Type="http://schemas.openxmlformats.org/officeDocument/2006/relationships/slide" Target="slides/slide114.xml"/><Relationship Id="rId154" Type="http://schemas.openxmlformats.org/officeDocument/2006/relationships/viewProps" Target="viewProps.xml"/><Relationship Id="rId16" Type="http://schemas.openxmlformats.org/officeDocument/2006/relationships/slideMaster" Target="slideMasters/slideMaster16.xml"/><Relationship Id="rId107" Type="http://schemas.openxmlformats.org/officeDocument/2006/relationships/slide" Target="slides/slide83.xml"/><Relationship Id="rId11" Type="http://schemas.openxmlformats.org/officeDocument/2006/relationships/slideMaster" Target="slideMasters/slideMaster11.xml"/><Relationship Id="rId32" Type="http://schemas.openxmlformats.org/officeDocument/2006/relationships/slide" Target="slides/slide8.xml"/><Relationship Id="rId37" Type="http://schemas.openxmlformats.org/officeDocument/2006/relationships/slide" Target="slides/slide13.xml"/><Relationship Id="rId53" Type="http://schemas.openxmlformats.org/officeDocument/2006/relationships/slide" Target="slides/slide29.xml"/><Relationship Id="rId58" Type="http://schemas.openxmlformats.org/officeDocument/2006/relationships/slide" Target="slides/slide34.xml"/><Relationship Id="rId74" Type="http://schemas.openxmlformats.org/officeDocument/2006/relationships/slide" Target="slides/slide50.xml"/><Relationship Id="rId79" Type="http://schemas.openxmlformats.org/officeDocument/2006/relationships/slide" Target="slides/slide55.xml"/><Relationship Id="rId102" Type="http://schemas.openxmlformats.org/officeDocument/2006/relationships/slide" Target="slides/slide78.xml"/><Relationship Id="rId123" Type="http://schemas.openxmlformats.org/officeDocument/2006/relationships/slide" Target="slides/slide99.xml"/><Relationship Id="rId128" Type="http://schemas.openxmlformats.org/officeDocument/2006/relationships/slide" Target="slides/slide104.xml"/><Relationship Id="rId144" Type="http://schemas.openxmlformats.org/officeDocument/2006/relationships/slide" Target="slides/slide120.xml"/><Relationship Id="rId149" Type="http://schemas.openxmlformats.org/officeDocument/2006/relationships/slide" Target="slides/slide125.xml"/><Relationship Id="rId5" Type="http://schemas.openxmlformats.org/officeDocument/2006/relationships/slideMaster" Target="slideMasters/slideMaster5.xml"/><Relationship Id="rId90" Type="http://schemas.openxmlformats.org/officeDocument/2006/relationships/slide" Target="slides/slide66.xml"/><Relationship Id="rId95" Type="http://schemas.openxmlformats.org/officeDocument/2006/relationships/slide" Target="slides/slide71.xml"/><Relationship Id="rId22" Type="http://schemas.openxmlformats.org/officeDocument/2006/relationships/slideMaster" Target="slideMasters/slideMaster22.xml"/><Relationship Id="rId27" Type="http://schemas.openxmlformats.org/officeDocument/2006/relationships/slide" Target="slides/slide3.xml"/><Relationship Id="rId43" Type="http://schemas.openxmlformats.org/officeDocument/2006/relationships/slide" Target="slides/slide19.xml"/><Relationship Id="rId48" Type="http://schemas.openxmlformats.org/officeDocument/2006/relationships/slide" Target="slides/slide24.xml"/><Relationship Id="rId64" Type="http://schemas.openxmlformats.org/officeDocument/2006/relationships/slide" Target="slides/slide40.xml"/><Relationship Id="rId69" Type="http://schemas.openxmlformats.org/officeDocument/2006/relationships/slide" Target="slides/slide45.xml"/><Relationship Id="rId113" Type="http://schemas.openxmlformats.org/officeDocument/2006/relationships/slide" Target="slides/slide89.xml"/><Relationship Id="rId118" Type="http://schemas.openxmlformats.org/officeDocument/2006/relationships/slide" Target="slides/slide94.xml"/><Relationship Id="rId134" Type="http://schemas.openxmlformats.org/officeDocument/2006/relationships/slide" Target="slides/slide110.xml"/><Relationship Id="rId139" Type="http://schemas.openxmlformats.org/officeDocument/2006/relationships/slide" Target="slides/slide115.xml"/><Relationship Id="rId80" Type="http://schemas.openxmlformats.org/officeDocument/2006/relationships/slide" Target="slides/slide56.xml"/><Relationship Id="rId85" Type="http://schemas.openxmlformats.org/officeDocument/2006/relationships/slide" Target="slides/slide61.xml"/><Relationship Id="rId150" Type="http://schemas.openxmlformats.org/officeDocument/2006/relationships/slide" Target="slides/slide126.xml"/><Relationship Id="rId155" Type="http://schemas.openxmlformats.org/officeDocument/2006/relationships/theme" Target="theme/theme1.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 Target="slides/slide9.xml"/><Relationship Id="rId38" Type="http://schemas.openxmlformats.org/officeDocument/2006/relationships/slide" Target="slides/slide14.xml"/><Relationship Id="rId59" Type="http://schemas.openxmlformats.org/officeDocument/2006/relationships/slide" Target="slides/slide35.xml"/><Relationship Id="rId103" Type="http://schemas.openxmlformats.org/officeDocument/2006/relationships/slide" Target="slides/slide79.xml"/><Relationship Id="rId108" Type="http://schemas.openxmlformats.org/officeDocument/2006/relationships/slide" Target="slides/slide84.xml"/><Relationship Id="rId124" Type="http://schemas.openxmlformats.org/officeDocument/2006/relationships/slide" Target="slides/slide100.xml"/><Relationship Id="rId129" Type="http://schemas.openxmlformats.org/officeDocument/2006/relationships/slide" Target="slides/slide105.xml"/><Relationship Id="rId20" Type="http://schemas.openxmlformats.org/officeDocument/2006/relationships/slideMaster" Target="slideMasters/slideMaster20.xml"/><Relationship Id="rId41" Type="http://schemas.openxmlformats.org/officeDocument/2006/relationships/slide" Target="slides/slide17.xml"/><Relationship Id="rId54" Type="http://schemas.openxmlformats.org/officeDocument/2006/relationships/slide" Target="slides/slide30.xml"/><Relationship Id="rId62" Type="http://schemas.openxmlformats.org/officeDocument/2006/relationships/slide" Target="slides/slide38.xml"/><Relationship Id="rId70" Type="http://schemas.openxmlformats.org/officeDocument/2006/relationships/slide" Target="slides/slide46.xml"/><Relationship Id="rId75" Type="http://schemas.openxmlformats.org/officeDocument/2006/relationships/slide" Target="slides/slide51.xml"/><Relationship Id="rId83" Type="http://schemas.openxmlformats.org/officeDocument/2006/relationships/slide" Target="slides/slide59.xml"/><Relationship Id="rId88" Type="http://schemas.openxmlformats.org/officeDocument/2006/relationships/slide" Target="slides/slide64.xml"/><Relationship Id="rId91" Type="http://schemas.openxmlformats.org/officeDocument/2006/relationships/slide" Target="slides/slide67.xml"/><Relationship Id="rId96" Type="http://schemas.openxmlformats.org/officeDocument/2006/relationships/slide" Target="slides/slide72.xml"/><Relationship Id="rId111" Type="http://schemas.openxmlformats.org/officeDocument/2006/relationships/slide" Target="slides/slide87.xml"/><Relationship Id="rId132" Type="http://schemas.openxmlformats.org/officeDocument/2006/relationships/slide" Target="slides/slide108.xml"/><Relationship Id="rId140" Type="http://schemas.openxmlformats.org/officeDocument/2006/relationships/slide" Target="slides/slide116.xml"/><Relationship Id="rId145" Type="http://schemas.openxmlformats.org/officeDocument/2006/relationships/slide" Target="slides/slide121.xml"/><Relationship Id="rId153"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4.xml"/><Relationship Id="rId36" Type="http://schemas.openxmlformats.org/officeDocument/2006/relationships/slide" Target="slides/slide12.xml"/><Relationship Id="rId49" Type="http://schemas.openxmlformats.org/officeDocument/2006/relationships/slide" Target="slides/slide25.xml"/><Relationship Id="rId57" Type="http://schemas.openxmlformats.org/officeDocument/2006/relationships/slide" Target="slides/slide33.xml"/><Relationship Id="rId106" Type="http://schemas.openxmlformats.org/officeDocument/2006/relationships/slide" Target="slides/slide82.xml"/><Relationship Id="rId114" Type="http://schemas.openxmlformats.org/officeDocument/2006/relationships/slide" Target="slides/slide90.xml"/><Relationship Id="rId119" Type="http://schemas.openxmlformats.org/officeDocument/2006/relationships/slide" Target="slides/slide95.xml"/><Relationship Id="rId127" Type="http://schemas.openxmlformats.org/officeDocument/2006/relationships/slide" Target="slides/slide103.xml"/><Relationship Id="rId10" Type="http://schemas.openxmlformats.org/officeDocument/2006/relationships/slideMaster" Target="slideMasters/slideMaster10.xml"/><Relationship Id="rId31" Type="http://schemas.openxmlformats.org/officeDocument/2006/relationships/slide" Target="slides/slide7.xml"/><Relationship Id="rId44" Type="http://schemas.openxmlformats.org/officeDocument/2006/relationships/slide" Target="slides/slide20.xml"/><Relationship Id="rId52" Type="http://schemas.openxmlformats.org/officeDocument/2006/relationships/slide" Target="slides/slide28.xml"/><Relationship Id="rId60" Type="http://schemas.openxmlformats.org/officeDocument/2006/relationships/slide" Target="slides/slide36.xml"/><Relationship Id="rId65" Type="http://schemas.openxmlformats.org/officeDocument/2006/relationships/slide" Target="slides/slide41.xml"/><Relationship Id="rId73" Type="http://schemas.openxmlformats.org/officeDocument/2006/relationships/slide" Target="slides/slide49.xml"/><Relationship Id="rId78" Type="http://schemas.openxmlformats.org/officeDocument/2006/relationships/slide" Target="slides/slide54.xml"/><Relationship Id="rId81" Type="http://schemas.openxmlformats.org/officeDocument/2006/relationships/slide" Target="slides/slide57.xml"/><Relationship Id="rId86" Type="http://schemas.openxmlformats.org/officeDocument/2006/relationships/slide" Target="slides/slide62.xml"/><Relationship Id="rId94" Type="http://schemas.openxmlformats.org/officeDocument/2006/relationships/slide" Target="slides/slide70.xml"/><Relationship Id="rId99" Type="http://schemas.openxmlformats.org/officeDocument/2006/relationships/slide" Target="slides/slide75.xml"/><Relationship Id="rId101" Type="http://schemas.openxmlformats.org/officeDocument/2006/relationships/slide" Target="slides/slide77.xml"/><Relationship Id="rId122" Type="http://schemas.openxmlformats.org/officeDocument/2006/relationships/slide" Target="slides/slide98.xml"/><Relationship Id="rId130" Type="http://schemas.openxmlformats.org/officeDocument/2006/relationships/slide" Target="slides/slide106.xml"/><Relationship Id="rId135" Type="http://schemas.openxmlformats.org/officeDocument/2006/relationships/slide" Target="slides/slide111.xml"/><Relationship Id="rId143" Type="http://schemas.openxmlformats.org/officeDocument/2006/relationships/slide" Target="slides/slide119.xml"/><Relationship Id="rId148" Type="http://schemas.openxmlformats.org/officeDocument/2006/relationships/slide" Target="slides/slide124.xml"/><Relationship Id="rId151" Type="http://schemas.openxmlformats.org/officeDocument/2006/relationships/slide" Target="slides/slide127.xml"/><Relationship Id="rId156"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5.xml"/><Relationship Id="rId109" Type="http://schemas.openxmlformats.org/officeDocument/2006/relationships/slide" Target="slides/slide85.xml"/><Relationship Id="rId34" Type="http://schemas.openxmlformats.org/officeDocument/2006/relationships/slide" Target="slides/slide10.xml"/><Relationship Id="rId50" Type="http://schemas.openxmlformats.org/officeDocument/2006/relationships/slide" Target="slides/slide26.xml"/><Relationship Id="rId55" Type="http://schemas.openxmlformats.org/officeDocument/2006/relationships/slide" Target="slides/slide31.xml"/><Relationship Id="rId76" Type="http://schemas.openxmlformats.org/officeDocument/2006/relationships/slide" Target="slides/slide52.xml"/><Relationship Id="rId97" Type="http://schemas.openxmlformats.org/officeDocument/2006/relationships/slide" Target="slides/slide73.xml"/><Relationship Id="rId104" Type="http://schemas.openxmlformats.org/officeDocument/2006/relationships/slide" Target="slides/slide80.xml"/><Relationship Id="rId120" Type="http://schemas.openxmlformats.org/officeDocument/2006/relationships/slide" Target="slides/slide96.xml"/><Relationship Id="rId125" Type="http://schemas.openxmlformats.org/officeDocument/2006/relationships/slide" Target="slides/slide101.xml"/><Relationship Id="rId141" Type="http://schemas.openxmlformats.org/officeDocument/2006/relationships/slide" Target="slides/slide117.xml"/><Relationship Id="rId146" Type="http://schemas.openxmlformats.org/officeDocument/2006/relationships/slide" Target="slides/slide122.xml"/><Relationship Id="rId7" Type="http://schemas.openxmlformats.org/officeDocument/2006/relationships/slideMaster" Target="slideMasters/slideMaster7.xml"/><Relationship Id="rId71" Type="http://schemas.openxmlformats.org/officeDocument/2006/relationships/slide" Target="slides/slide47.xml"/><Relationship Id="rId92" Type="http://schemas.openxmlformats.org/officeDocument/2006/relationships/slide" Target="slides/slide68.xml"/><Relationship Id="rId2" Type="http://schemas.openxmlformats.org/officeDocument/2006/relationships/slideMaster" Target="slideMasters/slideMaster2.xml"/><Relationship Id="rId29" Type="http://schemas.openxmlformats.org/officeDocument/2006/relationships/slide" Target="slides/slide5.xml"/><Relationship Id="rId24" Type="http://schemas.openxmlformats.org/officeDocument/2006/relationships/slideMaster" Target="slideMasters/slideMaster24.xml"/><Relationship Id="rId40" Type="http://schemas.openxmlformats.org/officeDocument/2006/relationships/slide" Target="slides/slide16.xml"/><Relationship Id="rId45" Type="http://schemas.openxmlformats.org/officeDocument/2006/relationships/slide" Target="slides/slide21.xml"/><Relationship Id="rId66" Type="http://schemas.openxmlformats.org/officeDocument/2006/relationships/slide" Target="slides/slide42.xml"/><Relationship Id="rId87" Type="http://schemas.openxmlformats.org/officeDocument/2006/relationships/slide" Target="slides/slide63.xml"/><Relationship Id="rId110" Type="http://schemas.openxmlformats.org/officeDocument/2006/relationships/slide" Target="slides/slide86.xml"/><Relationship Id="rId115" Type="http://schemas.openxmlformats.org/officeDocument/2006/relationships/slide" Target="slides/slide91.xml"/><Relationship Id="rId131" Type="http://schemas.openxmlformats.org/officeDocument/2006/relationships/slide" Target="slides/slide107.xml"/><Relationship Id="rId136" Type="http://schemas.openxmlformats.org/officeDocument/2006/relationships/slide" Target="slides/slide112.xml"/><Relationship Id="rId157" Type="http://schemas.microsoft.com/office/2015/10/relationships/revisionInfo" Target="revisionInfo.xml"/><Relationship Id="rId61" Type="http://schemas.openxmlformats.org/officeDocument/2006/relationships/slide" Target="slides/slide37.xml"/><Relationship Id="rId82" Type="http://schemas.openxmlformats.org/officeDocument/2006/relationships/slide" Target="slides/slide58.xml"/><Relationship Id="rId152" Type="http://schemas.openxmlformats.org/officeDocument/2006/relationships/notesMaster" Target="notesMasters/notesMaster1.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6.xml"/><Relationship Id="rId35" Type="http://schemas.openxmlformats.org/officeDocument/2006/relationships/slide" Target="slides/slide11.xml"/><Relationship Id="rId56" Type="http://schemas.openxmlformats.org/officeDocument/2006/relationships/slide" Target="slides/slide32.xml"/><Relationship Id="rId77" Type="http://schemas.openxmlformats.org/officeDocument/2006/relationships/slide" Target="slides/slide53.xml"/><Relationship Id="rId100" Type="http://schemas.openxmlformats.org/officeDocument/2006/relationships/slide" Target="slides/slide76.xml"/><Relationship Id="rId105" Type="http://schemas.openxmlformats.org/officeDocument/2006/relationships/slide" Target="slides/slide81.xml"/><Relationship Id="rId126" Type="http://schemas.openxmlformats.org/officeDocument/2006/relationships/slide" Target="slides/slide102.xml"/><Relationship Id="rId147" Type="http://schemas.openxmlformats.org/officeDocument/2006/relationships/slide" Target="slides/slide123.xml"/><Relationship Id="rId8" Type="http://schemas.openxmlformats.org/officeDocument/2006/relationships/slideMaster" Target="slideMasters/slideMaster8.xml"/><Relationship Id="rId51" Type="http://schemas.openxmlformats.org/officeDocument/2006/relationships/slide" Target="slides/slide27.xml"/><Relationship Id="rId72" Type="http://schemas.openxmlformats.org/officeDocument/2006/relationships/slide" Target="slides/slide48.xml"/><Relationship Id="rId93" Type="http://schemas.openxmlformats.org/officeDocument/2006/relationships/slide" Target="slides/slide69.xml"/><Relationship Id="rId98" Type="http://schemas.openxmlformats.org/officeDocument/2006/relationships/slide" Target="slides/slide74.xml"/><Relationship Id="rId121" Type="http://schemas.openxmlformats.org/officeDocument/2006/relationships/slide" Target="slides/slide97.xml"/><Relationship Id="rId142" Type="http://schemas.openxmlformats.org/officeDocument/2006/relationships/slide" Target="slides/slide118.xml"/><Relationship Id="rId3" Type="http://schemas.openxmlformats.org/officeDocument/2006/relationships/slideMaster" Target="slideMasters/slideMaster3.xml"/><Relationship Id="rId25" Type="http://schemas.openxmlformats.org/officeDocument/2006/relationships/slide" Target="slides/slide1.xml"/><Relationship Id="rId46" Type="http://schemas.openxmlformats.org/officeDocument/2006/relationships/slide" Target="slides/slide22.xml"/><Relationship Id="rId67" Type="http://schemas.openxmlformats.org/officeDocument/2006/relationships/slide" Target="slides/slide43.xml"/><Relationship Id="rId116" Type="http://schemas.openxmlformats.org/officeDocument/2006/relationships/slide" Target="slides/slide92.xml"/><Relationship Id="rId137" Type="http://schemas.openxmlformats.org/officeDocument/2006/relationships/slide" Target="slides/slide113.xml"/></Relationships>
</file>

<file path=ppt/charts/_rels/chart1.xml.rels><?xml version="1.0" encoding="UTF-8" standalone="yes"?>
<Relationships xmlns="http://schemas.openxmlformats.org/package/2006/relationships"><Relationship Id="rId3" Type="http://schemas.openxmlformats.org/officeDocument/2006/relationships/oleObject" Target="Chart%20in%20Microsoft%20Office%20PowerPoint"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Chart%20in%20Microsoft%20Office%20PowerPoint"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Chart%20in%20Microsoft%20Office%20PowerPoint"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var\folders\mk\_5mdbw4j7zs011z_lcm3r_380000gq\T\com.microsoft.Outlook\Outlook%20Temp\3P%20Letter%20Timeline_07-16.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var\folders\mk\_5mdbw4j7zs011z_lcm3r_380000gq\T\com.microsoft.Outlook\Outlook%20Temp\3P%20Letter%20Timeline_07-16.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var\folders\mk\_5mdbw4j7zs011z_lcm3r_380000gq\T\com.microsoft.Outlook\Outlook%20Temp\3P%20Letter%20Timeline_07-16.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baseline="0">
                <a:solidFill>
                  <a:schemeClr val="dk1"/>
                </a:solidFill>
                <a:latin typeface="Trade Gothic"/>
                <a:ea typeface="+mn-ea"/>
                <a:cs typeface="+mn-cs"/>
              </a:defRPr>
            </a:pPr>
            <a:r>
              <a:rPr lang="en-US" sz="1600" dirty="0">
                <a:latin typeface="Franklin Gothic Book"/>
                <a:cs typeface="Franklin Gothic Book"/>
              </a:rPr>
              <a:t>Chart Title, 16pt</a:t>
            </a:r>
          </a:p>
        </c:rich>
      </c:tx>
      <c:layout>
        <c:manualLayout>
          <c:xMode val="edge"/>
          <c:yMode val="edge"/>
          <c:x val="5.0241170583704496E-2"/>
          <c:y val="5.4277772269272382E-3"/>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dk1"/>
              </a:solidFill>
              <a:latin typeface="Trade Gothic"/>
              <a:ea typeface="+mn-ea"/>
              <a:cs typeface="+mn-cs"/>
            </a:defRPr>
          </a:pPr>
          <a:endParaRPr lang="en-US"/>
        </a:p>
      </c:txPr>
    </c:title>
    <c:autoTitleDeleted val="0"/>
    <c:plotArea>
      <c:layout>
        <c:manualLayout>
          <c:layoutTarget val="inner"/>
          <c:xMode val="edge"/>
          <c:yMode val="edge"/>
          <c:x val="6.9408509721171033E-2"/>
          <c:y val="0.17635767085958887"/>
          <c:w val="0.59511911504513482"/>
          <c:h val="0.76117523771100015"/>
        </c:manualLayout>
      </c:layout>
      <c:pieChart>
        <c:varyColors val="1"/>
        <c:ser>
          <c:idx val="0"/>
          <c:order val="0"/>
          <c:dPt>
            <c:idx val="0"/>
            <c:bubble3D val="0"/>
            <c:spPr>
              <a:solidFill>
                <a:schemeClr val="accent1"/>
              </a:solidFill>
              <a:ln w="9525" cap="flat" cmpd="sng" algn="ctr">
                <a:solidFill>
                  <a:schemeClr val="accent1">
                    <a:shade val="50000"/>
                    <a:shade val="95000"/>
                    <a:satMod val="105000"/>
                  </a:schemeClr>
                </a:solidFill>
                <a:prstDash val="solid"/>
                <a:round/>
              </a:ln>
              <a:effectLst/>
            </c:spPr>
            <c:extLst>
              <c:ext xmlns:c16="http://schemas.microsoft.com/office/drawing/2014/chart" uri="{C3380CC4-5D6E-409C-BE32-E72D297353CC}">
                <c16:uniqueId val="{00000001-FB08-4ADE-84B4-AB85768F97AD}"/>
              </c:ext>
            </c:extLst>
          </c:dPt>
          <c:dPt>
            <c:idx val="1"/>
            <c:bubble3D val="0"/>
            <c:spPr>
              <a:solidFill>
                <a:schemeClr val="accent2"/>
              </a:solidFill>
              <a:ln w="9525" cap="flat" cmpd="sng" algn="ctr">
                <a:solidFill>
                  <a:schemeClr val="accent1">
                    <a:shade val="50000"/>
                    <a:shade val="95000"/>
                    <a:satMod val="105000"/>
                  </a:schemeClr>
                </a:solidFill>
                <a:prstDash val="solid"/>
                <a:round/>
              </a:ln>
              <a:effectLst/>
            </c:spPr>
            <c:extLst>
              <c:ext xmlns:c16="http://schemas.microsoft.com/office/drawing/2014/chart" uri="{C3380CC4-5D6E-409C-BE32-E72D297353CC}">
                <c16:uniqueId val="{00000003-FB08-4ADE-84B4-AB85768F97AD}"/>
              </c:ext>
            </c:extLst>
          </c:dPt>
          <c:dPt>
            <c:idx val="2"/>
            <c:bubble3D val="0"/>
            <c:spPr>
              <a:solidFill>
                <a:schemeClr val="accent3"/>
              </a:solidFill>
              <a:ln w="9525" cap="flat" cmpd="sng" algn="ctr">
                <a:solidFill>
                  <a:schemeClr val="accent1">
                    <a:shade val="50000"/>
                    <a:shade val="95000"/>
                    <a:satMod val="105000"/>
                  </a:schemeClr>
                </a:solidFill>
                <a:prstDash val="solid"/>
                <a:round/>
              </a:ln>
              <a:effectLst/>
            </c:spPr>
            <c:extLst>
              <c:ext xmlns:c16="http://schemas.microsoft.com/office/drawing/2014/chart" uri="{C3380CC4-5D6E-409C-BE32-E72D297353CC}">
                <c16:uniqueId val="{00000005-FB08-4ADE-84B4-AB85768F97AD}"/>
              </c:ext>
            </c:extLst>
          </c:dPt>
          <c:dPt>
            <c:idx val="3"/>
            <c:bubble3D val="0"/>
            <c:spPr>
              <a:solidFill>
                <a:schemeClr val="accent4"/>
              </a:solidFill>
              <a:ln w="9525" cap="flat" cmpd="sng" algn="ctr">
                <a:solidFill>
                  <a:schemeClr val="accent1">
                    <a:shade val="50000"/>
                    <a:shade val="95000"/>
                    <a:satMod val="105000"/>
                  </a:schemeClr>
                </a:solidFill>
                <a:prstDash val="solid"/>
                <a:round/>
              </a:ln>
              <a:effectLst/>
            </c:spPr>
            <c:extLst>
              <c:ext xmlns:c16="http://schemas.microsoft.com/office/drawing/2014/chart" uri="{C3380CC4-5D6E-409C-BE32-E72D297353CC}">
                <c16:uniqueId val="{00000007-FB08-4ADE-84B4-AB85768F97AD}"/>
              </c:ext>
            </c:extLst>
          </c:dPt>
          <c:dLbls>
            <c:dLbl>
              <c:idx val="0"/>
              <c:layout>
                <c:manualLayout>
                  <c:x val="-0.13048974763281801"/>
                  <c:y val="-2.8703186455871339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FB08-4ADE-84B4-AB85768F97AD}"/>
                </c:ext>
              </c:extLst>
            </c:dLbl>
            <c:dLbl>
              <c:idx val="1"/>
              <c:layout>
                <c:manualLayout>
                  <c:x val="0.11269340844957514"/>
                  <c:y val="-5.7589357453748588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FB08-4ADE-84B4-AB85768F97AD}"/>
                </c:ext>
              </c:extLst>
            </c:dLbl>
            <c:dLbl>
              <c:idx val="2"/>
              <c:layout>
                <c:manualLayout>
                  <c:x val="8.5413147681270493E-2"/>
                  <c:y val="8.1578850644666259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FB08-4ADE-84B4-AB85768F97AD}"/>
                </c:ext>
              </c:extLst>
            </c:dLbl>
            <c:dLbl>
              <c:idx val="3"/>
              <c:layout>
                <c:manualLayout>
                  <c:x val="4.1887496052888912E-2"/>
                  <c:y val="0.11631598382095008"/>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FB08-4ADE-84B4-AB85768F97AD}"/>
                </c:ext>
              </c:extLst>
            </c:dLbl>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Franklin Gothic Book"/>
                    <a:ea typeface="+mn-ea"/>
                    <a:cs typeface="Franklin Gothic Book"/>
                  </a:defRPr>
                </a:pPr>
                <a:endParaRPr lang="en-US"/>
              </a:p>
            </c:txPr>
            <c:showLegendKey val="0"/>
            <c:showVal val="0"/>
            <c:showCatName val="0"/>
            <c:showSerName val="0"/>
            <c:showPercent val="1"/>
            <c:showBubbleSize val="0"/>
            <c:showLeaderLines val="1"/>
            <c:leaderLines>
              <c:spPr>
                <a:ln w="9525" cap="flat" cmpd="sng" algn="ctr">
                  <a:solidFill>
                    <a:schemeClr val="dk1">
                      <a:shade val="95000"/>
                      <a:satMod val="105000"/>
                    </a:schemeClr>
                  </a:solidFill>
                  <a:prstDash val="solid"/>
                  <a:round/>
                </a:ln>
                <a:effectLst/>
              </c:spPr>
            </c:leaderLines>
            <c:extLst>
              <c:ext xmlns:c15="http://schemas.microsoft.com/office/drawing/2012/chart" uri="{CE6537A1-D6FC-4f65-9D91-7224C49458BB}"/>
            </c:extLst>
          </c:dLbls>
          <c:cat>
            <c:strRef>
              <c:f>'[Chart in Microsoft Office PowerPoint]Sheet1'!$A$2:$A$5</c:f>
              <c:strCache>
                <c:ptCount val="4"/>
                <c:pt idx="0">
                  <c:v>1st Qtr</c:v>
                </c:pt>
                <c:pt idx="1">
                  <c:v>2nd Qtr</c:v>
                </c:pt>
                <c:pt idx="2">
                  <c:v>3rd Qtr</c:v>
                </c:pt>
                <c:pt idx="3">
                  <c:v>4th Qtr</c:v>
                </c:pt>
              </c:strCache>
            </c:strRef>
          </c:cat>
          <c:val>
            <c:numRef>
              <c:f>'[Chart in Microsoft Office PowerPoint]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8-FB08-4ADE-84B4-AB85768F97AD}"/>
            </c:ext>
          </c:extLst>
        </c:ser>
        <c:dLbls>
          <c:showLegendKey val="0"/>
          <c:showVal val="0"/>
          <c:showCatName val="0"/>
          <c:showSerName val="0"/>
          <c:showPercent val="1"/>
          <c:showBubbleSize val="0"/>
          <c:showLeaderLines val="1"/>
        </c:dLbls>
        <c:firstSliceAng val="0"/>
      </c:pieChart>
      <c:spPr>
        <a:noFill/>
        <a:ln>
          <a:noFill/>
        </a:ln>
        <a:effectLst/>
      </c:spPr>
    </c:plotArea>
    <c:legend>
      <c:legendPos val="r"/>
      <c:layout>
        <c:manualLayout>
          <c:xMode val="edge"/>
          <c:yMode val="edge"/>
          <c:x val="0.73417705446094605"/>
          <c:y val="0.20829629338375322"/>
          <c:w val="0.15696587858101138"/>
          <c:h val="0.2936707416309665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dk1"/>
              </a:solidFill>
              <a:latin typeface="Franklin Gothic Book"/>
              <a:ea typeface="+mn-ea"/>
              <a:cs typeface="Franklin Gothic Book"/>
            </a:defRPr>
          </a:pPr>
          <a:endParaRPr lang="en-US"/>
        </a:p>
      </c:txPr>
    </c:legend>
    <c:plotVisOnly val="1"/>
    <c:dispBlanksAs val="zero"/>
    <c:showDLblsOverMax val="0"/>
  </c:chart>
  <c:spPr>
    <a:solidFill>
      <a:schemeClr val="lt1"/>
    </a:solidFill>
    <a:ln w="9525" cap="flat" cmpd="sng" algn="ctr">
      <a:noFill/>
      <a:prstDash val="solid"/>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mn-lt"/>
                <a:ea typeface="+mn-ea"/>
                <a:cs typeface="+mn-cs"/>
              </a:defRPr>
            </a:pPr>
            <a:r>
              <a:rPr lang="en-US" dirty="0"/>
              <a:t>Chart Title, 16pt</a:t>
            </a:r>
          </a:p>
        </c:rich>
      </c:tx>
      <c:layout>
        <c:manualLayout>
          <c:xMode val="edge"/>
          <c:yMode val="edge"/>
          <c:x val="2.2657420435386301E-2"/>
          <c:y val="2.5353275642187211E-2"/>
        </c:manualLayout>
      </c:layout>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2846061780621801"/>
          <c:y val="0.17635767085958887"/>
          <c:w val="0.65889534380896564"/>
          <c:h val="0.76117523771100015"/>
        </c:manualLayout>
      </c:layout>
      <c:barChart>
        <c:barDir val="bar"/>
        <c:grouping val="stacked"/>
        <c:varyColors val="0"/>
        <c:ser>
          <c:idx val="0"/>
          <c:order val="0"/>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1-2CD9-4D9C-8B97-A5B2CD57B046}"/>
              </c:ext>
            </c:extLst>
          </c:dPt>
          <c:dPt>
            <c:idx val="1"/>
            <c:invertIfNegative val="0"/>
            <c:bubble3D val="0"/>
            <c:extLst>
              <c:ext xmlns:c16="http://schemas.microsoft.com/office/drawing/2014/chart" uri="{C3380CC4-5D6E-409C-BE32-E72D297353CC}">
                <c16:uniqueId val="{00000003-2CD9-4D9C-8B97-A5B2CD57B046}"/>
              </c:ext>
            </c:extLst>
          </c:dPt>
          <c:dPt>
            <c:idx val="2"/>
            <c:invertIfNegative val="0"/>
            <c:bubble3D val="0"/>
            <c:extLst>
              <c:ext xmlns:c16="http://schemas.microsoft.com/office/drawing/2014/chart" uri="{C3380CC4-5D6E-409C-BE32-E72D297353CC}">
                <c16:uniqueId val="{00000005-2CD9-4D9C-8B97-A5B2CD57B046}"/>
              </c:ext>
            </c:extLst>
          </c:dPt>
          <c:dPt>
            <c:idx val="3"/>
            <c:invertIfNegative val="0"/>
            <c:bubble3D val="0"/>
            <c:extLst>
              <c:ext xmlns:c16="http://schemas.microsoft.com/office/drawing/2014/chart" uri="{C3380CC4-5D6E-409C-BE32-E72D297353CC}">
                <c16:uniqueId val="{00000007-2CD9-4D9C-8B97-A5B2CD57B046}"/>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 in Microsoft Office PowerPoint]Sheet1'!$A$2:$A$5</c:f>
              <c:strCache>
                <c:ptCount val="4"/>
                <c:pt idx="0">
                  <c:v>1st Qtr</c:v>
                </c:pt>
                <c:pt idx="1">
                  <c:v>2nd Qtr</c:v>
                </c:pt>
                <c:pt idx="2">
                  <c:v>3rd Qtr</c:v>
                </c:pt>
                <c:pt idx="3">
                  <c:v>4th Qtr</c:v>
                </c:pt>
              </c:strCache>
            </c:strRef>
          </c:cat>
          <c:val>
            <c:numRef>
              <c:f>'[Chart in Microsoft Office PowerPoint]Sheet1'!$B$2:$B$5</c:f>
              <c:numCache>
                <c:formatCode>General</c:formatCode>
                <c:ptCount val="4"/>
                <c:pt idx="0">
                  <c:v>8.2000000000000011</c:v>
                </c:pt>
                <c:pt idx="1">
                  <c:v>3.2</c:v>
                </c:pt>
                <c:pt idx="2">
                  <c:v>1.4</c:v>
                </c:pt>
                <c:pt idx="3">
                  <c:v>1.2</c:v>
                </c:pt>
              </c:numCache>
            </c:numRef>
          </c:val>
          <c:extLst>
            <c:ext xmlns:c16="http://schemas.microsoft.com/office/drawing/2014/chart" uri="{C3380CC4-5D6E-409C-BE32-E72D297353CC}">
              <c16:uniqueId val="{00000008-2CD9-4D9C-8B97-A5B2CD57B046}"/>
            </c:ext>
          </c:extLst>
        </c:ser>
        <c:dLbls>
          <c:dLblPos val="ctr"/>
          <c:showLegendKey val="0"/>
          <c:showVal val="1"/>
          <c:showCatName val="0"/>
          <c:showSerName val="0"/>
          <c:showPercent val="0"/>
          <c:showBubbleSize val="0"/>
        </c:dLbls>
        <c:gapWidth val="79"/>
        <c:overlap val="100"/>
        <c:axId val="251866896"/>
        <c:axId val="251866512"/>
      </c:barChart>
      <c:valAx>
        <c:axId val="251866512"/>
        <c:scaling>
          <c:orientation val="minMax"/>
        </c:scaling>
        <c:delete val="1"/>
        <c:axPos val="b"/>
        <c:numFmt formatCode="General" sourceLinked="1"/>
        <c:majorTickMark val="none"/>
        <c:minorTickMark val="none"/>
        <c:tickLblPos val="nextTo"/>
        <c:crossAx val="251866896"/>
        <c:crosses val="autoZero"/>
        <c:crossBetween val="between"/>
      </c:valAx>
      <c:catAx>
        <c:axId val="2518668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mn-lt"/>
                <a:ea typeface="+mn-ea"/>
                <a:cs typeface="+mn-cs"/>
              </a:defRPr>
            </a:pPr>
            <a:endParaRPr lang="en-US"/>
          </a:p>
        </c:txPr>
        <c:crossAx val="251866512"/>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Chart Title, 16pt</a:t>
            </a:r>
          </a:p>
        </c:rich>
      </c:tx>
      <c:layout>
        <c:manualLayout>
          <c:xMode val="edge"/>
          <c:yMode val="edge"/>
          <c:x val="5.5226347214770211E-2"/>
          <c:y val="5.8331775522792824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9.684864556248042E-2"/>
          <c:y val="0.15924574717722473"/>
          <c:w val="0.87475906970985262"/>
          <c:h val="0.62377405669022001"/>
        </c:manualLayout>
      </c:layout>
      <c:lineChart>
        <c:grouping val="standard"/>
        <c:varyColors val="0"/>
        <c:ser>
          <c:idx val="0"/>
          <c:order val="0"/>
          <c:tx>
            <c:strRef>
              <c:f>'[Chart in Microsoft Office PowerPoint]Sheet1'!$B$1</c:f>
              <c:strCache>
                <c:ptCount val="1"/>
                <c:pt idx="0">
                  <c:v>Series 1</c:v>
                </c:pt>
              </c:strCache>
            </c:strRef>
          </c:tx>
          <c:spPr>
            <a:ln w="28575" cap="rnd">
              <a:solidFill>
                <a:schemeClr val="accent1"/>
              </a:solidFill>
              <a:round/>
            </a:ln>
            <a:effectLst/>
          </c:spPr>
          <c:marker>
            <c:symbol val="none"/>
          </c:marker>
          <c:cat>
            <c:strRef>
              <c:f>'[Chart in Microsoft Office PowerPoint]Sheet1'!$A$2:$A$5</c:f>
              <c:strCache>
                <c:ptCount val="4"/>
                <c:pt idx="0">
                  <c:v>Category 1</c:v>
                </c:pt>
                <c:pt idx="1">
                  <c:v>Category 2</c:v>
                </c:pt>
                <c:pt idx="2">
                  <c:v>Category 3</c:v>
                </c:pt>
                <c:pt idx="3">
                  <c:v>Category 4</c:v>
                </c:pt>
              </c:strCache>
            </c:strRef>
          </c:cat>
          <c:val>
            <c:numRef>
              <c:f>'[Chart in Microsoft Office PowerPoint]Sheet1'!$B$2:$B$5</c:f>
              <c:numCache>
                <c:formatCode>General</c:formatCode>
                <c:ptCount val="4"/>
                <c:pt idx="0">
                  <c:v>4.3</c:v>
                </c:pt>
                <c:pt idx="1">
                  <c:v>2.5</c:v>
                </c:pt>
                <c:pt idx="2">
                  <c:v>3.5</c:v>
                </c:pt>
                <c:pt idx="3">
                  <c:v>4.5</c:v>
                </c:pt>
              </c:numCache>
            </c:numRef>
          </c:val>
          <c:smooth val="0"/>
          <c:extLst>
            <c:ext xmlns:c16="http://schemas.microsoft.com/office/drawing/2014/chart" uri="{C3380CC4-5D6E-409C-BE32-E72D297353CC}">
              <c16:uniqueId val="{00000000-46FE-4FF9-852D-F5363776365F}"/>
            </c:ext>
          </c:extLst>
        </c:ser>
        <c:ser>
          <c:idx val="1"/>
          <c:order val="1"/>
          <c:tx>
            <c:strRef>
              <c:f>'[Chart in Microsoft Office PowerPoint]Sheet1'!$C$1</c:f>
              <c:strCache>
                <c:ptCount val="1"/>
                <c:pt idx="0">
                  <c:v>Series 2</c:v>
                </c:pt>
              </c:strCache>
            </c:strRef>
          </c:tx>
          <c:spPr>
            <a:ln w="28575" cap="rnd">
              <a:solidFill>
                <a:schemeClr val="accent2"/>
              </a:solidFill>
              <a:round/>
            </a:ln>
            <a:effectLst/>
          </c:spPr>
          <c:marker>
            <c:symbol val="none"/>
          </c:marker>
          <c:cat>
            <c:strRef>
              <c:f>'[Chart in Microsoft Office PowerPoint]Sheet1'!$A$2:$A$5</c:f>
              <c:strCache>
                <c:ptCount val="4"/>
                <c:pt idx="0">
                  <c:v>Category 1</c:v>
                </c:pt>
                <c:pt idx="1">
                  <c:v>Category 2</c:v>
                </c:pt>
                <c:pt idx="2">
                  <c:v>Category 3</c:v>
                </c:pt>
                <c:pt idx="3">
                  <c:v>Category 4</c:v>
                </c:pt>
              </c:strCache>
            </c:strRef>
          </c:cat>
          <c:val>
            <c:numRef>
              <c:f>'[Chart in Microsoft Office PowerPoint]Sheet1'!$C$2:$C$5</c:f>
              <c:numCache>
                <c:formatCode>General</c:formatCode>
                <c:ptCount val="4"/>
                <c:pt idx="0">
                  <c:v>2.4</c:v>
                </c:pt>
                <c:pt idx="1">
                  <c:v>4.4000000000000004</c:v>
                </c:pt>
                <c:pt idx="2">
                  <c:v>1.8</c:v>
                </c:pt>
                <c:pt idx="3">
                  <c:v>2.8</c:v>
                </c:pt>
              </c:numCache>
            </c:numRef>
          </c:val>
          <c:smooth val="0"/>
          <c:extLst>
            <c:ext xmlns:c16="http://schemas.microsoft.com/office/drawing/2014/chart" uri="{C3380CC4-5D6E-409C-BE32-E72D297353CC}">
              <c16:uniqueId val="{00000001-46FE-4FF9-852D-F5363776365F}"/>
            </c:ext>
          </c:extLst>
        </c:ser>
        <c:ser>
          <c:idx val="2"/>
          <c:order val="2"/>
          <c:tx>
            <c:strRef>
              <c:f>'[Chart in Microsoft Office PowerPoint]Sheet1'!$D$1</c:f>
              <c:strCache>
                <c:ptCount val="1"/>
                <c:pt idx="0">
                  <c:v>Series 3</c:v>
                </c:pt>
              </c:strCache>
            </c:strRef>
          </c:tx>
          <c:spPr>
            <a:ln w="28575" cap="rnd">
              <a:solidFill>
                <a:schemeClr val="accent3"/>
              </a:solidFill>
              <a:round/>
            </a:ln>
            <a:effectLst/>
          </c:spPr>
          <c:marker>
            <c:symbol val="none"/>
          </c:marker>
          <c:cat>
            <c:strRef>
              <c:f>'[Chart in Microsoft Office PowerPoint]Sheet1'!$A$2:$A$5</c:f>
              <c:strCache>
                <c:ptCount val="4"/>
                <c:pt idx="0">
                  <c:v>Category 1</c:v>
                </c:pt>
                <c:pt idx="1">
                  <c:v>Category 2</c:v>
                </c:pt>
                <c:pt idx="2">
                  <c:v>Category 3</c:v>
                </c:pt>
                <c:pt idx="3">
                  <c:v>Category 4</c:v>
                </c:pt>
              </c:strCache>
            </c:strRef>
          </c:cat>
          <c:val>
            <c:numRef>
              <c:f>'[Chart in Microsoft Office PowerPoint]Sheet1'!$D$2:$D$5</c:f>
              <c:numCache>
                <c:formatCode>General</c:formatCode>
                <c:ptCount val="4"/>
                <c:pt idx="0">
                  <c:v>2</c:v>
                </c:pt>
                <c:pt idx="1">
                  <c:v>2</c:v>
                </c:pt>
                <c:pt idx="2">
                  <c:v>3</c:v>
                </c:pt>
                <c:pt idx="3">
                  <c:v>5</c:v>
                </c:pt>
              </c:numCache>
            </c:numRef>
          </c:val>
          <c:smooth val="0"/>
          <c:extLst>
            <c:ext xmlns:c16="http://schemas.microsoft.com/office/drawing/2014/chart" uri="{C3380CC4-5D6E-409C-BE32-E72D297353CC}">
              <c16:uniqueId val="{00000002-46FE-4FF9-852D-F5363776365F}"/>
            </c:ext>
          </c:extLst>
        </c:ser>
        <c:dLbls>
          <c:showLegendKey val="0"/>
          <c:showVal val="0"/>
          <c:showCatName val="0"/>
          <c:showSerName val="0"/>
          <c:showPercent val="0"/>
          <c:showBubbleSize val="0"/>
        </c:dLbls>
        <c:smooth val="0"/>
        <c:axId val="252330552"/>
        <c:axId val="252330936"/>
      </c:lineChart>
      <c:catAx>
        <c:axId val="252330552"/>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52330936"/>
        <c:crosses val="autoZero"/>
        <c:auto val="1"/>
        <c:lblAlgn val="ctr"/>
        <c:lblOffset val="100"/>
        <c:noMultiLvlLbl val="0"/>
      </c:catAx>
      <c:valAx>
        <c:axId val="25233093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a:t>Axis Title</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523305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igures!$A$10</c:f>
              <c:strCache>
                <c:ptCount val="1"/>
                <c:pt idx="0">
                  <c:v>Pre</c:v>
                </c:pt>
              </c:strCache>
            </c:strRef>
          </c:tx>
          <c:spPr>
            <a:solidFill>
              <a:schemeClr val="accent5">
                <a:lumMod val="75000"/>
              </a:schemeClr>
            </a:solidFill>
            <a:ln>
              <a:solidFill>
                <a:schemeClr val="accent1"/>
              </a:solidFill>
            </a:ln>
            <a:effectLst/>
          </c:spPr>
          <c:invertIfNegative val="0"/>
          <c:cat>
            <c:strRef>
              <c:f>Figures!$B$9:$D$9</c:f>
              <c:strCache>
                <c:ptCount val="3"/>
                <c:pt idx="0">
                  <c:v>RFA to Notice -&gt; RFP</c:v>
                </c:pt>
                <c:pt idx="1">
                  <c:v>RFP to Notice -&gt; Negotiations</c:v>
                </c:pt>
                <c:pt idx="2">
                  <c:v>Contract Negotiations</c:v>
                </c:pt>
              </c:strCache>
            </c:strRef>
          </c:cat>
          <c:val>
            <c:numRef>
              <c:f>Figures!$B$10:$D$10</c:f>
              <c:numCache>
                <c:formatCode>0</c:formatCode>
                <c:ptCount val="3"/>
                <c:pt idx="0">
                  <c:v>19.992481203007522</c:v>
                </c:pt>
                <c:pt idx="1">
                  <c:v>22.488721804511282</c:v>
                </c:pt>
                <c:pt idx="2">
                  <c:v>26.496240601503757</c:v>
                </c:pt>
              </c:numCache>
            </c:numRef>
          </c:val>
          <c:extLst>
            <c:ext xmlns:c16="http://schemas.microsoft.com/office/drawing/2014/chart" uri="{C3380CC4-5D6E-409C-BE32-E72D297353CC}">
              <c16:uniqueId val="{00000000-F1AC-A544-AA79-E39298288D58}"/>
            </c:ext>
          </c:extLst>
        </c:ser>
        <c:ser>
          <c:idx val="1"/>
          <c:order val="1"/>
          <c:tx>
            <c:strRef>
              <c:f>Figures!$A$11</c:f>
              <c:strCache>
                <c:ptCount val="1"/>
                <c:pt idx="0">
                  <c:v>Post</c:v>
                </c:pt>
              </c:strCache>
            </c:strRef>
          </c:tx>
          <c:spPr>
            <a:solidFill>
              <a:schemeClr val="accent5">
                <a:lumMod val="20000"/>
                <a:lumOff val="80000"/>
              </a:schemeClr>
            </a:solidFill>
            <a:ln>
              <a:solidFill>
                <a:schemeClr val="accent1"/>
              </a:solidFill>
            </a:ln>
            <a:effectLst/>
          </c:spPr>
          <c:invertIfNegative val="0"/>
          <c:cat>
            <c:strRef>
              <c:f>Figures!$B$9:$D$9</c:f>
              <c:strCache>
                <c:ptCount val="3"/>
                <c:pt idx="0">
                  <c:v>RFA to Notice -&gt; RFP</c:v>
                </c:pt>
                <c:pt idx="1">
                  <c:v>RFP to Notice -&gt; Negotiations</c:v>
                </c:pt>
                <c:pt idx="2">
                  <c:v>Contract Negotiations</c:v>
                </c:pt>
              </c:strCache>
            </c:strRef>
          </c:cat>
          <c:val>
            <c:numRef>
              <c:f>Figures!$B$11:$D$11</c:f>
              <c:numCache>
                <c:formatCode>0</c:formatCode>
                <c:ptCount val="3"/>
                <c:pt idx="0">
                  <c:v>13.028571428571428</c:v>
                </c:pt>
                <c:pt idx="1">
                  <c:v>14.480519480519479</c:v>
                </c:pt>
                <c:pt idx="2">
                  <c:v>15.000000000000002</c:v>
                </c:pt>
              </c:numCache>
            </c:numRef>
          </c:val>
          <c:extLst>
            <c:ext xmlns:c16="http://schemas.microsoft.com/office/drawing/2014/chart" uri="{C3380CC4-5D6E-409C-BE32-E72D297353CC}">
              <c16:uniqueId val="{00000001-F1AC-A544-AA79-E39298288D58}"/>
            </c:ext>
          </c:extLst>
        </c:ser>
        <c:dLbls>
          <c:showLegendKey val="0"/>
          <c:showVal val="0"/>
          <c:showCatName val="0"/>
          <c:showSerName val="0"/>
          <c:showPercent val="0"/>
          <c:showBubbleSize val="0"/>
        </c:dLbls>
        <c:gapWidth val="219"/>
        <c:overlap val="-27"/>
        <c:axId val="1836033951"/>
        <c:axId val="1836028959"/>
      </c:barChart>
      <c:lineChart>
        <c:grouping val="standard"/>
        <c:varyColors val="0"/>
        <c:ser>
          <c:idx val="2"/>
          <c:order val="2"/>
          <c:tx>
            <c:strRef>
              <c:f>Figures!$A$12</c:f>
              <c:strCache>
                <c:ptCount val="1"/>
                <c:pt idx="0">
                  <c:v>Recommended Timeline</c:v>
                </c:pt>
              </c:strCache>
            </c:strRef>
          </c:tx>
          <c:spPr>
            <a:ln w="28575" cap="rnd">
              <a:noFill/>
              <a:round/>
            </a:ln>
            <a:effectLst/>
          </c:spPr>
          <c:marker>
            <c:symbol val="dash"/>
            <c:size val="33"/>
            <c:spPr>
              <a:solidFill>
                <a:schemeClr val="accent3"/>
              </a:solidFill>
              <a:ln w="0">
                <a:solidFill>
                  <a:srgbClr val="002060"/>
                </a:solidFill>
              </a:ln>
              <a:effectLst/>
            </c:spPr>
          </c:marker>
          <c:cat>
            <c:strRef>
              <c:f>Figures!$B$9:$D$9</c:f>
              <c:strCache>
                <c:ptCount val="3"/>
                <c:pt idx="0">
                  <c:v>RFA to Notice -&gt; RFP</c:v>
                </c:pt>
                <c:pt idx="1">
                  <c:v>RFP to Notice -&gt; Negotiations</c:v>
                </c:pt>
                <c:pt idx="2">
                  <c:v>Contract Negotiations</c:v>
                </c:pt>
              </c:strCache>
            </c:strRef>
          </c:cat>
          <c:val>
            <c:numRef>
              <c:f>Figures!$B$12:$D$12</c:f>
              <c:numCache>
                <c:formatCode>General</c:formatCode>
                <c:ptCount val="3"/>
                <c:pt idx="0">
                  <c:v>12</c:v>
                </c:pt>
                <c:pt idx="1">
                  <c:v>15</c:v>
                </c:pt>
                <c:pt idx="2">
                  <c:v>12</c:v>
                </c:pt>
              </c:numCache>
            </c:numRef>
          </c:val>
          <c:smooth val="0"/>
          <c:extLst>
            <c:ext xmlns:c16="http://schemas.microsoft.com/office/drawing/2014/chart" uri="{C3380CC4-5D6E-409C-BE32-E72D297353CC}">
              <c16:uniqueId val="{00000002-F1AC-A544-AA79-E39298288D58}"/>
            </c:ext>
          </c:extLst>
        </c:ser>
        <c:dLbls>
          <c:showLegendKey val="0"/>
          <c:showVal val="0"/>
          <c:showCatName val="0"/>
          <c:showSerName val="0"/>
          <c:showPercent val="0"/>
          <c:showBubbleSize val="0"/>
        </c:dLbls>
        <c:marker val="1"/>
        <c:smooth val="0"/>
        <c:axId val="1836033951"/>
        <c:axId val="1836028959"/>
      </c:lineChart>
      <c:catAx>
        <c:axId val="1836033951"/>
        <c:scaling>
          <c:orientation val="minMax"/>
        </c:scaling>
        <c:delete val="0"/>
        <c:axPos val="b"/>
        <c:numFmt formatCode="General" sourceLinked="1"/>
        <c:majorTickMark val="none"/>
        <c:minorTickMark val="none"/>
        <c:tickLblPos val="nextTo"/>
        <c:spPr>
          <a:noFill/>
          <a:ln w="9525" cap="flat" cmpd="sng" algn="ctr">
            <a:solidFill>
              <a:srgbClr val="002060"/>
            </a:solidFill>
            <a:round/>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crossAx val="1836028959"/>
        <c:crosses val="autoZero"/>
        <c:auto val="1"/>
        <c:lblAlgn val="ctr"/>
        <c:lblOffset val="100"/>
        <c:noMultiLvlLbl val="0"/>
      </c:catAx>
      <c:valAx>
        <c:axId val="183602895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1836033951"/>
        <c:crosses val="autoZero"/>
        <c:crossBetween val="between"/>
      </c:valAx>
      <c:spPr>
        <a:noFill/>
        <a:ln>
          <a:solidFill>
            <a:srgbClr val="002060"/>
          </a:solid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igures!$A$85</c:f>
              <c:strCache>
                <c:ptCount val="1"/>
                <c:pt idx="0">
                  <c:v>PGE</c:v>
                </c:pt>
              </c:strCache>
            </c:strRef>
          </c:tx>
          <c:spPr>
            <a:solidFill>
              <a:schemeClr val="accent1"/>
            </a:solidFill>
            <a:ln>
              <a:noFill/>
            </a:ln>
            <a:effectLst/>
          </c:spPr>
          <c:invertIfNegative val="0"/>
          <c:dLbls>
            <c:dLbl>
              <c:idx val="0"/>
              <c:tx>
                <c:rich>
                  <a:bodyPr/>
                  <a:lstStyle/>
                  <a:p>
                    <a:fld id="{26FF9675-9951-404A-ADF0-C021D07E5DB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E772-4A48-A33D-5528EEC73F40}"/>
                </c:ext>
              </c:extLst>
            </c:dLbl>
            <c:dLbl>
              <c:idx val="1"/>
              <c:tx>
                <c:rich>
                  <a:bodyPr/>
                  <a:lstStyle/>
                  <a:p>
                    <a:fld id="{9301131B-FEE6-48D3-8A18-61ED1FCEDD1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E772-4A48-A33D-5528EEC73F40}"/>
                </c:ext>
              </c:extLst>
            </c:dLbl>
            <c:dLbl>
              <c:idx val="2"/>
              <c:tx>
                <c:rich>
                  <a:bodyPr/>
                  <a:lstStyle/>
                  <a:p>
                    <a:fld id="{85EF1670-8CEE-46F9-AC20-E828C00A45F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772-4A48-A33D-5528EEC73F40}"/>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Figures!$B$84:$D$84</c:f>
              <c:strCache>
                <c:ptCount val="3"/>
                <c:pt idx="0">
                  <c:v>RFA to Notice -&gt; RFP</c:v>
                </c:pt>
                <c:pt idx="1">
                  <c:v>RFP to Notice -&gt; Negotiations</c:v>
                </c:pt>
                <c:pt idx="2">
                  <c:v>Contract Negotiations</c:v>
                </c:pt>
              </c:strCache>
            </c:strRef>
          </c:cat>
          <c:val>
            <c:numRef>
              <c:f>Figures!$B$85:$D$85</c:f>
              <c:numCache>
                <c:formatCode>0</c:formatCode>
                <c:ptCount val="3"/>
                <c:pt idx="0">
                  <c:v>12.821428571428571</c:v>
                </c:pt>
                <c:pt idx="1">
                  <c:v>23.25</c:v>
                </c:pt>
                <c:pt idx="2">
                  <c:v>23.285714285714285</c:v>
                </c:pt>
              </c:numCache>
            </c:numRef>
          </c:val>
          <c:extLst>
            <c:ext xmlns:c15="http://schemas.microsoft.com/office/drawing/2012/chart" uri="{02D57815-91ED-43cb-92C2-25804820EDAC}">
              <c15:datalabelsRange>
                <c15:f>Figures!$G$26:$I$26</c15:f>
                <c15:dlblRangeCache>
                  <c:ptCount val="3"/>
                  <c:pt idx="0">
                    <c:v>4</c:v>
                  </c:pt>
                  <c:pt idx="1">
                    <c:v>4</c:v>
                  </c:pt>
                  <c:pt idx="2">
                    <c:v>4</c:v>
                  </c:pt>
                </c15:dlblRangeCache>
              </c15:datalabelsRange>
            </c:ext>
            <c:ext xmlns:c16="http://schemas.microsoft.com/office/drawing/2014/chart" uri="{C3380CC4-5D6E-409C-BE32-E72D297353CC}">
              <c16:uniqueId val="{00000003-E772-4A48-A33D-5528EEC73F40}"/>
            </c:ext>
          </c:extLst>
        </c:ser>
        <c:ser>
          <c:idx val="1"/>
          <c:order val="1"/>
          <c:tx>
            <c:strRef>
              <c:f>Figures!$A$86</c:f>
              <c:strCache>
                <c:ptCount val="1"/>
                <c:pt idx="0">
                  <c:v>SCE</c:v>
                </c:pt>
              </c:strCache>
            </c:strRef>
          </c:tx>
          <c:spPr>
            <a:solidFill>
              <a:schemeClr val="accent2"/>
            </a:solidFill>
            <a:ln>
              <a:noFill/>
            </a:ln>
            <a:effectLst/>
          </c:spPr>
          <c:invertIfNegative val="0"/>
          <c:dLbls>
            <c:dLbl>
              <c:idx val="0"/>
              <c:tx>
                <c:rich>
                  <a:bodyPr/>
                  <a:lstStyle/>
                  <a:p>
                    <a:fld id="{657990CA-E618-4703-A26D-BAA15667D6F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772-4A48-A33D-5528EEC73F40}"/>
                </c:ext>
              </c:extLst>
            </c:dLbl>
            <c:dLbl>
              <c:idx val="1"/>
              <c:tx>
                <c:rich>
                  <a:bodyPr/>
                  <a:lstStyle/>
                  <a:p>
                    <a:fld id="{E401B564-49EE-4B88-869D-27CC1929BF3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E772-4A48-A33D-5528EEC73F40}"/>
                </c:ext>
              </c:extLst>
            </c:dLbl>
            <c:dLbl>
              <c:idx val="2"/>
              <c:tx>
                <c:rich>
                  <a:bodyPr/>
                  <a:lstStyle/>
                  <a:p>
                    <a:fld id="{C60D5B78-E83F-4381-87C9-49DECE6F384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E772-4A48-A33D-5528EEC73F40}"/>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Figures!$B$84:$D$84</c:f>
              <c:strCache>
                <c:ptCount val="3"/>
                <c:pt idx="0">
                  <c:v>RFA to Notice -&gt; RFP</c:v>
                </c:pt>
                <c:pt idx="1">
                  <c:v>RFP to Notice -&gt; Negotiations</c:v>
                </c:pt>
                <c:pt idx="2">
                  <c:v>Contract Negotiations</c:v>
                </c:pt>
              </c:strCache>
            </c:strRef>
          </c:cat>
          <c:val>
            <c:numRef>
              <c:f>Figures!$B$86:$D$86</c:f>
              <c:numCache>
                <c:formatCode>0</c:formatCode>
                <c:ptCount val="3"/>
                <c:pt idx="0">
                  <c:v>19.785714285714285</c:v>
                </c:pt>
                <c:pt idx="1">
                  <c:v>14.5</c:v>
                </c:pt>
                <c:pt idx="2">
                  <c:v>20.857142857142858</c:v>
                </c:pt>
              </c:numCache>
            </c:numRef>
          </c:val>
          <c:extLst>
            <c:ext xmlns:c15="http://schemas.microsoft.com/office/drawing/2012/chart" uri="{02D57815-91ED-43cb-92C2-25804820EDAC}">
              <c15:datalabelsRange>
                <c15:f>Figures!$G$27:$I$27</c15:f>
                <c15:dlblRangeCache>
                  <c:ptCount val="3"/>
                  <c:pt idx="0">
                    <c:v>2</c:v>
                  </c:pt>
                  <c:pt idx="1">
                    <c:v>2</c:v>
                  </c:pt>
                  <c:pt idx="2">
                    <c:v>2</c:v>
                  </c:pt>
                </c15:dlblRangeCache>
              </c15:datalabelsRange>
            </c:ext>
            <c:ext xmlns:c16="http://schemas.microsoft.com/office/drawing/2014/chart" uri="{C3380CC4-5D6E-409C-BE32-E72D297353CC}">
              <c16:uniqueId val="{00000007-E772-4A48-A33D-5528EEC73F40}"/>
            </c:ext>
          </c:extLst>
        </c:ser>
        <c:ser>
          <c:idx val="2"/>
          <c:order val="2"/>
          <c:tx>
            <c:strRef>
              <c:f>Figures!$A$87</c:f>
              <c:strCache>
                <c:ptCount val="1"/>
                <c:pt idx="0">
                  <c:v>SCG</c:v>
                </c:pt>
              </c:strCache>
            </c:strRef>
          </c:tx>
          <c:spPr>
            <a:solidFill>
              <a:schemeClr val="accent3"/>
            </a:solidFill>
            <a:ln>
              <a:noFill/>
            </a:ln>
            <a:effectLst/>
          </c:spPr>
          <c:invertIfNegative val="0"/>
          <c:dLbls>
            <c:dLbl>
              <c:idx val="0"/>
              <c:tx>
                <c:rich>
                  <a:bodyPr/>
                  <a:lstStyle/>
                  <a:p>
                    <a:fld id="{0904286A-DD00-4B8F-A1F0-1837229003D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E772-4A48-A33D-5528EEC73F40}"/>
                </c:ext>
              </c:extLst>
            </c:dLbl>
            <c:dLbl>
              <c:idx val="1"/>
              <c:tx>
                <c:rich>
                  <a:bodyPr/>
                  <a:lstStyle/>
                  <a:p>
                    <a:fld id="{8D9DFC77-C8A0-4A59-9F24-BDA047FF506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E772-4A48-A33D-5528EEC73F40}"/>
                </c:ext>
              </c:extLst>
            </c:dLbl>
            <c:dLbl>
              <c:idx val="2"/>
              <c:tx>
                <c:rich>
                  <a:bodyPr/>
                  <a:lstStyle/>
                  <a:p>
                    <a:fld id="{BB8577CD-B37E-4600-84F9-B3B54797D99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E772-4A48-A33D-5528EEC73F40}"/>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Figures!$B$84:$D$84</c:f>
              <c:strCache>
                <c:ptCount val="3"/>
                <c:pt idx="0">
                  <c:v>RFA to Notice -&gt; RFP</c:v>
                </c:pt>
                <c:pt idx="1">
                  <c:v>RFP to Notice -&gt; Negotiations</c:v>
                </c:pt>
                <c:pt idx="2">
                  <c:v>Contract Negotiations</c:v>
                </c:pt>
              </c:strCache>
            </c:strRef>
          </c:cat>
          <c:val>
            <c:numRef>
              <c:f>Figures!$B$87:$D$87</c:f>
              <c:numCache>
                <c:formatCode>0</c:formatCode>
                <c:ptCount val="3"/>
                <c:pt idx="0">
                  <c:v>25.523809523809522</c:v>
                </c:pt>
                <c:pt idx="1">
                  <c:v>20.571428571428573</c:v>
                </c:pt>
                <c:pt idx="2">
                  <c:v>26.88095238095238</c:v>
                </c:pt>
              </c:numCache>
            </c:numRef>
          </c:val>
          <c:extLst>
            <c:ext xmlns:c15="http://schemas.microsoft.com/office/drawing/2012/chart" uri="{02D57815-91ED-43cb-92C2-25804820EDAC}">
              <c15:datalabelsRange>
                <c15:f>Figures!$G$28:$I$28</c15:f>
                <c15:dlblRangeCache>
                  <c:ptCount val="3"/>
                  <c:pt idx="0">
                    <c:v>6</c:v>
                  </c:pt>
                  <c:pt idx="1">
                    <c:v>6</c:v>
                  </c:pt>
                  <c:pt idx="2">
                    <c:v>6</c:v>
                  </c:pt>
                </c15:dlblRangeCache>
              </c15:datalabelsRange>
            </c:ext>
            <c:ext xmlns:c16="http://schemas.microsoft.com/office/drawing/2014/chart" uri="{C3380CC4-5D6E-409C-BE32-E72D297353CC}">
              <c16:uniqueId val="{0000000B-E772-4A48-A33D-5528EEC73F40}"/>
            </c:ext>
          </c:extLst>
        </c:ser>
        <c:ser>
          <c:idx val="3"/>
          <c:order val="3"/>
          <c:tx>
            <c:strRef>
              <c:f>Figures!$A$88</c:f>
              <c:strCache>
                <c:ptCount val="1"/>
                <c:pt idx="0">
                  <c:v>SDGE</c:v>
                </c:pt>
              </c:strCache>
            </c:strRef>
          </c:tx>
          <c:spPr>
            <a:solidFill>
              <a:schemeClr val="accent4"/>
            </a:solidFill>
            <a:ln>
              <a:noFill/>
            </a:ln>
            <a:effectLst/>
          </c:spPr>
          <c:invertIfNegative val="0"/>
          <c:dLbls>
            <c:dLbl>
              <c:idx val="0"/>
              <c:tx>
                <c:rich>
                  <a:bodyPr/>
                  <a:lstStyle/>
                  <a:p>
                    <a:fld id="{E7ADDF1C-0A62-4D9A-BC97-6F147885D79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E772-4A48-A33D-5528EEC73F40}"/>
                </c:ext>
              </c:extLst>
            </c:dLbl>
            <c:dLbl>
              <c:idx val="1"/>
              <c:tx>
                <c:rich>
                  <a:bodyPr/>
                  <a:lstStyle/>
                  <a:p>
                    <a:fld id="{62E6F8C6-985E-4914-BB6B-D43D44B283A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E772-4A48-A33D-5528EEC73F40}"/>
                </c:ext>
              </c:extLst>
            </c:dLbl>
            <c:dLbl>
              <c:idx val="2"/>
              <c:tx>
                <c:rich>
                  <a:bodyPr/>
                  <a:lstStyle/>
                  <a:p>
                    <a:fld id="{6BEB1E18-AFAF-41AE-A686-DCC4A245E2A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E772-4A48-A33D-5528EEC73F40}"/>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Figures!$B$84:$D$84</c:f>
              <c:strCache>
                <c:ptCount val="3"/>
                <c:pt idx="0">
                  <c:v>RFA to Notice -&gt; RFP</c:v>
                </c:pt>
                <c:pt idx="1">
                  <c:v>RFP to Notice -&gt; Negotiations</c:v>
                </c:pt>
                <c:pt idx="2">
                  <c:v>Contract Negotiations</c:v>
                </c:pt>
              </c:strCache>
            </c:strRef>
          </c:cat>
          <c:val>
            <c:numRef>
              <c:f>Figures!$B$88:$D$88</c:f>
              <c:numCache>
                <c:formatCode>0</c:formatCode>
                <c:ptCount val="3"/>
                <c:pt idx="0">
                  <c:v>19.408163265306122</c:v>
                </c:pt>
                <c:pt idx="1">
                  <c:v>25.979591836734695</c:v>
                </c:pt>
                <c:pt idx="2">
                  <c:v>29.612244897959187</c:v>
                </c:pt>
              </c:numCache>
            </c:numRef>
          </c:val>
          <c:extLst>
            <c:ext xmlns:c15="http://schemas.microsoft.com/office/drawing/2012/chart" uri="{02D57815-91ED-43cb-92C2-25804820EDAC}">
              <c15:datalabelsRange>
                <c15:f>Figures!$G$29:$I$29</c15:f>
                <c15:dlblRangeCache>
                  <c:ptCount val="3"/>
                  <c:pt idx="0">
                    <c:v>7</c:v>
                  </c:pt>
                  <c:pt idx="1">
                    <c:v>7</c:v>
                  </c:pt>
                  <c:pt idx="2">
                    <c:v>7</c:v>
                  </c:pt>
                </c15:dlblRangeCache>
              </c15:datalabelsRange>
            </c:ext>
            <c:ext xmlns:c16="http://schemas.microsoft.com/office/drawing/2014/chart" uri="{C3380CC4-5D6E-409C-BE32-E72D297353CC}">
              <c16:uniqueId val="{0000000F-E772-4A48-A33D-5528EEC73F40}"/>
            </c:ext>
          </c:extLst>
        </c:ser>
        <c:dLbls>
          <c:showLegendKey val="0"/>
          <c:showVal val="1"/>
          <c:showCatName val="0"/>
          <c:showSerName val="0"/>
          <c:showPercent val="0"/>
          <c:showBubbleSize val="0"/>
        </c:dLbls>
        <c:gapWidth val="219"/>
        <c:axId val="1818868287"/>
        <c:axId val="1818867039"/>
      </c:barChart>
      <c:lineChart>
        <c:grouping val="standard"/>
        <c:varyColors val="0"/>
        <c:ser>
          <c:idx val="4"/>
          <c:order val="4"/>
          <c:tx>
            <c:strRef>
              <c:f>Figures!$A$89</c:f>
              <c:strCache>
                <c:ptCount val="1"/>
                <c:pt idx="0">
                  <c:v>Expectation</c:v>
                </c:pt>
              </c:strCache>
            </c:strRef>
          </c:tx>
          <c:spPr>
            <a:ln w="25400" cap="rnd">
              <a:noFill/>
              <a:round/>
            </a:ln>
            <a:effectLst/>
          </c:spPr>
          <c:marker>
            <c:symbol val="dash"/>
            <c:size val="16"/>
            <c:spPr>
              <a:solidFill>
                <a:srgbClr val="002060"/>
              </a:solidFill>
              <a:ln w="9525">
                <a:solidFill>
                  <a:srgbClr val="002060"/>
                </a:solidFill>
              </a:ln>
              <a:effectLst/>
            </c:spPr>
          </c:marker>
          <c:dLbls>
            <c:delete val="1"/>
          </c:dLbls>
          <c:cat>
            <c:strRef>
              <c:f>Figures!$B$84:$D$84</c:f>
              <c:strCache>
                <c:ptCount val="3"/>
                <c:pt idx="0">
                  <c:v>RFA to Notice -&gt; RFP</c:v>
                </c:pt>
                <c:pt idx="1">
                  <c:v>RFP to Notice -&gt; Negotiations</c:v>
                </c:pt>
                <c:pt idx="2">
                  <c:v>Contract Negotiations</c:v>
                </c:pt>
              </c:strCache>
            </c:strRef>
          </c:cat>
          <c:val>
            <c:numRef>
              <c:f>Figures!$B$89:$D$89</c:f>
              <c:numCache>
                <c:formatCode>0</c:formatCode>
                <c:ptCount val="3"/>
                <c:pt idx="0">
                  <c:v>12</c:v>
                </c:pt>
                <c:pt idx="1">
                  <c:v>15</c:v>
                </c:pt>
                <c:pt idx="2">
                  <c:v>12</c:v>
                </c:pt>
              </c:numCache>
            </c:numRef>
          </c:val>
          <c:smooth val="0"/>
          <c:extLst>
            <c:ext xmlns:c16="http://schemas.microsoft.com/office/drawing/2014/chart" uri="{C3380CC4-5D6E-409C-BE32-E72D297353CC}">
              <c16:uniqueId val="{00000010-E772-4A48-A33D-5528EEC73F40}"/>
            </c:ext>
          </c:extLst>
        </c:ser>
        <c:dLbls>
          <c:showLegendKey val="0"/>
          <c:showVal val="1"/>
          <c:showCatName val="0"/>
          <c:showSerName val="0"/>
          <c:showPercent val="0"/>
          <c:showBubbleSize val="0"/>
        </c:dLbls>
        <c:marker val="1"/>
        <c:smooth val="0"/>
        <c:axId val="1818868287"/>
        <c:axId val="1818867039"/>
      </c:lineChart>
      <c:catAx>
        <c:axId val="18188682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818867039"/>
        <c:crosses val="autoZero"/>
        <c:auto val="1"/>
        <c:lblAlgn val="ctr"/>
        <c:lblOffset val="100"/>
        <c:noMultiLvlLbl val="0"/>
      </c:catAx>
      <c:valAx>
        <c:axId val="181886703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81886828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noFill/>
      <a:round/>
    </a:ln>
    <a:effectLst/>
  </c:spPr>
  <c:txPr>
    <a:bodyPr/>
    <a:lstStyle/>
    <a:p>
      <a:pPr>
        <a:defRPr sz="1400" baseline="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igures!$A$100</c:f>
              <c:strCache>
                <c:ptCount val="1"/>
                <c:pt idx="0">
                  <c:v>PGE</c:v>
                </c:pt>
              </c:strCache>
            </c:strRef>
          </c:tx>
          <c:spPr>
            <a:solidFill>
              <a:schemeClr val="accent1"/>
            </a:solidFill>
            <a:ln>
              <a:noFill/>
            </a:ln>
            <a:effectLst/>
          </c:spPr>
          <c:invertIfNegative val="0"/>
          <c:dLbls>
            <c:dLbl>
              <c:idx val="0"/>
              <c:tx>
                <c:rich>
                  <a:bodyPr/>
                  <a:lstStyle/>
                  <a:p>
                    <a:fld id="{C951218E-9BC7-4E88-AC72-C38E1CD3D92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0045-4242-A423-2E1499FFD691}"/>
                </c:ext>
              </c:extLst>
            </c:dLbl>
            <c:dLbl>
              <c:idx val="1"/>
              <c:tx>
                <c:rich>
                  <a:bodyPr/>
                  <a:lstStyle/>
                  <a:p>
                    <a:fld id="{67430E2D-3BB8-4229-B49F-60BA49B2933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045-4242-A423-2E1499FFD691}"/>
                </c:ext>
              </c:extLst>
            </c:dLbl>
            <c:dLbl>
              <c:idx val="2"/>
              <c:tx>
                <c:rich>
                  <a:bodyPr/>
                  <a:lstStyle/>
                  <a:p>
                    <a:fld id="{11744BC9-B8E7-4D64-BCDB-80375BB76DC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045-4242-A423-2E1499FFD691}"/>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Figures!$B$99:$D$99</c:f>
              <c:strCache>
                <c:ptCount val="3"/>
                <c:pt idx="0">
                  <c:v>RFA to Notice -&gt; RFP</c:v>
                </c:pt>
                <c:pt idx="1">
                  <c:v>RFP to  Notice -&gt; Negotiations</c:v>
                </c:pt>
                <c:pt idx="2">
                  <c:v>Contract Negotiations</c:v>
                </c:pt>
              </c:strCache>
            </c:strRef>
          </c:cat>
          <c:val>
            <c:numRef>
              <c:f>Figures!$B$100:$D$100</c:f>
              <c:numCache>
                <c:formatCode>0</c:formatCode>
                <c:ptCount val="3"/>
                <c:pt idx="0">
                  <c:v>12.285714285714285</c:v>
                </c:pt>
                <c:pt idx="1">
                  <c:v>12.047619047619046</c:v>
                </c:pt>
                <c:pt idx="2">
                  <c:v>19</c:v>
                </c:pt>
              </c:numCache>
            </c:numRef>
          </c:val>
          <c:extLst>
            <c:ext xmlns:c15="http://schemas.microsoft.com/office/drawing/2012/chart" uri="{02D57815-91ED-43cb-92C2-25804820EDAC}">
              <c15:datalabelsRange>
                <c15:f>Figures!$G$36:$I$36</c15:f>
                <c15:dlblRangeCache>
                  <c:ptCount val="3"/>
                  <c:pt idx="0">
                    <c:v>3</c:v>
                  </c:pt>
                  <c:pt idx="1">
                    <c:v>3</c:v>
                  </c:pt>
                  <c:pt idx="2">
                    <c:v>3</c:v>
                  </c:pt>
                </c15:dlblRangeCache>
              </c15:datalabelsRange>
            </c:ext>
            <c:ext xmlns:c16="http://schemas.microsoft.com/office/drawing/2014/chart" uri="{C3380CC4-5D6E-409C-BE32-E72D297353CC}">
              <c16:uniqueId val="{00000003-0045-4242-A423-2E1499FFD691}"/>
            </c:ext>
          </c:extLst>
        </c:ser>
        <c:ser>
          <c:idx val="1"/>
          <c:order val="1"/>
          <c:tx>
            <c:strRef>
              <c:f>Figures!$A$101</c:f>
              <c:strCache>
                <c:ptCount val="1"/>
                <c:pt idx="0">
                  <c:v>SCE</c:v>
                </c:pt>
              </c:strCache>
            </c:strRef>
          </c:tx>
          <c:spPr>
            <a:solidFill>
              <a:schemeClr val="accent2"/>
            </a:solidFill>
            <a:ln>
              <a:noFill/>
            </a:ln>
            <a:effectLst/>
          </c:spPr>
          <c:invertIfNegative val="0"/>
          <c:dLbls>
            <c:dLbl>
              <c:idx val="0"/>
              <c:tx>
                <c:rich>
                  <a:bodyPr/>
                  <a:lstStyle/>
                  <a:p>
                    <a:fld id="{F5DC52B9-2CE1-4784-8136-3BB49D485CB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0045-4242-A423-2E1499FFD691}"/>
                </c:ext>
              </c:extLst>
            </c:dLbl>
            <c:dLbl>
              <c:idx val="1"/>
              <c:layout>
                <c:manualLayout>
                  <c:x val="9.13599721936286E-4"/>
                  <c:y val="-4.6601932247395512E-2"/>
                </c:manualLayout>
              </c:layout>
              <c:tx>
                <c:rich>
                  <a:bodyPr/>
                  <a:lstStyle/>
                  <a:p>
                    <a:fld id="{673DB87D-443F-42F7-8F27-011E9950A724}"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0045-4242-A423-2E1499FFD691}"/>
                </c:ext>
              </c:extLst>
            </c:dLbl>
            <c:dLbl>
              <c:idx val="2"/>
              <c:tx>
                <c:rich>
                  <a:bodyPr/>
                  <a:lstStyle/>
                  <a:p>
                    <a:fld id="{0AD7081F-4D19-4325-B7D5-3309230A63B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0045-4242-A423-2E1499FFD691}"/>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Figures!$B$99:$D$99</c:f>
              <c:strCache>
                <c:ptCount val="3"/>
                <c:pt idx="0">
                  <c:v>RFA to Notice -&gt; RFP</c:v>
                </c:pt>
                <c:pt idx="1">
                  <c:v>RFP to  Notice -&gt; Negotiations</c:v>
                </c:pt>
                <c:pt idx="2">
                  <c:v>Contract Negotiations</c:v>
                </c:pt>
              </c:strCache>
            </c:strRef>
          </c:cat>
          <c:val>
            <c:numRef>
              <c:f>Figures!$B$101:$D$101</c:f>
              <c:numCache>
                <c:formatCode>0</c:formatCode>
                <c:ptCount val="3"/>
                <c:pt idx="0">
                  <c:v>12.4</c:v>
                </c:pt>
                <c:pt idx="1">
                  <c:v>13.523809523809524</c:v>
                </c:pt>
                <c:pt idx="2">
                  <c:v>0</c:v>
                </c:pt>
              </c:numCache>
            </c:numRef>
          </c:val>
          <c:extLst>
            <c:ext xmlns:c15="http://schemas.microsoft.com/office/drawing/2012/chart" uri="{02D57815-91ED-43cb-92C2-25804820EDAC}">
              <c15:datalabelsRange>
                <c15:f>Figures!$G$37:$I$37</c15:f>
                <c15:dlblRangeCache>
                  <c:ptCount val="3"/>
                  <c:pt idx="0">
                    <c:v>5</c:v>
                  </c:pt>
                  <c:pt idx="1">
                    <c:v>3</c:v>
                  </c:pt>
                  <c:pt idx="2">
                    <c:v>0</c:v>
                  </c:pt>
                </c15:dlblRangeCache>
              </c15:datalabelsRange>
            </c:ext>
            <c:ext xmlns:c16="http://schemas.microsoft.com/office/drawing/2014/chart" uri="{C3380CC4-5D6E-409C-BE32-E72D297353CC}">
              <c16:uniqueId val="{00000007-0045-4242-A423-2E1499FFD691}"/>
            </c:ext>
          </c:extLst>
        </c:ser>
        <c:ser>
          <c:idx val="2"/>
          <c:order val="2"/>
          <c:tx>
            <c:strRef>
              <c:f>Figures!$A$102</c:f>
              <c:strCache>
                <c:ptCount val="1"/>
                <c:pt idx="0">
                  <c:v>SCG</c:v>
                </c:pt>
              </c:strCache>
            </c:strRef>
          </c:tx>
          <c:spPr>
            <a:solidFill>
              <a:schemeClr val="accent3"/>
            </a:solidFill>
            <a:ln>
              <a:noFill/>
            </a:ln>
            <a:effectLst/>
          </c:spPr>
          <c:invertIfNegative val="0"/>
          <c:dLbls>
            <c:dLbl>
              <c:idx val="0"/>
              <c:tx>
                <c:rich>
                  <a:bodyPr/>
                  <a:lstStyle/>
                  <a:p>
                    <a:fld id="{17B6418D-0904-4712-8AAA-AA934F2602C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0045-4242-A423-2E1499FFD691}"/>
                </c:ext>
              </c:extLst>
            </c:dLbl>
            <c:dLbl>
              <c:idx val="1"/>
              <c:tx>
                <c:rich>
                  <a:bodyPr/>
                  <a:lstStyle/>
                  <a:p>
                    <a:fld id="{98C1BA79-34D1-43F0-A0A9-E6FB0B04939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0045-4242-A423-2E1499FFD691}"/>
                </c:ext>
              </c:extLst>
            </c:dLbl>
            <c:dLbl>
              <c:idx val="2"/>
              <c:tx>
                <c:rich>
                  <a:bodyPr/>
                  <a:lstStyle/>
                  <a:p>
                    <a:fld id="{D4BDF730-77D3-4198-9129-A6265654FA0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0045-4242-A423-2E1499FFD691}"/>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Figures!$B$99:$D$99</c:f>
              <c:strCache>
                <c:ptCount val="3"/>
                <c:pt idx="0">
                  <c:v>RFA to Notice -&gt; RFP</c:v>
                </c:pt>
                <c:pt idx="1">
                  <c:v>RFP to  Notice -&gt; Negotiations</c:v>
                </c:pt>
                <c:pt idx="2">
                  <c:v>Contract Negotiations</c:v>
                </c:pt>
              </c:strCache>
            </c:strRef>
          </c:cat>
          <c:val>
            <c:numRef>
              <c:f>Figures!$B$102:$D$102</c:f>
              <c:numCache>
                <c:formatCode>0</c:formatCode>
                <c:ptCount val="3"/>
                <c:pt idx="0">
                  <c:v>14.457142857142859</c:v>
                </c:pt>
                <c:pt idx="1">
                  <c:v>16.514285714285712</c:v>
                </c:pt>
                <c:pt idx="2">
                  <c:v>12</c:v>
                </c:pt>
              </c:numCache>
            </c:numRef>
          </c:val>
          <c:extLst>
            <c:ext xmlns:c15="http://schemas.microsoft.com/office/drawing/2012/chart" uri="{02D57815-91ED-43cb-92C2-25804820EDAC}">
              <c15:datalabelsRange>
                <c15:f>Figures!$G$38:$I$38</c15:f>
                <c15:dlblRangeCache>
                  <c:ptCount val="3"/>
                  <c:pt idx="0">
                    <c:v>5</c:v>
                  </c:pt>
                  <c:pt idx="1">
                    <c:v>5</c:v>
                  </c:pt>
                  <c:pt idx="2">
                    <c:v>4</c:v>
                  </c:pt>
                </c15:dlblRangeCache>
              </c15:datalabelsRange>
            </c:ext>
            <c:ext xmlns:c16="http://schemas.microsoft.com/office/drawing/2014/chart" uri="{C3380CC4-5D6E-409C-BE32-E72D297353CC}">
              <c16:uniqueId val="{0000000B-0045-4242-A423-2E1499FFD691}"/>
            </c:ext>
          </c:extLst>
        </c:ser>
        <c:ser>
          <c:idx val="3"/>
          <c:order val="3"/>
          <c:tx>
            <c:strRef>
              <c:f>Figures!$A$103</c:f>
              <c:strCache>
                <c:ptCount val="1"/>
                <c:pt idx="0">
                  <c:v>SDGE</c:v>
                </c:pt>
              </c:strCache>
            </c:strRef>
          </c:tx>
          <c:spPr>
            <a:solidFill>
              <a:schemeClr val="accent4"/>
            </a:solidFill>
            <a:ln>
              <a:noFill/>
            </a:ln>
            <a:effectLst/>
          </c:spPr>
          <c:invertIfNegative val="0"/>
          <c:dLbls>
            <c:dLbl>
              <c:idx val="0"/>
              <c:tx>
                <c:rich>
                  <a:bodyPr/>
                  <a:lstStyle/>
                  <a:p>
                    <a:fld id="{10D468A1-1CD2-4AD8-AEE6-A08BA3EA8ACC}"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0045-4242-A423-2E1499FFD691}"/>
                </c:ext>
              </c:extLst>
            </c:dLbl>
            <c:dLbl>
              <c:idx val="1"/>
              <c:tx>
                <c:rich>
                  <a:bodyPr/>
                  <a:lstStyle/>
                  <a:p>
                    <a:fld id="{F046C4E5-B082-40DF-9F59-4C50BC8EE95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0045-4242-A423-2E1499FFD691}"/>
                </c:ext>
              </c:extLst>
            </c:dLbl>
            <c:dLbl>
              <c:idx val="2"/>
              <c:tx>
                <c:rich>
                  <a:bodyPr/>
                  <a:lstStyle/>
                  <a:p>
                    <a:fld id="{526AA64E-29EE-49C7-B982-CEAA1CE0A25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0045-4242-A423-2E1499FFD691}"/>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Figures!$B$99:$D$99</c:f>
              <c:strCache>
                <c:ptCount val="3"/>
                <c:pt idx="0">
                  <c:v>RFA to Notice -&gt; RFP</c:v>
                </c:pt>
                <c:pt idx="1">
                  <c:v>RFP to  Notice -&gt; Negotiations</c:v>
                </c:pt>
                <c:pt idx="2">
                  <c:v>Contract Negotiations</c:v>
                </c:pt>
              </c:strCache>
            </c:strRef>
          </c:cat>
          <c:val>
            <c:numRef>
              <c:f>Figures!$B$103:$D$103</c:f>
              <c:numCache>
                <c:formatCode>0</c:formatCode>
                <c:ptCount val="3"/>
                <c:pt idx="0">
                  <c:v>12.142857142857142</c:v>
                </c:pt>
                <c:pt idx="1">
                  <c:v>0</c:v>
                </c:pt>
                <c:pt idx="2">
                  <c:v>0</c:v>
                </c:pt>
              </c:numCache>
            </c:numRef>
          </c:val>
          <c:extLst>
            <c:ext xmlns:c15="http://schemas.microsoft.com/office/drawing/2012/chart" uri="{02D57815-91ED-43cb-92C2-25804820EDAC}">
              <c15:datalabelsRange>
                <c15:f>Figures!$G$39:$I$39</c15:f>
                <c15:dlblRangeCache>
                  <c:ptCount val="3"/>
                  <c:pt idx="0">
                    <c:v>2</c:v>
                  </c:pt>
                  <c:pt idx="1">
                    <c:v>0</c:v>
                  </c:pt>
                  <c:pt idx="2">
                    <c:v>0</c:v>
                  </c:pt>
                </c15:dlblRangeCache>
              </c15:datalabelsRange>
            </c:ext>
            <c:ext xmlns:c16="http://schemas.microsoft.com/office/drawing/2014/chart" uri="{C3380CC4-5D6E-409C-BE32-E72D297353CC}">
              <c16:uniqueId val="{0000000F-0045-4242-A423-2E1499FFD691}"/>
            </c:ext>
          </c:extLst>
        </c:ser>
        <c:dLbls>
          <c:showLegendKey val="0"/>
          <c:showVal val="1"/>
          <c:showCatName val="0"/>
          <c:showSerName val="0"/>
          <c:showPercent val="0"/>
          <c:showBubbleSize val="0"/>
        </c:dLbls>
        <c:gapWidth val="219"/>
        <c:axId val="1818868287"/>
        <c:axId val="1818867039"/>
      </c:barChart>
      <c:lineChart>
        <c:grouping val="standard"/>
        <c:varyColors val="0"/>
        <c:ser>
          <c:idx val="4"/>
          <c:order val="4"/>
          <c:tx>
            <c:strRef>
              <c:f>Figures!$A$104</c:f>
              <c:strCache>
                <c:ptCount val="1"/>
                <c:pt idx="0">
                  <c:v>Expectation</c:v>
                </c:pt>
              </c:strCache>
            </c:strRef>
          </c:tx>
          <c:spPr>
            <a:ln w="25400" cap="rnd">
              <a:noFill/>
              <a:round/>
            </a:ln>
            <a:effectLst/>
          </c:spPr>
          <c:marker>
            <c:symbol val="dash"/>
            <c:size val="16"/>
            <c:spPr>
              <a:solidFill>
                <a:srgbClr val="002060"/>
              </a:solidFill>
              <a:ln w="9525">
                <a:solidFill>
                  <a:srgbClr val="002060"/>
                </a:solidFill>
              </a:ln>
              <a:effectLst/>
            </c:spPr>
          </c:marker>
          <c:dLbls>
            <c:delete val="1"/>
          </c:dLbls>
          <c:cat>
            <c:strRef>
              <c:f>Figures!$B$99:$D$99</c:f>
              <c:strCache>
                <c:ptCount val="3"/>
                <c:pt idx="0">
                  <c:v>RFA to Notice -&gt; RFP</c:v>
                </c:pt>
                <c:pt idx="1">
                  <c:v>RFP to  Notice -&gt; Negotiations</c:v>
                </c:pt>
                <c:pt idx="2">
                  <c:v>Contract Negotiations</c:v>
                </c:pt>
              </c:strCache>
            </c:strRef>
          </c:cat>
          <c:val>
            <c:numRef>
              <c:f>Figures!$B$104:$D$104</c:f>
              <c:numCache>
                <c:formatCode>0</c:formatCode>
                <c:ptCount val="3"/>
                <c:pt idx="0">
                  <c:v>12</c:v>
                </c:pt>
                <c:pt idx="1">
                  <c:v>15</c:v>
                </c:pt>
                <c:pt idx="2">
                  <c:v>12</c:v>
                </c:pt>
              </c:numCache>
            </c:numRef>
          </c:val>
          <c:smooth val="0"/>
          <c:extLst>
            <c:ext xmlns:c16="http://schemas.microsoft.com/office/drawing/2014/chart" uri="{C3380CC4-5D6E-409C-BE32-E72D297353CC}">
              <c16:uniqueId val="{00000010-0045-4242-A423-2E1499FFD691}"/>
            </c:ext>
          </c:extLst>
        </c:ser>
        <c:dLbls>
          <c:showLegendKey val="0"/>
          <c:showVal val="1"/>
          <c:showCatName val="0"/>
          <c:showSerName val="0"/>
          <c:showPercent val="0"/>
          <c:showBubbleSize val="0"/>
        </c:dLbls>
        <c:marker val="1"/>
        <c:smooth val="0"/>
        <c:axId val="1818868287"/>
        <c:axId val="1818867039"/>
      </c:lineChart>
      <c:catAx>
        <c:axId val="18188682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818867039"/>
        <c:crosses val="autoZero"/>
        <c:auto val="1"/>
        <c:lblAlgn val="ctr"/>
        <c:lblOffset val="100"/>
        <c:noMultiLvlLbl val="0"/>
      </c:catAx>
      <c:valAx>
        <c:axId val="1818867039"/>
        <c:scaling>
          <c:orientation val="minMax"/>
          <c:max val="35"/>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81886828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solidFill>
      <a:schemeClr val="bg1"/>
    </a:solidFill>
    <a:ln w="9525" cap="flat" cmpd="sng" algn="ctr">
      <a:noFill/>
      <a:round/>
    </a:ln>
    <a:effectLst/>
  </c:spPr>
  <c:txPr>
    <a:bodyPr/>
    <a:lstStyle/>
    <a:p>
      <a:pPr>
        <a:defRPr sz="1400" baseline="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PEND</c:v>
                </c:pt>
              </c:strCache>
            </c:strRef>
          </c:tx>
          <c:dPt>
            <c:idx val="0"/>
            <c:bubble3D val="0"/>
            <c:spPr>
              <a:solidFill>
                <a:schemeClr val="accent5">
                  <a:lumMod val="75000"/>
                </a:schemeClr>
              </a:solidFill>
              <a:ln w="9525" cap="flat" cmpd="sng" algn="ctr">
                <a:solidFill>
                  <a:schemeClr val="accent1">
                    <a:shade val="95000"/>
                  </a:schemeClr>
                </a:solidFill>
                <a:round/>
              </a:ln>
              <a:effectLst/>
            </c:spPr>
            <c:extLst>
              <c:ext xmlns:c16="http://schemas.microsoft.com/office/drawing/2014/chart" uri="{C3380CC4-5D6E-409C-BE32-E72D297353CC}">
                <c16:uniqueId val="{00000001-F2CC-4D56-93B0-E4124D678440}"/>
              </c:ext>
            </c:extLst>
          </c:dPt>
          <c:dPt>
            <c:idx val="1"/>
            <c:bubble3D val="0"/>
            <c:spPr>
              <a:solidFill>
                <a:schemeClr val="accent6">
                  <a:lumMod val="75000"/>
                </a:schemeClr>
              </a:solidFill>
              <a:ln w="9525" cap="flat" cmpd="sng" algn="ctr">
                <a:solidFill>
                  <a:schemeClr val="accent2">
                    <a:shade val="95000"/>
                  </a:schemeClr>
                </a:solidFill>
                <a:round/>
              </a:ln>
              <a:effectLst/>
            </c:spPr>
            <c:extLst>
              <c:ext xmlns:c16="http://schemas.microsoft.com/office/drawing/2014/chart" uri="{C3380CC4-5D6E-409C-BE32-E72D297353CC}">
                <c16:uniqueId val="{00000003-F2CC-4D56-93B0-E4124D678440}"/>
              </c:ext>
            </c:extLst>
          </c:dPt>
          <c:cat>
            <c:strRef>
              <c:f>Sheet1!$A$2:$A$3</c:f>
              <c:strCache>
                <c:ptCount val="2"/>
                <c:pt idx="0">
                  <c:v>DIRECT</c:v>
                </c:pt>
                <c:pt idx="1">
                  <c:v>SUB</c:v>
                </c:pt>
              </c:strCache>
            </c:strRef>
          </c:cat>
          <c:val>
            <c:numRef>
              <c:f>Sheet1!$B$2:$B$3</c:f>
              <c:numCache>
                <c:formatCode>General</c:formatCode>
                <c:ptCount val="2"/>
                <c:pt idx="0">
                  <c:v>3256</c:v>
                </c:pt>
                <c:pt idx="1">
                  <c:v>623</c:v>
                </c:pt>
              </c:numCache>
            </c:numRef>
          </c:val>
          <c:extLst>
            <c:ext xmlns:c16="http://schemas.microsoft.com/office/drawing/2014/chart" uri="{C3380CC4-5D6E-409C-BE32-E72D297353CC}">
              <c16:uniqueId val="{00000004-F2CC-4D56-93B0-E4124D678440}"/>
            </c:ext>
          </c:extLst>
        </c:ser>
        <c:dLbls>
          <c:showLegendKey val="0"/>
          <c:showVal val="0"/>
          <c:showCatName val="0"/>
          <c:showSerName val="0"/>
          <c:showPercent val="0"/>
          <c:showBubbleSize val="0"/>
          <c:showLeaderLines val="1"/>
        </c:dLbls>
        <c:firstSliceAng val="58"/>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35">
  <cs:axisTitle>
    <cs:lnRef idx="0"/>
    <cs:fillRef idx="0"/>
    <cs:effectRef idx="0"/>
    <cs:fontRef idx="minor">
      <a:schemeClr val="dk1"/>
    </cs:fontRef>
    <cs:defRPr sz="1000" b="1" kern="1200"/>
  </cs:axisTitle>
  <cs:categoryAxis>
    <cs:lnRef idx="1">
      <a:schemeClr val="dk1">
        <a:tint val="75000"/>
      </a:schemeClr>
    </cs:lnRef>
    <cs:fillRef idx="0"/>
    <cs:effectRef idx="0"/>
    <cs:fontRef idx="minor">
      <a:schemeClr val="dk1"/>
    </cs:fontRef>
    <cs:spPr>
      <a:ln>
        <a:round/>
      </a:ln>
    </cs:spPr>
    <cs:defRPr sz="1000" kern="1200"/>
  </cs:categoryAxis>
  <cs:chartArea>
    <cs:lnRef idx="1">
      <a:schemeClr val="dk1">
        <a:tint val="75000"/>
      </a:schemeClr>
    </cs:lnRef>
    <cs:fillRef idx="1">
      <a:schemeClr val="lt1"/>
    </cs:fillRef>
    <cs:effectRef idx="0"/>
    <cs:fontRef idx="minor">
      <a:schemeClr val="dk1"/>
    </cs:fontRef>
    <cs:spPr>
      <a:ln>
        <a:round/>
      </a:ln>
    </cs:spPr>
    <cs:defRPr sz="1000" kern="1200"/>
  </cs:chartArea>
  <cs:dataLabel>
    <cs:lnRef idx="0"/>
    <cs:fillRef idx="0"/>
    <cs:effectRef idx="0"/>
    <cs:fontRef idx="minor">
      <a:schemeClr val="dk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1" mods="ignoreCSTransforms">
      <cs:styleClr val="0">
        <a:shade val="50000"/>
      </cs:styleClr>
    </cs:lnRef>
    <cs:fillRef idx="1">
      <cs:styleClr val="auto"/>
    </cs:fillRef>
    <cs:effectRef idx="0"/>
    <cs:fontRef idx="minor">
      <a:schemeClr val="dk1"/>
    </cs:fontRef>
    <cs:spPr>
      <a:ln>
        <a:round/>
      </a:ln>
    </cs:spPr>
  </cs:dataPoint>
  <cs:dataPoint3D>
    <cs:lnRef idx="1" mods="ignoreCSTransforms">
      <cs:styleClr val="0">
        <a:shade val="50000"/>
      </cs:styleClr>
    </cs:lnRef>
    <cs:fillRef idx="1">
      <cs:styleClr val="auto"/>
    </cs:fillRef>
    <cs:effectRef idx="0"/>
    <cs:fontRef idx="minor">
      <a:schemeClr val="dk1"/>
    </cs:fontRef>
    <cs:spPr>
      <a:ln>
        <a:round/>
      </a:ln>
    </cs:spPr>
  </cs:dataPoint3D>
  <cs:dataPointLine>
    <cs:lnRef idx="1">
      <cs:styleClr val="auto"/>
    </cs:lnRef>
    <cs:lineWidthScale>5</cs:lineWidthScale>
    <cs:fillRef idx="0"/>
    <cs:effectRef idx="0"/>
    <cs:fontRef idx="minor">
      <a:schemeClr val="dk1"/>
    </cs:fontRef>
    <cs:spPr>
      <a:ln cap="rnd">
        <a:round/>
      </a:ln>
    </cs:spPr>
  </cs:dataPointLine>
  <cs:dataPointMarker>
    <cs:lnRef idx="1">
      <cs:styleClr val="auto"/>
    </cs:lnRef>
    <cs:fillRef idx="1">
      <cs:styleClr val="auto"/>
    </cs:fillRef>
    <cs:effectRef idx="0"/>
    <cs:fontRef idx="minor">
      <a:schemeClr val="dk1"/>
    </cs:fontRef>
    <cs:spPr>
      <a:ln>
        <a:round/>
      </a:ln>
    </cs:spPr>
  </cs:dataPointMarker>
  <cs:dataPointMarkerLayout/>
  <cs:dataPointWireframe>
    <cs:lnRef idx="1">
      <cs:styleClr val="auto"/>
    </cs:lnRef>
    <cs:fillRef idx="0"/>
    <cs:effectRef idx="0"/>
    <cs:fontRef idx="minor">
      <a:schemeClr val="dk1"/>
    </cs:fontRef>
    <cs:spPr>
      <a:ln>
        <a:round/>
      </a:ln>
    </cs:spPr>
  </cs:dataPointWireframe>
  <cs:dataTable>
    <cs:lnRef idx="1">
      <a:schemeClr val="dk1">
        <a:tint val="75000"/>
      </a:schemeClr>
    </cs:lnRef>
    <cs:fillRef idx="0"/>
    <cs:effectRef idx="0"/>
    <cs:fontRef idx="minor">
      <a:schemeClr val="dk1"/>
    </cs:fontRef>
    <cs:spPr>
      <a:ln>
        <a:round/>
      </a:ln>
    </cs:spPr>
    <cs:defRPr sz="1000" kern="1200"/>
  </cs:dataTable>
  <cs:downBar>
    <cs:lnRef idx="1" mods="ignoreCSTransforms">
      <cs:styleClr val="0">
        <a:shade val="25000"/>
      </cs:styleClr>
    </cs:lnRef>
    <cs:fillRef idx="1" mods="ignoreCSTransforms">
      <cs:styleClr val="0">
        <a:shade val="25000"/>
      </cs:styleClr>
    </cs:fillRef>
    <cs:effectRef idx="0"/>
    <cs:fontRef idx="minor">
      <a:schemeClr val="dk1"/>
    </cs:fontRef>
    <cs:spPr>
      <a:ln>
        <a:round/>
      </a:ln>
    </cs:spPr>
  </cs:downBar>
  <cs:dropLine>
    <cs:lnRef idx="1">
      <a:schemeClr val="dk1"/>
    </cs:lnRef>
    <cs:fillRef idx="0"/>
    <cs:effectRef idx="0"/>
    <cs:fontRef idx="minor">
      <a:schemeClr val="dk1"/>
    </cs:fontRef>
    <cs:spPr>
      <a:ln>
        <a:round/>
      </a:ln>
    </cs:spPr>
  </cs:dropLine>
  <cs:errorBar>
    <cs:lnRef idx="1">
      <a:schemeClr val="dk1"/>
    </cs:lnRef>
    <cs:fillRef idx="1">
      <a:schemeClr val="dk1"/>
    </cs:fillRef>
    <cs:effectRef idx="0"/>
    <cs:fontRef idx="minor">
      <a:schemeClr val="dk1"/>
    </cs:fontRef>
    <cs:spPr>
      <a:ln>
        <a:round/>
      </a:ln>
    </cs:spPr>
  </cs:errorBar>
  <cs:floor>
    <cs:lnRef idx="1">
      <a:schemeClr val="dk1">
        <a:tint val="75000"/>
      </a:schemeClr>
    </cs:lnRef>
    <cs:fillRef idx="1" mods="ignoreCSTransforms">
      <cs:styleClr val="0">
        <a:tint val="20000"/>
      </cs:styleClr>
    </cs:fillRef>
    <cs:effectRef idx="0"/>
    <cs:fontRef idx="minor">
      <a:schemeClr val="dk1"/>
    </cs:fontRef>
    <cs:spPr>
      <a:ln>
        <a:round/>
      </a:ln>
    </cs:spPr>
  </cs:floor>
  <cs:gridlineMajor>
    <cs:lnRef idx="1">
      <a:schemeClr val="dk1">
        <a:tint val="75000"/>
      </a:schemeClr>
    </cs:lnRef>
    <cs:fillRef idx="0"/>
    <cs:effectRef idx="0"/>
    <cs:fontRef idx="minor">
      <a:schemeClr val="dk1"/>
    </cs:fontRef>
    <cs:spPr>
      <a:ln>
        <a:round/>
      </a:ln>
    </cs:spPr>
  </cs:gridlineMajor>
  <cs:gridlineMinor>
    <cs:lnRef idx="1">
      <a:schemeClr val="dk1">
        <a:tint val="50000"/>
      </a:schemeClr>
    </cs:lnRef>
    <cs:fillRef idx="0"/>
    <cs:effectRef idx="0"/>
    <cs:fontRef idx="minor">
      <a:schemeClr val="dk1"/>
    </cs:fontRef>
    <cs:spPr>
      <a:ln>
        <a:round/>
      </a:ln>
    </cs:spPr>
  </cs:gridlineMinor>
  <cs:hiLoLine>
    <cs:lnRef idx="1">
      <a:schemeClr val="dk1"/>
    </cs:lnRef>
    <cs:fillRef idx="0"/>
    <cs:effectRef idx="0"/>
    <cs:fontRef idx="minor">
      <a:schemeClr val="dk1"/>
    </cs:fontRef>
    <cs:spPr>
      <a:ln>
        <a:round/>
      </a:ln>
    </cs:spPr>
  </cs:hiLoLine>
  <cs:leaderLine>
    <cs:lnRef idx="1">
      <a:schemeClr val="dk1"/>
    </cs:lnRef>
    <cs:fillRef idx="0"/>
    <cs:effectRef idx="0"/>
    <cs:fontRef idx="minor">
      <a:schemeClr val="dk1"/>
    </cs:fontRef>
    <cs:spPr>
      <a:ln>
        <a:round/>
      </a:ln>
    </cs:spPr>
  </cs:leaderLine>
  <cs:legend>
    <cs:lnRef idx="0"/>
    <cs:fillRef idx="0"/>
    <cs:effectRef idx="0"/>
    <cs:fontRef idx="minor">
      <a:schemeClr val="dk1"/>
    </cs:fontRef>
    <cs:defRPr sz="1000" kern="1200"/>
  </cs:legend>
  <cs:plotArea>
    <cs:lnRef idx="0"/>
    <cs:fillRef idx="1" mods="ignoreCSTransforms">
      <cs:styleClr val="0">
        <a:tint val="20000"/>
      </cs:styleClr>
    </cs:fillRef>
    <cs:effectRef idx="0"/>
    <cs:fontRef idx="minor">
      <a:schemeClr val="dk1"/>
    </cs:fontRef>
  </cs:plotArea>
  <cs:plotArea3D>
    <cs:lnRef idx="0"/>
    <cs:fillRef idx="0"/>
    <cs:effectRef idx="0"/>
    <cs:fontRef idx="minor">
      <a:schemeClr val="dk1"/>
    </cs:fontRef>
  </cs:plotArea3D>
  <cs:seriesAxis>
    <cs:lnRef idx="1">
      <a:schemeClr val="dk1">
        <a:tint val="75000"/>
      </a:schemeClr>
    </cs:lnRef>
    <cs:fillRef idx="0"/>
    <cs:effectRef idx="0"/>
    <cs:fontRef idx="minor">
      <a:schemeClr val="dk1"/>
    </cs:fontRef>
    <cs:spPr>
      <a:ln>
        <a:round/>
      </a:ln>
    </cs:spPr>
    <cs:defRPr sz="1000" kern="1200"/>
  </cs:seriesAxis>
  <cs:seriesLine>
    <cs:lnRef idx="1">
      <a:schemeClr val="dk1"/>
    </cs:lnRef>
    <cs:fillRef idx="0"/>
    <cs:effectRef idx="0"/>
    <cs:fontRef idx="minor">
      <a:schemeClr val="dk1"/>
    </cs:fontRef>
    <cs:spPr>
      <a:ln>
        <a:round/>
      </a:ln>
    </cs:spPr>
  </cs:seriesLine>
  <cs:title>
    <cs:lnRef idx="0"/>
    <cs:fillRef idx="0"/>
    <cs:effectRef idx="0"/>
    <cs:fontRef idx="minor">
      <a:schemeClr val="dk1"/>
    </cs:fontRef>
    <cs:defRPr sz="1800" b="1" kern="1200"/>
  </cs:title>
  <cs:trendline>
    <cs:lnRef idx="1">
      <a:schemeClr val="dk1"/>
    </cs:lnRef>
    <cs:fillRef idx="0"/>
    <cs:effectRef idx="0"/>
    <cs:fontRef idx="minor">
      <a:schemeClr val="dk1"/>
    </cs:fontRef>
    <cs:spPr>
      <a:ln cap="rnd">
        <a:round/>
      </a:ln>
    </cs:spPr>
  </cs:trendline>
  <cs:trendlineLabel>
    <cs:lnRef idx="0"/>
    <cs:fillRef idx="0"/>
    <cs:effectRef idx="0"/>
    <cs:fontRef idx="minor">
      <a:schemeClr val="dk1"/>
    </cs:fontRef>
    <cs:defRPr sz="1000" kern="1200"/>
  </cs:trendlineLabel>
  <cs:upBar>
    <cs:lnRef idx="1" mods="ignoreCSTransforms">
      <cs:styleClr val="0">
        <a:shade val="25000"/>
      </cs:styleClr>
    </cs:lnRef>
    <cs:fillRef idx="1">
      <a:schemeClr val="lt1"/>
    </cs:fillRef>
    <cs:effectRef idx="0"/>
    <cs:fontRef idx="minor">
      <a:schemeClr val="dk1"/>
    </cs:fontRef>
    <cs:spPr>
      <a:ln>
        <a:round/>
      </a:ln>
    </cs:spPr>
  </cs:upBar>
  <cs:valueAxis>
    <cs:lnRef idx="1">
      <a:schemeClr val="dk1">
        <a:tint val="75000"/>
      </a:schemeClr>
    </cs:lnRef>
    <cs:fillRef idx="0"/>
    <cs:effectRef idx="0"/>
    <cs:fontRef idx="minor">
      <a:schemeClr val="dk1"/>
    </cs:fontRef>
    <cs:spPr>
      <a:ln>
        <a:round/>
      </a:ln>
    </cs:spPr>
    <cs:defRPr sz="1000" kern="1200"/>
  </cs:valueAxis>
  <cs:wall>
    <cs:lnRef idx="0"/>
    <cs:fillRef idx="1" mods="ignoreCSTransforms">
      <cs:styleClr val="0">
        <a:tint val="20000"/>
      </cs:styleClr>
    </cs:fillRef>
    <cs:effectRef idx="0"/>
    <cs:fontRef idx="minor">
      <a:schemeClr val="dk1"/>
    </cs:fontRef>
  </cs:wall>
</cs:chartStyle>
</file>

<file path=ppt/charts/style2.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4">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65000"/>
        <a:lumOff val="3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fillRef idx="2">
      <cs:styleClr val="auto"/>
    </cs:fillRef>
    <cs:effectRef idx="1"/>
    <cs:fontRef idx="minor">
      <a:schemeClr val="dk1"/>
    </cs:fontRef>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8FF2DCC-EC53-49C3-B9BF-5DEB8837005A}"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US"/>
        </a:p>
      </dgm:t>
    </dgm:pt>
    <dgm:pt modelId="{1A98475C-8CDD-49C0-87DB-E2793F66CA2C}">
      <dgm:prSet phldrT="[Text]"/>
      <dgm:spPr/>
      <dgm:t>
        <a:bodyPr/>
        <a:lstStyle/>
        <a:p>
          <a:r>
            <a:rPr lang="en-US" dirty="0"/>
            <a:t>Content analysis</a:t>
          </a:r>
        </a:p>
      </dgm:t>
    </dgm:pt>
    <dgm:pt modelId="{63A9EC33-8DD1-4BD2-8EB5-500DE2DEE17B}" type="parTrans" cxnId="{573A45F8-749C-4890-9ECA-F97BBD05CBF7}">
      <dgm:prSet/>
      <dgm:spPr/>
      <dgm:t>
        <a:bodyPr/>
        <a:lstStyle/>
        <a:p>
          <a:endParaRPr lang="en-US"/>
        </a:p>
      </dgm:t>
    </dgm:pt>
    <dgm:pt modelId="{70C99750-289F-432A-94E2-EFE82FC6F23E}" type="sibTrans" cxnId="{573A45F8-749C-4890-9ECA-F97BBD05CBF7}">
      <dgm:prSet/>
      <dgm:spPr/>
      <dgm:t>
        <a:bodyPr/>
        <a:lstStyle/>
        <a:p>
          <a:endParaRPr lang="en-US"/>
        </a:p>
      </dgm:t>
    </dgm:pt>
    <dgm:pt modelId="{58D5E4EE-A0CB-417C-BC22-23F40D12338D}">
      <dgm:prSet phldrT="[Text]"/>
      <dgm:spPr/>
      <dgm:t>
        <a:bodyPr/>
        <a:lstStyle/>
        <a:p>
          <a:r>
            <a:rPr lang="en-US" dirty="0"/>
            <a:t>IOU Staff interviews</a:t>
          </a:r>
        </a:p>
      </dgm:t>
    </dgm:pt>
    <dgm:pt modelId="{6740831E-5524-4120-9252-AC20716D438F}" type="parTrans" cxnId="{E6335738-CBC2-4634-8D31-AF4FC395DF17}">
      <dgm:prSet/>
      <dgm:spPr/>
      <dgm:t>
        <a:bodyPr/>
        <a:lstStyle/>
        <a:p>
          <a:endParaRPr lang="en-US"/>
        </a:p>
      </dgm:t>
    </dgm:pt>
    <dgm:pt modelId="{3B6D01B4-20C9-4BA1-B549-8BCDB453FBE8}" type="sibTrans" cxnId="{E6335738-CBC2-4634-8D31-AF4FC395DF17}">
      <dgm:prSet/>
      <dgm:spPr/>
      <dgm:t>
        <a:bodyPr/>
        <a:lstStyle/>
        <a:p>
          <a:endParaRPr lang="en-US"/>
        </a:p>
      </dgm:t>
    </dgm:pt>
    <dgm:pt modelId="{54BC9496-F2B8-42CB-8ED1-1628C1EF9946}">
      <dgm:prSet phldrT="[Text]"/>
      <dgm:spPr/>
      <dgm:t>
        <a:bodyPr/>
        <a:lstStyle/>
        <a:p>
          <a:r>
            <a:rPr lang="en-US" dirty="0"/>
            <a:t>IE Interviews</a:t>
          </a:r>
        </a:p>
      </dgm:t>
    </dgm:pt>
    <dgm:pt modelId="{1FFF2FD1-F354-4AEB-96FD-38CCF1F65BD0}" type="parTrans" cxnId="{11B0A784-FC55-444D-A4A6-E8019758618C}">
      <dgm:prSet/>
      <dgm:spPr/>
      <dgm:t>
        <a:bodyPr/>
        <a:lstStyle/>
        <a:p>
          <a:endParaRPr lang="en-US"/>
        </a:p>
      </dgm:t>
    </dgm:pt>
    <dgm:pt modelId="{6FDCE73C-12B3-477B-A612-3C6A8B78CE9F}" type="sibTrans" cxnId="{11B0A784-FC55-444D-A4A6-E8019758618C}">
      <dgm:prSet/>
      <dgm:spPr/>
      <dgm:t>
        <a:bodyPr/>
        <a:lstStyle/>
        <a:p>
          <a:endParaRPr lang="en-US"/>
        </a:p>
      </dgm:t>
    </dgm:pt>
    <dgm:pt modelId="{FEB38F7C-407E-4B5D-AE99-F74B96DB0E68}">
      <dgm:prSet phldrT="[Text]"/>
      <dgm:spPr/>
      <dgm:t>
        <a:bodyPr/>
        <a:lstStyle/>
        <a:p>
          <a:r>
            <a:rPr lang="en-US" dirty="0"/>
            <a:t>Bidder Interviews/Survey</a:t>
          </a:r>
        </a:p>
      </dgm:t>
    </dgm:pt>
    <dgm:pt modelId="{238759BE-337D-4902-BED8-C50DE71CE4E8}" type="parTrans" cxnId="{B0D294F9-74FC-40B9-B641-B7CA80756D2B}">
      <dgm:prSet/>
      <dgm:spPr/>
      <dgm:t>
        <a:bodyPr/>
        <a:lstStyle/>
        <a:p>
          <a:endParaRPr lang="en-US"/>
        </a:p>
      </dgm:t>
    </dgm:pt>
    <dgm:pt modelId="{0D305E4C-FBD5-4028-8D60-02D74AF58B49}" type="sibTrans" cxnId="{B0D294F9-74FC-40B9-B641-B7CA80756D2B}">
      <dgm:prSet/>
      <dgm:spPr/>
      <dgm:t>
        <a:bodyPr/>
        <a:lstStyle/>
        <a:p>
          <a:endParaRPr lang="en-US"/>
        </a:p>
      </dgm:t>
    </dgm:pt>
    <dgm:pt modelId="{51357C68-A9A9-4E3C-9BCC-F7D96ADC0F37}">
      <dgm:prSet phldrT="[Text]"/>
      <dgm:spPr/>
      <dgm:t>
        <a:bodyPr/>
        <a:lstStyle/>
        <a:p>
          <a:r>
            <a:rPr lang="en-US" dirty="0"/>
            <a:t>Reporting</a:t>
          </a:r>
        </a:p>
      </dgm:t>
    </dgm:pt>
    <dgm:pt modelId="{FF71DA60-1DCD-496D-8728-EF033B7CDC98}" type="parTrans" cxnId="{8F87EF85-1970-4958-AA87-1A388C2DAA7A}">
      <dgm:prSet/>
      <dgm:spPr/>
      <dgm:t>
        <a:bodyPr/>
        <a:lstStyle/>
        <a:p>
          <a:endParaRPr lang="en-US"/>
        </a:p>
      </dgm:t>
    </dgm:pt>
    <dgm:pt modelId="{0B9CF27E-2327-43BA-89EA-5556C0804157}" type="sibTrans" cxnId="{8F87EF85-1970-4958-AA87-1A388C2DAA7A}">
      <dgm:prSet/>
      <dgm:spPr/>
      <dgm:t>
        <a:bodyPr/>
        <a:lstStyle/>
        <a:p>
          <a:endParaRPr lang="en-US"/>
        </a:p>
      </dgm:t>
    </dgm:pt>
    <dgm:pt modelId="{48E61F0F-342E-42A6-A68E-822542FCF6D4}" type="pres">
      <dgm:prSet presAssocID="{98FF2DCC-EC53-49C3-B9BF-5DEB8837005A}" presName="Name0" presStyleCnt="0">
        <dgm:presLayoutVars>
          <dgm:dir/>
          <dgm:animLvl val="lvl"/>
          <dgm:resizeHandles val="exact"/>
        </dgm:presLayoutVars>
      </dgm:prSet>
      <dgm:spPr/>
    </dgm:pt>
    <dgm:pt modelId="{36C93488-5A5D-43D9-B95E-60F7E97D25D9}" type="pres">
      <dgm:prSet presAssocID="{1A98475C-8CDD-49C0-87DB-E2793F66CA2C}" presName="parTxOnly" presStyleLbl="node1" presStyleIdx="0" presStyleCnt="5" custLinFactNeighborX="-821" custLinFactNeighborY="5814">
        <dgm:presLayoutVars>
          <dgm:chMax val="0"/>
          <dgm:chPref val="0"/>
          <dgm:bulletEnabled val="1"/>
        </dgm:presLayoutVars>
      </dgm:prSet>
      <dgm:spPr/>
    </dgm:pt>
    <dgm:pt modelId="{A8C3C93E-D9EC-4AC3-B50C-78E7B39761E6}" type="pres">
      <dgm:prSet presAssocID="{70C99750-289F-432A-94E2-EFE82FC6F23E}" presName="parTxOnlySpace" presStyleCnt="0"/>
      <dgm:spPr/>
    </dgm:pt>
    <dgm:pt modelId="{9737087F-43C4-4350-8EAA-1C0E552CBAEB}" type="pres">
      <dgm:prSet presAssocID="{58D5E4EE-A0CB-417C-BC22-23F40D12338D}" presName="parTxOnly" presStyleLbl="node1" presStyleIdx="1" presStyleCnt="5">
        <dgm:presLayoutVars>
          <dgm:chMax val="0"/>
          <dgm:chPref val="0"/>
          <dgm:bulletEnabled val="1"/>
        </dgm:presLayoutVars>
      </dgm:prSet>
      <dgm:spPr/>
    </dgm:pt>
    <dgm:pt modelId="{D9609766-C5CA-414B-895C-AA2FEFD36EE9}" type="pres">
      <dgm:prSet presAssocID="{3B6D01B4-20C9-4BA1-B549-8BCDB453FBE8}" presName="parTxOnlySpace" presStyleCnt="0"/>
      <dgm:spPr/>
    </dgm:pt>
    <dgm:pt modelId="{530FAB49-C1DB-4817-BA7D-56D3AA4EBAB5}" type="pres">
      <dgm:prSet presAssocID="{54BC9496-F2B8-42CB-8ED1-1628C1EF9946}" presName="parTxOnly" presStyleLbl="node1" presStyleIdx="2" presStyleCnt="5">
        <dgm:presLayoutVars>
          <dgm:chMax val="0"/>
          <dgm:chPref val="0"/>
          <dgm:bulletEnabled val="1"/>
        </dgm:presLayoutVars>
      </dgm:prSet>
      <dgm:spPr/>
    </dgm:pt>
    <dgm:pt modelId="{677851EB-D4DE-4EEC-A0A3-83C7CDCBE8AD}" type="pres">
      <dgm:prSet presAssocID="{6FDCE73C-12B3-477B-A612-3C6A8B78CE9F}" presName="parTxOnlySpace" presStyleCnt="0"/>
      <dgm:spPr/>
    </dgm:pt>
    <dgm:pt modelId="{0ED321F5-EE48-4AE5-A542-F10CE54153CD}" type="pres">
      <dgm:prSet presAssocID="{FEB38F7C-407E-4B5D-AE99-F74B96DB0E68}" presName="parTxOnly" presStyleLbl="node1" presStyleIdx="3" presStyleCnt="5">
        <dgm:presLayoutVars>
          <dgm:chMax val="0"/>
          <dgm:chPref val="0"/>
          <dgm:bulletEnabled val="1"/>
        </dgm:presLayoutVars>
      </dgm:prSet>
      <dgm:spPr/>
    </dgm:pt>
    <dgm:pt modelId="{12FB0402-D85E-4A00-A606-7B963EEE9D0F}" type="pres">
      <dgm:prSet presAssocID="{0D305E4C-FBD5-4028-8D60-02D74AF58B49}" presName="parTxOnlySpace" presStyleCnt="0"/>
      <dgm:spPr/>
    </dgm:pt>
    <dgm:pt modelId="{4BF3CB95-DC7E-46EE-956D-AAB65AEDBF2D}" type="pres">
      <dgm:prSet presAssocID="{51357C68-A9A9-4E3C-9BCC-F7D96ADC0F37}" presName="parTxOnly" presStyleLbl="node1" presStyleIdx="4" presStyleCnt="5">
        <dgm:presLayoutVars>
          <dgm:chMax val="0"/>
          <dgm:chPref val="0"/>
          <dgm:bulletEnabled val="1"/>
        </dgm:presLayoutVars>
      </dgm:prSet>
      <dgm:spPr/>
    </dgm:pt>
  </dgm:ptLst>
  <dgm:cxnLst>
    <dgm:cxn modelId="{FAA7F328-3682-41B7-9C5A-6EC70AAD6B53}" type="presOf" srcId="{54BC9496-F2B8-42CB-8ED1-1628C1EF9946}" destId="{530FAB49-C1DB-4817-BA7D-56D3AA4EBAB5}" srcOrd="0" destOrd="0" presId="urn:microsoft.com/office/officeart/2005/8/layout/chevron1"/>
    <dgm:cxn modelId="{E6335738-CBC2-4634-8D31-AF4FC395DF17}" srcId="{98FF2DCC-EC53-49C3-B9BF-5DEB8837005A}" destId="{58D5E4EE-A0CB-417C-BC22-23F40D12338D}" srcOrd="1" destOrd="0" parTransId="{6740831E-5524-4120-9252-AC20716D438F}" sibTransId="{3B6D01B4-20C9-4BA1-B549-8BCDB453FBE8}"/>
    <dgm:cxn modelId="{755C947A-4164-456D-9981-5D3DA696D032}" type="presOf" srcId="{98FF2DCC-EC53-49C3-B9BF-5DEB8837005A}" destId="{48E61F0F-342E-42A6-A68E-822542FCF6D4}" srcOrd="0" destOrd="0" presId="urn:microsoft.com/office/officeart/2005/8/layout/chevron1"/>
    <dgm:cxn modelId="{11B0A784-FC55-444D-A4A6-E8019758618C}" srcId="{98FF2DCC-EC53-49C3-B9BF-5DEB8837005A}" destId="{54BC9496-F2B8-42CB-8ED1-1628C1EF9946}" srcOrd="2" destOrd="0" parTransId="{1FFF2FD1-F354-4AEB-96FD-38CCF1F65BD0}" sibTransId="{6FDCE73C-12B3-477B-A612-3C6A8B78CE9F}"/>
    <dgm:cxn modelId="{8F87EF85-1970-4958-AA87-1A388C2DAA7A}" srcId="{98FF2DCC-EC53-49C3-B9BF-5DEB8837005A}" destId="{51357C68-A9A9-4E3C-9BCC-F7D96ADC0F37}" srcOrd="4" destOrd="0" parTransId="{FF71DA60-1DCD-496D-8728-EF033B7CDC98}" sibTransId="{0B9CF27E-2327-43BA-89EA-5556C0804157}"/>
    <dgm:cxn modelId="{CCE74A87-EECF-404F-B545-64FF92E6BC16}" type="presOf" srcId="{1A98475C-8CDD-49C0-87DB-E2793F66CA2C}" destId="{36C93488-5A5D-43D9-B95E-60F7E97D25D9}" srcOrd="0" destOrd="0" presId="urn:microsoft.com/office/officeart/2005/8/layout/chevron1"/>
    <dgm:cxn modelId="{7C523CC7-8C37-4517-A710-6BD83FB4E3AD}" type="presOf" srcId="{51357C68-A9A9-4E3C-9BCC-F7D96ADC0F37}" destId="{4BF3CB95-DC7E-46EE-956D-AAB65AEDBF2D}" srcOrd="0" destOrd="0" presId="urn:microsoft.com/office/officeart/2005/8/layout/chevron1"/>
    <dgm:cxn modelId="{370CBAC9-BCDD-43A6-AB97-ED94E8103EF3}" type="presOf" srcId="{58D5E4EE-A0CB-417C-BC22-23F40D12338D}" destId="{9737087F-43C4-4350-8EAA-1C0E552CBAEB}" srcOrd="0" destOrd="0" presId="urn:microsoft.com/office/officeart/2005/8/layout/chevron1"/>
    <dgm:cxn modelId="{07EF28D8-F8C6-4D9F-B135-0DE83080CEBA}" type="presOf" srcId="{FEB38F7C-407E-4B5D-AE99-F74B96DB0E68}" destId="{0ED321F5-EE48-4AE5-A542-F10CE54153CD}" srcOrd="0" destOrd="0" presId="urn:microsoft.com/office/officeart/2005/8/layout/chevron1"/>
    <dgm:cxn modelId="{573A45F8-749C-4890-9ECA-F97BBD05CBF7}" srcId="{98FF2DCC-EC53-49C3-B9BF-5DEB8837005A}" destId="{1A98475C-8CDD-49C0-87DB-E2793F66CA2C}" srcOrd="0" destOrd="0" parTransId="{63A9EC33-8DD1-4BD2-8EB5-500DE2DEE17B}" sibTransId="{70C99750-289F-432A-94E2-EFE82FC6F23E}"/>
    <dgm:cxn modelId="{B0D294F9-74FC-40B9-B641-B7CA80756D2B}" srcId="{98FF2DCC-EC53-49C3-B9BF-5DEB8837005A}" destId="{FEB38F7C-407E-4B5D-AE99-F74B96DB0E68}" srcOrd="3" destOrd="0" parTransId="{238759BE-337D-4902-BED8-C50DE71CE4E8}" sibTransId="{0D305E4C-FBD5-4028-8D60-02D74AF58B49}"/>
    <dgm:cxn modelId="{4B0955E4-078C-4DFE-B515-FEB50D8C268A}" type="presParOf" srcId="{48E61F0F-342E-42A6-A68E-822542FCF6D4}" destId="{36C93488-5A5D-43D9-B95E-60F7E97D25D9}" srcOrd="0" destOrd="0" presId="urn:microsoft.com/office/officeart/2005/8/layout/chevron1"/>
    <dgm:cxn modelId="{DAD7AD02-8A41-4F5B-B353-03479A73F804}" type="presParOf" srcId="{48E61F0F-342E-42A6-A68E-822542FCF6D4}" destId="{A8C3C93E-D9EC-4AC3-B50C-78E7B39761E6}" srcOrd="1" destOrd="0" presId="urn:microsoft.com/office/officeart/2005/8/layout/chevron1"/>
    <dgm:cxn modelId="{DBF765D6-A691-43D2-AC41-0DCD75796E74}" type="presParOf" srcId="{48E61F0F-342E-42A6-A68E-822542FCF6D4}" destId="{9737087F-43C4-4350-8EAA-1C0E552CBAEB}" srcOrd="2" destOrd="0" presId="urn:microsoft.com/office/officeart/2005/8/layout/chevron1"/>
    <dgm:cxn modelId="{7D700B5D-561C-44CC-9AFA-ECCE5EAB5620}" type="presParOf" srcId="{48E61F0F-342E-42A6-A68E-822542FCF6D4}" destId="{D9609766-C5CA-414B-895C-AA2FEFD36EE9}" srcOrd="3" destOrd="0" presId="urn:microsoft.com/office/officeart/2005/8/layout/chevron1"/>
    <dgm:cxn modelId="{F7A235BF-BDB0-452A-924A-C440B91A9B9E}" type="presParOf" srcId="{48E61F0F-342E-42A6-A68E-822542FCF6D4}" destId="{530FAB49-C1DB-4817-BA7D-56D3AA4EBAB5}" srcOrd="4" destOrd="0" presId="urn:microsoft.com/office/officeart/2005/8/layout/chevron1"/>
    <dgm:cxn modelId="{05FB4BAA-8DA1-418C-98CB-E388617A24BF}" type="presParOf" srcId="{48E61F0F-342E-42A6-A68E-822542FCF6D4}" destId="{677851EB-D4DE-4EEC-A0A3-83C7CDCBE8AD}" srcOrd="5" destOrd="0" presId="urn:microsoft.com/office/officeart/2005/8/layout/chevron1"/>
    <dgm:cxn modelId="{822151BB-1B8B-4D7D-AA77-44FA5A1A6F11}" type="presParOf" srcId="{48E61F0F-342E-42A6-A68E-822542FCF6D4}" destId="{0ED321F5-EE48-4AE5-A542-F10CE54153CD}" srcOrd="6" destOrd="0" presId="urn:microsoft.com/office/officeart/2005/8/layout/chevron1"/>
    <dgm:cxn modelId="{D15F4401-01DE-42FB-919F-240D37956D97}" type="presParOf" srcId="{48E61F0F-342E-42A6-A68E-822542FCF6D4}" destId="{12FB0402-D85E-4A00-A606-7B963EEE9D0F}" srcOrd="7" destOrd="0" presId="urn:microsoft.com/office/officeart/2005/8/layout/chevron1"/>
    <dgm:cxn modelId="{3E3ECBCB-E292-4F00-BED0-38EB4DC8DED8}" type="presParOf" srcId="{48E61F0F-342E-42A6-A68E-822542FCF6D4}" destId="{4BF3CB95-DC7E-46EE-956D-AAB65AEDBF2D}" srcOrd="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C3DE624-BDA5-478D-888B-BB3B2FCB74F0}"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en-US"/>
        </a:p>
      </dgm:t>
    </dgm:pt>
    <dgm:pt modelId="{AC7B78BF-5CBA-47D0-BD07-D82DD37528CC}">
      <dgm:prSet phldrT="[Text]" custT="1"/>
      <dgm:spPr/>
      <dgm:t>
        <a:bodyPr/>
        <a:lstStyle/>
        <a:p>
          <a:r>
            <a:rPr lang="en-US" sz="1400" dirty="0">
              <a:solidFill>
                <a:srgbClr val="0D0D0D"/>
              </a:solidFill>
            </a:rPr>
            <a:t>Invest in the growth and development of small and diverse firms</a:t>
          </a:r>
        </a:p>
      </dgm:t>
    </dgm:pt>
    <dgm:pt modelId="{250E22F2-2CDE-4E35-81A1-772C1DFB18A6}" type="parTrans" cxnId="{84024281-8C94-4909-A997-916DCD658AE3}">
      <dgm:prSet/>
      <dgm:spPr/>
      <dgm:t>
        <a:bodyPr/>
        <a:lstStyle/>
        <a:p>
          <a:endParaRPr lang="en-US"/>
        </a:p>
      </dgm:t>
    </dgm:pt>
    <dgm:pt modelId="{1D1ADF84-CDBE-424D-95F4-850F4279FE88}" type="sibTrans" cxnId="{84024281-8C94-4909-A997-916DCD658AE3}">
      <dgm:prSet/>
      <dgm:spPr/>
      <dgm:t>
        <a:bodyPr/>
        <a:lstStyle/>
        <a:p>
          <a:endParaRPr lang="en-US"/>
        </a:p>
      </dgm:t>
    </dgm:pt>
    <dgm:pt modelId="{2034AFC6-C543-4B1D-9582-3197AF171DF6}">
      <dgm:prSet phldrT="[Text]" custT="1"/>
      <dgm:spPr/>
      <dgm:t>
        <a:bodyPr/>
        <a:lstStyle/>
        <a:p>
          <a:r>
            <a:rPr lang="en-US" sz="1400" dirty="0">
              <a:solidFill>
                <a:srgbClr val="0D0D0D"/>
              </a:solidFill>
            </a:rPr>
            <a:t>Encourage prime suppliers to increase spending with small and diverse businesses</a:t>
          </a:r>
        </a:p>
      </dgm:t>
    </dgm:pt>
    <dgm:pt modelId="{46BA2BE5-D913-437B-8AA4-682BE6B9A4DF}" type="parTrans" cxnId="{8FB3DB3E-3A14-43EA-903D-1ACA7D9749C9}">
      <dgm:prSet/>
      <dgm:spPr/>
      <dgm:t>
        <a:bodyPr/>
        <a:lstStyle/>
        <a:p>
          <a:endParaRPr lang="en-US"/>
        </a:p>
      </dgm:t>
    </dgm:pt>
    <dgm:pt modelId="{FCA4D8A2-2654-4AC9-A7A8-CF12605E45E4}" type="sibTrans" cxnId="{8FB3DB3E-3A14-43EA-903D-1ACA7D9749C9}">
      <dgm:prSet/>
      <dgm:spPr/>
      <dgm:t>
        <a:bodyPr/>
        <a:lstStyle/>
        <a:p>
          <a:endParaRPr lang="en-US"/>
        </a:p>
      </dgm:t>
    </dgm:pt>
    <dgm:pt modelId="{75551CAA-AC46-498D-ADB4-9C8303012A34}">
      <dgm:prSet phldrT="[Text]" custT="1"/>
      <dgm:spPr/>
      <dgm:t>
        <a:bodyPr/>
        <a:lstStyle/>
        <a:p>
          <a:r>
            <a:rPr lang="en-US" sz="1400" dirty="0">
              <a:solidFill>
                <a:srgbClr val="0D0D0D"/>
              </a:solidFill>
            </a:rPr>
            <a:t>Identify short and long-term opportunities to use current or new suppliers</a:t>
          </a:r>
        </a:p>
      </dgm:t>
    </dgm:pt>
    <dgm:pt modelId="{243F716D-415C-4583-A5BC-4D263649F0FF}" type="parTrans" cxnId="{BB6E71A2-38FF-4C31-8212-CC956C85268B}">
      <dgm:prSet/>
      <dgm:spPr/>
      <dgm:t>
        <a:bodyPr/>
        <a:lstStyle/>
        <a:p>
          <a:endParaRPr lang="en-US"/>
        </a:p>
      </dgm:t>
    </dgm:pt>
    <dgm:pt modelId="{FA92D9D0-CEDF-477E-997E-3F0169D75227}" type="sibTrans" cxnId="{BB6E71A2-38FF-4C31-8212-CC956C85268B}">
      <dgm:prSet/>
      <dgm:spPr/>
      <dgm:t>
        <a:bodyPr/>
        <a:lstStyle/>
        <a:p>
          <a:endParaRPr lang="en-US"/>
        </a:p>
      </dgm:t>
    </dgm:pt>
    <dgm:pt modelId="{91F18736-E6A0-477E-93F3-00B6AAF4B4AD}" type="pres">
      <dgm:prSet presAssocID="{3C3DE624-BDA5-478D-888B-BB3B2FCB74F0}" presName="rootnode" presStyleCnt="0">
        <dgm:presLayoutVars>
          <dgm:chMax/>
          <dgm:chPref/>
          <dgm:dir/>
          <dgm:animLvl val="lvl"/>
        </dgm:presLayoutVars>
      </dgm:prSet>
      <dgm:spPr/>
    </dgm:pt>
    <dgm:pt modelId="{7B7B6497-D3B2-43CD-84A5-4DCC8EE330B0}" type="pres">
      <dgm:prSet presAssocID="{AC7B78BF-5CBA-47D0-BD07-D82DD37528CC}" presName="composite" presStyleCnt="0"/>
      <dgm:spPr/>
    </dgm:pt>
    <dgm:pt modelId="{5CD04CA8-8A14-46A9-AA98-8D18DD9902D0}" type="pres">
      <dgm:prSet presAssocID="{AC7B78BF-5CBA-47D0-BD07-D82DD37528CC}" presName="LShape" presStyleLbl="alignNode1" presStyleIdx="0" presStyleCnt="5"/>
      <dgm:spPr/>
    </dgm:pt>
    <dgm:pt modelId="{1FD24F90-17BF-4DF6-9063-D5FEFE074A38}" type="pres">
      <dgm:prSet presAssocID="{AC7B78BF-5CBA-47D0-BD07-D82DD37528CC}" presName="ParentText" presStyleLbl="revTx" presStyleIdx="0" presStyleCnt="3">
        <dgm:presLayoutVars>
          <dgm:chMax val="0"/>
          <dgm:chPref val="0"/>
          <dgm:bulletEnabled val="1"/>
        </dgm:presLayoutVars>
      </dgm:prSet>
      <dgm:spPr/>
    </dgm:pt>
    <dgm:pt modelId="{E3E95D2F-29E7-4EC5-B823-D40D7DBAAB17}" type="pres">
      <dgm:prSet presAssocID="{AC7B78BF-5CBA-47D0-BD07-D82DD37528CC}" presName="Triangle" presStyleLbl="alignNode1" presStyleIdx="1" presStyleCnt="5"/>
      <dgm:spPr/>
    </dgm:pt>
    <dgm:pt modelId="{3D69E200-CDDC-476F-AC68-673098D3D95F}" type="pres">
      <dgm:prSet presAssocID="{1D1ADF84-CDBE-424D-95F4-850F4279FE88}" presName="sibTrans" presStyleCnt="0"/>
      <dgm:spPr/>
    </dgm:pt>
    <dgm:pt modelId="{5B056144-BD51-4B70-8591-27034B404802}" type="pres">
      <dgm:prSet presAssocID="{1D1ADF84-CDBE-424D-95F4-850F4279FE88}" presName="space" presStyleCnt="0"/>
      <dgm:spPr/>
    </dgm:pt>
    <dgm:pt modelId="{ABABF516-F6B8-46C1-9B44-7C7A2E98F210}" type="pres">
      <dgm:prSet presAssocID="{2034AFC6-C543-4B1D-9582-3197AF171DF6}" presName="composite" presStyleCnt="0"/>
      <dgm:spPr/>
    </dgm:pt>
    <dgm:pt modelId="{2C7A83A8-7500-4060-8BD9-489969108F60}" type="pres">
      <dgm:prSet presAssocID="{2034AFC6-C543-4B1D-9582-3197AF171DF6}" presName="LShape" presStyleLbl="alignNode1" presStyleIdx="2" presStyleCnt="5"/>
      <dgm:spPr/>
    </dgm:pt>
    <dgm:pt modelId="{B36F5175-D8EB-460F-BE58-079A03394170}" type="pres">
      <dgm:prSet presAssocID="{2034AFC6-C543-4B1D-9582-3197AF171DF6}" presName="ParentText" presStyleLbl="revTx" presStyleIdx="1" presStyleCnt="3">
        <dgm:presLayoutVars>
          <dgm:chMax val="0"/>
          <dgm:chPref val="0"/>
          <dgm:bulletEnabled val="1"/>
        </dgm:presLayoutVars>
      </dgm:prSet>
      <dgm:spPr/>
    </dgm:pt>
    <dgm:pt modelId="{8D37B8A7-CF9C-4374-B2DA-5B6F3C0AF645}" type="pres">
      <dgm:prSet presAssocID="{2034AFC6-C543-4B1D-9582-3197AF171DF6}" presName="Triangle" presStyleLbl="alignNode1" presStyleIdx="3" presStyleCnt="5"/>
      <dgm:spPr/>
    </dgm:pt>
    <dgm:pt modelId="{3DC6A471-81BA-4AE1-886B-02C49D3C6D0C}" type="pres">
      <dgm:prSet presAssocID="{FCA4D8A2-2654-4AC9-A7A8-CF12605E45E4}" presName="sibTrans" presStyleCnt="0"/>
      <dgm:spPr/>
    </dgm:pt>
    <dgm:pt modelId="{0DFFF4E3-224D-4EA2-9515-97AF90B04FD9}" type="pres">
      <dgm:prSet presAssocID="{FCA4D8A2-2654-4AC9-A7A8-CF12605E45E4}" presName="space" presStyleCnt="0"/>
      <dgm:spPr/>
    </dgm:pt>
    <dgm:pt modelId="{77857FB8-6FEF-4C23-9661-7F53F46F61C6}" type="pres">
      <dgm:prSet presAssocID="{75551CAA-AC46-498D-ADB4-9C8303012A34}" presName="composite" presStyleCnt="0"/>
      <dgm:spPr/>
    </dgm:pt>
    <dgm:pt modelId="{55B301B7-5E71-4B56-B11A-5D7EAB73CDA4}" type="pres">
      <dgm:prSet presAssocID="{75551CAA-AC46-498D-ADB4-9C8303012A34}" presName="LShape" presStyleLbl="alignNode1" presStyleIdx="4" presStyleCnt="5"/>
      <dgm:spPr/>
    </dgm:pt>
    <dgm:pt modelId="{ED79FBFF-0B6F-4BF7-BDCC-9A3A5A067582}" type="pres">
      <dgm:prSet presAssocID="{75551CAA-AC46-498D-ADB4-9C8303012A34}" presName="ParentText" presStyleLbl="revTx" presStyleIdx="2" presStyleCnt="3">
        <dgm:presLayoutVars>
          <dgm:chMax val="0"/>
          <dgm:chPref val="0"/>
          <dgm:bulletEnabled val="1"/>
        </dgm:presLayoutVars>
      </dgm:prSet>
      <dgm:spPr/>
    </dgm:pt>
  </dgm:ptLst>
  <dgm:cxnLst>
    <dgm:cxn modelId="{63809304-5175-41AB-80CE-78ED9A39706E}" type="presOf" srcId="{2034AFC6-C543-4B1D-9582-3197AF171DF6}" destId="{B36F5175-D8EB-460F-BE58-079A03394170}" srcOrd="0" destOrd="0" presId="urn:microsoft.com/office/officeart/2009/3/layout/StepUpProcess"/>
    <dgm:cxn modelId="{8FB3DB3E-3A14-43EA-903D-1ACA7D9749C9}" srcId="{3C3DE624-BDA5-478D-888B-BB3B2FCB74F0}" destId="{2034AFC6-C543-4B1D-9582-3197AF171DF6}" srcOrd="1" destOrd="0" parTransId="{46BA2BE5-D913-437B-8AA4-682BE6B9A4DF}" sibTransId="{FCA4D8A2-2654-4AC9-A7A8-CF12605E45E4}"/>
    <dgm:cxn modelId="{7AECEF79-D132-4E07-BF82-1A2E413082CB}" type="presOf" srcId="{75551CAA-AC46-498D-ADB4-9C8303012A34}" destId="{ED79FBFF-0B6F-4BF7-BDCC-9A3A5A067582}" srcOrd="0" destOrd="0" presId="urn:microsoft.com/office/officeart/2009/3/layout/StepUpProcess"/>
    <dgm:cxn modelId="{84024281-8C94-4909-A997-916DCD658AE3}" srcId="{3C3DE624-BDA5-478D-888B-BB3B2FCB74F0}" destId="{AC7B78BF-5CBA-47D0-BD07-D82DD37528CC}" srcOrd="0" destOrd="0" parTransId="{250E22F2-2CDE-4E35-81A1-772C1DFB18A6}" sibTransId="{1D1ADF84-CDBE-424D-95F4-850F4279FE88}"/>
    <dgm:cxn modelId="{9CFE0893-A34A-4C8E-8EDF-94B2920DAF3D}" type="presOf" srcId="{3C3DE624-BDA5-478D-888B-BB3B2FCB74F0}" destId="{91F18736-E6A0-477E-93F3-00B6AAF4B4AD}" srcOrd="0" destOrd="0" presId="urn:microsoft.com/office/officeart/2009/3/layout/StepUpProcess"/>
    <dgm:cxn modelId="{BB6E71A2-38FF-4C31-8212-CC956C85268B}" srcId="{3C3DE624-BDA5-478D-888B-BB3B2FCB74F0}" destId="{75551CAA-AC46-498D-ADB4-9C8303012A34}" srcOrd="2" destOrd="0" parTransId="{243F716D-415C-4583-A5BC-4D263649F0FF}" sibTransId="{FA92D9D0-CEDF-477E-997E-3F0169D75227}"/>
    <dgm:cxn modelId="{8FF2A1F2-E60C-4432-B8DE-638E5CCFCA0C}" type="presOf" srcId="{AC7B78BF-5CBA-47D0-BD07-D82DD37528CC}" destId="{1FD24F90-17BF-4DF6-9063-D5FEFE074A38}" srcOrd="0" destOrd="0" presId="urn:microsoft.com/office/officeart/2009/3/layout/StepUpProcess"/>
    <dgm:cxn modelId="{C20F3D38-3C9A-4CF5-B6F6-D4EAD682708D}" type="presParOf" srcId="{91F18736-E6A0-477E-93F3-00B6AAF4B4AD}" destId="{7B7B6497-D3B2-43CD-84A5-4DCC8EE330B0}" srcOrd="0" destOrd="0" presId="urn:microsoft.com/office/officeart/2009/3/layout/StepUpProcess"/>
    <dgm:cxn modelId="{3183CB87-55E4-45A0-9848-87D773062652}" type="presParOf" srcId="{7B7B6497-D3B2-43CD-84A5-4DCC8EE330B0}" destId="{5CD04CA8-8A14-46A9-AA98-8D18DD9902D0}" srcOrd="0" destOrd="0" presId="urn:microsoft.com/office/officeart/2009/3/layout/StepUpProcess"/>
    <dgm:cxn modelId="{F99BFF19-8337-480D-949B-C7AE54026D81}" type="presParOf" srcId="{7B7B6497-D3B2-43CD-84A5-4DCC8EE330B0}" destId="{1FD24F90-17BF-4DF6-9063-D5FEFE074A38}" srcOrd="1" destOrd="0" presId="urn:microsoft.com/office/officeart/2009/3/layout/StepUpProcess"/>
    <dgm:cxn modelId="{3B7FFBCD-0CFF-470C-9A63-53407852FACB}" type="presParOf" srcId="{7B7B6497-D3B2-43CD-84A5-4DCC8EE330B0}" destId="{E3E95D2F-29E7-4EC5-B823-D40D7DBAAB17}" srcOrd="2" destOrd="0" presId="urn:microsoft.com/office/officeart/2009/3/layout/StepUpProcess"/>
    <dgm:cxn modelId="{AA1D66A6-1592-411B-86A9-D8239456E354}" type="presParOf" srcId="{91F18736-E6A0-477E-93F3-00B6AAF4B4AD}" destId="{3D69E200-CDDC-476F-AC68-673098D3D95F}" srcOrd="1" destOrd="0" presId="urn:microsoft.com/office/officeart/2009/3/layout/StepUpProcess"/>
    <dgm:cxn modelId="{F8F234D8-1F32-44A3-B61E-FFF487B43450}" type="presParOf" srcId="{3D69E200-CDDC-476F-AC68-673098D3D95F}" destId="{5B056144-BD51-4B70-8591-27034B404802}" srcOrd="0" destOrd="0" presId="urn:microsoft.com/office/officeart/2009/3/layout/StepUpProcess"/>
    <dgm:cxn modelId="{FB590233-ED07-422C-8D41-36664722D0E9}" type="presParOf" srcId="{91F18736-E6A0-477E-93F3-00B6AAF4B4AD}" destId="{ABABF516-F6B8-46C1-9B44-7C7A2E98F210}" srcOrd="2" destOrd="0" presId="urn:microsoft.com/office/officeart/2009/3/layout/StepUpProcess"/>
    <dgm:cxn modelId="{1BAB9828-E678-4F70-A19F-AE7BFCFC8EAC}" type="presParOf" srcId="{ABABF516-F6B8-46C1-9B44-7C7A2E98F210}" destId="{2C7A83A8-7500-4060-8BD9-489969108F60}" srcOrd="0" destOrd="0" presId="urn:microsoft.com/office/officeart/2009/3/layout/StepUpProcess"/>
    <dgm:cxn modelId="{F2C078F7-4672-4A59-AEB8-C25AB5B25BBB}" type="presParOf" srcId="{ABABF516-F6B8-46C1-9B44-7C7A2E98F210}" destId="{B36F5175-D8EB-460F-BE58-079A03394170}" srcOrd="1" destOrd="0" presId="urn:microsoft.com/office/officeart/2009/3/layout/StepUpProcess"/>
    <dgm:cxn modelId="{35428B1E-460B-4A7F-AC95-6F6E9660DC19}" type="presParOf" srcId="{ABABF516-F6B8-46C1-9B44-7C7A2E98F210}" destId="{8D37B8A7-CF9C-4374-B2DA-5B6F3C0AF645}" srcOrd="2" destOrd="0" presId="urn:microsoft.com/office/officeart/2009/3/layout/StepUpProcess"/>
    <dgm:cxn modelId="{FD4BBB96-B358-4450-8C90-108D7653B6A2}" type="presParOf" srcId="{91F18736-E6A0-477E-93F3-00B6AAF4B4AD}" destId="{3DC6A471-81BA-4AE1-886B-02C49D3C6D0C}" srcOrd="3" destOrd="0" presId="urn:microsoft.com/office/officeart/2009/3/layout/StepUpProcess"/>
    <dgm:cxn modelId="{F92E97AA-088A-44BB-8367-043568358198}" type="presParOf" srcId="{3DC6A471-81BA-4AE1-886B-02C49D3C6D0C}" destId="{0DFFF4E3-224D-4EA2-9515-97AF90B04FD9}" srcOrd="0" destOrd="0" presId="urn:microsoft.com/office/officeart/2009/3/layout/StepUpProcess"/>
    <dgm:cxn modelId="{A52FD6BE-FC42-4EF9-A502-CEDE39007CF6}" type="presParOf" srcId="{91F18736-E6A0-477E-93F3-00B6AAF4B4AD}" destId="{77857FB8-6FEF-4C23-9661-7F53F46F61C6}" srcOrd="4" destOrd="0" presId="urn:microsoft.com/office/officeart/2009/3/layout/StepUpProcess"/>
    <dgm:cxn modelId="{A65CC8DF-3034-4E8F-9A6A-008A6D6BA4C5}" type="presParOf" srcId="{77857FB8-6FEF-4C23-9661-7F53F46F61C6}" destId="{55B301B7-5E71-4B56-B11A-5D7EAB73CDA4}" srcOrd="0" destOrd="0" presId="urn:microsoft.com/office/officeart/2009/3/layout/StepUpProcess"/>
    <dgm:cxn modelId="{809FE6E8-10B1-4F8C-BB32-AF897A60B3D3}" type="presParOf" srcId="{77857FB8-6FEF-4C23-9661-7F53F46F61C6}" destId="{ED79FBFF-0B6F-4BF7-BDCC-9A3A5A067582}" srcOrd="1" destOrd="0" presId="urn:microsoft.com/office/officeart/2009/3/layout/StepUpProcess"/>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45FABA0-76CC-6143-BBEB-3666972FC1A3}" type="doc">
      <dgm:prSet loTypeId="urn:microsoft.com/office/officeart/2005/8/layout/vList2" loCatId="list" qsTypeId="urn:microsoft.com/office/officeart/2005/8/quickstyle/simple5" qsCatId="simple" csTypeId="urn:microsoft.com/office/officeart/2005/8/colors/colorful4" csCatId="colorful"/>
      <dgm:spPr/>
      <dgm:t>
        <a:bodyPr/>
        <a:lstStyle/>
        <a:p>
          <a:endParaRPr lang="en-US"/>
        </a:p>
      </dgm:t>
    </dgm:pt>
    <dgm:pt modelId="{7BC319F8-F990-4C41-A619-7A9907A3A83D}">
      <dgm:prSet/>
      <dgm:spPr/>
      <dgm:t>
        <a:bodyPr/>
        <a:lstStyle/>
        <a:p>
          <a:r>
            <a:rPr lang="en-US" b="0" i="0" dirty="0"/>
            <a:t>Limited cash flow</a:t>
          </a:r>
          <a:endParaRPr lang="en-US" dirty="0"/>
        </a:p>
      </dgm:t>
    </dgm:pt>
    <dgm:pt modelId="{EAF9A6CA-A0D2-954D-A9E7-1050640CE7C3}" type="parTrans" cxnId="{00214D5E-B642-A446-8803-224573D9920D}">
      <dgm:prSet/>
      <dgm:spPr/>
      <dgm:t>
        <a:bodyPr/>
        <a:lstStyle/>
        <a:p>
          <a:endParaRPr lang="en-US"/>
        </a:p>
      </dgm:t>
    </dgm:pt>
    <dgm:pt modelId="{5D140064-3F8E-B349-AD25-0FA9559F9F51}" type="sibTrans" cxnId="{00214D5E-B642-A446-8803-224573D9920D}">
      <dgm:prSet/>
      <dgm:spPr/>
      <dgm:t>
        <a:bodyPr/>
        <a:lstStyle/>
        <a:p>
          <a:endParaRPr lang="en-US"/>
        </a:p>
      </dgm:t>
    </dgm:pt>
    <dgm:pt modelId="{F2062E8B-2A6B-3143-89A3-0C3C50A706B7}">
      <dgm:prSet/>
      <dgm:spPr/>
      <dgm:t>
        <a:bodyPr/>
        <a:lstStyle/>
        <a:p>
          <a:r>
            <a:rPr lang="en-US" b="0" i="0" dirty="0"/>
            <a:t>Affordable capital difficult to obtain</a:t>
          </a:r>
          <a:endParaRPr lang="en-US" dirty="0"/>
        </a:p>
      </dgm:t>
    </dgm:pt>
    <dgm:pt modelId="{939CD9BA-B320-944D-829E-E6C440E05042}" type="parTrans" cxnId="{63901A2B-BBCD-7E46-A7E6-20EDB909BB58}">
      <dgm:prSet/>
      <dgm:spPr/>
      <dgm:t>
        <a:bodyPr/>
        <a:lstStyle/>
        <a:p>
          <a:endParaRPr lang="en-US"/>
        </a:p>
      </dgm:t>
    </dgm:pt>
    <dgm:pt modelId="{1E7F1D9F-83AD-C44C-9BFC-8FFB7CD7EB50}" type="sibTrans" cxnId="{63901A2B-BBCD-7E46-A7E6-20EDB909BB58}">
      <dgm:prSet/>
      <dgm:spPr/>
      <dgm:t>
        <a:bodyPr/>
        <a:lstStyle/>
        <a:p>
          <a:endParaRPr lang="en-US"/>
        </a:p>
      </dgm:t>
    </dgm:pt>
    <dgm:pt modelId="{F9B31027-ACD3-E349-BEB3-6F5362E17939}">
      <dgm:prSet/>
      <dgm:spPr/>
      <dgm:t>
        <a:bodyPr/>
        <a:lstStyle/>
        <a:p>
          <a:r>
            <a:rPr lang="en-US" b="0" i="0" dirty="0"/>
            <a:t>Limited resources (time, employees, financial)</a:t>
          </a:r>
          <a:endParaRPr lang="en-US" dirty="0"/>
        </a:p>
      </dgm:t>
    </dgm:pt>
    <dgm:pt modelId="{EBCF286F-D4B4-CE4F-8909-88972C75B79B}" type="parTrans" cxnId="{42196086-E62F-2A4F-B801-9B1313A38B22}">
      <dgm:prSet/>
      <dgm:spPr/>
      <dgm:t>
        <a:bodyPr/>
        <a:lstStyle/>
        <a:p>
          <a:endParaRPr lang="en-US"/>
        </a:p>
      </dgm:t>
    </dgm:pt>
    <dgm:pt modelId="{15DD73A7-91A5-9348-8082-B3E99F72E729}" type="sibTrans" cxnId="{42196086-E62F-2A4F-B801-9B1313A38B22}">
      <dgm:prSet/>
      <dgm:spPr/>
      <dgm:t>
        <a:bodyPr/>
        <a:lstStyle/>
        <a:p>
          <a:endParaRPr lang="en-US"/>
        </a:p>
      </dgm:t>
    </dgm:pt>
    <dgm:pt modelId="{D241F6A9-B8D3-BB47-9C0E-4A1D2042E880}">
      <dgm:prSet/>
      <dgm:spPr/>
      <dgm:t>
        <a:bodyPr/>
        <a:lstStyle/>
        <a:p>
          <a:r>
            <a:rPr lang="en-US" b="0" i="0" dirty="0"/>
            <a:t>Time consuming, complex solicitation requirements</a:t>
          </a:r>
          <a:endParaRPr lang="en-US" dirty="0"/>
        </a:p>
      </dgm:t>
    </dgm:pt>
    <dgm:pt modelId="{DBBFE758-D94F-E440-B41E-24B20597001B}" type="parTrans" cxnId="{99C5F98E-0500-DA4E-8326-4DBE73DE3598}">
      <dgm:prSet/>
      <dgm:spPr/>
      <dgm:t>
        <a:bodyPr/>
        <a:lstStyle/>
        <a:p>
          <a:endParaRPr lang="en-US"/>
        </a:p>
      </dgm:t>
    </dgm:pt>
    <dgm:pt modelId="{0A3B4E6E-585B-5542-97A9-FAD70C87EC5A}" type="sibTrans" cxnId="{99C5F98E-0500-DA4E-8326-4DBE73DE3598}">
      <dgm:prSet/>
      <dgm:spPr/>
      <dgm:t>
        <a:bodyPr/>
        <a:lstStyle/>
        <a:p>
          <a:endParaRPr lang="en-US"/>
        </a:p>
      </dgm:t>
    </dgm:pt>
    <dgm:pt modelId="{6F13C114-ED7C-6E49-B9E6-803E4F394880}">
      <dgm:prSet/>
      <dgm:spPr/>
      <dgm:t>
        <a:bodyPr/>
        <a:lstStyle/>
        <a:p>
          <a:r>
            <a:rPr lang="en-US" b="0" i="0" dirty="0"/>
            <a:t>Complex, unique EE regulatory environment</a:t>
          </a:r>
          <a:endParaRPr lang="en-US" dirty="0"/>
        </a:p>
      </dgm:t>
    </dgm:pt>
    <dgm:pt modelId="{D72BB533-7BEE-A246-8E2A-2125415CFA7B}" type="parTrans" cxnId="{586B9FB8-9E20-F64D-AEF5-9C83991A41F1}">
      <dgm:prSet/>
      <dgm:spPr/>
      <dgm:t>
        <a:bodyPr/>
        <a:lstStyle/>
        <a:p>
          <a:endParaRPr lang="en-US"/>
        </a:p>
      </dgm:t>
    </dgm:pt>
    <dgm:pt modelId="{B3B34BA1-C3B4-094D-BD39-8E1898CCFA34}" type="sibTrans" cxnId="{586B9FB8-9E20-F64D-AEF5-9C83991A41F1}">
      <dgm:prSet/>
      <dgm:spPr/>
      <dgm:t>
        <a:bodyPr/>
        <a:lstStyle/>
        <a:p>
          <a:endParaRPr lang="en-US"/>
        </a:p>
      </dgm:t>
    </dgm:pt>
    <dgm:pt modelId="{BB64984F-62E3-C042-B478-1D18C92693D6}">
      <dgm:prSet/>
      <dgm:spPr/>
      <dgm:t>
        <a:bodyPr/>
        <a:lstStyle/>
        <a:p>
          <a:r>
            <a:rPr lang="en-US" b="0" i="0" dirty="0"/>
            <a:t>Experienced CA EE Implementers have knowledge advantage</a:t>
          </a:r>
          <a:endParaRPr lang="en-US" dirty="0"/>
        </a:p>
      </dgm:t>
    </dgm:pt>
    <dgm:pt modelId="{6DDF5F35-B963-9047-B367-79ABF4802786}" type="parTrans" cxnId="{13D6DF52-5FCB-BE49-BF2F-9DB15751C26D}">
      <dgm:prSet/>
      <dgm:spPr/>
      <dgm:t>
        <a:bodyPr/>
        <a:lstStyle/>
        <a:p>
          <a:endParaRPr lang="en-US"/>
        </a:p>
      </dgm:t>
    </dgm:pt>
    <dgm:pt modelId="{EDCBB77B-D549-3F43-B1A3-8170FDD438EA}" type="sibTrans" cxnId="{13D6DF52-5FCB-BE49-BF2F-9DB15751C26D}">
      <dgm:prSet/>
      <dgm:spPr/>
      <dgm:t>
        <a:bodyPr/>
        <a:lstStyle/>
        <a:p>
          <a:endParaRPr lang="en-US"/>
        </a:p>
      </dgm:t>
    </dgm:pt>
    <dgm:pt modelId="{BCC63374-A508-4044-9456-F6D7F27D1BAD}">
      <dgm:prSet/>
      <dgm:spPr/>
      <dgm:t>
        <a:bodyPr/>
        <a:lstStyle/>
        <a:p>
          <a:r>
            <a:rPr lang="en-US" b="0" i="0" dirty="0"/>
            <a:t>Unclear DBE certification process at Supplier Clearinghouse (esp. for non-profits)</a:t>
          </a:r>
          <a:endParaRPr lang="en-US" dirty="0"/>
        </a:p>
      </dgm:t>
    </dgm:pt>
    <dgm:pt modelId="{38A169CF-2109-9444-93E7-B26FB32D8ECE}" type="parTrans" cxnId="{BDDDBE37-F2B1-4A4A-89E8-945678DD58C6}">
      <dgm:prSet/>
      <dgm:spPr/>
      <dgm:t>
        <a:bodyPr/>
        <a:lstStyle/>
        <a:p>
          <a:endParaRPr lang="en-US"/>
        </a:p>
      </dgm:t>
    </dgm:pt>
    <dgm:pt modelId="{ABC90339-7EF3-3149-AD5E-D438197F24FA}" type="sibTrans" cxnId="{BDDDBE37-F2B1-4A4A-89E8-945678DD58C6}">
      <dgm:prSet/>
      <dgm:spPr/>
      <dgm:t>
        <a:bodyPr/>
        <a:lstStyle/>
        <a:p>
          <a:endParaRPr lang="en-US"/>
        </a:p>
      </dgm:t>
    </dgm:pt>
    <dgm:pt modelId="{E33CFDC8-BCAF-BC4C-98B4-E99518894849}">
      <dgm:prSet/>
      <dgm:spPr/>
      <dgm:t>
        <a:bodyPr/>
        <a:lstStyle/>
        <a:p>
          <a:r>
            <a:rPr lang="en-US" b="0" i="0" dirty="0"/>
            <a:t>Changing the status quo/ previous practices</a:t>
          </a:r>
          <a:endParaRPr lang="en-US" dirty="0"/>
        </a:p>
      </dgm:t>
    </dgm:pt>
    <dgm:pt modelId="{388DD2E4-3C53-674D-99D0-8D6F75AFABDD}" type="parTrans" cxnId="{962782F4-F61E-D74F-8620-9D6B60E89B23}">
      <dgm:prSet/>
      <dgm:spPr/>
      <dgm:t>
        <a:bodyPr/>
        <a:lstStyle/>
        <a:p>
          <a:endParaRPr lang="en-US"/>
        </a:p>
      </dgm:t>
    </dgm:pt>
    <dgm:pt modelId="{2300EBBC-10CD-4E45-BBD2-4C4357881893}" type="sibTrans" cxnId="{962782F4-F61E-D74F-8620-9D6B60E89B23}">
      <dgm:prSet/>
      <dgm:spPr/>
      <dgm:t>
        <a:bodyPr/>
        <a:lstStyle/>
        <a:p>
          <a:endParaRPr lang="en-US"/>
        </a:p>
      </dgm:t>
    </dgm:pt>
    <dgm:pt modelId="{535F1F33-253B-E545-9650-D152B67318CC}" type="pres">
      <dgm:prSet presAssocID="{F45FABA0-76CC-6143-BBEB-3666972FC1A3}" presName="linear" presStyleCnt="0">
        <dgm:presLayoutVars>
          <dgm:animLvl val="lvl"/>
          <dgm:resizeHandles val="exact"/>
        </dgm:presLayoutVars>
      </dgm:prSet>
      <dgm:spPr/>
    </dgm:pt>
    <dgm:pt modelId="{DE85B9D7-D56E-AD4D-A79F-2D9FC059FED1}" type="pres">
      <dgm:prSet presAssocID="{7BC319F8-F990-4C41-A619-7A9907A3A83D}" presName="parentText" presStyleLbl="node1" presStyleIdx="0" presStyleCnt="8">
        <dgm:presLayoutVars>
          <dgm:chMax val="0"/>
          <dgm:bulletEnabled val="1"/>
        </dgm:presLayoutVars>
      </dgm:prSet>
      <dgm:spPr/>
    </dgm:pt>
    <dgm:pt modelId="{C6186831-207A-9144-BC18-75D1FEE5CCC1}" type="pres">
      <dgm:prSet presAssocID="{5D140064-3F8E-B349-AD25-0FA9559F9F51}" presName="spacer" presStyleCnt="0"/>
      <dgm:spPr/>
    </dgm:pt>
    <dgm:pt modelId="{5A3903C8-EACC-4441-A371-CE63552AD6BC}" type="pres">
      <dgm:prSet presAssocID="{F2062E8B-2A6B-3143-89A3-0C3C50A706B7}" presName="parentText" presStyleLbl="node1" presStyleIdx="1" presStyleCnt="8">
        <dgm:presLayoutVars>
          <dgm:chMax val="0"/>
          <dgm:bulletEnabled val="1"/>
        </dgm:presLayoutVars>
      </dgm:prSet>
      <dgm:spPr/>
    </dgm:pt>
    <dgm:pt modelId="{B1CE9309-F7F4-5F4C-AAFA-CBC9E380A3FD}" type="pres">
      <dgm:prSet presAssocID="{1E7F1D9F-83AD-C44C-9BFC-8FFB7CD7EB50}" presName="spacer" presStyleCnt="0"/>
      <dgm:spPr/>
    </dgm:pt>
    <dgm:pt modelId="{F3A63C26-0A52-B444-BC65-E4E49D168F70}" type="pres">
      <dgm:prSet presAssocID="{F9B31027-ACD3-E349-BEB3-6F5362E17939}" presName="parentText" presStyleLbl="node1" presStyleIdx="2" presStyleCnt="8">
        <dgm:presLayoutVars>
          <dgm:chMax val="0"/>
          <dgm:bulletEnabled val="1"/>
        </dgm:presLayoutVars>
      </dgm:prSet>
      <dgm:spPr/>
    </dgm:pt>
    <dgm:pt modelId="{F6ED581F-E114-0F4B-B20E-9E99CFB9DCB6}" type="pres">
      <dgm:prSet presAssocID="{15DD73A7-91A5-9348-8082-B3E99F72E729}" presName="spacer" presStyleCnt="0"/>
      <dgm:spPr/>
    </dgm:pt>
    <dgm:pt modelId="{FD91849D-4692-3A4E-94F6-0550C304ACEF}" type="pres">
      <dgm:prSet presAssocID="{D241F6A9-B8D3-BB47-9C0E-4A1D2042E880}" presName="parentText" presStyleLbl="node1" presStyleIdx="3" presStyleCnt="8">
        <dgm:presLayoutVars>
          <dgm:chMax val="0"/>
          <dgm:bulletEnabled val="1"/>
        </dgm:presLayoutVars>
      </dgm:prSet>
      <dgm:spPr/>
    </dgm:pt>
    <dgm:pt modelId="{B00378F2-0053-5A44-8E04-BC48DB2527F8}" type="pres">
      <dgm:prSet presAssocID="{0A3B4E6E-585B-5542-97A9-FAD70C87EC5A}" presName="spacer" presStyleCnt="0"/>
      <dgm:spPr/>
    </dgm:pt>
    <dgm:pt modelId="{94F519F9-2896-9F48-8C04-4FCA205EC6AA}" type="pres">
      <dgm:prSet presAssocID="{6F13C114-ED7C-6E49-B9E6-803E4F394880}" presName="parentText" presStyleLbl="node1" presStyleIdx="4" presStyleCnt="8">
        <dgm:presLayoutVars>
          <dgm:chMax val="0"/>
          <dgm:bulletEnabled val="1"/>
        </dgm:presLayoutVars>
      </dgm:prSet>
      <dgm:spPr/>
    </dgm:pt>
    <dgm:pt modelId="{8D15FE4D-4DCF-D14C-AC20-8F717671FFCD}" type="pres">
      <dgm:prSet presAssocID="{B3B34BA1-C3B4-094D-BD39-8E1898CCFA34}" presName="spacer" presStyleCnt="0"/>
      <dgm:spPr/>
    </dgm:pt>
    <dgm:pt modelId="{4F67F073-646E-C440-924D-2F04FE92AD7D}" type="pres">
      <dgm:prSet presAssocID="{BB64984F-62E3-C042-B478-1D18C92693D6}" presName="parentText" presStyleLbl="node1" presStyleIdx="5" presStyleCnt="8">
        <dgm:presLayoutVars>
          <dgm:chMax val="0"/>
          <dgm:bulletEnabled val="1"/>
        </dgm:presLayoutVars>
      </dgm:prSet>
      <dgm:spPr/>
    </dgm:pt>
    <dgm:pt modelId="{F61D6270-4BB1-9342-BC97-448B46F52406}" type="pres">
      <dgm:prSet presAssocID="{EDCBB77B-D549-3F43-B1A3-8170FDD438EA}" presName="spacer" presStyleCnt="0"/>
      <dgm:spPr/>
    </dgm:pt>
    <dgm:pt modelId="{2536F976-8E1C-464F-B32E-F0BC1913AB76}" type="pres">
      <dgm:prSet presAssocID="{BCC63374-A508-4044-9456-F6D7F27D1BAD}" presName="parentText" presStyleLbl="node1" presStyleIdx="6" presStyleCnt="8">
        <dgm:presLayoutVars>
          <dgm:chMax val="0"/>
          <dgm:bulletEnabled val="1"/>
        </dgm:presLayoutVars>
      </dgm:prSet>
      <dgm:spPr/>
    </dgm:pt>
    <dgm:pt modelId="{876A9EDC-7339-0842-9EEB-048CEAEE840F}" type="pres">
      <dgm:prSet presAssocID="{ABC90339-7EF3-3149-AD5E-D438197F24FA}" presName="spacer" presStyleCnt="0"/>
      <dgm:spPr/>
    </dgm:pt>
    <dgm:pt modelId="{E3C68E97-10D4-1F46-908D-E51B1BDB186B}" type="pres">
      <dgm:prSet presAssocID="{E33CFDC8-BCAF-BC4C-98B4-E99518894849}" presName="parentText" presStyleLbl="node1" presStyleIdx="7" presStyleCnt="8">
        <dgm:presLayoutVars>
          <dgm:chMax val="0"/>
          <dgm:bulletEnabled val="1"/>
        </dgm:presLayoutVars>
      </dgm:prSet>
      <dgm:spPr/>
    </dgm:pt>
  </dgm:ptLst>
  <dgm:cxnLst>
    <dgm:cxn modelId="{2061791F-BD00-044C-9EA4-D6692D717E41}" type="presOf" srcId="{BCC63374-A508-4044-9456-F6D7F27D1BAD}" destId="{2536F976-8E1C-464F-B32E-F0BC1913AB76}" srcOrd="0" destOrd="0" presId="urn:microsoft.com/office/officeart/2005/8/layout/vList2"/>
    <dgm:cxn modelId="{63901A2B-BBCD-7E46-A7E6-20EDB909BB58}" srcId="{F45FABA0-76CC-6143-BBEB-3666972FC1A3}" destId="{F2062E8B-2A6B-3143-89A3-0C3C50A706B7}" srcOrd="1" destOrd="0" parTransId="{939CD9BA-B320-944D-829E-E6C440E05042}" sibTransId="{1E7F1D9F-83AD-C44C-9BFC-8FFB7CD7EB50}"/>
    <dgm:cxn modelId="{BDDDBE37-F2B1-4A4A-89E8-945678DD58C6}" srcId="{F45FABA0-76CC-6143-BBEB-3666972FC1A3}" destId="{BCC63374-A508-4044-9456-F6D7F27D1BAD}" srcOrd="6" destOrd="0" parTransId="{38A169CF-2109-9444-93E7-B26FB32D8ECE}" sibTransId="{ABC90339-7EF3-3149-AD5E-D438197F24FA}"/>
    <dgm:cxn modelId="{2CF68C3C-F8CB-4D42-85DF-63ECBB9CF114}" type="presOf" srcId="{BB64984F-62E3-C042-B478-1D18C92693D6}" destId="{4F67F073-646E-C440-924D-2F04FE92AD7D}" srcOrd="0" destOrd="0" presId="urn:microsoft.com/office/officeart/2005/8/layout/vList2"/>
    <dgm:cxn modelId="{00214D5E-B642-A446-8803-224573D9920D}" srcId="{F45FABA0-76CC-6143-BBEB-3666972FC1A3}" destId="{7BC319F8-F990-4C41-A619-7A9907A3A83D}" srcOrd="0" destOrd="0" parTransId="{EAF9A6CA-A0D2-954D-A9E7-1050640CE7C3}" sibTransId="{5D140064-3F8E-B349-AD25-0FA9559F9F51}"/>
    <dgm:cxn modelId="{13D6DF52-5FCB-BE49-BF2F-9DB15751C26D}" srcId="{F45FABA0-76CC-6143-BBEB-3666972FC1A3}" destId="{BB64984F-62E3-C042-B478-1D18C92693D6}" srcOrd="5" destOrd="0" parTransId="{6DDF5F35-B963-9047-B367-79ABF4802786}" sibTransId="{EDCBB77B-D549-3F43-B1A3-8170FDD438EA}"/>
    <dgm:cxn modelId="{50FE245A-D0C8-FD49-9F95-2FB00055E221}" type="presOf" srcId="{F2062E8B-2A6B-3143-89A3-0C3C50A706B7}" destId="{5A3903C8-EACC-4441-A371-CE63552AD6BC}" srcOrd="0" destOrd="0" presId="urn:microsoft.com/office/officeart/2005/8/layout/vList2"/>
    <dgm:cxn modelId="{5981A182-C08E-7548-84B3-E090C56A3030}" type="presOf" srcId="{E33CFDC8-BCAF-BC4C-98B4-E99518894849}" destId="{E3C68E97-10D4-1F46-908D-E51B1BDB186B}" srcOrd="0" destOrd="0" presId="urn:microsoft.com/office/officeart/2005/8/layout/vList2"/>
    <dgm:cxn modelId="{42196086-E62F-2A4F-B801-9B1313A38B22}" srcId="{F45FABA0-76CC-6143-BBEB-3666972FC1A3}" destId="{F9B31027-ACD3-E349-BEB3-6F5362E17939}" srcOrd="2" destOrd="0" parTransId="{EBCF286F-D4B4-CE4F-8909-88972C75B79B}" sibTransId="{15DD73A7-91A5-9348-8082-B3E99F72E729}"/>
    <dgm:cxn modelId="{99C5F98E-0500-DA4E-8326-4DBE73DE3598}" srcId="{F45FABA0-76CC-6143-BBEB-3666972FC1A3}" destId="{D241F6A9-B8D3-BB47-9C0E-4A1D2042E880}" srcOrd="3" destOrd="0" parTransId="{DBBFE758-D94F-E440-B41E-24B20597001B}" sibTransId="{0A3B4E6E-585B-5542-97A9-FAD70C87EC5A}"/>
    <dgm:cxn modelId="{F9B19E93-46C7-C64B-B21B-36D402DEE643}" type="presOf" srcId="{F45FABA0-76CC-6143-BBEB-3666972FC1A3}" destId="{535F1F33-253B-E545-9650-D152B67318CC}" srcOrd="0" destOrd="0" presId="urn:microsoft.com/office/officeart/2005/8/layout/vList2"/>
    <dgm:cxn modelId="{E67FB29A-0FCB-CA4D-A8B6-118B4159AF52}" type="presOf" srcId="{6F13C114-ED7C-6E49-B9E6-803E4F394880}" destId="{94F519F9-2896-9F48-8C04-4FCA205EC6AA}" srcOrd="0" destOrd="0" presId="urn:microsoft.com/office/officeart/2005/8/layout/vList2"/>
    <dgm:cxn modelId="{70D9A8B4-AAC4-0B4E-B594-F5FEE4B027AB}" type="presOf" srcId="{7BC319F8-F990-4C41-A619-7A9907A3A83D}" destId="{DE85B9D7-D56E-AD4D-A79F-2D9FC059FED1}" srcOrd="0" destOrd="0" presId="urn:microsoft.com/office/officeart/2005/8/layout/vList2"/>
    <dgm:cxn modelId="{586B9FB8-9E20-F64D-AEF5-9C83991A41F1}" srcId="{F45FABA0-76CC-6143-BBEB-3666972FC1A3}" destId="{6F13C114-ED7C-6E49-B9E6-803E4F394880}" srcOrd="4" destOrd="0" parTransId="{D72BB533-7BEE-A246-8E2A-2125415CFA7B}" sibTransId="{B3B34BA1-C3B4-094D-BD39-8E1898CCFA34}"/>
    <dgm:cxn modelId="{B3A6CFC9-8198-B245-A6EA-108A9539B5DF}" type="presOf" srcId="{D241F6A9-B8D3-BB47-9C0E-4A1D2042E880}" destId="{FD91849D-4692-3A4E-94F6-0550C304ACEF}" srcOrd="0" destOrd="0" presId="urn:microsoft.com/office/officeart/2005/8/layout/vList2"/>
    <dgm:cxn modelId="{0C64B8E0-EED9-894C-8093-E9007EF493C1}" type="presOf" srcId="{F9B31027-ACD3-E349-BEB3-6F5362E17939}" destId="{F3A63C26-0A52-B444-BC65-E4E49D168F70}" srcOrd="0" destOrd="0" presId="urn:microsoft.com/office/officeart/2005/8/layout/vList2"/>
    <dgm:cxn modelId="{962782F4-F61E-D74F-8620-9D6B60E89B23}" srcId="{F45FABA0-76CC-6143-BBEB-3666972FC1A3}" destId="{E33CFDC8-BCAF-BC4C-98B4-E99518894849}" srcOrd="7" destOrd="0" parTransId="{388DD2E4-3C53-674D-99D0-8D6F75AFABDD}" sibTransId="{2300EBBC-10CD-4E45-BBD2-4C4357881893}"/>
    <dgm:cxn modelId="{03CFD990-A3E1-1440-8F24-F94794817DA4}" type="presParOf" srcId="{535F1F33-253B-E545-9650-D152B67318CC}" destId="{DE85B9D7-D56E-AD4D-A79F-2D9FC059FED1}" srcOrd="0" destOrd="0" presId="urn:microsoft.com/office/officeart/2005/8/layout/vList2"/>
    <dgm:cxn modelId="{8D094F10-A80F-0943-8CFB-D57D0EC0C372}" type="presParOf" srcId="{535F1F33-253B-E545-9650-D152B67318CC}" destId="{C6186831-207A-9144-BC18-75D1FEE5CCC1}" srcOrd="1" destOrd="0" presId="urn:microsoft.com/office/officeart/2005/8/layout/vList2"/>
    <dgm:cxn modelId="{E9AF56AE-EEB0-AD4C-BD8A-90FBDEA5ACF1}" type="presParOf" srcId="{535F1F33-253B-E545-9650-D152B67318CC}" destId="{5A3903C8-EACC-4441-A371-CE63552AD6BC}" srcOrd="2" destOrd="0" presId="urn:microsoft.com/office/officeart/2005/8/layout/vList2"/>
    <dgm:cxn modelId="{F1D740FB-B306-0E4B-9037-608665251889}" type="presParOf" srcId="{535F1F33-253B-E545-9650-D152B67318CC}" destId="{B1CE9309-F7F4-5F4C-AAFA-CBC9E380A3FD}" srcOrd="3" destOrd="0" presId="urn:microsoft.com/office/officeart/2005/8/layout/vList2"/>
    <dgm:cxn modelId="{E095C569-8B9C-EF45-8784-2F644BDFE58A}" type="presParOf" srcId="{535F1F33-253B-E545-9650-D152B67318CC}" destId="{F3A63C26-0A52-B444-BC65-E4E49D168F70}" srcOrd="4" destOrd="0" presId="urn:microsoft.com/office/officeart/2005/8/layout/vList2"/>
    <dgm:cxn modelId="{52756D2E-68A9-D940-9BC4-7CD1659103B5}" type="presParOf" srcId="{535F1F33-253B-E545-9650-D152B67318CC}" destId="{F6ED581F-E114-0F4B-B20E-9E99CFB9DCB6}" srcOrd="5" destOrd="0" presId="urn:microsoft.com/office/officeart/2005/8/layout/vList2"/>
    <dgm:cxn modelId="{6F40A287-F110-0F4E-A85C-7B0830A97068}" type="presParOf" srcId="{535F1F33-253B-E545-9650-D152B67318CC}" destId="{FD91849D-4692-3A4E-94F6-0550C304ACEF}" srcOrd="6" destOrd="0" presId="urn:microsoft.com/office/officeart/2005/8/layout/vList2"/>
    <dgm:cxn modelId="{D3155FB7-65DA-B64C-B73D-9472CFDE930A}" type="presParOf" srcId="{535F1F33-253B-E545-9650-D152B67318CC}" destId="{B00378F2-0053-5A44-8E04-BC48DB2527F8}" srcOrd="7" destOrd="0" presId="urn:microsoft.com/office/officeart/2005/8/layout/vList2"/>
    <dgm:cxn modelId="{0EDA55BA-FF06-DC47-88A8-1E9CEC9FD715}" type="presParOf" srcId="{535F1F33-253B-E545-9650-D152B67318CC}" destId="{94F519F9-2896-9F48-8C04-4FCA205EC6AA}" srcOrd="8" destOrd="0" presId="urn:microsoft.com/office/officeart/2005/8/layout/vList2"/>
    <dgm:cxn modelId="{F50027AD-A802-7E4A-BE17-030E0310E2CB}" type="presParOf" srcId="{535F1F33-253B-E545-9650-D152B67318CC}" destId="{8D15FE4D-4DCF-D14C-AC20-8F717671FFCD}" srcOrd="9" destOrd="0" presId="urn:microsoft.com/office/officeart/2005/8/layout/vList2"/>
    <dgm:cxn modelId="{5F99DDB5-1E3F-064A-9071-4DA38584F211}" type="presParOf" srcId="{535F1F33-253B-E545-9650-D152B67318CC}" destId="{4F67F073-646E-C440-924D-2F04FE92AD7D}" srcOrd="10" destOrd="0" presId="urn:microsoft.com/office/officeart/2005/8/layout/vList2"/>
    <dgm:cxn modelId="{50B6BA91-290B-2245-B26E-5B32BB034825}" type="presParOf" srcId="{535F1F33-253B-E545-9650-D152B67318CC}" destId="{F61D6270-4BB1-9342-BC97-448B46F52406}" srcOrd="11" destOrd="0" presId="urn:microsoft.com/office/officeart/2005/8/layout/vList2"/>
    <dgm:cxn modelId="{18EEE35D-338D-0B4B-BFE2-78342B9A3AB1}" type="presParOf" srcId="{535F1F33-253B-E545-9650-D152B67318CC}" destId="{2536F976-8E1C-464F-B32E-F0BC1913AB76}" srcOrd="12" destOrd="0" presId="urn:microsoft.com/office/officeart/2005/8/layout/vList2"/>
    <dgm:cxn modelId="{A1C265D5-4B6D-8F45-98E6-6484EC1C11BC}" type="presParOf" srcId="{535F1F33-253B-E545-9650-D152B67318CC}" destId="{876A9EDC-7339-0842-9EEB-048CEAEE840F}" srcOrd="13" destOrd="0" presId="urn:microsoft.com/office/officeart/2005/8/layout/vList2"/>
    <dgm:cxn modelId="{4100AB8E-E330-1345-BA22-43A71ACD2490}" type="presParOf" srcId="{535F1F33-253B-E545-9650-D152B67318CC}" destId="{E3C68E97-10D4-1F46-908D-E51B1BDB186B}" srcOrd="1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BAD977A-383D-AB4B-A735-DE4C08105431}" type="doc">
      <dgm:prSet loTypeId="urn:microsoft.com/office/officeart/2005/8/layout/vList2" loCatId="list" qsTypeId="urn:microsoft.com/office/officeart/2005/8/quickstyle/simple1" qsCatId="simple" csTypeId="urn:microsoft.com/office/officeart/2005/8/colors/colorful4" csCatId="colorful"/>
      <dgm:spPr/>
      <dgm:t>
        <a:bodyPr/>
        <a:lstStyle/>
        <a:p>
          <a:endParaRPr lang="en-US"/>
        </a:p>
      </dgm:t>
    </dgm:pt>
    <dgm:pt modelId="{303C66B2-8C35-6E43-9690-56586EF275FE}">
      <dgm:prSet/>
      <dgm:spPr/>
      <dgm:t>
        <a:bodyPr/>
        <a:lstStyle/>
        <a:p>
          <a:r>
            <a:rPr lang="en-US" b="0" i="0" dirty="0"/>
            <a:t>Provide more technical support/ training for CET prep </a:t>
          </a:r>
          <a:endParaRPr lang="en-US" dirty="0"/>
        </a:p>
      </dgm:t>
    </dgm:pt>
    <dgm:pt modelId="{F51F63CA-4F4B-A94C-A3D9-73DDC46AEF6B}" type="parTrans" cxnId="{6D170500-A6B2-8C47-B7CB-26118D685E40}">
      <dgm:prSet/>
      <dgm:spPr/>
      <dgm:t>
        <a:bodyPr/>
        <a:lstStyle/>
        <a:p>
          <a:endParaRPr lang="en-US"/>
        </a:p>
      </dgm:t>
    </dgm:pt>
    <dgm:pt modelId="{0BE6CBE0-DE73-364B-81A6-281A1228B194}" type="sibTrans" cxnId="{6D170500-A6B2-8C47-B7CB-26118D685E40}">
      <dgm:prSet/>
      <dgm:spPr/>
      <dgm:t>
        <a:bodyPr/>
        <a:lstStyle/>
        <a:p>
          <a:endParaRPr lang="en-US"/>
        </a:p>
      </dgm:t>
    </dgm:pt>
    <dgm:pt modelId="{41CC0D9D-3892-0540-86C6-92992B501108}">
      <dgm:prSet/>
      <dgm:spPr/>
      <dgm:t>
        <a:bodyPr/>
        <a:lstStyle/>
        <a:p>
          <a:r>
            <a:rPr lang="en-US" b="0" i="0" dirty="0"/>
            <a:t>Status: Implemented and ongoing</a:t>
          </a:r>
          <a:endParaRPr lang="en-US" dirty="0"/>
        </a:p>
      </dgm:t>
    </dgm:pt>
    <dgm:pt modelId="{A60E5BE9-D114-EA45-AE83-DE9EB5670C9D}" type="parTrans" cxnId="{EBED1F2C-0889-B844-8F32-D63A6F2D83B3}">
      <dgm:prSet/>
      <dgm:spPr/>
      <dgm:t>
        <a:bodyPr/>
        <a:lstStyle/>
        <a:p>
          <a:endParaRPr lang="en-US"/>
        </a:p>
      </dgm:t>
    </dgm:pt>
    <dgm:pt modelId="{7331CF6E-09B8-774C-BDA4-E500665F98E5}" type="sibTrans" cxnId="{EBED1F2C-0889-B844-8F32-D63A6F2D83B3}">
      <dgm:prSet/>
      <dgm:spPr/>
      <dgm:t>
        <a:bodyPr/>
        <a:lstStyle/>
        <a:p>
          <a:endParaRPr lang="en-US"/>
        </a:p>
      </dgm:t>
    </dgm:pt>
    <dgm:pt modelId="{21BB422A-FB60-EC49-A048-03E6427CA59C}">
      <dgm:prSet/>
      <dgm:spPr/>
      <dgm:t>
        <a:bodyPr/>
        <a:lstStyle/>
        <a:p>
          <a:r>
            <a:rPr lang="en-US" b="0" i="0" dirty="0"/>
            <a:t>Reduce complexity of solicitation processes and requirements</a:t>
          </a:r>
          <a:endParaRPr lang="en-US" dirty="0"/>
        </a:p>
      </dgm:t>
    </dgm:pt>
    <dgm:pt modelId="{76D2CD59-97F8-064A-B8D0-41DD128791E0}" type="parTrans" cxnId="{0AE5615F-5B79-7A47-B6B5-9C4DC1D7304C}">
      <dgm:prSet/>
      <dgm:spPr/>
      <dgm:t>
        <a:bodyPr/>
        <a:lstStyle/>
        <a:p>
          <a:endParaRPr lang="en-US"/>
        </a:p>
      </dgm:t>
    </dgm:pt>
    <dgm:pt modelId="{68C18BA9-7F13-664E-BB66-7E86BEF2AB2C}" type="sibTrans" cxnId="{0AE5615F-5B79-7A47-B6B5-9C4DC1D7304C}">
      <dgm:prSet/>
      <dgm:spPr/>
      <dgm:t>
        <a:bodyPr/>
        <a:lstStyle/>
        <a:p>
          <a:endParaRPr lang="en-US"/>
        </a:p>
      </dgm:t>
    </dgm:pt>
    <dgm:pt modelId="{7F3BD4D2-44FE-D946-A390-C7BCE5B68DC6}">
      <dgm:prSet/>
      <dgm:spPr/>
      <dgm:t>
        <a:bodyPr/>
        <a:lstStyle/>
        <a:p>
          <a:r>
            <a:rPr lang="en-US" b="0" i="0" dirty="0"/>
            <a:t>Status: In development through RFA working group and ongoing</a:t>
          </a:r>
          <a:endParaRPr lang="en-US" dirty="0"/>
        </a:p>
      </dgm:t>
    </dgm:pt>
    <dgm:pt modelId="{BAEC8DE0-8A8E-7D45-A20B-212C47E1D337}" type="parTrans" cxnId="{05ADDB17-D9D7-6F45-9819-C09683BC8647}">
      <dgm:prSet/>
      <dgm:spPr/>
      <dgm:t>
        <a:bodyPr/>
        <a:lstStyle/>
        <a:p>
          <a:endParaRPr lang="en-US"/>
        </a:p>
      </dgm:t>
    </dgm:pt>
    <dgm:pt modelId="{4EC409D4-9534-C249-BABD-5ACFF8E44C83}" type="sibTrans" cxnId="{05ADDB17-D9D7-6F45-9819-C09683BC8647}">
      <dgm:prSet/>
      <dgm:spPr/>
      <dgm:t>
        <a:bodyPr/>
        <a:lstStyle/>
        <a:p>
          <a:endParaRPr lang="en-US"/>
        </a:p>
      </dgm:t>
    </dgm:pt>
    <dgm:pt modelId="{D2CBB236-821A-1F4A-99E3-B03932E4DB40}">
      <dgm:prSet/>
      <dgm:spPr/>
      <dgm:t>
        <a:bodyPr/>
        <a:lstStyle/>
        <a:p>
          <a:r>
            <a:rPr lang="en-US" b="0" i="0" dirty="0"/>
            <a:t>Smaller, more targeted solicitation scope</a:t>
          </a:r>
          <a:endParaRPr lang="en-US" dirty="0"/>
        </a:p>
      </dgm:t>
    </dgm:pt>
    <dgm:pt modelId="{B71EA8AA-1C82-F245-A3CA-54A585C48288}" type="parTrans" cxnId="{0D49F1FD-7BEA-2143-A2AB-112202697575}">
      <dgm:prSet/>
      <dgm:spPr/>
      <dgm:t>
        <a:bodyPr/>
        <a:lstStyle/>
        <a:p>
          <a:endParaRPr lang="en-US"/>
        </a:p>
      </dgm:t>
    </dgm:pt>
    <dgm:pt modelId="{C87A514E-BCAF-B344-B9B3-D5AE026C0B52}" type="sibTrans" cxnId="{0D49F1FD-7BEA-2143-A2AB-112202697575}">
      <dgm:prSet/>
      <dgm:spPr/>
      <dgm:t>
        <a:bodyPr/>
        <a:lstStyle/>
        <a:p>
          <a:endParaRPr lang="en-US"/>
        </a:p>
      </dgm:t>
    </dgm:pt>
    <dgm:pt modelId="{1EC83062-474B-704A-9722-45E804347245}">
      <dgm:prSet/>
      <dgm:spPr/>
      <dgm:t>
        <a:bodyPr/>
        <a:lstStyle/>
        <a:p>
          <a:r>
            <a:rPr lang="en-US" b="0" i="0" dirty="0"/>
            <a:t>Status: Expected in upcoming 3P solicitations and ongoing</a:t>
          </a:r>
          <a:endParaRPr lang="en-US" dirty="0"/>
        </a:p>
      </dgm:t>
    </dgm:pt>
    <dgm:pt modelId="{AAEC5D68-34B5-764E-97D1-C5735A0C3B04}" type="parTrans" cxnId="{E3554644-B592-DB4E-B502-47DDEE294D75}">
      <dgm:prSet/>
      <dgm:spPr/>
      <dgm:t>
        <a:bodyPr/>
        <a:lstStyle/>
        <a:p>
          <a:endParaRPr lang="en-US"/>
        </a:p>
      </dgm:t>
    </dgm:pt>
    <dgm:pt modelId="{83696EED-447E-3549-BF9A-F0706AF2145B}" type="sibTrans" cxnId="{E3554644-B592-DB4E-B502-47DDEE294D75}">
      <dgm:prSet/>
      <dgm:spPr/>
      <dgm:t>
        <a:bodyPr/>
        <a:lstStyle/>
        <a:p>
          <a:endParaRPr lang="en-US"/>
        </a:p>
      </dgm:t>
    </dgm:pt>
    <dgm:pt modelId="{564E3BBA-8EB2-F64C-9F46-1D72853F8B17}" type="pres">
      <dgm:prSet presAssocID="{6BAD977A-383D-AB4B-A735-DE4C08105431}" presName="linear" presStyleCnt="0">
        <dgm:presLayoutVars>
          <dgm:animLvl val="lvl"/>
          <dgm:resizeHandles val="exact"/>
        </dgm:presLayoutVars>
      </dgm:prSet>
      <dgm:spPr/>
    </dgm:pt>
    <dgm:pt modelId="{357487CB-EC3D-F24D-8EA3-A6C986E6CD82}" type="pres">
      <dgm:prSet presAssocID="{303C66B2-8C35-6E43-9690-56586EF275FE}" presName="parentText" presStyleLbl="node1" presStyleIdx="0" presStyleCnt="3">
        <dgm:presLayoutVars>
          <dgm:chMax val="0"/>
          <dgm:bulletEnabled val="1"/>
        </dgm:presLayoutVars>
      </dgm:prSet>
      <dgm:spPr/>
    </dgm:pt>
    <dgm:pt modelId="{1017DE67-4A13-AD48-B84A-64F5FE3E4EE0}" type="pres">
      <dgm:prSet presAssocID="{303C66B2-8C35-6E43-9690-56586EF275FE}" presName="childText" presStyleLbl="revTx" presStyleIdx="0" presStyleCnt="3">
        <dgm:presLayoutVars>
          <dgm:bulletEnabled val="1"/>
        </dgm:presLayoutVars>
      </dgm:prSet>
      <dgm:spPr/>
    </dgm:pt>
    <dgm:pt modelId="{F96526AE-A5CB-5348-89DD-B25B3EADE789}" type="pres">
      <dgm:prSet presAssocID="{21BB422A-FB60-EC49-A048-03E6427CA59C}" presName="parentText" presStyleLbl="node1" presStyleIdx="1" presStyleCnt="3">
        <dgm:presLayoutVars>
          <dgm:chMax val="0"/>
          <dgm:bulletEnabled val="1"/>
        </dgm:presLayoutVars>
      </dgm:prSet>
      <dgm:spPr/>
    </dgm:pt>
    <dgm:pt modelId="{C33202D0-BE8A-4D4F-9B6A-71AE2305EAF3}" type="pres">
      <dgm:prSet presAssocID="{21BB422A-FB60-EC49-A048-03E6427CA59C}" presName="childText" presStyleLbl="revTx" presStyleIdx="1" presStyleCnt="3">
        <dgm:presLayoutVars>
          <dgm:bulletEnabled val="1"/>
        </dgm:presLayoutVars>
      </dgm:prSet>
      <dgm:spPr/>
    </dgm:pt>
    <dgm:pt modelId="{EC193E14-65DF-F242-AFAA-D6759E3E1C9A}" type="pres">
      <dgm:prSet presAssocID="{D2CBB236-821A-1F4A-99E3-B03932E4DB40}" presName="parentText" presStyleLbl="node1" presStyleIdx="2" presStyleCnt="3">
        <dgm:presLayoutVars>
          <dgm:chMax val="0"/>
          <dgm:bulletEnabled val="1"/>
        </dgm:presLayoutVars>
      </dgm:prSet>
      <dgm:spPr/>
    </dgm:pt>
    <dgm:pt modelId="{64898175-B9AD-4641-8819-A64890BB9372}" type="pres">
      <dgm:prSet presAssocID="{D2CBB236-821A-1F4A-99E3-B03932E4DB40}" presName="childText" presStyleLbl="revTx" presStyleIdx="2" presStyleCnt="3">
        <dgm:presLayoutVars>
          <dgm:bulletEnabled val="1"/>
        </dgm:presLayoutVars>
      </dgm:prSet>
      <dgm:spPr/>
    </dgm:pt>
  </dgm:ptLst>
  <dgm:cxnLst>
    <dgm:cxn modelId="{6D170500-A6B2-8C47-B7CB-26118D685E40}" srcId="{6BAD977A-383D-AB4B-A735-DE4C08105431}" destId="{303C66B2-8C35-6E43-9690-56586EF275FE}" srcOrd="0" destOrd="0" parTransId="{F51F63CA-4F4B-A94C-A3D9-73DDC46AEF6B}" sibTransId="{0BE6CBE0-DE73-364B-81A6-281A1228B194}"/>
    <dgm:cxn modelId="{BBA3580E-C223-6D4D-8184-D2E898B657FA}" type="presOf" srcId="{303C66B2-8C35-6E43-9690-56586EF275FE}" destId="{357487CB-EC3D-F24D-8EA3-A6C986E6CD82}" srcOrd="0" destOrd="0" presId="urn:microsoft.com/office/officeart/2005/8/layout/vList2"/>
    <dgm:cxn modelId="{05ADDB17-D9D7-6F45-9819-C09683BC8647}" srcId="{21BB422A-FB60-EC49-A048-03E6427CA59C}" destId="{7F3BD4D2-44FE-D946-A390-C7BCE5B68DC6}" srcOrd="0" destOrd="0" parTransId="{BAEC8DE0-8A8E-7D45-A20B-212C47E1D337}" sibTransId="{4EC409D4-9534-C249-BABD-5ACFF8E44C83}"/>
    <dgm:cxn modelId="{C142E124-94FD-EB49-BFE8-DA6AEBD30381}" type="presOf" srcId="{41CC0D9D-3892-0540-86C6-92992B501108}" destId="{1017DE67-4A13-AD48-B84A-64F5FE3E4EE0}" srcOrd="0" destOrd="0" presId="urn:microsoft.com/office/officeart/2005/8/layout/vList2"/>
    <dgm:cxn modelId="{EBED1F2C-0889-B844-8F32-D63A6F2D83B3}" srcId="{303C66B2-8C35-6E43-9690-56586EF275FE}" destId="{41CC0D9D-3892-0540-86C6-92992B501108}" srcOrd="0" destOrd="0" parTransId="{A60E5BE9-D114-EA45-AE83-DE9EB5670C9D}" sibTransId="{7331CF6E-09B8-774C-BDA4-E500665F98E5}"/>
    <dgm:cxn modelId="{DCDA7539-51F6-5F44-9BBE-6F712C49D2C6}" type="presOf" srcId="{1EC83062-474B-704A-9722-45E804347245}" destId="{64898175-B9AD-4641-8819-A64890BB9372}" srcOrd="0" destOrd="0" presId="urn:microsoft.com/office/officeart/2005/8/layout/vList2"/>
    <dgm:cxn modelId="{81222D5E-9B7D-594C-A64F-B5DB8205452C}" type="presOf" srcId="{7F3BD4D2-44FE-D946-A390-C7BCE5B68DC6}" destId="{C33202D0-BE8A-4D4F-9B6A-71AE2305EAF3}" srcOrd="0" destOrd="0" presId="urn:microsoft.com/office/officeart/2005/8/layout/vList2"/>
    <dgm:cxn modelId="{0AE5615F-5B79-7A47-B6B5-9C4DC1D7304C}" srcId="{6BAD977A-383D-AB4B-A735-DE4C08105431}" destId="{21BB422A-FB60-EC49-A048-03E6427CA59C}" srcOrd="1" destOrd="0" parTransId="{76D2CD59-97F8-064A-B8D0-41DD128791E0}" sibTransId="{68C18BA9-7F13-664E-BB66-7E86BEF2AB2C}"/>
    <dgm:cxn modelId="{E3554644-B592-DB4E-B502-47DDEE294D75}" srcId="{D2CBB236-821A-1F4A-99E3-B03932E4DB40}" destId="{1EC83062-474B-704A-9722-45E804347245}" srcOrd="0" destOrd="0" parTransId="{AAEC5D68-34B5-764E-97D1-C5735A0C3B04}" sibTransId="{83696EED-447E-3549-BF9A-F0706AF2145B}"/>
    <dgm:cxn modelId="{5C760F4E-0B33-D341-ABC0-BFF5FD1EACAC}" type="presOf" srcId="{D2CBB236-821A-1F4A-99E3-B03932E4DB40}" destId="{EC193E14-65DF-F242-AFAA-D6759E3E1C9A}" srcOrd="0" destOrd="0" presId="urn:microsoft.com/office/officeart/2005/8/layout/vList2"/>
    <dgm:cxn modelId="{8BA03075-C968-854C-817B-C4F8544A5BDE}" type="presOf" srcId="{6BAD977A-383D-AB4B-A735-DE4C08105431}" destId="{564E3BBA-8EB2-F64C-9F46-1D72853F8B17}" srcOrd="0" destOrd="0" presId="urn:microsoft.com/office/officeart/2005/8/layout/vList2"/>
    <dgm:cxn modelId="{ABC9B5EA-A4B5-204C-BE9C-78A991102327}" type="presOf" srcId="{21BB422A-FB60-EC49-A048-03E6427CA59C}" destId="{F96526AE-A5CB-5348-89DD-B25B3EADE789}" srcOrd="0" destOrd="0" presId="urn:microsoft.com/office/officeart/2005/8/layout/vList2"/>
    <dgm:cxn modelId="{0D49F1FD-7BEA-2143-A2AB-112202697575}" srcId="{6BAD977A-383D-AB4B-A735-DE4C08105431}" destId="{D2CBB236-821A-1F4A-99E3-B03932E4DB40}" srcOrd="2" destOrd="0" parTransId="{B71EA8AA-1C82-F245-A3CA-54A585C48288}" sibTransId="{C87A514E-BCAF-B344-B9B3-D5AE026C0B52}"/>
    <dgm:cxn modelId="{CD578233-6497-044C-8E2E-1D6007194768}" type="presParOf" srcId="{564E3BBA-8EB2-F64C-9F46-1D72853F8B17}" destId="{357487CB-EC3D-F24D-8EA3-A6C986E6CD82}" srcOrd="0" destOrd="0" presId="urn:microsoft.com/office/officeart/2005/8/layout/vList2"/>
    <dgm:cxn modelId="{62C8AF33-30E0-D146-96F8-AFE22DCC2C9C}" type="presParOf" srcId="{564E3BBA-8EB2-F64C-9F46-1D72853F8B17}" destId="{1017DE67-4A13-AD48-B84A-64F5FE3E4EE0}" srcOrd="1" destOrd="0" presId="urn:microsoft.com/office/officeart/2005/8/layout/vList2"/>
    <dgm:cxn modelId="{2174CE87-D86B-F04A-A25C-52222628B785}" type="presParOf" srcId="{564E3BBA-8EB2-F64C-9F46-1D72853F8B17}" destId="{F96526AE-A5CB-5348-89DD-B25B3EADE789}" srcOrd="2" destOrd="0" presId="urn:microsoft.com/office/officeart/2005/8/layout/vList2"/>
    <dgm:cxn modelId="{FEC306B1-1E8F-C940-95B0-6E9879C5B693}" type="presParOf" srcId="{564E3BBA-8EB2-F64C-9F46-1D72853F8B17}" destId="{C33202D0-BE8A-4D4F-9B6A-71AE2305EAF3}" srcOrd="3" destOrd="0" presId="urn:microsoft.com/office/officeart/2005/8/layout/vList2"/>
    <dgm:cxn modelId="{AA4D0A81-2693-2847-8DFE-A357293984E4}" type="presParOf" srcId="{564E3BBA-8EB2-F64C-9F46-1D72853F8B17}" destId="{EC193E14-65DF-F242-AFAA-D6759E3E1C9A}" srcOrd="4" destOrd="0" presId="urn:microsoft.com/office/officeart/2005/8/layout/vList2"/>
    <dgm:cxn modelId="{F8F6109D-E154-684C-BB5F-B397B8FD7130}" type="presParOf" srcId="{564E3BBA-8EB2-F64C-9F46-1D72853F8B17}" destId="{64898175-B9AD-4641-8819-A64890BB9372}" srcOrd="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45D8AF6-B788-884A-A8C7-73F8E5491675}" type="doc">
      <dgm:prSet loTypeId="urn:microsoft.com/office/officeart/2005/8/layout/default" loCatId="list" qsTypeId="urn:microsoft.com/office/officeart/2005/8/quickstyle/simple5" qsCatId="simple" csTypeId="urn:microsoft.com/office/officeart/2005/8/colors/accent5_2" csCatId="accent5" phldr="1"/>
      <dgm:spPr/>
      <dgm:t>
        <a:bodyPr/>
        <a:lstStyle/>
        <a:p>
          <a:endParaRPr lang="en-US"/>
        </a:p>
      </dgm:t>
    </dgm:pt>
    <dgm:pt modelId="{4F2BD71B-79AC-4040-B968-9C004E28ECC6}">
      <dgm:prSet custT="1"/>
      <dgm:spPr/>
      <dgm:t>
        <a:bodyPr/>
        <a:lstStyle/>
        <a:p>
          <a:r>
            <a:rPr lang="en-US" sz="3200" b="0" i="0" dirty="0"/>
            <a:t>Clarify non-profit DBE certification process, update Supplier Clearinghouse website</a:t>
          </a:r>
          <a:endParaRPr lang="en-US" sz="3200" dirty="0"/>
        </a:p>
      </dgm:t>
    </dgm:pt>
    <dgm:pt modelId="{0F88902B-84A7-7E40-9DFF-1422862FFBBA}" type="parTrans" cxnId="{C9F156EB-1FB5-F048-824C-58B5BDE12D75}">
      <dgm:prSet/>
      <dgm:spPr/>
      <dgm:t>
        <a:bodyPr/>
        <a:lstStyle/>
        <a:p>
          <a:endParaRPr lang="en-US"/>
        </a:p>
      </dgm:t>
    </dgm:pt>
    <dgm:pt modelId="{4146938A-2BFA-9842-8F32-D1BF25A0DB48}" type="sibTrans" cxnId="{C9F156EB-1FB5-F048-824C-58B5BDE12D75}">
      <dgm:prSet/>
      <dgm:spPr/>
      <dgm:t>
        <a:bodyPr/>
        <a:lstStyle/>
        <a:p>
          <a:endParaRPr lang="en-US"/>
        </a:p>
      </dgm:t>
    </dgm:pt>
    <dgm:pt modelId="{28C95E3F-0734-394B-BFEA-62C2DF945889}">
      <dgm:prSet custT="1"/>
      <dgm:spPr/>
      <dgm:t>
        <a:bodyPr/>
        <a:lstStyle/>
        <a:p>
          <a:r>
            <a:rPr lang="en-US" sz="3200" b="0" i="0" dirty="0"/>
            <a:t>Foster connections between SBE/ DBEs, and with larger Prime contractors. </a:t>
          </a:r>
          <a:endParaRPr lang="en-US" sz="3200" dirty="0"/>
        </a:p>
      </dgm:t>
    </dgm:pt>
    <dgm:pt modelId="{E17F78DD-224D-6541-813A-FAA4547B1B9D}" type="parTrans" cxnId="{7EEFD8F3-ED40-BE46-A877-68E85FD6051C}">
      <dgm:prSet/>
      <dgm:spPr/>
      <dgm:t>
        <a:bodyPr/>
        <a:lstStyle/>
        <a:p>
          <a:endParaRPr lang="en-US"/>
        </a:p>
      </dgm:t>
    </dgm:pt>
    <dgm:pt modelId="{E0DE8353-428F-A644-A8EB-7B706B5E9E00}" type="sibTrans" cxnId="{7EEFD8F3-ED40-BE46-A877-68E85FD6051C}">
      <dgm:prSet/>
      <dgm:spPr/>
      <dgm:t>
        <a:bodyPr/>
        <a:lstStyle/>
        <a:p>
          <a:endParaRPr lang="en-US"/>
        </a:p>
      </dgm:t>
    </dgm:pt>
    <dgm:pt modelId="{377226BA-853C-3842-91B9-D563E62C9605}">
      <dgm:prSet custT="1"/>
      <dgm:spPr/>
      <dgm:t>
        <a:bodyPr/>
        <a:lstStyle/>
        <a:p>
          <a:r>
            <a:rPr lang="en-US" sz="3200" b="0" i="0" dirty="0"/>
            <a:t>Defer RFA/ RFP deadlines to allow more time to respond </a:t>
          </a:r>
          <a:endParaRPr lang="en-US" sz="3200" dirty="0"/>
        </a:p>
      </dgm:t>
    </dgm:pt>
    <dgm:pt modelId="{188CBDDB-5B71-AC4C-A47C-0A266DAE5168}" type="parTrans" cxnId="{8FD1297A-1E7B-064A-B177-739B71DBAEB9}">
      <dgm:prSet/>
      <dgm:spPr/>
      <dgm:t>
        <a:bodyPr/>
        <a:lstStyle/>
        <a:p>
          <a:endParaRPr lang="en-US"/>
        </a:p>
      </dgm:t>
    </dgm:pt>
    <dgm:pt modelId="{4E1AEBC2-C6D4-6D45-A1AE-5A2D92BA7F5E}" type="sibTrans" cxnId="{8FD1297A-1E7B-064A-B177-739B71DBAEB9}">
      <dgm:prSet/>
      <dgm:spPr/>
      <dgm:t>
        <a:bodyPr/>
        <a:lstStyle/>
        <a:p>
          <a:endParaRPr lang="en-US"/>
        </a:p>
      </dgm:t>
    </dgm:pt>
    <dgm:pt modelId="{8C047513-C30F-6944-9051-21BB42F072BD}">
      <dgm:prSet custT="1"/>
      <dgm:spPr/>
      <dgm:t>
        <a:bodyPr/>
        <a:lstStyle/>
        <a:p>
          <a:r>
            <a:rPr lang="en-US" sz="3200" b="0" i="0" dirty="0"/>
            <a:t>Increase scoring weight/points for certified SBE/DBE as both prime and sub </a:t>
          </a:r>
          <a:endParaRPr lang="en-US" sz="3200" dirty="0"/>
        </a:p>
      </dgm:t>
    </dgm:pt>
    <dgm:pt modelId="{9DFDF84D-F0C0-B444-A99E-7C6683CA5FCB}" type="parTrans" cxnId="{49029857-D07D-D747-A125-48F5A9C2C66B}">
      <dgm:prSet/>
      <dgm:spPr/>
      <dgm:t>
        <a:bodyPr/>
        <a:lstStyle/>
        <a:p>
          <a:endParaRPr lang="en-US"/>
        </a:p>
      </dgm:t>
    </dgm:pt>
    <dgm:pt modelId="{9B08EA4E-C118-C24F-B340-88E9BBDF65CA}" type="sibTrans" cxnId="{49029857-D07D-D747-A125-48F5A9C2C66B}">
      <dgm:prSet/>
      <dgm:spPr/>
      <dgm:t>
        <a:bodyPr/>
        <a:lstStyle/>
        <a:p>
          <a:endParaRPr lang="en-US"/>
        </a:p>
      </dgm:t>
    </dgm:pt>
    <dgm:pt modelId="{9049C055-FBAB-1343-8361-A7455B4F49E2}">
      <dgm:prSet custT="1"/>
      <dgm:spPr/>
      <dgm:t>
        <a:bodyPr/>
        <a:lstStyle/>
        <a:p>
          <a:r>
            <a:rPr lang="en-US" sz="3200" b="0" i="0" dirty="0"/>
            <a:t>Ensure that the scoring methodology used appropriately values certified SBE/ DBE implementers</a:t>
          </a:r>
          <a:endParaRPr lang="en-US" sz="3200" dirty="0"/>
        </a:p>
      </dgm:t>
    </dgm:pt>
    <dgm:pt modelId="{62FF70B4-5A08-5446-AF87-57419F9D1FFB}" type="parTrans" cxnId="{ECF0A91E-27E3-E24B-AE4D-F940748DF2C2}">
      <dgm:prSet/>
      <dgm:spPr/>
      <dgm:t>
        <a:bodyPr/>
        <a:lstStyle/>
        <a:p>
          <a:endParaRPr lang="en-US"/>
        </a:p>
      </dgm:t>
    </dgm:pt>
    <dgm:pt modelId="{9A4DB6A7-F838-DB4B-94F2-F486E0E84B4F}" type="sibTrans" cxnId="{ECF0A91E-27E3-E24B-AE4D-F940748DF2C2}">
      <dgm:prSet/>
      <dgm:spPr/>
      <dgm:t>
        <a:bodyPr/>
        <a:lstStyle/>
        <a:p>
          <a:endParaRPr lang="en-US"/>
        </a:p>
      </dgm:t>
    </dgm:pt>
    <dgm:pt modelId="{941A9DAF-53EA-1745-8F5A-EA7CCA28D794}">
      <dgm:prSet custT="1"/>
      <dgm:spPr/>
      <dgm:t>
        <a:bodyPr/>
        <a:lstStyle/>
        <a:p>
          <a:r>
            <a:rPr lang="en-US" sz="3200" b="0" i="0" dirty="0"/>
            <a:t>Assess IOU contract templates for terms that would present barriers to inclusion of SBE/ DBE subcontractors. Where applicable, recommend changes. </a:t>
          </a:r>
          <a:endParaRPr lang="en-US" sz="3200" dirty="0"/>
        </a:p>
      </dgm:t>
    </dgm:pt>
    <dgm:pt modelId="{D9922A68-76ED-E143-8EF1-BEF35E24B577}" type="parTrans" cxnId="{0624F979-EC86-1642-ABDA-013114871465}">
      <dgm:prSet/>
      <dgm:spPr/>
      <dgm:t>
        <a:bodyPr/>
        <a:lstStyle/>
        <a:p>
          <a:endParaRPr lang="en-US"/>
        </a:p>
      </dgm:t>
    </dgm:pt>
    <dgm:pt modelId="{5EDFA8B8-C13C-A948-89E0-E52B7B300960}" type="sibTrans" cxnId="{0624F979-EC86-1642-ABDA-013114871465}">
      <dgm:prSet/>
      <dgm:spPr/>
      <dgm:t>
        <a:bodyPr/>
        <a:lstStyle/>
        <a:p>
          <a:endParaRPr lang="en-US"/>
        </a:p>
      </dgm:t>
    </dgm:pt>
    <dgm:pt modelId="{E718413B-A35F-4946-A508-91599D6068E7}">
      <dgm:prSet custT="1"/>
      <dgm:spPr/>
      <dgm:t>
        <a:bodyPr/>
        <a:lstStyle/>
        <a:p>
          <a:r>
            <a:rPr lang="en-US" sz="3200" b="0" i="0" dirty="0"/>
            <a:t>Reconsider fair balance of ratepayer vs implementer risk and valid need for 3P working capital when negotiating performance compensation terms. </a:t>
          </a:r>
          <a:endParaRPr lang="en-US" sz="3200" dirty="0"/>
        </a:p>
      </dgm:t>
    </dgm:pt>
    <dgm:pt modelId="{108B75AD-4E2F-6C4F-85E6-F50C84F05320}" type="parTrans" cxnId="{2F802B0F-095A-424F-AFB0-D06B4E328BE4}">
      <dgm:prSet/>
      <dgm:spPr/>
      <dgm:t>
        <a:bodyPr/>
        <a:lstStyle/>
        <a:p>
          <a:endParaRPr lang="en-US"/>
        </a:p>
      </dgm:t>
    </dgm:pt>
    <dgm:pt modelId="{0BE966A8-E044-A741-A486-5BF62C27B825}" type="sibTrans" cxnId="{2F802B0F-095A-424F-AFB0-D06B4E328BE4}">
      <dgm:prSet/>
      <dgm:spPr/>
      <dgm:t>
        <a:bodyPr/>
        <a:lstStyle/>
        <a:p>
          <a:endParaRPr lang="en-US"/>
        </a:p>
      </dgm:t>
    </dgm:pt>
    <dgm:pt modelId="{539CA3AE-B425-8145-A09E-6001A59997BB}" type="pres">
      <dgm:prSet presAssocID="{A45D8AF6-B788-884A-A8C7-73F8E5491675}" presName="diagram" presStyleCnt="0">
        <dgm:presLayoutVars>
          <dgm:dir/>
          <dgm:resizeHandles val="exact"/>
        </dgm:presLayoutVars>
      </dgm:prSet>
      <dgm:spPr/>
    </dgm:pt>
    <dgm:pt modelId="{D8BAFFAD-2009-B94F-A104-5BF99E43CB6C}" type="pres">
      <dgm:prSet presAssocID="{4F2BD71B-79AC-4040-B968-9C004E28ECC6}" presName="node" presStyleLbl="node1" presStyleIdx="0" presStyleCnt="7" custScaleY="131419" custLinFactNeighborX="50702" custLinFactNeighborY="3018">
        <dgm:presLayoutVars>
          <dgm:bulletEnabled val="1"/>
        </dgm:presLayoutVars>
      </dgm:prSet>
      <dgm:spPr/>
    </dgm:pt>
    <dgm:pt modelId="{3537A40F-E6B7-3740-B4CB-818CE4E499D5}" type="pres">
      <dgm:prSet presAssocID="{4146938A-2BFA-9842-8F32-D1BF25A0DB48}" presName="sibTrans" presStyleCnt="0"/>
      <dgm:spPr/>
    </dgm:pt>
    <dgm:pt modelId="{EF0076B1-4A18-A943-9A20-DB22FD532000}" type="pres">
      <dgm:prSet presAssocID="{28C95E3F-0734-394B-BFEA-62C2DF945889}" presName="node" presStyleLbl="node1" presStyleIdx="1" presStyleCnt="7" custScaleY="129407" custLinFactNeighborX="55000" custLinFactNeighborY="4024">
        <dgm:presLayoutVars>
          <dgm:bulletEnabled val="1"/>
        </dgm:presLayoutVars>
      </dgm:prSet>
      <dgm:spPr/>
    </dgm:pt>
    <dgm:pt modelId="{C3B4B54F-5834-E14D-853A-FE542153B9D9}" type="pres">
      <dgm:prSet presAssocID="{E0DE8353-428F-A644-A8EB-7B706B5E9E00}" presName="sibTrans" presStyleCnt="0"/>
      <dgm:spPr/>
    </dgm:pt>
    <dgm:pt modelId="{0F3458CA-AB11-E544-929D-7404A4A09754}" type="pres">
      <dgm:prSet presAssocID="{377226BA-853C-3842-91B9-D563E62C9605}" presName="node" presStyleLbl="node1" presStyleIdx="2" presStyleCnt="7" custScaleY="131419" custLinFactNeighborX="58549" custLinFactNeighborY="5030">
        <dgm:presLayoutVars>
          <dgm:bulletEnabled val="1"/>
        </dgm:presLayoutVars>
      </dgm:prSet>
      <dgm:spPr/>
    </dgm:pt>
    <dgm:pt modelId="{9E11FE9E-1934-C144-BEEA-2695FA7F89A9}" type="pres">
      <dgm:prSet presAssocID="{4E1AEBC2-C6D4-6D45-A1AE-5A2D92BA7F5E}" presName="sibTrans" presStyleCnt="0"/>
      <dgm:spPr/>
    </dgm:pt>
    <dgm:pt modelId="{28B1A6EE-80C5-E84A-8AEB-AEA7162A6039}" type="pres">
      <dgm:prSet presAssocID="{8C047513-C30F-6944-9051-21BB42F072BD}" presName="node" presStyleLbl="node1" presStyleIdx="3" presStyleCnt="7" custScaleY="131419" custLinFactX="-130126" custLinFactY="60959" custLinFactNeighborX="-200000" custLinFactNeighborY="100000">
        <dgm:presLayoutVars>
          <dgm:bulletEnabled val="1"/>
        </dgm:presLayoutVars>
      </dgm:prSet>
      <dgm:spPr/>
    </dgm:pt>
    <dgm:pt modelId="{F0680E28-80BA-D740-9DEC-AC2E6006578F}" type="pres">
      <dgm:prSet presAssocID="{9B08EA4E-C118-C24F-B340-88E9BBDF65CA}" presName="sibTrans" presStyleCnt="0"/>
      <dgm:spPr/>
    </dgm:pt>
    <dgm:pt modelId="{F81B2C73-E01E-BD4A-84A5-41F11AE04C35}" type="pres">
      <dgm:prSet presAssocID="{9049C055-FBAB-1343-8361-A7455B4F49E2}" presName="node" presStyleLbl="node1" presStyleIdx="4" presStyleCnt="7" custScaleY="132981" custLinFactNeighborX="52153" custLinFactNeighborY="13078">
        <dgm:presLayoutVars>
          <dgm:bulletEnabled val="1"/>
        </dgm:presLayoutVars>
      </dgm:prSet>
      <dgm:spPr/>
    </dgm:pt>
    <dgm:pt modelId="{A0F07C7C-FB42-2642-A953-DF5A574B618A}" type="pres">
      <dgm:prSet presAssocID="{9A4DB6A7-F838-DB4B-94F2-F486E0E84B4F}" presName="sibTrans" presStyleCnt="0"/>
      <dgm:spPr/>
    </dgm:pt>
    <dgm:pt modelId="{A77836D2-4D30-FA42-9123-73F27BAC6DCA}" type="pres">
      <dgm:prSet presAssocID="{941A9DAF-53EA-1745-8F5A-EA7CCA28D794}" presName="node" presStyleLbl="node1" presStyleIdx="5" presStyleCnt="7" custScaleY="132601" custLinFactNeighborX="59756" custLinFactNeighborY="12072">
        <dgm:presLayoutVars>
          <dgm:bulletEnabled val="1"/>
        </dgm:presLayoutVars>
      </dgm:prSet>
      <dgm:spPr/>
    </dgm:pt>
    <dgm:pt modelId="{622464B2-8BC3-0C43-8CA9-317D1D898D5B}" type="pres">
      <dgm:prSet presAssocID="{5EDFA8B8-C13C-A948-89E0-E52B7B300960}" presName="sibTrans" presStyleCnt="0"/>
      <dgm:spPr/>
    </dgm:pt>
    <dgm:pt modelId="{AF1432C8-413D-CB4A-8830-4AE2760F0917}" type="pres">
      <dgm:prSet presAssocID="{E718413B-A35F-4946-A508-91599D6068E7}" presName="node" presStyleLbl="node1" presStyleIdx="6" presStyleCnt="7" custScaleY="130589" custLinFactNeighborX="55126" custLinFactNeighborY="12072">
        <dgm:presLayoutVars>
          <dgm:bulletEnabled val="1"/>
        </dgm:presLayoutVars>
      </dgm:prSet>
      <dgm:spPr/>
    </dgm:pt>
  </dgm:ptLst>
  <dgm:cxnLst>
    <dgm:cxn modelId="{31A8E80B-0F24-2243-9FD2-A1A03568A4C2}" type="presOf" srcId="{941A9DAF-53EA-1745-8F5A-EA7CCA28D794}" destId="{A77836D2-4D30-FA42-9123-73F27BAC6DCA}" srcOrd="0" destOrd="0" presId="urn:microsoft.com/office/officeart/2005/8/layout/default"/>
    <dgm:cxn modelId="{2F802B0F-095A-424F-AFB0-D06B4E328BE4}" srcId="{A45D8AF6-B788-884A-A8C7-73F8E5491675}" destId="{E718413B-A35F-4946-A508-91599D6068E7}" srcOrd="6" destOrd="0" parTransId="{108B75AD-4E2F-6C4F-85E6-F50C84F05320}" sibTransId="{0BE966A8-E044-A741-A486-5BF62C27B825}"/>
    <dgm:cxn modelId="{ECF0A91E-27E3-E24B-AE4D-F940748DF2C2}" srcId="{A45D8AF6-B788-884A-A8C7-73F8E5491675}" destId="{9049C055-FBAB-1343-8361-A7455B4F49E2}" srcOrd="4" destOrd="0" parTransId="{62FF70B4-5A08-5446-AF87-57419F9D1FFB}" sibTransId="{9A4DB6A7-F838-DB4B-94F2-F486E0E84B4F}"/>
    <dgm:cxn modelId="{D9BA4923-78EC-6C4F-AEAB-90BB340C53B9}" type="presOf" srcId="{E718413B-A35F-4946-A508-91599D6068E7}" destId="{AF1432C8-413D-CB4A-8830-4AE2760F0917}" srcOrd="0" destOrd="0" presId="urn:microsoft.com/office/officeart/2005/8/layout/default"/>
    <dgm:cxn modelId="{BBED6666-721D-8747-B5F8-F68B701C5A85}" type="presOf" srcId="{28C95E3F-0734-394B-BFEA-62C2DF945889}" destId="{EF0076B1-4A18-A943-9A20-DB22FD532000}" srcOrd="0" destOrd="0" presId="urn:microsoft.com/office/officeart/2005/8/layout/default"/>
    <dgm:cxn modelId="{FEDD3A76-FEBC-6F46-AAB8-9E7D7575534B}" type="presOf" srcId="{8C047513-C30F-6944-9051-21BB42F072BD}" destId="{28B1A6EE-80C5-E84A-8AEB-AEA7162A6039}" srcOrd="0" destOrd="0" presId="urn:microsoft.com/office/officeart/2005/8/layout/default"/>
    <dgm:cxn modelId="{49029857-D07D-D747-A125-48F5A9C2C66B}" srcId="{A45D8AF6-B788-884A-A8C7-73F8E5491675}" destId="{8C047513-C30F-6944-9051-21BB42F072BD}" srcOrd="3" destOrd="0" parTransId="{9DFDF84D-F0C0-B444-A99E-7C6683CA5FCB}" sibTransId="{9B08EA4E-C118-C24F-B340-88E9BBDF65CA}"/>
    <dgm:cxn modelId="{0624F979-EC86-1642-ABDA-013114871465}" srcId="{A45D8AF6-B788-884A-A8C7-73F8E5491675}" destId="{941A9DAF-53EA-1745-8F5A-EA7CCA28D794}" srcOrd="5" destOrd="0" parTransId="{D9922A68-76ED-E143-8EF1-BEF35E24B577}" sibTransId="{5EDFA8B8-C13C-A948-89E0-E52B7B300960}"/>
    <dgm:cxn modelId="{8FD1297A-1E7B-064A-B177-739B71DBAEB9}" srcId="{A45D8AF6-B788-884A-A8C7-73F8E5491675}" destId="{377226BA-853C-3842-91B9-D563E62C9605}" srcOrd="2" destOrd="0" parTransId="{188CBDDB-5B71-AC4C-A47C-0A266DAE5168}" sibTransId="{4E1AEBC2-C6D4-6D45-A1AE-5A2D92BA7F5E}"/>
    <dgm:cxn modelId="{51EA4886-A266-F54B-844A-7A9F5EC62BF4}" type="presOf" srcId="{377226BA-853C-3842-91B9-D563E62C9605}" destId="{0F3458CA-AB11-E544-929D-7404A4A09754}" srcOrd="0" destOrd="0" presId="urn:microsoft.com/office/officeart/2005/8/layout/default"/>
    <dgm:cxn modelId="{92B057AC-27E7-5748-B1D8-017C48A53954}" type="presOf" srcId="{A45D8AF6-B788-884A-A8C7-73F8E5491675}" destId="{539CA3AE-B425-8145-A09E-6001A59997BB}" srcOrd="0" destOrd="0" presId="urn:microsoft.com/office/officeart/2005/8/layout/default"/>
    <dgm:cxn modelId="{0F5DE8AC-FEE4-F44F-BD46-E79374BF3254}" type="presOf" srcId="{9049C055-FBAB-1343-8361-A7455B4F49E2}" destId="{F81B2C73-E01E-BD4A-84A5-41F11AE04C35}" srcOrd="0" destOrd="0" presId="urn:microsoft.com/office/officeart/2005/8/layout/default"/>
    <dgm:cxn modelId="{C9F156EB-1FB5-F048-824C-58B5BDE12D75}" srcId="{A45D8AF6-B788-884A-A8C7-73F8E5491675}" destId="{4F2BD71B-79AC-4040-B968-9C004E28ECC6}" srcOrd="0" destOrd="0" parTransId="{0F88902B-84A7-7E40-9DFF-1422862FFBBA}" sibTransId="{4146938A-2BFA-9842-8F32-D1BF25A0DB48}"/>
    <dgm:cxn modelId="{7EEFD8F3-ED40-BE46-A877-68E85FD6051C}" srcId="{A45D8AF6-B788-884A-A8C7-73F8E5491675}" destId="{28C95E3F-0734-394B-BFEA-62C2DF945889}" srcOrd="1" destOrd="0" parTransId="{E17F78DD-224D-6541-813A-FAA4547B1B9D}" sibTransId="{E0DE8353-428F-A644-A8EB-7B706B5E9E00}"/>
    <dgm:cxn modelId="{DEC536F7-3B32-8546-9183-AD8AB976137B}" type="presOf" srcId="{4F2BD71B-79AC-4040-B968-9C004E28ECC6}" destId="{D8BAFFAD-2009-B94F-A104-5BF99E43CB6C}" srcOrd="0" destOrd="0" presId="urn:microsoft.com/office/officeart/2005/8/layout/default"/>
    <dgm:cxn modelId="{BE6986C0-EF0F-7E48-928C-7E371AC348FB}" type="presParOf" srcId="{539CA3AE-B425-8145-A09E-6001A59997BB}" destId="{D8BAFFAD-2009-B94F-A104-5BF99E43CB6C}" srcOrd="0" destOrd="0" presId="urn:microsoft.com/office/officeart/2005/8/layout/default"/>
    <dgm:cxn modelId="{71B8F7E5-CC57-9740-BC90-4B28420CBB7E}" type="presParOf" srcId="{539CA3AE-B425-8145-A09E-6001A59997BB}" destId="{3537A40F-E6B7-3740-B4CB-818CE4E499D5}" srcOrd="1" destOrd="0" presId="urn:microsoft.com/office/officeart/2005/8/layout/default"/>
    <dgm:cxn modelId="{EA92A316-F4B7-B745-A781-1DA6BDC8D91B}" type="presParOf" srcId="{539CA3AE-B425-8145-A09E-6001A59997BB}" destId="{EF0076B1-4A18-A943-9A20-DB22FD532000}" srcOrd="2" destOrd="0" presId="urn:microsoft.com/office/officeart/2005/8/layout/default"/>
    <dgm:cxn modelId="{4DBD394B-88BA-3A41-89A4-4D522939BB4F}" type="presParOf" srcId="{539CA3AE-B425-8145-A09E-6001A59997BB}" destId="{C3B4B54F-5834-E14D-853A-FE542153B9D9}" srcOrd="3" destOrd="0" presId="urn:microsoft.com/office/officeart/2005/8/layout/default"/>
    <dgm:cxn modelId="{AAE1C471-6C2B-BC40-923C-82EAA47EF018}" type="presParOf" srcId="{539CA3AE-B425-8145-A09E-6001A59997BB}" destId="{0F3458CA-AB11-E544-929D-7404A4A09754}" srcOrd="4" destOrd="0" presId="urn:microsoft.com/office/officeart/2005/8/layout/default"/>
    <dgm:cxn modelId="{51C9423E-BA0C-C44C-9172-61950027127D}" type="presParOf" srcId="{539CA3AE-B425-8145-A09E-6001A59997BB}" destId="{9E11FE9E-1934-C144-BEEA-2695FA7F89A9}" srcOrd="5" destOrd="0" presId="urn:microsoft.com/office/officeart/2005/8/layout/default"/>
    <dgm:cxn modelId="{CE78168B-44C2-1744-9DFE-FEFA2B995DD8}" type="presParOf" srcId="{539CA3AE-B425-8145-A09E-6001A59997BB}" destId="{28B1A6EE-80C5-E84A-8AEB-AEA7162A6039}" srcOrd="6" destOrd="0" presId="urn:microsoft.com/office/officeart/2005/8/layout/default"/>
    <dgm:cxn modelId="{0BC9B30C-AD9B-0141-A2E4-CED2F3AE5CBF}" type="presParOf" srcId="{539CA3AE-B425-8145-A09E-6001A59997BB}" destId="{F0680E28-80BA-D740-9DEC-AC2E6006578F}" srcOrd="7" destOrd="0" presId="urn:microsoft.com/office/officeart/2005/8/layout/default"/>
    <dgm:cxn modelId="{FE148005-38C5-564B-A16F-BA09E97D9AF4}" type="presParOf" srcId="{539CA3AE-B425-8145-A09E-6001A59997BB}" destId="{F81B2C73-E01E-BD4A-84A5-41F11AE04C35}" srcOrd="8" destOrd="0" presId="urn:microsoft.com/office/officeart/2005/8/layout/default"/>
    <dgm:cxn modelId="{2237AF80-C04B-9041-9F58-BF1279214865}" type="presParOf" srcId="{539CA3AE-B425-8145-A09E-6001A59997BB}" destId="{A0F07C7C-FB42-2642-A953-DF5A574B618A}" srcOrd="9" destOrd="0" presId="urn:microsoft.com/office/officeart/2005/8/layout/default"/>
    <dgm:cxn modelId="{2574FF3E-D6A2-1748-AEF7-2D9BBDC575E0}" type="presParOf" srcId="{539CA3AE-B425-8145-A09E-6001A59997BB}" destId="{A77836D2-4D30-FA42-9123-73F27BAC6DCA}" srcOrd="10" destOrd="0" presId="urn:microsoft.com/office/officeart/2005/8/layout/default"/>
    <dgm:cxn modelId="{A59677D3-307E-234A-8202-B7F02306EAFB}" type="presParOf" srcId="{539CA3AE-B425-8145-A09E-6001A59997BB}" destId="{622464B2-8BC3-0C43-8CA9-317D1D898D5B}" srcOrd="11" destOrd="0" presId="urn:microsoft.com/office/officeart/2005/8/layout/default"/>
    <dgm:cxn modelId="{16CAE705-C5FF-664F-B377-2B12DE907F78}" type="presParOf" srcId="{539CA3AE-B425-8145-A09E-6001A59997BB}" destId="{AF1432C8-413D-CB4A-8830-4AE2760F0917}" srcOrd="1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5E5FED0-0E83-304D-8BD8-3CE705020B79}" type="doc">
      <dgm:prSet loTypeId="urn:microsoft.com/office/officeart/2005/8/layout/default" loCatId="list" qsTypeId="urn:microsoft.com/office/officeart/2005/8/quickstyle/simple1" qsCatId="simple" csTypeId="urn:microsoft.com/office/officeart/2005/8/colors/colorful5" csCatId="colorful" phldr="1"/>
      <dgm:spPr/>
      <dgm:t>
        <a:bodyPr/>
        <a:lstStyle/>
        <a:p>
          <a:endParaRPr lang="en-US"/>
        </a:p>
      </dgm:t>
    </dgm:pt>
    <dgm:pt modelId="{20E48A8A-037F-EC4C-A8B0-4B1B72F78F51}">
      <dgm:prSet/>
      <dgm:spPr/>
      <dgm:t>
        <a:bodyPr/>
        <a:lstStyle/>
        <a:p>
          <a:r>
            <a:rPr lang="en-US" b="0" i="1" dirty="0"/>
            <a:t>What are the most important strategies that IOUs should consider to better enable small and diverse businesses to fairly compete and be successful as 3P EE Implementers in California?  </a:t>
          </a:r>
          <a:br>
            <a:rPr lang="en-US" b="0" i="1" dirty="0"/>
          </a:br>
          <a:endParaRPr lang="en-US" dirty="0"/>
        </a:p>
      </dgm:t>
    </dgm:pt>
    <dgm:pt modelId="{1CF7BB4E-A257-284E-9C8F-250B6A478D1C}" type="parTrans" cxnId="{E81FD36F-ECDE-7C40-965E-01D5E9804A30}">
      <dgm:prSet/>
      <dgm:spPr/>
      <dgm:t>
        <a:bodyPr/>
        <a:lstStyle/>
        <a:p>
          <a:endParaRPr lang="en-US"/>
        </a:p>
      </dgm:t>
    </dgm:pt>
    <dgm:pt modelId="{39323327-9787-9B4D-A48A-B59AA4B59AF7}" type="sibTrans" cxnId="{E81FD36F-ECDE-7C40-965E-01D5E9804A30}">
      <dgm:prSet/>
      <dgm:spPr/>
      <dgm:t>
        <a:bodyPr/>
        <a:lstStyle/>
        <a:p>
          <a:endParaRPr lang="en-US"/>
        </a:p>
      </dgm:t>
    </dgm:pt>
    <dgm:pt modelId="{2E2FC358-1EA7-AF41-8C34-355BAEFF45DB}" type="pres">
      <dgm:prSet presAssocID="{E5E5FED0-0E83-304D-8BD8-3CE705020B79}" presName="diagram" presStyleCnt="0">
        <dgm:presLayoutVars>
          <dgm:dir/>
          <dgm:resizeHandles val="exact"/>
        </dgm:presLayoutVars>
      </dgm:prSet>
      <dgm:spPr/>
    </dgm:pt>
    <dgm:pt modelId="{BE83F3CC-984F-7641-A471-F6781BDE6B26}" type="pres">
      <dgm:prSet presAssocID="{20E48A8A-037F-EC4C-A8B0-4B1B72F78F51}" presName="node" presStyleLbl="node1" presStyleIdx="0" presStyleCnt="1" custScaleX="185536">
        <dgm:presLayoutVars>
          <dgm:bulletEnabled val="1"/>
        </dgm:presLayoutVars>
      </dgm:prSet>
      <dgm:spPr/>
    </dgm:pt>
  </dgm:ptLst>
  <dgm:cxnLst>
    <dgm:cxn modelId="{E81FD36F-ECDE-7C40-965E-01D5E9804A30}" srcId="{E5E5FED0-0E83-304D-8BD8-3CE705020B79}" destId="{20E48A8A-037F-EC4C-A8B0-4B1B72F78F51}" srcOrd="0" destOrd="0" parTransId="{1CF7BB4E-A257-284E-9C8F-250B6A478D1C}" sibTransId="{39323327-9787-9B4D-A48A-B59AA4B59AF7}"/>
    <dgm:cxn modelId="{80E484C5-0B07-6D4B-834C-E807482226C6}" type="presOf" srcId="{20E48A8A-037F-EC4C-A8B0-4B1B72F78F51}" destId="{BE83F3CC-984F-7641-A471-F6781BDE6B26}" srcOrd="0" destOrd="0" presId="urn:microsoft.com/office/officeart/2005/8/layout/default"/>
    <dgm:cxn modelId="{45BF71C7-1CB0-C847-AD55-0EBE07E8A518}" type="presOf" srcId="{E5E5FED0-0E83-304D-8BD8-3CE705020B79}" destId="{2E2FC358-1EA7-AF41-8C34-355BAEFF45DB}" srcOrd="0" destOrd="0" presId="urn:microsoft.com/office/officeart/2005/8/layout/default"/>
    <dgm:cxn modelId="{9981E180-445B-8841-87A9-3EF1539C7261}" type="presParOf" srcId="{2E2FC358-1EA7-AF41-8C34-355BAEFF45DB}" destId="{BE83F3CC-984F-7641-A471-F6781BDE6B26}" srcOrd="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C93488-5A5D-43D9-B95E-60F7E97D25D9}">
      <dsp:nvSpPr>
        <dsp:cNvPr id="0" name=""/>
        <dsp:cNvSpPr/>
      </dsp:nvSpPr>
      <dsp:spPr>
        <a:xfrm>
          <a:off x="705" y="497564"/>
          <a:ext cx="2332505" cy="933002"/>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en-US" sz="1300" kern="1200" dirty="0"/>
            <a:t>Content analysis</a:t>
          </a:r>
        </a:p>
      </dsp:txBody>
      <dsp:txXfrm>
        <a:off x="467206" y="497564"/>
        <a:ext cx="1399503" cy="933002"/>
      </dsp:txXfrm>
    </dsp:sp>
    <dsp:sp modelId="{9737087F-43C4-4350-8EAA-1C0E552CBAEB}">
      <dsp:nvSpPr>
        <dsp:cNvPr id="0" name=""/>
        <dsp:cNvSpPr/>
      </dsp:nvSpPr>
      <dsp:spPr>
        <a:xfrm>
          <a:off x="2101875" y="443319"/>
          <a:ext cx="2332505" cy="933002"/>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en-US" sz="1300" kern="1200" dirty="0"/>
            <a:t>IOU Staff interviews</a:t>
          </a:r>
        </a:p>
      </dsp:txBody>
      <dsp:txXfrm>
        <a:off x="2568376" y="443319"/>
        <a:ext cx="1399503" cy="933002"/>
      </dsp:txXfrm>
    </dsp:sp>
    <dsp:sp modelId="{530FAB49-C1DB-4817-BA7D-56D3AA4EBAB5}">
      <dsp:nvSpPr>
        <dsp:cNvPr id="0" name=""/>
        <dsp:cNvSpPr/>
      </dsp:nvSpPr>
      <dsp:spPr>
        <a:xfrm>
          <a:off x="4201130" y="443319"/>
          <a:ext cx="2332505" cy="933002"/>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en-US" sz="1300" kern="1200" dirty="0"/>
            <a:t>IE Interviews</a:t>
          </a:r>
        </a:p>
      </dsp:txBody>
      <dsp:txXfrm>
        <a:off x="4667631" y="443319"/>
        <a:ext cx="1399503" cy="933002"/>
      </dsp:txXfrm>
    </dsp:sp>
    <dsp:sp modelId="{0ED321F5-EE48-4AE5-A542-F10CE54153CD}">
      <dsp:nvSpPr>
        <dsp:cNvPr id="0" name=""/>
        <dsp:cNvSpPr/>
      </dsp:nvSpPr>
      <dsp:spPr>
        <a:xfrm>
          <a:off x="6300385" y="443319"/>
          <a:ext cx="2332505" cy="933002"/>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en-US" sz="1300" kern="1200" dirty="0"/>
            <a:t>Bidder Interviews/Survey</a:t>
          </a:r>
        </a:p>
      </dsp:txBody>
      <dsp:txXfrm>
        <a:off x="6766886" y="443319"/>
        <a:ext cx="1399503" cy="933002"/>
      </dsp:txXfrm>
    </dsp:sp>
    <dsp:sp modelId="{4BF3CB95-DC7E-46EE-956D-AAB65AEDBF2D}">
      <dsp:nvSpPr>
        <dsp:cNvPr id="0" name=""/>
        <dsp:cNvSpPr/>
      </dsp:nvSpPr>
      <dsp:spPr>
        <a:xfrm>
          <a:off x="8399640" y="443319"/>
          <a:ext cx="2332505" cy="933002"/>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2007" tIns="17336" rIns="17336" bIns="17336" numCol="1" spcCol="1270" anchor="ctr" anchorCtr="0">
          <a:noAutofit/>
        </a:bodyPr>
        <a:lstStyle/>
        <a:p>
          <a:pPr marL="0" lvl="0" indent="0" algn="ctr" defTabSz="577850">
            <a:lnSpc>
              <a:spcPct val="90000"/>
            </a:lnSpc>
            <a:spcBef>
              <a:spcPct val="0"/>
            </a:spcBef>
            <a:spcAft>
              <a:spcPct val="35000"/>
            </a:spcAft>
            <a:buNone/>
          </a:pPr>
          <a:r>
            <a:rPr lang="en-US" sz="1300" kern="1200" dirty="0"/>
            <a:t>Reporting</a:t>
          </a:r>
        </a:p>
      </dsp:txBody>
      <dsp:txXfrm>
        <a:off x="8866141" y="443319"/>
        <a:ext cx="1399503" cy="93300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D04CA8-8A14-46A9-AA98-8D18DD9902D0}">
      <dsp:nvSpPr>
        <dsp:cNvPr id="0" name=""/>
        <dsp:cNvSpPr/>
      </dsp:nvSpPr>
      <dsp:spPr>
        <a:xfrm rot="5400000">
          <a:off x="341836" y="786838"/>
          <a:ext cx="1028673" cy="1711689"/>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FD24F90-17BF-4DF6-9063-D5FEFE074A38}">
      <dsp:nvSpPr>
        <dsp:cNvPr id="0" name=""/>
        <dsp:cNvSpPr/>
      </dsp:nvSpPr>
      <dsp:spPr>
        <a:xfrm>
          <a:off x="170125" y="1298264"/>
          <a:ext cx="1545322" cy="13545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dirty="0">
              <a:solidFill>
                <a:srgbClr val="0D0D0D"/>
              </a:solidFill>
            </a:rPr>
            <a:t>Invest in the growth and development of small and diverse firms</a:t>
          </a:r>
        </a:p>
      </dsp:txBody>
      <dsp:txXfrm>
        <a:off x="170125" y="1298264"/>
        <a:ext cx="1545322" cy="1354565"/>
      </dsp:txXfrm>
    </dsp:sp>
    <dsp:sp modelId="{E3E95D2F-29E7-4EC5-B823-D40D7DBAAB17}">
      <dsp:nvSpPr>
        <dsp:cNvPr id="0" name=""/>
        <dsp:cNvSpPr/>
      </dsp:nvSpPr>
      <dsp:spPr>
        <a:xfrm>
          <a:off x="1423878" y="660821"/>
          <a:ext cx="291570" cy="291570"/>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C7A83A8-7500-4060-8BD9-489969108F60}">
      <dsp:nvSpPr>
        <dsp:cNvPr id="0" name=""/>
        <dsp:cNvSpPr/>
      </dsp:nvSpPr>
      <dsp:spPr>
        <a:xfrm rot="5400000">
          <a:off x="2233613" y="318716"/>
          <a:ext cx="1028673" cy="1711689"/>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36F5175-D8EB-460F-BE58-079A03394170}">
      <dsp:nvSpPr>
        <dsp:cNvPr id="0" name=""/>
        <dsp:cNvSpPr/>
      </dsp:nvSpPr>
      <dsp:spPr>
        <a:xfrm>
          <a:off x="2061902" y="830142"/>
          <a:ext cx="1545322" cy="13545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dirty="0">
              <a:solidFill>
                <a:srgbClr val="0D0D0D"/>
              </a:solidFill>
            </a:rPr>
            <a:t>Encourage prime suppliers to increase spending with small and diverse businesses</a:t>
          </a:r>
        </a:p>
      </dsp:txBody>
      <dsp:txXfrm>
        <a:off x="2061902" y="830142"/>
        <a:ext cx="1545322" cy="1354565"/>
      </dsp:txXfrm>
    </dsp:sp>
    <dsp:sp modelId="{8D37B8A7-CF9C-4374-B2DA-5B6F3C0AF645}">
      <dsp:nvSpPr>
        <dsp:cNvPr id="0" name=""/>
        <dsp:cNvSpPr/>
      </dsp:nvSpPr>
      <dsp:spPr>
        <a:xfrm>
          <a:off x="3315654" y="192699"/>
          <a:ext cx="291570" cy="291570"/>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5B301B7-5E71-4B56-B11A-5D7EAB73CDA4}">
      <dsp:nvSpPr>
        <dsp:cNvPr id="0" name=""/>
        <dsp:cNvSpPr/>
      </dsp:nvSpPr>
      <dsp:spPr>
        <a:xfrm rot="5400000">
          <a:off x="4125390" y="-149405"/>
          <a:ext cx="1028673" cy="1711689"/>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D79FBFF-0B6F-4BF7-BDCC-9A3A5A067582}">
      <dsp:nvSpPr>
        <dsp:cNvPr id="0" name=""/>
        <dsp:cNvSpPr/>
      </dsp:nvSpPr>
      <dsp:spPr>
        <a:xfrm>
          <a:off x="3953679" y="362020"/>
          <a:ext cx="1545322" cy="13545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dirty="0">
              <a:solidFill>
                <a:srgbClr val="0D0D0D"/>
              </a:solidFill>
            </a:rPr>
            <a:t>Identify short and long-term opportunities to use current or new suppliers</a:t>
          </a:r>
        </a:p>
      </dsp:txBody>
      <dsp:txXfrm>
        <a:off x="3953679" y="362020"/>
        <a:ext cx="1545322" cy="135456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85B9D7-D56E-AD4D-A79F-2D9FC059FED1}">
      <dsp:nvSpPr>
        <dsp:cNvPr id="0" name=""/>
        <dsp:cNvSpPr/>
      </dsp:nvSpPr>
      <dsp:spPr>
        <a:xfrm>
          <a:off x="0" y="102069"/>
          <a:ext cx="10964158" cy="468000"/>
        </a:xfrm>
        <a:prstGeom prst="round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dirty="0"/>
            <a:t>Limited cash flow</a:t>
          </a:r>
          <a:endParaRPr lang="en-US" sz="2000" kern="1200" dirty="0"/>
        </a:p>
      </dsp:txBody>
      <dsp:txXfrm>
        <a:off x="22846" y="124915"/>
        <a:ext cx="10918466" cy="422308"/>
      </dsp:txXfrm>
    </dsp:sp>
    <dsp:sp modelId="{5A3903C8-EACC-4441-A371-CE63552AD6BC}">
      <dsp:nvSpPr>
        <dsp:cNvPr id="0" name=""/>
        <dsp:cNvSpPr/>
      </dsp:nvSpPr>
      <dsp:spPr>
        <a:xfrm>
          <a:off x="0" y="627669"/>
          <a:ext cx="10964158" cy="468000"/>
        </a:xfrm>
        <a:prstGeom prst="roundRect">
          <a:avLst/>
        </a:prstGeom>
        <a:gradFill rotWithShape="0">
          <a:gsLst>
            <a:gs pos="0">
              <a:schemeClr val="accent4">
                <a:hueOff val="-257130"/>
                <a:satOff val="-219"/>
                <a:lumOff val="-4062"/>
                <a:alphaOff val="0"/>
                <a:satMod val="103000"/>
                <a:lumMod val="102000"/>
                <a:tint val="94000"/>
              </a:schemeClr>
            </a:gs>
            <a:gs pos="50000">
              <a:schemeClr val="accent4">
                <a:hueOff val="-257130"/>
                <a:satOff val="-219"/>
                <a:lumOff val="-4062"/>
                <a:alphaOff val="0"/>
                <a:satMod val="110000"/>
                <a:lumMod val="100000"/>
                <a:shade val="100000"/>
              </a:schemeClr>
            </a:gs>
            <a:gs pos="100000">
              <a:schemeClr val="accent4">
                <a:hueOff val="-257130"/>
                <a:satOff val="-219"/>
                <a:lumOff val="-4062"/>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dirty="0"/>
            <a:t>Affordable capital difficult to obtain</a:t>
          </a:r>
          <a:endParaRPr lang="en-US" sz="2000" kern="1200" dirty="0"/>
        </a:p>
      </dsp:txBody>
      <dsp:txXfrm>
        <a:off x="22846" y="650515"/>
        <a:ext cx="10918466" cy="422308"/>
      </dsp:txXfrm>
    </dsp:sp>
    <dsp:sp modelId="{F3A63C26-0A52-B444-BC65-E4E49D168F70}">
      <dsp:nvSpPr>
        <dsp:cNvPr id="0" name=""/>
        <dsp:cNvSpPr/>
      </dsp:nvSpPr>
      <dsp:spPr>
        <a:xfrm>
          <a:off x="0" y="1153269"/>
          <a:ext cx="10964158" cy="468000"/>
        </a:xfrm>
        <a:prstGeom prst="roundRect">
          <a:avLst/>
        </a:prstGeom>
        <a:gradFill rotWithShape="0">
          <a:gsLst>
            <a:gs pos="0">
              <a:schemeClr val="accent4">
                <a:hueOff val="-514259"/>
                <a:satOff val="-439"/>
                <a:lumOff val="-8123"/>
                <a:alphaOff val="0"/>
                <a:satMod val="103000"/>
                <a:lumMod val="102000"/>
                <a:tint val="94000"/>
              </a:schemeClr>
            </a:gs>
            <a:gs pos="50000">
              <a:schemeClr val="accent4">
                <a:hueOff val="-514259"/>
                <a:satOff val="-439"/>
                <a:lumOff val="-8123"/>
                <a:alphaOff val="0"/>
                <a:satMod val="110000"/>
                <a:lumMod val="100000"/>
                <a:shade val="100000"/>
              </a:schemeClr>
            </a:gs>
            <a:gs pos="100000">
              <a:schemeClr val="accent4">
                <a:hueOff val="-514259"/>
                <a:satOff val="-439"/>
                <a:lumOff val="-8123"/>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dirty="0"/>
            <a:t>Limited resources (time, employees, financial)</a:t>
          </a:r>
          <a:endParaRPr lang="en-US" sz="2000" kern="1200" dirty="0"/>
        </a:p>
      </dsp:txBody>
      <dsp:txXfrm>
        <a:off x="22846" y="1176115"/>
        <a:ext cx="10918466" cy="422308"/>
      </dsp:txXfrm>
    </dsp:sp>
    <dsp:sp modelId="{FD91849D-4692-3A4E-94F6-0550C304ACEF}">
      <dsp:nvSpPr>
        <dsp:cNvPr id="0" name=""/>
        <dsp:cNvSpPr/>
      </dsp:nvSpPr>
      <dsp:spPr>
        <a:xfrm>
          <a:off x="0" y="1678869"/>
          <a:ext cx="10964158" cy="468000"/>
        </a:xfrm>
        <a:prstGeom prst="roundRect">
          <a:avLst/>
        </a:prstGeom>
        <a:gradFill rotWithShape="0">
          <a:gsLst>
            <a:gs pos="0">
              <a:schemeClr val="accent4">
                <a:hueOff val="-771389"/>
                <a:satOff val="-658"/>
                <a:lumOff val="-12185"/>
                <a:alphaOff val="0"/>
                <a:satMod val="103000"/>
                <a:lumMod val="102000"/>
                <a:tint val="94000"/>
              </a:schemeClr>
            </a:gs>
            <a:gs pos="50000">
              <a:schemeClr val="accent4">
                <a:hueOff val="-771389"/>
                <a:satOff val="-658"/>
                <a:lumOff val="-12185"/>
                <a:alphaOff val="0"/>
                <a:satMod val="110000"/>
                <a:lumMod val="100000"/>
                <a:shade val="100000"/>
              </a:schemeClr>
            </a:gs>
            <a:gs pos="100000">
              <a:schemeClr val="accent4">
                <a:hueOff val="-771389"/>
                <a:satOff val="-658"/>
                <a:lumOff val="-12185"/>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dirty="0"/>
            <a:t>Time consuming, complex solicitation requirements</a:t>
          </a:r>
          <a:endParaRPr lang="en-US" sz="2000" kern="1200" dirty="0"/>
        </a:p>
      </dsp:txBody>
      <dsp:txXfrm>
        <a:off x="22846" y="1701715"/>
        <a:ext cx="10918466" cy="422308"/>
      </dsp:txXfrm>
    </dsp:sp>
    <dsp:sp modelId="{94F519F9-2896-9F48-8C04-4FCA205EC6AA}">
      <dsp:nvSpPr>
        <dsp:cNvPr id="0" name=""/>
        <dsp:cNvSpPr/>
      </dsp:nvSpPr>
      <dsp:spPr>
        <a:xfrm>
          <a:off x="0" y="2204469"/>
          <a:ext cx="10964158" cy="468000"/>
        </a:xfrm>
        <a:prstGeom prst="roundRect">
          <a:avLst/>
        </a:prstGeom>
        <a:gradFill rotWithShape="0">
          <a:gsLst>
            <a:gs pos="0">
              <a:schemeClr val="accent4">
                <a:hueOff val="-1028518"/>
                <a:satOff val="-878"/>
                <a:lumOff val="-16247"/>
                <a:alphaOff val="0"/>
                <a:satMod val="103000"/>
                <a:lumMod val="102000"/>
                <a:tint val="94000"/>
              </a:schemeClr>
            </a:gs>
            <a:gs pos="50000">
              <a:schemeClr val="accent4">
                <a:hueOff val="-1028518"/>
                <a:satOff val="-878"/>
                <a:lumOff val="-16247"/>
                <a:alphaOff val="0"/>
                <a:satMod val="110000"/>
                <a:lumMod val="100000"/>
                <a:shade val="100000"/>
              </a:schemeClr>
            </a:gs>
            <a:gs pos="100000">
              <a:schemeClr val="accent4">
                <a:hueOff val="-1028518"/>
                <a:satOff val="-878"/>
                <a:lumOff val="-16247"/>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dirty="0"/>
            <a:t>Complex, unique EE regulatory environment</a:t>
          </a:r>
          <a:endParaRPr lang="en-US" sz="2000" kern="1200" dirty="0"/>
        </a:p>
      </dsp:txBody>
      <dsp:txXfrm>
        <a:off x="22846" y="2227315"/>
        <a:ext cx="10918466" cy="422308"/>
      </dsp:txXfrm>
    </dsp:sp>
    <dsp:sp modelId="{4F67F073-646E-C440-924D-2F04FE92AD7D}">
      <dsp:nvSpPr>
        <dsp:cNvPr id="0" name=""/>
        <dsp:cNvSpPr/>
      </dsp:nvSpPr>
      <dsp:spPr>
        <a:xfrm>
          <a:off x="0" y="2730069"/>
          <a:ext cx="10964158" cy="468000"/>
        </a:xfrm>
        <a:prstGeom prst="roundRect">
          <a:avLst/>
        </a:prstGeom>
        <a:gradFill rotWithShape="0">
          <a:gsLst>
            <a:gs pos="0">
              <a:schemeClr val="accent4">
                <a:hueOff val="-1285648"/>
                <a:satOff val="-1097"/>
                <a:lumOff val="-20309"/>
                <a:alphaOff val="0"/>
                <a:satMod val="103000"/>
                <a:lumMod val="102000"/>
                <a:tint val="94000"/>
              </a:schemeClr>
            </a:gs>
            <a:gs pos="50000">
              <a:schemeClr val="accent4">
                <a:hueOff val="-1285648"/>
                <a:satOff val="-1097"/>
                <a:lumOff val="-20309"/>
                <a:alphaOff val="0"/>
                <a:satMod val="110000"/>
                <a:lumMod val="100000"/>
                <a:shade val="100000"/>
              </a:schemeClr>
            </a:gs>
            <a:gs pos="100000">
              <a:schemeClr val="accent4">
                <a:hueOff val="-1285648"/>
                <a:satOff val="-1097"/>
                <a:lumOff val="-20309"/>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dirty="0"/>
            <a:t>Experienced CA EE Implementers have knowledge advantage</a:t>
          </a:r>
          <a:endParaRPr lang="en-US" sz="2000" kern="1200" dirty="0"/>
        </a:p>
      </dsp:txBody>
      <dsp:txXfrm>
        <a:off x="22846" y="2752915"/>
        <a:ext cx="10918466" cy="422308"/>
      </dsp:txXfrm>
    </dsp:sp>
    <dsp:sp modelId="{2536F976-8E1C-464F-B32E-F0BC1913AB76}">
      <dsp:nvSpPr>
        <dsp:cNvPr id="0" name=""/>
        <dsp:cNvSpPr/>
      </dsp:nvSpPr>
      <dsp:spPr>
        <a:xfrm>
          <a:off x="0" y="3255669"/>
          <a:ext cx="10964158" cy="468000"/>
        </a:xfrm>
        <a:prstGeom prst="roundRect">
          <a:avLst/>
        </a:prstGeom>
        <a:gradFill rotWithShape="0">
          <a:gsLst>
            <a:gs pos="0">
              <a:schemeClr val="accent4">
                <a:hueOff val="-1542777"/>
                <a:satOff val="-1317"/>
                <a:lumOff val="-24370"/>
                <a:alphaOff val="0"/>
                <a:satMod val="103000"/>
                <a:lumMod val="102000"/>
                <a:tint val="94000"/>
              </a:schemeClr>
            </a:gs>
            <a:gs pos="50000">
              <a:schemeClr val="accent4">
                <a:hueOff val="-1542777"/>
                <a:satOff val="-1317"/>
                <a:lumOff val="-24370"/>
                <a:alphaOff val="0"/>
                <a:satMod val="110000"/>
                <a:lumMod val="100000"/>
                <a:shade val="100000"/>
              </a:schemeClr>
            </a:gs>
            <a:gs pos="100000">
              <a:schemeClr val="accent4">
                <a:hueOff val="-1542777"/>
                <a:satOff val="-1317"/>
                <a:lumOff val="-2437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dirty="0"/>
            <a:t>Unclear DBE certification process at Supplier Clearinghouse (esp. for non-profits)</a:t>
          </a:r>
          <a:endParaRPr lang="en-US" sz="2000" kern="1200" dirty="0"/>
        </a:p>
      </dsp:txBody>
      <dsp:txXfrm>
        <a:off x="22846" y="3278515"/>
        <a:ext cx="10918466" cy="422308"/>
      </dsp:txXfrm>
    </dsp:sp>
    <dsp:sp modelId="{E3C68E97-10D4-1F46-908D-E51B1BDB186B}">
      <dsp:nvSpPr>
        <dsp:cNvPr id="0" name=""/>
        <dsp:cNvSpPr/>
      </dsp:nvSpPr>
      <dsp:spPr>
        <a:xfrm>
          <a:off x="0" y="3781269"/>
          <a:ext cx="10964158" cy="468000"/>
        </a:xfrm>
        <a:prstGeom prst="roundRect">
          <a:avLst/>
        </a:prstGeom>
        <a:gradFill rotWithShape="0">
          <a:gsLst>
            <a:gs pos="0">
              <a:schemeClr val="accent4">
                <a:hueOff val="-1799907"/>
                <a:satOff val="-1536"/>
                <a:lumOff val="-28432"/>
                <a:alphaOff val="0"/>
                <a:satMod val="103000"/>
                <a:lumMod val="102000"/>
                <a:tint val="94000"/>
              </a:schemeClr>
            </a:gs>
            <a:gs pos="50000">
              <a:schemeClr val="accent4">
                <a:hueOff val="-1799907"/>
                <a:satOff val="-1536"/>
                <a:lumOff val="-28432"/>
                <a:alphaOff val="0"/>
                <a:satMod val="110000"/>
                <a:lumMod val="100000"/>
                <a:shade val="100000"/>
              </a:schemeClr>
            </a:gs>
            <a:gs pos="100000">
              <a:schemeClr val="accent4">
                <a:hueOff val="-1799907"/>
                <a:satOff val="-1536"/>
                <a:lumOff val="-28432"/>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dirty="0"/>
            <a:t>Changing the status quo/ previous practices</a:t>
          </a:r>
          <a:endParaRPr lang="en-US" sz="2000" kern="1200" dirty="0"/>
        </a:p>
      </dsp:txBody>
      <dsp:txXfrm>
        <a:off x="22846" y="3804115"/>
        <a:ext cx="10918466" cy="42230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7487CB-EC3D-F24D-8EA3-A6C986E6CD82}">
      <dsp:nvSpPr>
        <dsp:cNvPr id="0" name=""/>
        <dsp:cNvSpPr/>
      </dsp:nvSpPr>
      <dsp:spPr>
        <a:xfrm>
          <a:off x="0" y="437409"/>
          <a:ext cx="10512862" cy="67860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b="0" i="0" kern="1200"/>
            <a:t>Provide more technical support/ training for CET prep </a:t>
          </a:r>
          <a:endParaRPr lang="en-US" sz="2900" kern="1200"/>
        </a:p>
      </dsp:txBody>
      <dsp:txXfrm>
        <a:off x="33127" y="470536"/>
        <a:ext cx="10446608" cy="612346"/>
      </dsp:txXfrm>
    </dsp:sp>
    <dsp:sp modelId="{1017DE67-4A13-AD48-B84A-64F5FE3E4EE0}">
      <dsp:nvSpPr>
        <dsp:cNvPr id="0" name=""/>
        <dsp:cNvSpPr/>
      </dsp:nvSpPr>
      <dsp:spPr>
        <a:xfrm>
          <a:off x="0" y="1116009"/>
          <a:ext cx="10512862" cy="4802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3783" tIns="36830" rIns="206248" bIns="36830" numCol="1" spcCol="1270" anchor="t" anchorCtr="0">
          <a:noAutofit/>
        </a:bodyPr>
        <a:lstStyle/>
        <a:p>
          <a:pPr marL="228600" lvl="1" indent="-228600" algn="l" defTabSz="1022350">
            <a:lnSpc>
              <a:spcPct val="90000"/>
            </a:lnSpc>
            <a:spcBef>
              <a:spcPct val="0"/>
            </a:spcBef>
            <a:spcAft>
              <a:spcPct val="20000"/>
            </a:spcAft>
            <a:buChar char="•"/>
          </a:pPr>
          <a:r>
            <a:rPr lang="en-US" sz="2300" b="0" i="0" kern="1200" dirty="0"/>
            <a:t>Status: Implemented and ongoing</a:t>
          </a:r>
          <a:endParaRPr lang="en-US" sz="2300" kern="1200" dirty="0"/>
        </a:p>
      </dsp:txBody>
      <dsp:txXfrm>
        <a:off x="0" y="1116009"/>
        <a:ext cx="10512862" cy="480240"/>
      </dsp:txXfrm>
    </dsp:sp>
    <dsp:sp modelId="{F96526AE-A5CB-5348-89DD-B25B3EADE789}">
      <dsp:nvSpPr>
        <dsp:cNvPr id="0" name=""/>
        <dsp:cNvSpPr/>
      </dsp:nvSpPr>
      <dsp:spPr>
        <a:xfrm>
          <a:off x="0" y="1596249"/>
          <a:ext cx="10512862" cy="678600"/>
        </a:xfrm>
        <a:prstGeom prst="roundRect">
          <a:avLst/>
        </a:prstGeom>
        <a:solidFill>
          <a:schemeClr val="accent4">
            <a:hueOff val="-899953"/>
            <a:satOff val="-768"/>
            <a:lumOff val="-1421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b="0" i="0" kern="1200"/>
            <a:t>Reduce complexity of solicitation processes and requirements</a:t>
          </a:r>
          <a:endParaRPr lang="en-US" sz="2900" kern="1200"/>
        </a:p>
      </dsp:txBody>
      <dsp:txXfrm>
        <a:off x="33127" y="1629376"/>
        <a:ext cx="10446608" cy="612346"/>
      </dsp:txXfrm>
    </dsp:sp>
    <dsp:sp modelId="{C33202D0-BE8A-4D4F-9B6A-71AE2305EAF3}">
      <dsp:nvSpPr>
        <dsp:cNvPr id="0" name=""/>
        <dsp:cNvSpPr/>
      </dsp:nvSpPr>
      <dsp:spPr>
        <a:xfrm>
          <a:off x="0" y="2274849"/>
          <a:ext cx="10512862" cy="4802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3783" tIns="36830" rIns="206248" bIns="36830" numCol="1" spcCol="1270" anchor="t" anchorCtr="0">
          <a:noAutofit/>
        </a:bodyPr>
        <a:lstStyle/>
        <a:p>
          <a:pPr marL="228600" lvl="1" indent="-228600" algn="l" defTabSz="1022350">
            <a:lnSpc>
              <a:spcPct val="90000"/>
            </a:lnSpc>
            <a:spcBef>
              <a:spcPct val="0"/>
            </a:spcBef>
            <a:spcAft>
              <a:spcPct val="20000"/>
            </a:spcAft>
            <a:buChar char="•"/>
          </a:pPr>
          <a:r>
            <a:rPr lang="en-US" sz="2300" b="0" i="0" kern="1200"/>
            <a:t>Status: In development through RFA working group and ongoing</a:t>
          </a:r>
          <a:endParaRPr lang="en-US" sz="2300" kern="1200"/>
        </a:p>
      </dsp:txBody>
      <dsp:txXfrm>
        <a:off x="0" y="2274849"/>
        <a:ext cx="10512862" cy="480240"/>
      </dsp:txXfrm>
    </dsp:sp>
    <dsp:sp modelId="{EC193E14-65DF-F242-AFAA-D6759E3E1C9A}">
      <dsp:nvSpPr>
        <dsp:cNvPr id="0" name=""/>
        <dsp:cNvSpPr/>
      </dsp:nvSpPr>
      <dsp:spPr>
        <a:xfrm>
          <a:off x="0" y="2755089"/>
          <a:ext cx="10512862" cy="678600"/>
        </a:xfrm>
        <a:prstGeom prst="roundRect">
          <a:avLst/>
        </a:prstGeom>
        <a:solidFill>
          <a:schemeClr val="accent4">
            <a:hueOff val="-1799907"/>
            <a:satOff val="-1536"/>
            <a:lumOff val="-2843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b="0" i="0" kern="1200"/>
            <a:t>Smaller, more targeted solicitation scope</a:t>
          </a:r>
          <a:endParaRPr lang="en-US" sz="2900" kern="1200"/>
        </a:p>
      </dsp:txBody>
      <dsp:txXfrm>
        <a:off x="33127" y="2788216"/>
        <a:ext cx="10446608" cy="612346"/>
      </dsp:txXfrm>
    </dsp:sp>
    <dsp:sp modelId="{64898175-B9AD-4641-8819-A64890BB9372}">
      <dsp:nvSpPr>
        <dsp:cNvPr id="0" name=""/>
        <dsp:cNvSpPr/>
      </dsp:nvSpPr>
      <dsp:spPr>
        <a:xfrm>
          <a:off x="0" y="3433688"/>
          <a:ext cx="10512862" cy="4802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3783" tIns="36830" rIns="206248" bIns="36830" numCol="1" spcCol="1270" anchor="t" anchorCtr="0">
          <a:noAutofit/>
        </a:bodyPr>
        <a:lstStyle/>
        <a:p>
          <a:pPr marL="228600" lvl="1" indent="-228600" algn="l" defTabSz="1022350">
            <a:lnSpc>
              <a:spcPct val="90000"/>
            </a:lnSpc>
            <a:spcBef>
              <a:spcPct val="0"/>
            </a:spcBef>
            <a:spcAft>
              <a:spcPct val="20000"/>
            </a:spcAft>
            <a:buChar char="•"/>
          </a:pPr>
          <a:r>
            <a:rPr lang="en-US" sz="2300" b="0" i="0" kern="1200"/>
            <a:t>Status: Expected in upcoming 3P solicitations and ongoing</a:t>
          </a:r>
          <a:endParaRPr lang="en-US" sz="2300" kern="1200"/>
        </a:p>
      </dsp:txBody>
      <dsp:txXfrm>
        <a:off x="0" y="3433688"/>
        <a:ext cx="10512862" cy="48024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BAFFAD-2009-B94F-A104-5BF99E43CB6C}">
      <dsp:nvSpPr>
        <dsp:cNvPr id="0" name=""/>
        <dsp:cNvSpPr/>
      </dsp:nvSpPr>
      <dsp:spPr>
        <a:xfrm>
          <a:off x="1241942" y="298145"/>
          <a:ext cx="2443419" cy="1926670"/>
        </a:xfrm>
        <a:prstGeom prst="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b="0" i="0" kern="1200" dirty="0"/>
            <a:t>Clarify non-profit DBE certification process, update Supplier Clearinghouse website</a:t>
          </a:r>
          <a:endParaRPr lang="en-US" sz="3200" kern="1200" dirty="0"/>
        </a:p>
      </dsp:txBody>
      <dsp:txXfrm>
        <a:off x="1241942" y="298145"/>
        <a:ext cx="2443419" cy="1926670"/>
      </dsp:txXfrm>
    </dsp:sp>
    <dsp:sp modelId="{EF0076B1-4A18-A943-9A20-DB22FD532000}">
      <dsp:nvSpPr>
        <dsp:cNvPr id="0" name=""/>
        <dsp:cNvSpPr/>
      </dsp:nvSpPr>
      <dsp:spPr>
        <a:xfrm>
          <a:off x="4034721" y="327642"/>
          <a:ext cx="2443419" cy="1897173"/>
        </a:xfrm>
        <a:prstGeom prst="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b="0" i="0" kern="1200" dirty="0"/>
            <a:t>Foster connections between SBE/ DBEs, and with larger Prime contractors. </a:t>
          </a:r>
          <a:endParaRPr lang="en-US" sz="3200" kern="1200" dirty="0"/>
        </a:p>
      </dsp:txBody>
      <dsp:txXfrm>
        <a:off x="4034721" y="327642"/>
        <a:ext cx="2443419" cy="1897173"/>
      </dsp:txXfrm>
    </dsp:sp>
    <dsp:sp modelId="{0F3458CA-AB11-E544-929D-7404A4A09754}">
      <dsp:nvSpPr>
        <dsp:cNvPr id="0" name=""/>
        <dsp:cNvSpPr/>
      </dsp:nvSpPr>
      <dsp:spPr>
        <a:xfrm>
          <a:off x="6809199" y="327642"/>
          <a:ext cx="2443419" cy="1926670"/>
        </a:xfrm>
        <a:prstGeom prst="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b="0" i="0" kern="1200" dirty="0"/>
            <a:t>Defer RFA/ RFP deadlines to allow more time to respond </a:t>
          </a:r>
          <a:endParaRPr lang="en-US" sz="3200" kern="1200" dirty="0"/>
        </a:p>
      </dsp:txBody>
      <dsp:txXfrm>
        <a:off x="6809199" y="327642"/>
        <a:ext cx="2443419" cy="1926670"/>
      </dsp:txXfrm>
    </dsp:sp>
    <dsp:sp modelId="{28B1A6EE-80C5-E84A-8AEB-AEA7162A6039}">
      <dsp:nvSpPr>
        <dsp:cNvPr id="0" name=""/>
        <dsp:cNvSpPr/>
      </dsp:nvSpPr>
      <dsp:spPr>
        <a:xfrm>
          <a:off x="1" y="2613642"/>
          <a:ext cx="2443419" cy="1926670"/>
        </a:xfrm>
        <a:prstGeom prst="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b="0" i="0" kern="1200" dirty="0"/>
            <a:t>Increase scoring weight/points for certified SBE/DBE as both prime and sub </a:t>
          </a:r>
          <a:endParaRPr lang="en-US" sz="3200" kern="1200" dirty="0"/>
        </a:p>
      </dsp:txBody>
      <dsp:txXfrm>
        <a:off x="1" y="2613642"/>
        <a:ext cx="2443419" cy="1926670"/>
      </dsp:txXfrm>
    </dsp:sp>
    <dsp:sp modelId="{F81B2C73-E01E-BD4A-84A5-41F11AE04C35}">
      <dsp:nvSpPr>
        <dsp:cNvPr id="0" name=""/>
        <dsp:cNvSpPr/>
      </dsp:nvSpPr>
      <dsp:spPr>
        <a:xfrm>
          <a:off x="2621276" y="2616642"/>
          <a:ext cx="2443419" cy="1949569"/>
        </a:xfrm>
        <a:prstGeom prst="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b="0" i="0" kern="1200" dirty="0"/>
            <a:t>Ensure that the scoring methodology used appropriately values certified SBE/ DBE implementers</a:t>
          </a:r>
          <a:endParaRPr lang="en-US" sz="3200" kern="1200" dirty="0"/>
        </a:p>
      </dsp:txBody>
      <dsp:txXfrm>
        <a:off x="2621276" y="2616642"/>
        <a:ext cx="2443419" cy="1949569"/>
      </dsp:txXfrm>
    </dsp:sp>
    <dsp:sp modelId="{A77836D2-4D30-FA42-9123-73F27BAC6DCA}">
      <dsp:nvSpPr>
        <dsp:cNvPr id="0" name=""/>
        <dsp:cNvSpPr/>
      </dsp:nvSpPr>
      <dsp:spPr>
        <a:xfrm>
          <a:off x="5494810" y="2604679"/>
          <a:ext cx="2443419" cy="1943998"/>
        </a:xfrm>
        <a:prstGeom prst="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b="0" i="0" kern="1200" dirty="0"/>
            <a:t>Assess IOU contract templates for terms that would present barriers to inclusion of SBE/ DBE subcontractors. Where applicable, recommend changes. </a:t>
          </a:r>
          <a:endParaRPr lang="en-US" sz="3200" kern="1200" dirty="0"/>
        </a:p>
      </dsp:txBody>
      <dsp:txXfrm>
        <a:off x="5494810" y="2604679"/>
        <a:ext cx="2443419" cy="1943998"/>
      </dsp:txXfrm>
    </dsp:sp>
    <dsp:sp modelId="{AF1432C8-413D-CB4A-8830-4AE2760F0917}">
      <dsp:nvSpPr>
        <dsp:cNvPr id="0" name=""/>
        <dsp:cNvSpPr/>
      </dsp:nvSpPr>
      <dsp:spPr>
        <a:xfrm>
          <a:off x="8069441" y="2619428"/>
          <a:ext cx="2443419" cy="1914501"/>
        </a:xfrm>
        <a:prstGeom prst="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b="0" i="0" kern="1200" dirty="0"/>
            <a:t>Reconsider fair balance of ratepayer vs implementer risk and valid need for 3P working capital when negotiating performance compensation terms. </a:t>
          </a:r>
          <a:endParaRPr lang="en-US" sz="3200" kern="1200" dirty="0"/>
        </a:p>
      </dsp:txBody>
      <dsp:txXfrm>
        <a:off x="8069441" y="2619428"/>
        <a:ext cx="2443419" cy="191450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83F3CC-984F-7641-A471-F6781BDE6B26}">
      <dsp:nvSpPr>
        <dsp:cNvPr id="0" name=""/>
        <dsp:cNvSpPr/>
      </dsp:nvSpPr>
      <dsp:spPr>
        <a:xfrm>
          <a:off x="132741" y="1756"/>
          <a:ext cx="10264865" cy="3319527"/>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b="0" i="1" kern="1200" dirty="0"/>
            <a:t>What are the most important strategies that IOUs should consider to better enable small and diverse businesses to fairly compete and be successful as 3P EE Implementers in California?  </a:t>
          </a:r>
          <a:br>
            <a:rPr lang="en-US" sz="3800" b="0" i="1" kern="1200" dirty="0"/>
          </a:br>
          <a:endParaRPr lang="en-US" sz="3800" kern="1200" dirty="0"/>
        </a:p>
      </dsp:txBody>
      <dsp:txXfrm>
        <a:off x="132741" y="1756"/>
        <a:ext cx="10264865" cy="3319527"/>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A118E6D1-F705-4CCC-9C0B-5004DF6F43B5}" type="datetimeFigureOut">
              <a:rPr lang="en-US" smtClean="0"/>
              <a:t>7/26/2021</a:t>
            </a:fld>
            <a:endParaRPr lang="en-US" dirty="0"/>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ACDEFFF7-EF00-45FD-B291-718DA5320E59}" type="slidenum">
              <a:rPr lang="en-US" smtClean="0"/>
              <a:t>‹#›</a:t>
            </a:fld>
            <a:endParaRPr lang="en-US" dirty="0"/>
          </a:p>
        </p:txBody>
      </p:sp>
    </p:spTree>
    <p:extLst>
      <p:ext uri="{BB962C8B-B14F-4D97-AF65-F5344CB8AC3E}">
        <p14:creationId xmlns:p14="http://schemas.microsoft.com/office/powerpoint/2010/main" val="12645202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CDEFFF7-EF00-45FD-B291-718DA5320E59}" type="slidenum">
              <a:rPr lang="en-US" smtClean="0"/>
              <a:t>1</a:t>
            </a:fld>
            <a:endParaRPr lang="en-US" dirty="0"/>
          </a:p>
        </p:txBody>
      </p:sp>
    </p:spTree>
    <p:extLst>
      <p:ext uri="{BB962C8B-B14F-4D97-AF65-F5344CB8AC3E}">
        <p14:creationId xmlns:p14="http://schemas.microsoft.com/office/powerpoint/2010/main" val="20364688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7BAD3-AF26-C549-B9FF-03213EEFC5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14630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0D38AC6-CF5A-432C-85B0-EC9BF3B812B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3A41BE-6698-4FD0-B255-4EADBCCB066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75896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9" name="Slide Image Placeholder 1"/>
          <p:cNvSpPr>
            <a:spLocks noGrp="1" noRot="1" noChangeAspect="1"/>
          </p:cNvSpPr>
          <p:nvPr>
            <p:ph type="sldImg"/>
          </p:nvPr>
        </p:nvSpPr>
        <p:spPr bwMode="auto">
          <a:xfrm>
            <a:off x="406400" y="696913"/>
            <a:ext cx="6197600"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12291"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MS PGothic" pitchFamily="34" charset="-128"/>
              </a:defRPr>
            </a:lvl1pPr>
            <a:lvl2pPr marL="757066" indent="-291179" eaLnBrk="0" hangingPunct="0">
              <a:defRPr sz="2400">
                <a:solidFill>
                  <a:schemeClr val="tx1"/>
                </a:solidFill>
                <a:latin typeface="Calibri" pitchFamily="34" charset="0"/>
                <a:ea typeface="MS PGothic" pitchFamily="34" charset="-128"/>
              </a:defRPr>
            </a:lvl2pPr>
            <a:lvl3pPr marL="1164717" indent="-232943" eaLnBrk="0" hangingPunct="0">
              <a:defRPr sz="2400">
                <a:solidFill>
                  <a:schemeClr val="tx1"/>
                </a:solidFill>
                <a:latin typeface="Calibri" pitchFamily="34" charset="0"/>
                <a:ea typeface="MS PGothic" pitchFamily="34" charset="-128"/>
              </a:defRPr>
            </a:lvl3pPr>
            <a:lvl4pPr marL="1630604" indent="-232943" eaLnBrk="0" hangingPunct="0">
              <a:defRPr sz="2400">
                <a:solidFill>
                  <a:schemeClr val="tx1"/>
                </a:solidFill>
                <a:latin typeface="Calibri" pitchFamily="34" charset="0"/>
                <a:ea typeface="MS PGothic" pitchFamily="34" charset="-128"/>
              </a:defRPr>
            </a:lvl4pPr>
            <a:lvl5pPr marL="2096491" indent="-232943" eaLnBrk="0" hangingPunct="0">
              <a:defRPr sz="2400">
                <a:solidFill>
                  <a:schemeClr val="tx1"/>
                </a:solidFill>
                <a:latin typeface="Calibri" pitchFamily="34" charset="0"/>
                <a:ea typeface="MS PGothic" pitchFamily="34" charset="-128"/>
              </a:defRPr>
            </a:lvl5pPr>
            <a:lvl6pPr marL="2562377" indent="-232943" defTabSz="465887" eaLnBrk="0" fontAlgn="base" hangingPunct="0">
              <a:spcBef>
                <a:spcPct val="0"/>
              </a:spcBef>
              <a:spcAft>
                <a:spcPct val="0"/>
              </a:spcAft>
              <a:defRPr sz="2400">
                <a:solidFill>
                  <a:schemeClr val="tx1"/>
                </a:solidFill>
                <a:latin typeface="Calibri" pitchFamily="34" charset="0"/>
                <a:ea typeface="MS PGothic" pitchFamily="34" charset="-128"/>
              </a:defRPr>
            </a:lvl6pPr>
            <a:lvl7pPr marL="3028264" indent="-232943" defTabSz="465887" eaLnBrk="0" fontAlgn="base" hangingPunct="0">
              <a:spcBef>
                <a:spcPct val="0"/>
              </a:spcBef>
              <a:spcAft>
                <a:spcPct val="0"/>
              </a:spcAft>
              <a:defRPr sz="2400">
                <a:solidFill>
                  <a:schemeClr val="tx1"/>
                </a:solidFill>
                <a:latin typeface="Calibri" pitchFamily="34" charset="0"/>
                <a:ea typeface="MS PGothic" pitchFamily="34" charset="-128"/>
              </a:defRPr>
            </a:lvl7pPr>
            <a:lvl8pPr marL="3494151" indent="-232943" defTabSz="465887" eaLnBrk="0" fontAlgn="base" hangingPunct="0">
              <a:spcBef>
                <a:spcPct val="0"/>
              </a:spcBef>
              <a:spcAft>
                <a:spcPct val="0"/>
              </a:spcAft>
              <a:defRPr sz="2400">
                <a:solidFill>
                  <a:schemeClr val="tx1"/>
                </a:solidFill>
                <a:latin typeface="Calibri" pitchFamily="34" charset="0"/>
                <a:ea typeface="MS PGothic" pitchFamily="34" charset="-128"/>
              </a:defRPr>
            </a:lvl8pPr>
            <a:lvl9pPr marL="3960038" indent="-232943" defTabSz="465887" eaLnBrk="0" fontAlgn="base" hangingPunct="0">
              <a:spcBef>
                <a:spcPct val="0"/>
              </a:spcBef>
              <a:spcAft>
                <a:spcPct val="0"/>
              </a:spcAft>
              <a:defRPr sz="2400">
                <a:solidFill>
                  <a:schemeClr val="tx1"/>
                </a:solidFill>
                <a:latin typeface="Calibri" pitchFamily="34" charset="0"/>
                <a:ea typeface="MS PGothic"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095EB1F-FFE8-4224-835D-092C7B20A769}" type="slidenum">
              <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altLang="en-US" sz="120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34686584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6CB423-F7B4-4389-85A9-717FF28DE6F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94923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ote that these observations and lessons learned are “public” information and, therefore, do not reflect the entirety of nor necessarily even the most important observations and lessons learned.</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036A700-1CE9-495E-8A80-DB36A2CEF8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33491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036A700-1CE9-495E-8A80-DB36A2CEF8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95474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036A700-1CE9-495E-8A80-DB36A2CEF8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18498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036A700-1CE9-495E-8A80-DB36A2CEF8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24605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036A700-1CE9-495E-8A80-DB36A2CEF8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4875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ote that these observations and lessons learned are “public” information and, therefore, do not reflect the entirety of nor necessarily even the most important observations and lessons learned.</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036A700-1CE9-495E-8A80-DB36A2CEF8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64430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9" name="Slide Image Placeholder 1"/>
          <p:cNvSpPr>
            <a:spLocks noGrp="1" noRot="1" noChangeAspect="1"/>
          </p:cNvSpPr>
          <p:nvPr>
            <p:ph type="sldImg"/>
          </p:nvPr>
        </p:nvSpPr>
        <p:spPr bwMode="auto">
          <a:xfrm>
            <a:off x="406400" y="696913"/>
            <a:ext cx="6197600"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12291"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MS PGothic" pitchFamily="34" charset="-128"/>
              </a:defRPr>
            </a:lvl1pPr>
            <a:lvl2pPr marL="757066" indent="-291179" eaLnBrk="0" hangingPunct="0">
              <a:defRPr sz="2400">
                <a:solidFill>
                  <a:schemeClr val="tx1"/>
                </a:solidFill>
                <a:latin typeface="Calibri" pitchFamily="34" charset="0"/>
                <a:ea typeface="MS PGothic" pitchFamily="34" charset="-128"/>
              </a:defRPr>
            </a:lvl2pPr>
            <a:lvl3pPr marL="1164717" indent="-232943" eaLnBrk="0" hangingPunct="0">
              <a:defRPr sz="2400">
                <a:solidFill>
                  <a:schemeClr val="tx1"/>
                </a:solidFill>
                <a:latin typeface="Calibri" pitchFamily="34" charset="0"/>
                <a:ea typeface="MS PGothic" pitchFamily="34" charset="-128"/>
              </a:defRPr>
            </a:lvl3pPr>
            <a:lvl4pPr marL="1630604" indent="-232943" eaLnBrk="0" hangingPunct="0">
              <a:defRPr sz="2400">
                <a:solidFill>
                  <a:schemeClr val="tx1"/>
                </a:solidFill>
                <a:latin typeface="Calibri" pitchFamily="34" charset="0"/>
                <a:ea typeface="MS PGothic" pitchFamily="34" charset="-128"/>
              </a:defRPr>
            </a:lvl4pPr>
            <a:lvl5pPr marL="2096491" indent="-232943" eaLnBrk="0" hangingPunct="0">
              <a:defRPr sz="2400">
                <a:solidFill>
                  <a:schemeClr val="tx1"/>
                </a:solidFill>
                <a:latin typeface="Calibri" pitchFamily="34" charset="0"/>
                <a:ea typeface="MS PGothic" pitchFamily="34" charset="-128"/>
              </a:defRPr>
            </a:lvl5pPr>
            <a:lvl6pPr marL="2562377" indent="-232943" defTabSz="465887" eaLnBrk="0" fontAlgn="base" hangingPunct="0">
              <a:spcBef>
                <a:spcPct val="0"/>
              </a:spcBef>
              <a:spcAft>
                <a:spcPct val="0"/>
              </a:spcAft>
              <a:defRPr sz="2400">
                <a:solidFill>
                  <a:schemeClr val="tx1"/>
                </a:solidFill>
                <a:latin typeface="Calibri" pitchFamily="34" charset="0"/>
                <a:ea typeface="MS PGothic" pitchFamily="34" charset="-128"/>
              </a:defRPr>
            </a:lvl6pPr>
            <a:lvl7pPr marL="3028264" indent="-232943" defTabSz="465887" eaLnBrk="0" fontAlgn="base" hangingPunct="0">
              <a:spcBef>
                <a:spcPct val="0"/>
              </a:spcBef>
              <a:spcAft>
                <a:spcPct val="0"/>
              </a:spcAft>
              <a:defRPr sz="2400">
                <a:solidFill>
                  <a:schemeClr val="tx1"/>
                </a:solidFill>
                <a:latin typeface="Calibri" pitchFamily="34" charset="0"/>
                <a:ea typeface="MS PGothic" pitchFamily="34" charset="-128"/>
              </a:defRPr>
            </a:lvl7pPr>
            <a:lvl8pPr marL="3494151" indent="-232943" defTabSz="465887" eaLnBrk="0" fontAlgn="base" hangingPunct="0">
              <a:spcBef>
                <a:spcPct val="0"/>
              </a:spcBef>
              <a:spcAft>
                <a:spcPct val="0"/>
              </a:spcAft>
              <a:defRPr sz="2400">
                <a:solidFill>
                  <a:schemeClr val="tx1"/>
                </a:solidFill>
                <a:latin typeface="Calibri" pitchFamily="34" charset="0"/>
                <a:ea typeface="MS PGothic" pitchFamily="34" charset="-128"/>
              </a:defRPr>
            </a:lvl8pPr>
            <a:lvl9pPr marL="3960038" indent="-232943" defTabSz="465887" eaLnBrk="0" fontAlgn="base" hangingPunct="0">
              <a:spcBef>
                <a:spcPct val="0"/>
              </a:spcBef>
              <a:spcAft>
                <a:spcPct val="0"/>
              </a:spcAft>
              <a:defRPr sz="2400">
                <a:solidFill>
                  <a:schemeClr val="tx1"/>
                </a:solidFill>
                <a:latin typeface="Calibri" pitchFamily="34" charset="0"/>
                <a:ea typeface="MS PGothic"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095EB1F-FFE8-4224-835D-092C7B20A769}" type="slidenum">
              <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altLang="en-US" sz="120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2902975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036A700-1CE9-495E-8A80-DB36A2CEF8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09184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036A700-1CE9-495E-8A80-DB36A2CEF8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00727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036A700-1CE9-495E-8A80-DB36A2CEF8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55860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AD2EC2AB-FD5C-4EF7-AF8D-FB95907AF3A4}" type="slidenum">
              <a:rPr kumimoji="0" lang="en-GB" sz="1200" b="0" i="0" u="none" strike="noStrike" kern="1200" cap="none" spc="0" normalizeH="0" baseline="0" noProof="0" smtClean="0">
                <a:ln>
                  <a:noFill/>
                </a:ln>
                <a:solidFill>
                  <a:prstClr val="black"/>
                </a:solidFill>
                <a:effectLst/>
                <a:uLnTx/>
                <a:uFillTx/>
                <a:latin typeface="Calibri"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49</a:t>
            </a:fld>
            <a:endParaRPr kumimoji="0" lang="en-GB" sz="1200" b="0" i="0" u="none" strike="noStrike" kern="1200" cap="none" spc="0" normalizeH="0" baseline="0" noProof="0" dirty="0">
              <a:ln>
                <a:noFill/>
              </a:ln>
              <a:solidFill>
                <a:prstClr val="black"/>
              </a:solidFill>
              <a:effectLst/>
              <a:uLnTx/>
              <a:uFillTx/>
              <a:latin typeface="Calibri" charset="0"/>
              <a:ea typeface="ＭＳ Ｐゴシック" charset="0"/>
            </a:endParaRPr>
          </a:p>
        </p:txBody>
      </p:sp>
    </p:spTree>
    <p:extLst>
      <p:ext uri="{BB962C8B-B14F-4D97-AF65-F5344CB8AC3E}">
        <p14:creationId xmlns:p14="http://schemas.microsoft.com/office/powerpoint/2010/main" val="38096038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4813" y="696913"/>
            <a:ext cx="6175375" cy="34813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8109702A-F0A6-4159-A0B1-BD2644E442F7}" type="slidenum">
              <a:rPr kumimoji="0" lang="en-US" altLang="en-US" sz="1200" b="0" i="0" u="none" strike="noStrike" kern="1200" cap="none" spc="0" normalizeH="0" baseline="0" noProof="0" smtClean="0">
                <a:ln>
                  <a:noFill/>
                </a:ln>
                <a:solidFill>
                  <a:srgbClr val="000000"/>
                </a:solidFill>
                <a:effectLst/>
                <a:uLnTx/>
                <a:uFillTx/>
                <a:latin typeface="Times" pitchFamily="18"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56</a:t>
            </a:fld>
            <a:endParaRPr kumimoji="0" lang="en-US" altLang="en-US" sz="1200" b="0" i="0" u="none" strike="noStrike" kern="1200" cap="none" spc="0" normalizeH="0" baseline="0" noProof="0" dirty="0">
              <a:ln>
                <a:noFill/>
              </a:ln>
              <a:solidFill>
                <a:srgbClr val="000000"/>
              </a:solidFill>
              <a:effectLst/>
              <a:uLnTx/>
              <a:uFillTx/>
              <a:latin typeface="Times" pitchFamily="18" charset="0"/>
              <a:ea typeface="+mn-ea"/>
              <a:cs typeface="+mn-cs"/>
            </a:endParaRPr>
          </a:p>
        </p:txBody>
      </p:sp>
    </p:spTree>
    <p:extLst>
      <p:ext uri="{BB962C8B-B14F-4D97-AF65-F5344CB8AC3E}">
        <p14:creationId xmlns:p14="http://schemas.microsoft.com/office/powerpoint/2010/main" val="23732582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oice over "in addition to launching evaluators work which you've just heard about.</a:t>
            </a:r>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8109702A-F0A6-4159-A0B1-BD2644E442F7}" type="slidenum">
              <a:rPr kumimoji="0" lang="en-US" altLang="en-US" sz="1200" b="0" i="0" u="none" strike="noStrike" kern="1200" cap="none" spc="0" normalizeH="0" baseline="0" noProof="0" smtClean="0">
                <a:ln>
                  <a:noFill/>
                </a:ln>
                <a:solidFill>
                  <a:srgbClr val="000000"/>
                </a:solidFill>
                <a:effectLst/>
                <a:uLnTx/>
                <a:uFillTx/>
                <a:latin typeface="Times" pitchFamily="18"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57</a:t>
            </a:fld>
            <a:endParaRPr kumimoji="0" lang="en-US" altLang="en-US" sz="1200" b="0" i="0" u="none" strike="noStrike" kern="1200" cap="none" spc="0" normalizeH="0" baseline="0" noProof="0" dirty="0">
              <a:ln>
                <a:noFill/>
              </a:ln>
              <a:solidFill>
                <a:srgbClr val="000000"/>
              </a:solidFill>
              <a:effectLst/>
              <a:uLnTx/>
              <a:uFillTx/>
              <a:latin typeface="Times" pitchFamily="18" charset="0"/>
              <a:ea typeface="+mn-ea"/>
              <a:cs typeface="+mn-cs"/>
            </a:endParaRPr>
          </a:p>
        </p:txBody>
      </p:sp>
    </p:spTree>
    <p:extLst>
      <p:ext uri="{BB962C8B-B14F-4D97-AF65-F5344CB8AC3E}">
        <p14:creationId xmlns:p14="http://schemas.microsoft.com/office/powerpoint/2010/main" val="13001347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8109702A-F0A6-4159-A0B1-BD2644E442F7}" type="slidenum">
              <a:rPr kumimoji="0" lang="en-US" altLang="en-US" sz="1200" b="0" i="0" u="none" strike="noStrike" kern="1200" cap="none" spc="0" normalizeH="0" baseline="0" noProof="0" smtClean="0">
                <a:ln>
                  <a:noFill/>
                </a:ln>
                <a:solidFill>
                  <a:srgbClr val="000000"/>
                </a:solidFill>
                <a:effectLst/>
                <a:uLnTx/>
                <a:uFillTx/>
                <a:latin typeface="Times" pitchFamily="18"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58</a:t>
            </a:fld>
            <a:endParaRPr kumimoji="0" lang="en-US" altLang="en-US" sz="1200" b="0" i="0" u="none" strike="noStrike" kern="1200" cap="none" spc="0" normalizeH="0" baseline="0" noProof="0" dirty="0">
              <a:ln>
                <a:noFill/>
              </a:ln>
              <a:solidFill>
                <a:srgbClr val="000000"/>
              </a:solidFill>
              <a:effectLst/>
              <a:uLnTx/>
              <a:uFillTx/>
              <a:latin typeface="Times" pitchFamily="18" charset="0"/>
              <a:ea typeface="+mn-ea"/>
              <a:cs typeface="+mn-cs"/>
            </a:endParaRPr>
          </a:p>
        </p:txBody>
      </p:sp>
    </p:spTree>
    <p:extLst>
      <p:ext uri="{BB962C8B-B14F-4D97-AF65-F5344CB8AC3E}">
        <p14:creationId xmlns:p14="http://schemas.microsoft.com/office/powerpoint/2010/main" val="25858441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8109702A-F0A6-4159-A0B1-BD2644E442F7}" type="slidenum">
              <a:rPr kumimoji="0" lang="en-US" altLang="en-US" sz="1200" b="0" i="0" u="none" strike="noStrike" kern="1200" cap="none" spc="0" normalizeH="0" baseline="0" noProof="0" smtClean="0">
                <a:ln>
                  <a:noFill/>
                </a:ln>
                <a:solidFill>
                  <a:srgbClr val="000000"/>
                </a:solidFill>
                <a:effectLst/>
                <a:uLnTx/>
                <a:uFillTx/>
                <a:latin typeface="Times" pitchFamily="18"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60</a:t>
            </a:fld>
            <a:endParaRPr kumimoji="0" lang="en-US" altLang="en-US" sz="1200" b="0" i="0" u="none" strike="noStrike" kern="1200" cap="none" spc="0" normalizeH="0" baseline="0" noProof="0" dirty="0">
              <a:ln>
                <a:noFill/>
              </a:ln>
              <a:solidFill>
                <a:srgbClr val="000000"/>
              </a:solidFill>
              <a:effectLst/>
              <a:uLnTx/>
              <a:uFillTx/>
              <a:latin typeface="Times" pitchFamily="18" charset="0"/>
              <a:ea typeface="+mn-ea"/>
              <a:cs typeface="+mn-cs"/>
            </a:endParaRPr>
          </a:p>
        </p:txBody>
      </p:sp>
    </p:spTree>
    <p:extLst>
      <p:ext uri="{BB962C8B-B14F-4D97-AF65-F5344CB8AC3E}">
        <p14:creationId xmlns:p14="http://schemas.microsoft.com/office/powerpoint/2010/main" val="9446287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dirty="0"/>
              <a:t>Bullet 1 - Info stripped out - </a:t>
            </a:r>
            <a:r>
              <a:rPr lang="en-US" sz="1600" kern="1200" dirty="0">
                <a:solidFill>
                  <a:srgbClr val="191919"/>
                </a:solidFill>
                <a:latin typeface="Times" pitchFamily="18" charset="0"/>
                <a:ea typeface="+mn-ea"/>
                <a:cs typeface="+mn-cs"/>
              </a:rPr>
              <a:t>Is this different for those who have run CA EE programs vs. those who have not? </a:t>
            </a:r>
            <a:endParaRPr lang="en-US"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en-US" dirty="0"/>
              <a:t>Bullet 2 - Metrics - </a:t>
            </a:r>
            <a:r>
              <a:rPr lang="en-US" sz="1600" kern="1200" dirty="0">
                <a:solidFill>
                  <a:srgbClr val="191919"/>
                </a:solidFill>
                <a:latin typeface="Times" pitchFamily="18" charset="0"/>
                <a:ea typeface="+mn-ea"/>
                <a:cs typeface="+mn-cs"/>
              </a:rPr>
              <a:t>Examples might include person hours required to complete the abstract, number of pages, required expertise (legal, engineering, etc.) to respond? </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600" kern="1200" dirty="0">
                <a:solidFill>
                  <a:srgbClr val="191919"/>
                </a:solidFill>
                <a:latin typeface="Times" pitchFamily="18" charset="0"/>
                <a:ea typeface="+mn-ea"/>
                <a:cs typeface="+mn-cs"/>
              </a:rPr>
              <a:t>Bullet 3 - No requirements for implementing simplified RFA - Stakeholders could always petition CPUC to require IOUs to reduce size of RFA.  Downside of mandates is that needs may change (might be determined that RFAs need to request more information, for example.</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600" kern="1200" dirty="0">
                <a:solidFill>
                  <a:srgbClr val="191919"/>
                </a:solidFill>
                <a:latin typeface="Times" pitchFamily="18" charset="0"/>
                <a:ea typeface="+mn-ea"/>
                <a:cs typeface="+mn-cs"/>
              </a:rPr>
              <a:t>Bullet 1 under (IOUs – now) - The RFQ process could then move all program design/innovation/budget questions to the RFP stage</a:t>
            </a:r>
            <a:endParaRPr lang="en-US" sz="1600" dirty="0"/>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600" kern="1200" dirty="0">
              <a:solidFill>
                <a:srgbClr val="191919"/>
              </a:solidFill>
              <a:latin typeface="Times" pitchFamily="18" charset="0"/>
              <a:ea typeface="+mn-ea"/>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8109702A-F0A6-4159-A0B1-BD2644E442F7}" type="slidenum">
              <a:rPr kumimoji="0" lang="en-US" altLang="en-US" sz="1200" b="0" i="0" u="none" strike="noStrike" kern="1200" cap="none" spc="0" normalizeH="0" baseline="0" noProof="0" smtClean="0">
                <a:ln>
                  <a:noFill/>
                </a:ln>
                <a:solidFill>
                  <a:srgbClr val="000000"/>
                </a:solidFill>
                <a:effectLst/>
                <a:uLnTx/>
                <a:uFillTx/>
                <a:latin typeface="Times" pitchFamily="18"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62</a:t>
            </a:fld>
            <a:endParaRPr kumimoji="0" lang="en-US" altLang="en-US" sz="1200" b="0" i="0" u="none" strike="noStrike" kern="1200" cap="none" spc="0" normalizeH="0" baseline="0" noProof="0" dirty="0">
              <a:ln>
                <a:noFill/>
              </a:ln>
              <a:solidFill>
                <a:srgbClr val="000000"/>
              </a:solidFill>
              <a:effectLst/>
              <a:uLnTx/>
              <a:uFillTx/>
              <a:latin typeface="Times" pitchFamily="18" charset="0"/>
              <a:ea typeface="+mn-ea"/>
              <a:cs typeface="+mn-cs"/>
            </a:endParaRPr>
          </a:p>
        </p:txBody>
      </p:sp>
    </p:spTree>
    <p:extLst>
      <p:ext uri="{BB962C8B-B14F-4D97-AF65-F5344CB8AC3E}">
        <p14:creationId xmlns:p14="http://schemas.microsoft.com/office/powerpoint/2010/main" val="372766076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6CB423-F7B4-4389-85A9-717FF28DE6F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69282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ise Hand Feature: in Meeting Reactions Icons section</a:t>
            </a:r>
          </a:p>
          <a:p>
            <a:endParaRPr lang="en-US" dirty="0"/>
          </a:p>
        </p:txBody>
      </p:sp>
      <p:sp>
        <p:nvSpPr>
          <p:cNvPr id="4" name="Slide Number Placeholder 3"/>
          <p:cNvSpPr>
            <a:spLocks noGrp="1"/>
          </p:cNvSpPr>
          <p:nvPr>
            <p:ph type="sldNum" sz="quarter" idx="5"/>
          </p:nvPr>
        </p:nvSpPr>
        <p:spPr/>
        <p:txBody>
          <a:bodyPr/>
          <a:lstStyle/>
          <a:p>
            <a:fld id="{ACDEFFF7-EF00-45FD-B291-718DA5320E59}" type="slidenum">
              <a:rPr lang="en-US" smtClean="0"/>
              <a:t>3</a:t>
            </a:fld>
            <a:endParaRPr lang="en-US" dirty="0"/>
          </a:p>
        </p:txBody>
      </p:sp>
    </p:spTree>
    <p:extLst>
      <p:ext uri="{BB962C8B-B14F-4D97-AF65-F5344CB8AC3E}">
        <p14:creationId xmlns:p14="http://schemas.microsoft.com/office/powerpoint/2010/main" val="38823770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0D38AC6-CF5A-432C-85B0-EC9BF3B812B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3A41BE-6698-4FD0-B255-4EADBCCB066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0646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FA47C1-6B91-407D-B99D-76FE586471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957634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C8EF3-0A66-43AA-9F5A-CD3BB4A2275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3882026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im</a:t>
            </a:r>
          </a:p>
        </p:txBody>
      </p:sp>
      <p:sp>
        <p:nvSpPr>
          <p:cNvPr id="4" name="Slide Number Placeholder 3"/>
          <p:cNvSpPr>
            <a:spLocks noGrp="1"/>
          </p:cNvSpPr>
          <p:nvPr>
            <p:ph type="sldNum" sz="quarter" idx="10"/>
          </p:nvPr>
        </p:nvSpPr>
        <p:spPr/>
        <p:txBody>
          <a:bodyPr/>
          <a:lstStyle/>
          <a:p>
            <a:pPr marL="0" marR="0" lvl="0" indent="0" algn="r" defTabSz="1828434" rtl="0" eaLnBrk="1" fontAlgn="auto" latinLnBrk="0" hangingPunct="1">
              <a:lnSpc>
                <a:spcPct val="100000"/>
              </a:lnSpc>
              <a:spcBef>
                <a:spcPts val="0"/>
              </a:spcBef>
              <a:spcAft>
                <a:spcPts val="0"/>
              </a:spcAft>
              <a:buClrTx/>
              <a:buSzTx/>
              <a:buFontTx/>
              <a:buNone/>
              <a:tabLst/>
              <a:defRPr/>
            </a:pPr>
            <a:fld id="{006BE02D-20C0-F840-AFAC-BEA99C74FDC2}" type="slidenum">
              <a:rPr kumimoji="0" lang="en-US" sz="1200" b="0" i="0" u="none" strike="noStrike" kern="1200" cap="none" spc="0" normalizeH="0" baseline="0" noProof="0" smtClean="0">
                <a:ln>
                  <a:noFill/>
                </a:ln>
                <a:solidFill>
                  <a:prstClr val="black"/>
                </a:solidFill>
                <a:effectLst/>
                <a:uLnTx/>
                <a:uFillTx/>
                <a:latin typeface="Calibri Light"/>
                <a:ea typeface="+mn-ea"/>
                <a:cs typeface="+mn-cs"/>
              </a:rPr>
              <a:pPr marL="0" marR="0" lvl="0" indent="0" algn="r" defTabSz="1828434"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dirty="0">
              <a:ln>
                <a:noFill/>
              </a:ln>
              <a:solidFill>
                <a:prstClr val="black"/>
              </a:solidFill>
              <a:effectLst/>
              <a:uLnTx/>
              <a:uFillTx/>
              <a:latin typeface="Calibri Light"/>
              <a:ea typeface="+mn-ea"/>
              <a:cs typeface="+mn-cs"/>
            </a:endParaRPr>
          </a:p>
        </p:txBody>
      </p:sp>
    </p:spTree>
    <p:extLst>
      <p:ext uri="{BB962C8B-B14F-4D97-AF65-F5344CB8AC3E}">
        <p14:creationId xmlns:p14="http://schemas.microsoft.com/office/powerpoint/2010/main" val="4146005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399"/>
            <a:ext cx="5486400" cy="4491507"/>
          </a:xfrm>
        </p:spPr>
        <p:txBody>
          <a:bodyPr/>
          <a:lstStyle/>
          <a:p>
            <a:r>
              <a:rPr lang="en-US" sz="1600" baseline="0" dirty="0"/>
              <a:t>Kim</a:t>
            </a:r>
          </a:p>
          <a:p>
            <a:endParaRPr lang="en-US" sz="1600" baseline="0" dirty="0"/>
          </a:p>
          <a:p>
            <a:endParaRPr lang="en-US" sz="1600" dirty="0"/>
          </a:p>
        </p:txBody>
      </p:sp>
      <p:sp>
        <p:nvSpPr>
          <p:cNvPr id="4" name="Slide Number Placeholder 3"/>
          <p:cNvSpPr>
            <a:spLocks noGrp="1"/>
          </p:cNvSpPr>
          <p:nvPr>
            <p:ph type="sldNum" sz="quarter" idx="10"/>
          </p:nvPr>
        </p:nvSpPr>
        <p:spPr/>
        <p:txBody>
          <a:bodyPr/>
          <a:lstStyle/>
          <a:p>
            <a:pPr marL="0" marR="0" lvl="0" indent="0" algn="r" defTabSz="1828434" rtl="0" eaLnBrk="1" fontAlgn="auto" latinLnBrk="0" hangingPunct="1">
              <a:lnSpc>
                <a:spcPct val="100000"/>
              </a:lnSpc>
              <a:spcBef>
                <a:spcPts val="0"/>
              </a:spcBef>
              <a:spcAft>
                <a:spcPts val="0"/>
              </a:spcAft>
              <a:buClrTx/>
              <a:buSzTx/>
              <a:buFontTx/>
              <a:buNone/>
              <a:tabLst/>
              <a:defRPr/>
            </a:pPr>
            <a:fld id="{006BE02D-20C0-F840-AFAC-BEA99C74FDC2}" type="slidenum">
              <a:rPr kumimoji="0" lang="en-US" sz="1200" b="0" i="0" u="none" strike="noStrike" kern="1200" cap="none" spc="0" normalizeH="0" baseline="0" noProof="0" smtClean="0">
                <a:ln>
                  <a:noFill/>
                </a:ln>
                <a:solidFill>
                  <a:prstClr val="black"/>
                </a:solidFill>
                <a:effectLst/>
                <a:uLnTx/>
                <a:uFillTx/>
                <a:latin typeface="Calibri Light"/>
                <a:ea typeface="+mn-ea"/>
                <a:cs typeface="+mn-cs"/>
              </a:rPr>
              <a:pPr marL="0" marR="0" lvl="0" indent="0" algn="r" defTabSz="1828434"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dirty="0">
              <a:ln>
                <a:noFill/>
              </a:ln>
              <a:solidFill>
                <a:prstClr val="black"/>
              </a:solidFill>
              <a:effectLst/>
              <a:uLnTx/>
              <a:uFillTx/>
              <a:latin typeface="Calibri Light"/>
              <a:ea typeface="+mn-ea"/>
              <a:cs typeface="+mn-cs"/>
            </a:endParaRPr>
          </a:p>
        </p:txBody>
      </p:sp>
    </p:spTree>
    <p:extLst>
      <p:ext uri="{BB962C8B-B14F-4D97-AF65-F5344CB8AC3E}">
        <p14:creationId xmlns:p14="http://schemas.microsoft.com/office/powerpoint/2010/main" val="230337065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C8EF3-0A66-43AA-9F5A-CD3BB4A2275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5012731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C8EF3-0A66-43AA-9F5A-CD3BB4A2275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3801469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C8EF3-0A66-43AA-9F5A-CD3BB4A2275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2509100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0C8EF3-0A66-43AA-9F5A-CD3BB4A2275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4055628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rPr>
              <a:t>Strategic Partnership to increase DBE subcontracting spend and not just suppliers but suppliers that are strategic to help support our community with the potential for Diverse Subcontracting Opportuniti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DGE saw a lot of value and we also saw a lot of opportunities for diversity in the Supplier Relationship Meeting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effectLst/>
              <a:latin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6CB423-F7B4-4389-85A9-717FF28DE6F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69282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k for a BALANCE of effort  - impact  of these efforts to portfolio – vs. review and address in </a:t>
            </a:r>
          </a:p>
          <a:p>
            <a:endParaRPr lang="en-US" dirty="0"/>
          </a:p>
          <a:p>
            <a:r>
              <a:rPr lang="en-US" dirty="0"/>
              <a:t>A little hiatus as we had bandwidth challenges from Energy division, but we are back to it with this ALL hands, and I want to thank Mona all of the IEs, and especially Sophie Babka from Cal Advo</a:t>
            </a:r>
          </a:p>
          <a:p>
            <a:r>
              <a:rPr lang="en-US" dirty="0"/>
              <a:t>Allow space at Public stakeholder workshop to hear from stakeholders outside IE/PRGs</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7BAD3-AF26-C549-B9FF-03213EEFC5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992544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baseline="0" dirty="0">
                <a:solidFill>
                  <a:schemeClr val="tx1"/>
                </a:solidFill>
                <a:effectLst/>
                <a:latin typeface="Calibri" panose="020F0502020204030204" pitchFamily="34" charset="0"/>
                <a:ea typeface="+mn-ea"/>
                <a:cs typeface="+mn-cs"/>
              </a:rPr>
              <a:t>$162,872,249 – Total Contracted Amount with SDG&amp;E as the PA for SW HVA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baseline="0" dirty="0">
                <a:solidFill>
                  <a:schemeClr val="tx1"/>
                </a:solidFill>
                <a:effectLst/>
                <a:latin typeface="Calibri" panose="020F0502020204030204" pitchFamily="34" charset="0"/>
                <a:ea typeface="+mn-ea"/>
                <a:cs typeface="+mn-cs"/>
              </a:rPr>
              <a:t>$131,059,552 – SDG&amp;E spend only with the 14% of SDGE less the SW HVAC other CA IOUs</a:t>
            </a:r>
          </a:p>
          <a:p>
            <a:pPr marL="0" marR="0" lvl="0" indent="0" algn="l" defTabSz="914400">
              <a:lnSpc>
                <a:spcPct val="100000"/>
              </a:lnSpc>
              <a:spcBef>
                <a:spcPts val="0"/>
              </a:spcBef>
              <a:spcAft>
                <a:spcPts val="0"/>
              </a:spcAft>
              <a:buClrTx/>
              <a:buSzTx/>
              <a:buFontTx/>
              <a:buNone/>
              <a:tabLst/>
              <a:defRPr/>
            </a:pPr>
            <a:endParaRPr lang="en-US" sz="1200" b="0" i="0" kern="1200" baseline="0" dirty="0">
              <a:solidFill>
                <a:schemeClr val="tx1"/>
              </a:solidFill>
              <a:effectLst/>
              <a:latin typeface="Calibri" panose="020F0502020204030204" pitchFamily="34" charset="0"/>
              <a:cs typeface="Calibri"/>
            </a:endParaRPr>
          </a:p>
          <a:p>
            <a:r>
              <a:rPr lang="en-US" dirty="0"/>
              <a:t>The range of what we have seen in these current 7 contracts we have (e.g. from 0, to 100% etc.)</a:t>
            </a:r>
            <a:endParaRPr lang="en-US" dirty="0">
              <a:cs typeface="Calibri"/>
            </a:endParaRPr>
          </a:p>
          <a:p>
            <a:endParaRPr lang="en-US" dirty="0">
              <a:latin typeface="Calibri" panose="020F0502020204030204" pitchFamily="34" charset="0"/>
              <a:cs typeface="Calibri" panose="020F0502020204030204" pitchFamily="34" charset="0"/>
            </a:endParaRPr>
          </a:p>
          <a:p>
            <a:r>
              <a:rPr lang="en-US" dirty="0"/>
              <a:t>Areas of Opportunity are where we see challenges</a:t>
            </a:r>
          </a:p>
          <a:p>
            <a:r>
              <a:rPr lang="en-US" dirty="0"/>
              <a:t>WE see where there are challenges and we are building more awareness for our Primes, and Potential DBE suppliers...an example of this occurred during one of our SRM meetings with a Prime when we ask for and they provided a list of areas where they are in need of suppliers.  </a:t>
            </a:r>
          </a:p>
          <a:p>
            <a:endParaRPr lang="en-US" dirty="0"/>
          </a:p>
          <a:p>
            <a:r>
              <a:rPr lang="en-US" dirty="0"/>
              <a:t>Effectiveness of SRM meetings 2 examples:</a:t>
            </a:r>
          </a:p>
          <a:p>
            <a:endParaRPr lang="en-US"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dirty="0"/>
              <a:t>Working with our Supplier Diversity Team they  took list and supplier diversity has found about 13 Diverse suppliers who fit the needs and requested their capabilities statement, but they  are looking for 20 that would fit company (the Prime):  Supplier Diversity will hold an interview Symposium based on who the Prime selected they would like to interview (who they want to meet with during the symposium for 15 minu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rom the Symposium the Prime will decide who they want to work with, and Supplier Diversity will capture the spend every month and track improvement.</a:t>
            </a:r>
          </a:p>
          <a:p>
            <a:endParaRPr lang="en-US" dirty="0"/>
          </a:p>
          <a:p>
            <a:r>
              <a:rPr lang="en-US" dirty="0"/>
              <a:t>2.  Supplier who was a Prime and working with DBE suppliers but not recording their spend and Supplier Diversity is now working with them to record it in DBE Portal, and there is also a recorded training on how to record their spend on the SDG&amp;E website...  sdge.com/supplier diversity</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6CB423-F7B4-4389-85A9-717FF28DE6F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23096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6CB423-F7B4-4389-85A9-717FF28DE6F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93320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EC92D1-94AA-41CA-B7B2-AD5FC23974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427670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EC92D1-94AA-41CA-B7B2-AD5FC23974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251509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67A145C-259C-4C0E-B0B2-94AD544AFB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460566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43399"/>
            <a:ext cx="5486400" cy="4491507"/>
          </a:xfrm>
        </p:spPr>
        <p:txBody>
          <a:bodyPr/>
          <a:lstStyle/>
          <a:p>
            <a:endParaRPr lang="en-US" sz="1600" baseline="0" dirty="0"/>
          </a:p>
        </p:txBody>
      </p:sp>
      <p:sp>
        <p:nvSpPr>
          <p:cNvPr id="4" name="Slide Number Placeholder 3"/>
          <p:cNvSpPr>
            <a:spLocks noGrp="1"/>
          </p:cNvSpPr>
          <p:nvPr>
            <p:ph type="sldNum" sz="quarter" idx="10"/>
          </p:nvPr>
        </p:nvSpPr>
        <p:spPr/>
        <p:txBody>
          <a:bodyPr/>
          <a:lstStyle/>
          <a:p>
            <a:pPr marL="0" marR="0" lvl="0" indent="0" algn="r" defTabSz="1828434" rtl="0" eaLnBrk="1" fontAlgn="auto" latinLnBrk="0" hangingPunct="1">
              <a:lnSpc>
                <a:spcPct val="100000"/>
              </a:lnSpc>
              <a:spcBef>
                <a:spcPts val="0"/>
              </a:spcBef>
              <a:spcAft>
                <a:spcPts val="0"/>
              </a:spcAft>
              <a:buClrTx/>
              <a:buSzTx/>
              <a:buFontTx/>
              <a:buNone/>
              <a:tabLst/>
              <a:defRPr/>
            </a:pPr>
            <a:fld id="{006BE02D-20C0-F840-AFAC-BEA99C74FDC2}" type="slidenum">
              <a:rPr kumimoji="0" lang="en-US" sz="1200" b="0" i="0" u="none" strike="noStrike" kern="1200" cap="none" spc="0" normalizeH="0" baseline="0" noProof="0" smtClean="0">
                <a:ln>
                  <a:noFill/>
                </a:ln>
                <a:solidFill>
                  <a:prstClr val="black"/>
                </a:solidFill>
                <a:effectLst/>
                <a:uLnTx/>
                <a:uFillTx/>
                <a:latin typeface="Calibri Light"/>
                <a:ea typeface="+mn-ea"/>
                <a:cs typeface="+mn-cs"/>
              </a:rPr>
              <a:pPr marL="0" marR="0" lvl="0" indent="0" algn="r" defTabSz="1828434"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dirty="0">
              <a:ln>
                <a:noFill/>
              </a:ln>
              <a:solidFill>
                <a:prstClr val="black"/>
              </a:solidFill>
              <a:effectLst/>
              <a:uLnTx/>
              <a:uFillTx/>
              <a:latin typeface="Calibri Light"/>
              <a:ea typeface="+mn-ea"/>
              <a:cs typeface="+mn-cs"/>
            </a:endParaRPr>
          </a:p>
        </p:txBody>
      </p:sp>
    </p:spTree>
    <p:extLst>
      <p:ext uri="{BB962C8B-B14F-4D97-AF65-F5344CB8AC3E}">
        <p14:creationId xmlns:p14="http://schemas.microsoft.com/office/powerpoint/2010/main" val="25792783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Note that these observations and lessons learned are “public” information and, therefore, do not reflect the entirety of nor necessarily even the most important observations and lessons learned.</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036A700-1CE9-495E-8A80-DB36A2CEF8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997891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xfrm>
            <a:off x="431800" y="708025"/>
            <a:ext cx="6302375" cy="35448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3379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ea typeface="MS PGothic" pitchFamily="34" charset="-128"/>
              </a:defRPr>
            </a:lvl1pPr>
            <a:lvl2pPr marL="742909" indent="-285734" eaLnBrk="0" hangingPunct="0">
              <a:spcBef>
                <a:spcPct val="30000"/>
              </a:spcBef>
              <a:defRPr sz="1200">
                <a:solidFill>
                  <a:schemeClr val="tx1"/>
                </a:solidFill>
                <a:latin typeface="Calibri" pitchFamily="34" charset="0"/>
                <a:ea typeface="MS PGothic" pitchFamily="34" charset="-128"/>
              </a:defRPr>
            </a:lvl2pPr>
            <a:lvl3pPr marL="1142937" indent="-228587" eaLnBrk="0" hangingPunct="0">
              <a:spcBef>
                <a:spcPct val="30000"/>
              </a:spcBef>
              <a:defRPr sz="1200">
                <a:solidFill>
                  <a:schemeClr val="tx1"/>
                </a:solidFill>
                <a:latin typeface="Calibri" pitchFamily="34" charset="0"/>
                <a:ea typeface="MS PGothic" pitchFamily="34" charset="-128"/>
              </a:defRPr>
            </a:lvl3pPr>
            <a:lvl4pPr marL="1600111" indent="-228587" eaLnBrk="0" hangingPunct="0">
              <a:spcBef>
                <a:spcPct val="30000"/>
              </a:spcBef>
              <a:defRPr sz="1200">
                <a:solidFill>
                  <a:schemeClr val="tx1"/>
                </a:solidFill>
                <a:latin typeface="Calibri" pitchFamily="34" charset="0"/>
                <a:ea typeface="MS PGothic" pitchFamily="34" charset="-128"/>
              </a:defRPr>
            </a:lvl4pPr>
            <a:lvl5pPr marL="2057287" indent="-228587" eaLnBrk="0" hangingPunct="0">
              <a:spcBef>
                <a:spcPct val="30000"/>
              </a:spcBef>
              <a:defRPr sz="1200">
                <a:solidFill>
                  <a:schemeClr val="tx1"/>
                </a:solidFill>
                <a:latin typeface="Calibri" pitchFamily="34" charset="0"/>
                <a:ea typeface="MS PGothic" pitchFamily="34" charset="-128"/>
              </a:defRPr>
            </a:lvl5pPr>
            <a:lvl6pPr marL="2514461" indent="-228587" defTabSz="457174" eaLnBrk="0" fontAlgn="base" hangingPunct="0">
              <a:spcBef>
                <a:spcPct val="30000"/>
              </a:spcBef>
              <a:spcAft>
                <a:spcPct val="0"/>
              </a:spcAft>
              <a:defRPr sz="1200">
                <a:solidFill>
                  <a:schemeClr val="tx1"/>
                </a:solidFill>
                <a:latin typeface="Calibri" pitchFamily="34" charset="0"/>
                <a:ea typeface="MS PGothic" pitchFamily="34" charset="-128"/>
              </a:defRPr>
            </a:lvl6pPr>
            <a:lvl7pPr marL="2971635" indent="-228587" defTabSz="457174" eaLnBrk="0" fontAlgn="base" hangingPunct="0">
              <a:spcBef>
                <a:spcPct val="30000"/>
              </a:spcBef>
              <a:spcAft>
                <a:spcPct val="0"/>
              </a:spcAft>
              <a:defRPr sz="1200">
                <a:solidFill>
                  <a:schemeClr val="tx1"/>
                </a:solidFill>
                <a:latin typeface="Calibri" pitchFamily="34" charset="0"/>
                <a:ea typeface="MS PGothic" pitchFamily="34" charset="-128"/>
              </a:defRPr>
            </a:lvl7pPr>
            <a:lvl8pPr marL="3428811" indent="-228587" defTabSz="457174" eaLnBrk="0" fontAlgn="base" hangingPunct="0">
              <a:spcBef>
                <a:spcPct val="30000"/>
              </a:spcBef>
              <a:spcAft>
                <a:spcPct val="0"/>
              </a:spcAft>
              <a:defRPr sz="1200">
                <a:solidFill>
                  <a:schemeClr val="tx1"/>
                </a:solidFill>
                <a:latin typeface="Calibri" pitchFamily="34" charset="0"/>
                <a:ea typeface="MS PGothic" pitchFamily="34" charset="-128"/>
              </a:defRPr>
            </a:lvl8pPr>
            <a:lvl9pPr marL="3885985" indent="-228587" defTabSz="457174" eaLnBrk="0" fontAlgn="base" hangingPunct="0">
              <a:spcBef>
                <a:spcPct val="30000"/>
              </a:spcBef>
              <a:spcAft>
                <a:spcPct val="0"/>
              </a:spcAft>
              <a:defRPr sz="1200">
                <a:solidFill>
                  <a:schemeClr val="tx1"/>
                </a:solidFill>
                <a:latin typeface="Calibri" pitchFamily="34" charset="0"/>
                <a:ea typeface="MS PGothic" pitchFamily="34" charset="-128"/>
              </a:defRPr>
            </a:lvl9pPr>
          </a:lstStyle>
          <a:p>
            <a:pPr marL="0" marR="0" lvl="0" indent="0" algn="r" defTabSz="465887" rtl="0" eaLnBrk="1" fontAlgn="base" latinLnBrk="0" hangingPunct="1">
              <a:lnSpc>
                <a:spcPct val="100000"/>
              </a:lnSpc>
              <a:spcBef>
                <a:spcPct val="0"/>
              </a:spcBef>
              <a:spcAft>
                <a:spcPct val="0"/>
              </a:spcAft>
              <a:buClrTx/>
              <a:buSzTx/>
              <a:buFontTx/>
              <a:buNone/>
              <a:tabLst/>
              <a:defRPr/>
            </a:pPr>
            <a:fld id="{29FF3EBA-FF48-4904-82D0-94B81D3451C0}" type="slidenum">
              <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rPr>
              <a:pPr marL="0" marR="0" lvl="0" indent="0" algn="r" defTabSz="465887" rtl="0" eaLnBrk="1" fontAlgn="base" latinLnBrk="0" hangingPunct="1">
                <a:lnSpc>
                  <a:spcPct val="100000"/>
                </a:lnSpc>
                <a:spcBef>
                  <a:spcPct val="0"/>
                </a:spcBef>
                <a:spcAft>
                  <a:spcPct val="0"/>
                </a:spcAft>
                <a:buClrTx/>
                <a:buSzTx/>
                <a:buFontTx/>
                <a:buNone/>
                <a:tabLst/>
                <a:defRPr/>
              </a:pPr>
              <a:t>114</a:t>
            </a:fld>
            <a:endParaRPr kumimoji="0" lang="en-US" altLang="en-US" sz="1200" b="0" i="0" u="none" strike="noStrike" kern="1200" cap="none" spc="0" normalizeH="0" baseline="0" noProof="0" dirty="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105019056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FA47C1-6B91-407D-B99D-76FE586471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886635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FA47C1-6B91-407D-B99D-76FE586471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95763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eam 1 – schedule (team formed at July 2019)- COMPLETE)</a:t>
            </a:r>
            <a:br>
              <a:rPr lang="en-US" dirty="0"/>
            </a:br>
            <a:r>
              <a:rPr lang="en-US" dirty="0"/>
              <a:t>Team 2 – stakeholder feedback (team formed post July 2019) – still needs work</a:t>
            </a:r>
          </a:p>
          <a:p>
            <a:r>
              <a:rPr lang="en-US" dirty="0"/>
              <a:t>Team 3 – CET (team formed Feb 2020)- COMPLETE</a:t>
            </a:r>
          </a:p>
          <a:p>
            <a:r>
              <a:rPr lang="en-US" dirty="0"/>
              <a:t>Team 4 – stakeholder engagement/ (team formed Feb 2020)</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7BAD3-AF26-C549-B9FF-03213EEFC5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498932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B9635B-6ECB-42EF-ACB9-D5906BBC381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13053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B9635B-6ECB-42EF-ACB9-D5906BBC381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142842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0D38AC6-CF5A-432C-85B0-EC9BF3B812B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3A41BE-6698-4FD0-B255-4EADBCCB066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06463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6CB423-F7B4-4389-85A9-717FF28DE6F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028492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ise Hand Feature: in Meeting Reactions Icons section</a:t>
            </a:r>
          </a:p>
          <a:p>
            <a:endParaRPr lang="en-US" dirty="0"/>
          </a:p>
        </p:txBody>
      </p:sp>
      <p:sp>
        <p:nvSpPr>
          <p:cNvPr id="4" name="Slide Number Placeholder 3"/>
          <p:cNvSpPr>
            <a:spLocks noGrp="1"/>
          </p:cNvSpPr>
          <p:nvPr>
            <p:ph type="sldNum" sz="quarter" idx="5"/>
          </p:nvPr>
        </p:nvSpPr>
        <p:spPr/>
        <p:txBody>
          <a:bodyPr/>
          <a:lstStyle/>
          <a:p>
            <a:fld id="{ACDEFFF7-EF00-45FD-B291-718DA5320E59}" type="slidenum">
              <a:rPr lang="en-US" smtClean="0"/>
              <a:t>126</a:t>
            </a:fld>
            <a:endParaRPr lang="en-US" dirty="0"/>
          </a:p>
        </p:txBody>
      </p:sp>
    </p:spTree>
    <p:extLst>
      <p:ext uri="{BB962C8B-B14F-4D97-AF65-F5344CB8AC3E}">
        <p14:creationId xmlns:p14="http://schemas.microsoft.com/office/powerpoint/2010/main" val="392343131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ise Hand Feature: in Meeting Reactions Icons section</a:t>
            </a:r>
          </a:p>
          <a:p>
            <a:endParaRPr lang="en-US" dirty="0"/>
          </a:p>
        </p:txBody>
      </p:sp>
      <p:sp>
        <p:nvSpPr>
          <p:cNvPr id="4" name="Slide Number Placeholder 3"/>
          <p:cNvSpPr>
            <a:spLocks noGrp="1"/>
          </p:cNvSpPr>
          <p:nvPr>
            <p:ph type="sldNum" sz="quarter" idx="5"/>
          </p:nvPr>
        </p:nvSpPr>
        <p:spPr/>
        <p:txBody>
          <a:bodyPr/>
          <a:lstStyle/>
          <a:p>
            <a:fld id="{ACDEFFF7-EF00-45FD-B291-718DA5320E59}" type="slidenum">
              <a:rPr lang="en-US" smtClean="0"/>
              <a:t>127</a:t>
            </a:fld>
            <a:endParaRPr lang="en-US" dirty="0"/>
          </a:p>
        </p:txBody>
      </p:sp>
    </p:spTree>
    <p:extLst>
      <p:ext uri="{BB962C8B-B14F-4D97-AF65-F5344CB8AC3E}">
        <p14:creationId xmlns:p14="http://schemas.microsoft.com/office/powerpoint/2010/main" val="11538728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two things CET team delivered were a PDF "Introduction to using the CET for cost effectiveness results" and a "CET Input Guide". The intro doc is basically a how to guide on using the CET. The input guide defines all the inputs which need to be included in the CET input files. They are both available on the CET User Guide website, linked her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7BAD3-AF26-C549-B9FF-03213EEFC5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06040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200" kern="1200" dirty="0">
                <a:solidFill>
                  <a:schemeClr val="tx1"/>
                </a:solidFill>
                <a:effectLst/>
                <a:latin typeface="+mn-lt"/>
                <a:ea typeface="+mn-ea"/>
                <a:cs typeface="+mn-cs"/>
              </a:rPr>
              <a:t>New strategies for spurring innovation: e.g., cultivating new, diverse businesses and relationships with traditional actors in other markets to support energy efficiency design/implementation; supporting the adoption of new and evolving energy saving and greenhouse gas reducing technologies through workpaper development, industry partnerships, consistent EE delivery instruments, and other means</a:t>
            </a:r>
            <a:endParaRPr lang="en-US" sz="1100" kern="1200" dirty="0">
              <a:solidFill>
                <a:schemeClr val="tx1"/>
              </a:solidFill>
              <a:effectLst/>
              <a:latin typeface="+mn-lt"/>
              <a:ea typeface="+mn-ea"/>
              <a:cs typeface="+mn-cs"/>
            </a:endParaRPr>
          </a:p>
          <a:p>
            <a:pPr lvl="1"/>
            <a:endParaRPr lang="en-US"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Strategies for designing scope and schedule of solicitations</a:t>
            </a:r>
          </a:p>
          <a:p>
            <a:pPr lvl="1"/>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Third party solicitation</a:t>
            </a:r>
          </a:p>
          <a:p>
            <a:pPr lvl="1"/>
            <a:r>
              <a:rPr lang="en-US" sz="1200" kern="1200" dirty="0">
                <a:solidFill>
                  <a:schemeClr val="tx1"/>
                </a:solidFill>
                <a:effectLst/>
                <a:latin typeface="+mn-lt"/>
                <a:ea typeface="+mn-ea"/>
                <a:cs typeface="+mn-cs"/>
              </a:rPr>
              <a:t>Scope and schedule of solicitations that aligns with projected percentage of portfolio PA targets for third party programs, including rationale and timetable  </a:t>
            </a:r>
          </a:p>
          <a:p>
            <a:pPr lvl="1"/>
            <a:r>
              <a:rPr lang="en-US" sz="1200" kern="1200" dirty="0">
                <a:solidFill>
                  <a:schemeClr val="tx1"/>
                </a:solidFill>
                <a:effectLst/>
                <a:latin typeface="+mn-lt"/>
                <a:ea typeface="+mn-ea"/>
                <a:cs typeface="+mn-cs"/>
              </a:rPr>
              <a:t>Address stakeholder, independent evaluator, and procurement review group input on current solicitation practices through describing any proposed changes in procurement practices. Consider establishment of standardized contract vehicles to increase certainty for external market actors to engage with programs. </a:t>
            </a:r>
          </a:p>
          <a:p>
            <a:pPr lvl="1"/>
            <a:r>
              <a:rPr lang="en-US" sz="1200" kern="1200" dirty="0">
                <a:solidFill>
                  <a:schemeClr val="tx1"/>
                </a:solidFill>
                <a:effectLst/>
                <a:latin typeface="+mn-lt"/>
                <a:ea typeface="+mn-ea"/>
                <a:cs typeface="+mn-cs"/>
              </a:rPr>
              <a:t>Approach for outreach to and participation of a diversity of businesses in solicitations, especially new, small, and/or DBE; and those organizations and businesses in markets that have not historically engaged with EE programs</a:t>
            </a:r>
          </a:p>
          <a:p>
            <a:pPr lvl="1"/>
            <a:r>
              <a:rPr lang="en-US" sz="1200" kern="1200" dirty="0">
                <a:solidFill>
                  <a:schemeClr val="tx1"/>
                </a:solidFill>
                <a:effectLst/>
                <a:latin typeface="+mn-lt"/>
                <a:ea typeface="+mn-ea"/>
                <a:cs typeface="+mn-cs"/>
              </a:rPr>
              <a:t>Discuss how third party solicitation approach for procuring EE aligns with PA’s overall DBE target</a:t>
            </a:r>
          </a:p>
          <a:p>
            <a:pPr lvl="1"/>
            <a:r>
              <a:rPr lang="en-US" sz="1200" kern="1200" dirty="0">
                <a:solidFill>
                  <a:schemeClr val="tx1"/>
                </a:solidFill>
                <a:effectLst/>
                <a:latin typeface="+mn-lt"/>
                <a:ea typeface="+mn-ea"/>
                <a:cs typeface="+mn-cs"/>
              </a:rPr>
              <a:t>Assessment and mitigation of risk from portfolio diversity, or lack thereof, in different companies contracted, size of company, type of company (new, existing; DBE), contract budget amount</a:t>
            </a:r>
          </a:p>
          <a:p>
            <a:pPr lvl="1"/>
            <a:r>
              <a:rPr lang="en-US" sz="1200" kern="1200" dirty="0">
                <a:solidFill>
                  <a:schemeClr val="tx1"/>
                </a:solidFill>
                <a:effectLst/>
                <a:latin typeface="+mn-lt"/>
                <a:ea typeface="+mn-ea"/>
                <a:cs typeface="+mn-cs"/>
              </a:rPr>
              <a:t>Approach to distribution of risk between program administrators and third party contractees, including discussion of any difference in risk distribution based on entity type to account for desire to assure value to ratepayer and expanding EE market to include a diversity of contracts, including new, small, DBE, and innovation </a:t>
            </a:r>
          </a:p>
          <a:p>
            <a:r>
              <a:rPr lang="en-US" sz="1600" kern="1200" dirty="0">
                <a:solidFill>
                  <a:schemeClr val="tx1"/>
                </a:solidFill>
                <a:effectLst/>
                <a:latin typeface="+mn-lt"/>
                <a:ea typeface="+mn-ea"/>
                <a:cs typeface="+mn-cs"/>
              </a:rPr>
              <a:t>Approach to continued stakeholder engagement on solicitation process</a:t>
            </a:r>
            <a:r>
              <a:rPr lang="en-US" dirty="0">
                <a:effectLst/>
              </a:rPr>
              <a:t> </a:t>
            </a:r>
            <a:r>
              <a:rPr lang="en-US" sz="1200" kern="1200" dirty="0">
                <a:solidFill>
                  <a:schemeClr val="tx1"/>
                </a:solidFill>
                <a:effectLst/>
                <a:latin typeface="+mn-lt"/>
                <a:ea typeface="+mn-ea"/>
                <a:cs typeface="+mn-cs"/>
              </a:rPr>
              <a:t>Third party program is as defined per D 16-08-019, OP10.   Non-IOU PAs may still solicit third party programs and should include content here in this case.</a:t>
            </a:r>
          </a:p>
          <a:p>
            <a:pPr lvl="1"/>
            <a:endParaRPr lang="en-US" sz="11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7BAD3-AF26-C549-B9FF-03213EEFC5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59143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ther areas we are aware of issues, and are still working - redaction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7BAD3-AF26-C549-B9FF-03213EEFC5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59423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7BAD3-AF26-C549-B9FF-03213EEFC5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79648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5.jpeg"/><Relationship Id="rId1" Type="http://schemas.openxmlformats.org/officeDocument/2006/relationships/slideMaster" Target="../slideMasters/slideMaster1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4.jpeg"/><Relationship Id="rId1" Type="http://schemas.openxmlformats.org/officeDocument/2006/relationships/slideMaster" Target="../slideMasters/slideMaster15.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5.jpeg"/><Relationship Id="rId1" Type="http://schemas.openxmlformats.org/officeDocument/2006/relationships/slideMaster" Target="../slideMasters/slideMaster15.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0.xml"/><Relationship Id="rId1" Type="http://schemas.openxmlformats.org/officeDocument/2006/relationships/vmlDrawing" Target="../drawings/vmlDrawing2.vml"/><Relationship Id="rId6" Type="http://schemas.openxmlformats.org/officeDocument/2006/relationships/image" Target="../media/image45.jpeg"/><Relationship Id="rId5" Type="http://schemas.openxmlformats.org/officeDocument/2006/relationships/image" Target="../media/image44.emf"/><Relationship Id="rId4" Type="http://schemas.openxmlformats.org/officeDocument/2006/relationships/oleObject" Target="../embeddings/oleObject2.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31.xml"/><Relationship Id="rId1" Type="http://schemas.openxmlformats.org/officeDocument/2006/relationships/vmlDrawing" Target="../drawings/vmlDrawing3.vml"/><Relationship Id="rId5" Type="http://schemas.openxmlformats.org/officeDocument/2006/relationships/image" Target="../media/image46.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1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7.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0.png"/><Relationship Id="rId1" Type="http://schemas.openxmlformats.org/officeDocument/2006/relationships/slideMaster" Target="../slideMasters/slideMaster1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1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7.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Master" Target="../slideMasters/slideMaster17.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Master" Target="../slideMasters/slideMaster1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5.emf"/><Relationship Id="rId1" Type="http://schemas.openxmlformats.org/officeDocument/2006/relationships/slideMaster" Target="../slideMasters/slideMaster17.xml"/><Relationship Id="rId4" Type="http://schemas.openxmlformats.org/officeDocument/2006/relationships/image" Target="../media/image63.sv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Master" Target="../slideMasters/slideMaster1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7.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Master" Target="../slideMasters/slideMaster1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Master" Target="../slideMasters/slideMaster17.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7.xml"/></Relationships>
</file>

<file path=ppt/slideLayouts/_rels/slideLayout15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50.png"/><Relationship Id="rId1" Type="http://schemas.openxmlformats.org/officeDocument/2006/relationships/slideMaster" Target="../slideMasters/slideMaster17.xml"/></Relationships>
</file>

<file path=ppt/slideLayouts/_rels/slideLayout15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50.png"/><Relationship Id="rId1" Type="http://schemas.openxmlformats.org/officeDocument/2006/relationships/slideMaster" Target="../slideMasters/slideMaster1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50.png"/><Relationship Id="rId1" Type="http://schemas.openxmlformats.org/officeDocument/2006/relationships/slideMaster" Target="../slideMasters/slideMaster1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1.png"/><Relationship Id="rId1" Type="http://schemas.openxmlformats.org/officeDocument/2006/relationships/slideMaster" Target="../slideMasters/slideMaster19.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1.png"/><Relationship Id="rId1" Type="http://schemas.openxmlformats.org/officeDocument/2006/relationships/slideMaster" Target="../slideMasters/slideMaster19.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21.png"/><Relationship Id="rId1" Type="http://schemas.openxmlformats.org/officeDocument/2006/relationships/slideMaster" Target="../slideMasters/slideMaster1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9.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9.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69.emf"/><Relationship Id="rId2" Type="http://schemas.openxmlformats.org/officeDocument/2006/relationships/image" Target="../media/image71.jpeg"/><Relationship Id="rId1" Type="http://schemas.openxmlformats.org/officeDocument/2006/relationships/slideMaster" Target="../slideMasters/slideMaster20.xml"/><Relationship Id="rId5" Type="http://schemas.openxmlformats.org/officeDocument/2006/relationships/image" Target="../media/image70.emf"/><Relationship Id="rId4" Type="http://schemas.openxmlformats.org/officeDocument/2006/relationships/image" Target="../media/image72.jpeg"/></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2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76.jpg"/><Relationship Id="rId1" Type="http://schemas.openxmlformats.org/officeDocument/2006/relationships/slideMaster" Target="../slideMasters/slideMaster2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78.emf"/><Relationship Id="rId1" Type="http://schemas.openxmlformats.org/officeDocument/2006/relationships/slideMaster" Target="../slideMasters/slideMaster24.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Master" Target="../slideMasters/slideMaster2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2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24.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24.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2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2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Master" Target="../slideMasters/slideMaster2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Master" Target="../slideMasters/slideMaster2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10" Type="http://schemas.openxmlformats.org/officeDocument/2006/relationships/image" Target="../media/image9.png"/><Relationship Id="rId4" Type="http://schemas.openxmlformats.org/officeDocument/2006/relationships/image" Target="../media/image3.png"/><Relationship Id="rId9" Type="http://schemas.openxmlformats.org/officeDocument/2006/relationships/image" Target="../media/image8.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png"/><Relationship Id="rId1" Type="http://schemas.openxmlformats.org/officeDocument/2006/relationships/slideMaster" Target="../slideMasters/slideMaster8.xml"/><Relationship Id="rId4" Type="http://schemas.openxmlformats.org/officeDocument/2006/relationships/image" Target="../media/image26.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10" Type="http://schemas.openxmlformats.org/officeDocument/2006/relationships/image" Target="../media/image9.png"/><Relationship Id="rId4" Type="http://schemas.openxmlformats.org/officeDocument/2006/relationships/image" Target="../media/image3.png"/><Relationship Id="rId9" Type="http://schemas.openxmlformats.org/officeDocument/2006/relationships/image" Target="../media/image8.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1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jpeg"/><Relationship Id="rId1" Type="http://schemas.openxmlformats.org/officeDocument/2006/relationships/slideMaster" Target="../slideMasters/slideMaster1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4.jpeg"/><Relationship Id="rId1" Type="http://schemas.openxmlformats.org/officeDocument/2006/relationships/slideMaster" Target="../slideMasters/slideMaster1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5.jpeg"/><Relationship Id="rId1" Type="http://schemas.openxmlformats.org/officeDocument/2006/relationships/slideMaster" Target="../slideMasters/slideMaster11.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1.png"/><Relationship Id="rId1" Type="http://schemas.openxmlformats.org/officeDocument/2006/relationships/slideMaster" Target="../slideMasters/slideMaster12.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1.png"/><Relationship Id="rId1" Type="http://schemas.openxmlformats.org/officeDocument/2006/relationships/slideMaster" Target="../slideMasters/slideMaster1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1.png"/><Relationship Id="rId1" Type="http://schemas.openxmlformats.org/officeDocument/2006/relationships/slideMaster" Target="../slideMasters/slideMaster1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1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Master" Target="../slideMasters/slideMaster1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32.jpeg"/><Relationship Id="rId1" Type="http://schemas.openxmlformats.org/officeDocument/2006/relationships/slideMaster" Target="../slideMasters/slideMaster1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4.jpeg"/><Relationship Id="rId1" Type="http://schemas.openxmlformats.org/officeDocument/2006/relationships/slideMaster" Target="../slideMasters/slideMaster1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674860" cy="6858000"/>
          </a:xfrm>
          <a:custGeom>
            <a:avLst/>
            <a:gdLst/>
            <a:ahLst/>
            <a:cxnLst/>
            <a:rect l="l" t="t" r="r" b="b"/>
            <a:pathLst>
              <a:path w="9674860" h="6858000">
                <a:moveTo>
                  <a:pt x="0" y="6858000"/>
                </a:moveTo>
                <a:lnTo>
                  <a:pt x="9674352" y="6858000"/>
                </a:lnTo>
                <a:lnTo>
                  <a:pt x="9674352" y="0"/>
                </a:lnTo>
                <a:lnTo>
                  <a:pt x="0" y="0"/>
                </a:lnTo>
                <a:lnTo>
                  <a:pt x="0" y="6858000"/>
                </a:lnTo>
                <a:close/>
              </a:path>
            </a:pathLst>
          </a:custGeom>
          <a:solidFill>
            <a:srgbClr val="D9D9D9"/>
          </a:solidFill>
        </p:spPr>
        <p:txBody>
          <a:bodyPr wrap="square" lIns="0" tIns="0" rIns="0" bIns="0" rtlCol="0"/>
          <a:lstStyle/>
          <a:p>
            <a:endParaRPr dirty="0"/>
          </a:p>
        </p:txBody>
      </p:sp>
      <p:sp>
        <p:nvSpPr>
          <p:cNvPr id="17" name="bg object 17"/>
          <p:cNvSpPr/>
          <p:nvPr/>
        </p:nvSpPr>
        <p:spPr>
          <a:xfrm>
            <a:off x="0" y="6027420"/>
            <a:ext cx="9685020" cy="460375"/>
          </a:xfrm>
          <a:custGeom>
            <a:avLst/>
            <a:gdLst/>
            <a:ahLst/>
            <a:cxnLst/>
            <a:rect l="l" t="t" r="r" b="b"/>
            <a:pathLst>
              <a:path w="9685020" h="460375">
                <a:moveTo>
                  <a:pt x="9685020" y="0"/>
                </a:moveTo>
                <a:lnTo>
                  <a:pt x="0" y="0"/>
                </a:lnTo>
                <a:lnTo>
                  <a:pt x="0" y="460247"/>
                </a:lnTo>
                <a:lnTo>
                  <a:pt x="9685020" y="460247"/>
                </a:lnTo>
                <a:lnTo>
                  <a:pt x="9685020" y="0"/>
                </a:lnTo>
                <a:close/>
              </a:path>
            </a:pathLst>
          </a:custGeom>
          <a:solidFill>
            <a:srgbClr val="FFD046"/>
          </a:solidFill>
        </p:spPr>
        <p:txBody>
          <a:bodyPr wrap="square" lIns="0" tIns="0" rIns="0" bIns="0" rtlCol="0"/>
          <a:lstStyle/>
          <a:p>
            <a:endParaRPr dirty="0"/>
          </a:p>
        </p:txBody>
      </p:sp>
      <p:sp>
        <p:nvSpPr>
          <p:cNvPr id="18" name="bg object 18"/>
          <p:cNvSpPr/>
          <p:nvPr/>
        </p:nvSpPr>
        <p:spPr>
          <a:xfrm>
            <a:off x="9674352" y="0"/>
            <a:ext cx="2517775" cy="6849109"/>
          </a:xfrm>
          <a:custGeom>
            <a:avLst/>
            <a:gdLst/>
            <a:ahLst/>
            <a:cxnLst/>
            <a:rect l="l" t="t" r="r" b="b"/>
            <a:pathLst>
              <a:path w="2517775" h="6849109">
                <a:moveTo>
                  <a:pt x="0" y="6848855"/>
                </a:moveTo>
                <a:lnTo>
                  <a:pt x="2517648" y="6848855"/>
                </a:lnTo>
                <a:lnTo>
                  <a:pt x="2517648" y="0"/>
                </a:lnTo>
                <a:lnTo>
                  <a:pt x="0" y="0"/>
                </a:lnTo>
                <a:lnTo>
                  <a:pt x="0" y="6848855"/>
                </a:lnTo>
                <a:close/>
              </a:path>
            </a:pathLst>
          </a:custGeom>
          <a:solidFill>
            <a:srgbClr val="FFFFFF"/>
          </a:solidFill>
        </p:spPr>
        <p:txBody>
          <a:bodyPr wrap="square" lIns="0" tIns="0" rIns="0" bIns="0" rtlCol="0"/>
          <a:lstStyle/>
          <a:p>
            <a:endParaRPr dirty="0"/>
          </a:p>
        </p:txBody>
      </p:sp>
      <p:sp>
        <p:nvSpPr>
          <p:cNvPr id="19" name="bg object 19"/>
          <p:cNvSpPr/>
          <p:nvPr/>
        </p:nvSpPr>
        <p:spPr>
          <a:xfrm>
            <a:off x="9674352" y="0"/>
            <a:ext cx="2517775" cy="6849109"/>
          </a:xfrm>
          <a:custGeom>
            <a:avLst/>
            <a:gdLst/>
            <a:ahLst/>
            <a:cxnLst/>
            <a:rect l="l" t="t" r="r" b="b"/>
            <a:pathLst>
              <a:path w="2517775" h="6849109">
                <a:moveTo>
                  <a:pt x="0" y="6848855"/>
                </a:moveTo>
                <a:lnTo>
                  <a:pt x="2517648" y="6848855"/>
                </a:lnTo>
                <a:lnTo>
                  <a:pt x="2517648" y="0"/>
                </a:lnTo>
              </a:path>
              <a:path w="2517775" h="6849109">
                <a:moveTo>
                  <a:pt x="0" y="0"/>
                </a:moveTo>
                <a:lnTo>
                  <a:pt x="0" y="6848855"/>
                </a:lnTo>
              </a:path>
            </a:pathLst>
          </a:custGeom>
          <a:ln w="12700">
            <a:solidFill>
              <a:srgbClr val="FFFFFF"/>
            </a:solidFill>
          </a:ln>
        </p:spPr>
        <p:txBody>
          <a:bodyPr wrap="square" lIns="0" tIns="0" rIns="0" bIns="0" rtlCol="0"/>
          <a:lstStyle/>
          <a:p>
            <a:endParaRPr dirty="0"/>
          </a:p>
        </p:txBody>
      </p:sp>
      <p:sp>
        <p:nvSpPr>
          <p:cNvPr id="2" name="Holder 2"/>
          <p:cNvSpPr>
            <a:spLocks noGrp="1"/>
          </p:cNvSpPr>
          <p:nvPr>
            <p:ph type="ctrTitle"/>
          </p:nvPr>
        </p:nvSpPr>
        <p:spPr>
          <a:xfrm>
            <a:off x="582879" y="1026998"/>
            <a:ext cx="11026241" cy="63500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6/2021</a:t>
            </a:fld>
            <a:endParaRPr lang="en-US" dirty="0"/>
          </a:p>
        </p:txBody>
      </p:sp>
      <p:sp>
        <p:nvSpPr>
          <p:cNvPr id="6" name="Holder 6"/>
          <p:cNvSpPr>
            <a:spLocks noGrp="1"/>
          </p:cNvSpPr>
          <p:nvPr>
            <p:ph type="sldNum" sz="quarter" idx="7"/>
          </p:nvPr>
        </p:nvSpPr>
        <p:spPr/>
        <p:txBody>
          <a:bodyPr lIns="0" tIns="0" rIns="0" bIns="0"/>
          <a:lstStyle>
            <a:lvl1pPr>
              <a:defRPr sz="1200" b="0" i="0">
                <a:solidFill>
                  <a:srgbClr val="605352"/>
                </a:solidFill>
                <a:latin typeface="Arial"/>
                <a:cs typeface="Arial"/>
              </a:defRPr>
            </a:lvl1pPr>
          </a:lstStyle>
          <a:p>
            <a:pPr marL="38100">
              <a:lnSpc>
                <a:spcPts val="1425"/>
              </a:lnSpc>
            </a:pPr>
            <a:fld id="{81D60167-4931-47E6-BA6A-407CBD079E47}" type="slidenum">
              <a:rPr spc="-5" dirty="0"/>
              <a:t>‹#›</a:t>
            </a:fld>
            <a:endParaRPr spc="-5"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CR Blank Slide 202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header</a:t>
            </a:r>
          </a:p>
        </p:txBody>
      </p:sp>
    </p:spTree>
    <p:extLst>
      <p:ext uri="{BB962C8B-B14F-4D97-AF65-F5344CB8AC3E}">
        <p14:creationId xmlns:p14="http://schemas.microsoft.com/office/powerpoint/2010/main" val="232627552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losing Slide + Contact">
    <p:spTree>
      <p:nvGrpSpPr>
        <p:cNvPr id="1" name=""/>
        <p:cNvGrpSpPr/>
        <p:nvPr/>
      </p:nvGrpSpPr>
      <p:grpSpPr>
        <a:xfrm>
          <a:off x="0" y="0"/>
          <a:ext cx="0" cy="0"/>
          <a:chOff x="0" y="0"/>
          <a:chExt cx="0" cy="0"/>
        </a:xfrm>
      </p:grpSpPr>
      <p:pic>
        <p:nvPicPr>
          <p:cNvPr id="9" name="Picture 8" descr="A blue and green grass&#10;&#10;Description automatically generated">
            <a:extLst>
              <a:ext uri="{FF2B5EF4-FFF2-40B4-BE49-F238E27FC236}">
                <a16:creationId xmlns:a16="http://schemas.microsoft.com/office/drawing/2014/main" id="{C2B396EE-4287-A944-B952-0A64EC64E55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347"/>
            <a:ext cx="12192000" cy="6854653"/>
          </a:xfrm>
          <a:prstGeom prst="rect">
            <a:avLst/>
          </a:prstGeom>
        </p:spPr>
      </p:pic>
      <p:sp>
        <p:nvSpPr>
          <p:cNvPr id="6" name="TextBox 5">
            <a:extLst>
              <a:ext uri="{FF2B5EF4-FFF2-40B4-BE49-F238E27FC236}">
                <a16:creationId xmlns:a16="http://schemas.microsoft.com/office/drawing/2014/main" id="{8D254715-2542-D943-9600-92763B0304F8}"/>
              </a:ext>
            </a:extLst>
          </p:cNvPr>
          <p:cNvSpPr txBox="1"/>
          <p:nvPr userDrawn="1"/>
        </p:nvSpPr>
        <p:spPr>
          <a:xfrm>
            <a:off x="11706048" y="6529149"/>
            <a:ext cx="341760" cy="246221"/>
          </a:xfrm>
          <a:prstGeom prst="rect">
            <a:avLst/>
          </a:prstGeom>
          <a:noFill/>
        </p:spPr>
        <p:txBody>
          <a:bodyPr wrap="none" rtlCol="0">
            <a:spAutoFit/>
          </a:bodyPr>
          <a:lstStyle/>
          <a:p>
            <a:fld id="{8A9C26BD-B65B-0247-8C97-B9322C3DB165}" type="slidenum">
              <a:rPr lang="en-US" sz="1000" baseline="0" smtClean="0">
                <a:solidFill>
                  <a:schemeClr val="bg1"/>
                </a:solidFill>
                <a:latin typeface="Arial" panose="020B0604020202020204" pitchFamily="34" charset="0"/>
              </a:rPr>
              <a:t>‹#›</a:t>
            </a:fld>
            <a:endParaRPr lang="en-US" sz="1000" baseline="0" dirty="0">
              <a:solidFill>
                <a:schemeClr val="bg1"/>
              </a:solidFill>
              <a:latin typeface="Arial" panose="020B0604020202020204" pitchFamily="34" charset="0"/>
            </a:endParaRPr>
          </a:p>
        </p:txBody>
      </p:sp>
      <p:cxnSp>
        <p:nvCxnSpPr>
          <p:cNvPr id="7" name="Straight Connector 6">
            <a:extLst>
              <a:ext uri="{FF2B5EF4-FFF2-40B4-BE49-F238E27FC236}">
                <a16:creationId xmlns:a16="http://schemas.microsoft.com/office/drawing/2014/main" id="{96BAD41A-D9DB-C247-9BD9-BD1341C36C7A}"/>
              </a:ext>
            </a:extLst>
          </p:cNvPr>
          <p:cNvCxnSpPr>
            <a:cxnSpLocks/>
          </p:cNvCxnSpPr>
          <p:nvPr userDrawn="1"/>
        </p:nvCxnSpPr>
        <p:spPr>
          <a:xfrm>
            <a:off x="11606773" y="6511896"/>
            <a:ext cx="0" cy="27699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A87EB201-BB2B-C84F-806D-BC0355044C5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96144" y="373438"/>
            <a:ext cx="1527048" cy="964451"/>
          </a:xfrm>
          <a:prstGeom prst="rect">
            <a:avLst/>
          </a:prstGeom>
        </p:spPr>
      </p:pic>
    </p:spTree>
    <p:extLst>
      <p:ext uri="{BB962C8B-B14F-4D97-AF65-F5344CB8AC3E}">
        <p14:creationId xmlns:p14="http://schemas.microsoft.com/office/powerpoint/2010/main" val="381560161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F2095A-FE92-45C8-9A48-59B15522628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964DD16-24DD-4750-9415-4D301D3C967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9945B8B-8D92-407D-A0E8-54BE1B86921E}"/>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76A9F51E-EA8E-4B91-B686-56C9B6860174}"/>
              </a:ext>
            </a:extLst>
          </p:cNvPr>
          <p:cNvSpPr>
            <a:spLocks noGrp="1"/>
          </p:cNvSpPr>
          <p:nvPr>
            <p:ph type="ftr" sz="quarter" idx="11"/>
          </p:nvPr>
        </p:nvSpPr>
        <p:spPr/>
        <p:txBody>
          <a:bodyPr/>
          <a:lstStyle/>
          <a:p>
            <a:r>
              <a:rPr lang="en-US" dirty="0"/>
              <a:t>Confidential- Do not duplicate or distribute without written permission from SDG&amp;E</a:t>
            </a:r>
          </a:p>
        </p:txBody>
      </p:sp>
      <p:sp>
        <p:nvSpPr>
          <p:cNvPr id="6" name="Slide Number Placeholder 5">
            <a:extLst>
              <a:ext uri="{FF2B5EF4-FFF2-40B4-BE49-F238E27FC236}">
                <a16:creationId xmlns:a16="http://schemas.microsoft.com/office/drawing/2014/main" id="{3DC2CDE4-8723-4B36-A976-609EE054F7F0}"/>
              </a:ext>
            </a:extLst>
          </p:cNvPr>
          <p:cNvSpPr>
            <a:spLocks noGrp="1"/>
          </p:cNvSpPr>
          <p:nvPr>
            <p:ph type="sldNum" sz="quarter" idx="12"/>
          </p:nvPr>
        </p:nvSpPr>
        <p:spPr/>
        <p:txBody>
          <a:bodyPr/>
          <a:lstStyle/>
          <a:p>
            <a:fld id="{82247F9D-CB9E-4269-A85E-99144B77F124}" type="slidenum">
              <a:rPr lang="en-US" smtClean="0"/>
              <a:t>‹#›</a:t>
            </a:fld>
            <a:endParaRPr lang="en-US" dirty="0"/>
          </a:p>
        </p:txBody>
      </p:sp>
    </p:spTree>
    <p:extLst>
      <p:ext uri="{BB962C8B-B14F-4D97-AF65-F5344CB8AC3E}">
        <p14:creationId xmlns:p14="http://schemas.microsoft.com/office/powerpoint/2010/main" val="335594083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1D9A85-0210-41F9-BA8C-F24DA426DCE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E594B83-7F1B-4312-AC35-B1F22DB168C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352F04D-412F-40E4-A81E-44DB2FAE7B07}"/>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716508C-1D4B-4252-86BE-C5214F0199A1}"/>
              </a:ext>
            </a:extLst>
          </p:cNvPr>
          <p:cNvSpPr>
            <a:spLocks noGrp="1"/>
          </p:cNvSpPr>
          <p:nvPr>
            <p:ph type="ftr" sz="quarter" idx="11"/>
          </p:nvPr>
        </p:nvSpPr>
        <p:spPr/>
        <p:txBody>
          <a:bodyPr/>
          <a:lstStyle/>
          <a:p>
            <a:r>
              <a:rPr lang="en-US" dirty="0"/>
              <a:t>Confidential- Do not duplicate or distribute without written permission from SDG&amp;E</a:t>
            </a:r>
          </a:p>
        </p:txBody>
      </p:sp>
      <p:sp>
        <p:nvSpPr>
          <p:cNvPr id="6" name="Slide Number Placeholder 5">
            <a:extLst>
              <a:ext uri="{FF2B5EF4-FFF2-40B4-BE49-F238E27FC236}">
                <a16:creationId xmlns:a16="http://schemas.microsoft.com/office/drawing/2014/main" id="{96717F2F-9EDC-495F-92F5-7B75425E8F41}"/>
              </a:ext>
            </a:extLst>
          </p:cNvPr>
          <p:cNvSpPr>
            <a:spLocks noGrp="1"/>
          </p:cNvSpPr>
          <p:nvPr>
            <p:ph type="sldNum" sz="quarter" idx="12"/>
          </p:nvPr>
        </p:nvSpPr>
        <p:spPr/>
        <p:txBody>
          <a:bodyPr/>
          <a:lstStyle/>
          <a:p>
            <a:fld id="{82247F9D-CB9E-4269-A85E-99144B77F124}" type="slidenum">
              <a:rPr lang="en-US" smtClean="0"/>
              <a:t>‹#›</a:t>
            </a:fld>
            <a:endParaRPr lang="en-US" dirty="0"/>
          </a:p>
        </p:txBody>
      </p:sp>
    </p:spTree>
    <p:extLst>
      <p:ext uri="{BB962C8B-B14F-4D97-AF65-F5344CB8AC3E}">
        <p14:creationId xmlns:p14="http://schemas.microsoft.com/office/powerpoint/2010/main" val="256321348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8FB184-8881-4807-8464-C5C3B098305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CA50762-1F44-48AA-84B6-D091EF1649F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5097C0E-E274-460B-804E-38CD3C712158}"/>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E3ADA71-77F8-4958-A3FF-916CC6BA98A4}"/>
              </a:ext>
            </a:extLst>
          </p:cNvPr>
          <p:cNvSpPr>
            <a:spLocks noGrp="1"/>
          </p:cNvSpPr>
          <p:nvPr>
            <p:ph type="ftr" sz="quarter" idx="11"/>
          </p:nvPr>
        </p:nvSpPr>
        <p:spPr/>
        <p:txBody>
          <a:bodyPr/>
          <a:lstStyle/>
          <a:p>
            <a:r>
              <a:rPr lang="en-US" dirty="0"/>
              <a:t>Confidential- Do not duplicate or distribute without written permission from SDG&amp;E</a:t>
            </a:r>
          </a:p>
        </p:txBody>
      </p:sp>
      <p:sp>
        <p:nvSpPr>
          <p:cNvPr id="6" name="Slide Number Placeholder 5">
            <a:extLst>
              <a:ext uri="{FF2B5EF4-FFF2-40B4-BE49-F238E27FC236}">
                <a16:creationId xmlns:a16="http://schemas.microsoft.com/office/drawing/2014/main" id="{944410AA-DB8F-477A-9BD6-98D86D912FAF}"/>
              </a:ext>
            </a:extLst>
          </p:cNvPr>
          <p:cNvSpPr>
            <a:spLocks noGrp="1"/>
          </p:cNvSpPr>
          <p:nvPr>
            <p:ph type="sldNum" sz="quarter" idx="12"/>
          </p:nvPr>
        </p:nvSpPr>
        <p:spPr/>
        <p:txBody>
          <a:bodyPr/>
          <a:lstStyle/>
          <a:p>
            <a:fld id="{82247F9D-CB9E-4269-A85E-99144B77F124}" type="slidenum">
              <a:rPr lang="en-US" smtClean="0"/>
              <a:t>‹#›</a:t>
            </a:fld>
            <a:endParaRPr lang="en-US" dirty="0"/>
          </a:p>
        </p:txBody>
      </p:sp>
    </p:spTree>
    <p:extLst>
      <p:ext uri="{BB962C8B-B14F-4D97-AF65-F5344CB8AC3E}">
        <p14:creationId xmlns:p14="http://schemas.microsoft.com/office/powerpoint/2010/main" val="253847624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70B255-C6E9-4061-86CC-1D01E60615D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3BCE8F8-05CA-4C7A-85D0-E9A5EDFD302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24EF31D-766D-44AC-9B08-E82E122F752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F57F81F-BCEB-4B46-8435-0B0C3FE4710E}"/>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0D5787BC-8C2B-4DD9-85BE-E3FA35294B82}"/>
              </a:ext>
            </a:extLst>
          </p:cNvPr>
          <p:cNvSpPr>
            <a:spLocks noGrp="1"/>
          </p:cNvSpPr>
          <p:nvPr>
            <p:ph type="ftr" sz="quarter" idx="11"/>
          </p:nvPr>
        </p:nvSpPr>
        <p:spPr/>
        <p:txBody>
          <a:bodyPr/>
          <a:lstStyle/>
          <a:p>
            <a:r>
              <a:rPr lang="en-US" dirty="0"/>
              <a:t>Confidential- Do not duplicate or distribute without written permission from SDG&amp;E</a:t>
            </a:r>
          </a:p>
        </p:txBody>
      </p:sp>
      <p:sp>
        <p:nvSpPr>
          <p:cNvPr id="7" name="Slide Number Placeholder 6">
            <a:extLst>
              <a:ext uri="{FF2B5EF4-FFF2-40B4-BE49-F238E27FC236}">
                <a16:creationId xmlns:a16="http://schemas.microsoft.com/office/drawing/2014/main" id="{F9662BB9-8A15-4832-9511-3A5B35320F56}"/>
              </a:ext>
            </a:extLst>
          </p:cNvPr>
          <p:cNvSpPr>
            <a:spLocks noGrp="1"/>
          </p:cNvSpPr>
          <p:nvPr>
            <p:ph type="sldNum" sz="quarter" idx="12"/>
          </p:nvPr>
        </p:nvSpPr>
        <p:spPr/>
        <p:txBody>
          <a:bodyPr/>
          <a:lstStyle/>
          <a:p>
            <a:fld id="{82247F9D-CB9E-4269-A85E-99144B77F124}" type="slidenum">
              <a:rPr lang="en-US" smtClean="0"/>
              <a:t>‹#›</a:t>
            </a:fld>
            <a:endParaRPr lang="en-US" dirty="0"/>
          </a:p>
        </p:txBody>
      </p:sp>
    </p:spTree>
    <p:extLst>
      <p:ext uri="{BB962C8B-B14F-4D97-AF65-F5344CB8AC3E}">
        <p14:creationId xmlns:p14="http://schemas.microsoft.com/office/powerpoint/2010/main" val="423313562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CDBDF-6856-4E61-B9D4-4C3188DAC3C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381DFF5-EB7D-45C4-9CA5-13735000994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350A2A1-D0CA-44DE-9796-B109715E2A8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C650379-9D2A-4AC7-8DFA-7166AB79E5D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5B71EC6-4DB8-4B8C-B2F6-5A9316B72F9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DCCC55F-AEA1-489F-96E0-1818317C87C5}"/>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EB8F22CF-67C9-4FB4-A84E-BA9AE93B0D71}"/>
              </a:ext>
            </a:extLst>
          </p:cNvPr>
          <p:cNvSpPr>
            <a:spLocks noGrp="1"/>
          </p:cNvSpPr>
          <p:nvPr>
            <p:ph type="ftr" sz="quarter" idx="11"/>
          </p:nvPr>
        </p:nvSpPr>
        <p:spPr/>
        <p:txBody>
          <a:bodyPr/>
          <a:lstStyle/>
          <a:p>
            <a:r>
              <a:rPr lang="en-US" dirty="0"/>
              <a:t>Confidential- Do not duplicate or distribute without written permission from SDG&amp;E</a:t>
            </a:r>
          </a:p>
        </p:txBody>
      </p:sp>
      <p:sp>
        <p:nvSpPr>
          <p:cNvPr id="9" name="Slide Number Placeholder 8">
            <a:extLst>
              <a:ext uri="{FF2B5EF4-FFF2-40B4-BE49-F238E27FC236}">
                <a16:creationId xmlns:a16="http://schemas.microsoft.com/office/drawing/2014/main" id="{5F75FBC6-1062-4542-B570-1FEF78F171AA}"/>
              </a:ext>
            </a:extLst>
          </p:cNvPr>
          <p:cNvSpPr>
            <a:spLocks noGrp="1"/>
          </p:cNvSpPr>
          <p:nvPr>
            <p:ph type="sldNum" sz="quarter" idx="12"/>
          </p:nvPr>
        </p:nvSpPr>
        <p:spPr/>
        <p:txBody>
          <a:bodyPr/>
          <a:lstStyle/>
          <a:p>
            <a:fld id="{82247F9D-CB9E-4269-A85E-99144B77F124}" type="slidenum">
              <a:rPr lang="en-US" smtClean="0"/>
              <a:t>‹#›</a:t>
            </a:fld>
            <a:endParaRPr lang="en-US" dirty="0"/>
          </a:p>
        </p:txBody>
      </p:sp>
    </p:spTree>
    <p:extLst>
      <p:ext uri="{BB962C8B-B14F-4D97-AF65-F5344CB8AC3E}">
        <p14:creationId xmlns:p14="http://schemas.microsoft.com/office/powerpoint/2010/main" val="402677457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28889F-310E-451D-B559-31AD37E5735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0E139BA-34A3-4D93-BE12-5B0914608F05}"/>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6D28E943-A5FB-47DD-8BE3-D62E9328875F}"/>
              </a:ext>
            </a:extLst>
          </p:cNvPr>
          <p:cNvSpPr>
            <a:spLocks noGrp="1"/>
          </p:cNvSpPr>
          <p:nvPr>
            <p:ph type="ftr" sz="quarter" idx="11"/>
          </p:nvPr>
        </p:nvSpPr>
        <p:spPr/>
        <p:txBody>
          <a:bodyPr/>
          <a:lstStyle/>
          <a:p>
            <a:r>
              <a:rPr lang="en-US" dirty="0"/>
              <a:t>Confidential- Do not duplicate or distribute without written permission from SDG&amp;E</a:t>
            </a:r>
          </a:p>
        </p:txBody>
      </p:sp>
      <p:sp>
        <p:nvSpPr>
          <p:cNvPr id="5" name="Slide Number Placeholder 4">
            <a:extLst>
              <a:ext uri="{FF2B5EF4-FFF2-40B4-BE49-F238E27FC236}">
                <a16:creationId xmlns:a16="http://schemas.microsoft.com/office/drawing/2014/main" id="{A596C709-461D-4258-A892-6578F98D5FF5}"/>
              </a:ext>
            </a:extLst>
          </p:cNvPr>
          <p:cNvSpPr>
            <a:spLocks noGrp="1"/>
          </p:cNvSpPr>
          <p:nvPr>
            <p:ph type="sldNum" sz="quarter" idx="12"/>
          </p:nvPr>
        </p:nvSpPr>
        <p:spPr/>
        <p:txBody>
          <a:bodyPr/>
          <a:lstStyle/>
          <a:p>
            <a:fld id="{82247F9D-CB9E-4269-A85E-99144B77F124}" type="slidenum">
              <a:rPr lang="en-US" smtClean="0"/>
              <a:t>‹#›</a:t>
            </a:fld>
            <a:endParaRPr lang="en-US" dirty="0"/>
          </a:p>
        </p:txBody>
      </p:sp>
    </p:spTree>
    <p:extLst>
      <p:ext uri="{BB962C8B-B14F-4D97-AF65-F5344CB8AC3E}">
        <p14:creationId xmlns:p14="http://schemas.microsoft.com/office/powerpoint/2010/main" val="134915296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76FCE6E-C1CE-42A9-94AF-083D5C5BC143}"/>
              </a:ext>
            </a:extLst>
          </p:cNvPr>
          <p:cNvSpPr>
            <a:spLocks noGrp="1"/>
          </p:cNvSpPr>
          <p:nvPr>
            <p:ph type="dt" sz="half" idx="10"/>
          </p:nvPr>
        </p:nvSpPr>
        <p:spPr/>
        <p:txBody>
          <a:bodyPr/>
          <a:lstStyle/>
          <a:p>
            <a:endParaRPr lang="en-US" dirty="0"/>
          </a:p>
        </p:txBody>
      </p:sp>
      <p:sp>
        <p:nvSpPr>
          <p:cNvPr id="3" name="Footer Placeholder 2">
            <a:extLst>
              <a:ext uri="{FF2B5EF4-FFF2-40B4-BE49-F238E27FC236}">
                <a16:creationId xmlns:a16="http://schemas.microsoft.com/office/drawing/2014/main" id="{9B747561-7E97-413B-8BC2-6195E8EF58F9}"/>
              </a:ext>
            </a:extLst>
          </p:cNvPr>
          <p:cNvSpPr>
            <a:spLocks noGrp="1"/>
          </p:cNvSpPr>
          <p:nvPr>
            <p:ph type="ftr" sz="quarter" idx="11"/>
          </p:nvPr>
        </p:nvSpPr>
        <p:spPr/>
        <p:txBody>
          <a:bodyPr/>
          <a:lstStyle/>
          <a:p>
            <a:r>
              <a:rPr lang="en-US" dirty="0"/>
              <a:t>Confidential- Do not duplicate or distribute without written permission from SDG&amp;E</a:t>
            </a:r>
          </a:p>
        </p:txBody>
      </p:sp>
      <p:sp>
        <p:nvSpPr>
          <p:cNvPr id="4" name="Slide Number Placeholder 3">
            <a:extLst>
              <a:ext uri="{FF2B5EF4-FFF2-40B4-BE49-F238E27FC236}">
                <a16:creationId xmlns:a16="http://schemas.microsoft.com/office/drawing/2014/main" id="{6B70A3CD-C0A8-43E9-A27F-471C6FADBF9A}"/>
              </a:ext>
            </a:extLst>
          </p:cNvPr>
          <p:cNvSpPr>
            <a:spLocks noGrp="1"/>
          </p:cNvSpPr>
          <p:nvPr>
            <p:ph type="sldNum" sz="quarter" idx="12"/>
          </p:nvPr>
        </p:nvSpPr>
        <p:spPr/>
        <p:txBody>
          <a:bodyPr/>
          <a:lstStyle/>
          <a:p>
            <a:fld id="{82247F9D-CB9E-4269-A85E-99144B77F124}" type="slidenum">
              <a:rPr lang="en-US" smtClean="0"/>
              <a:t>‹#›</a:t>
            </a:fld>
            <a:endParaRPr lang="en-US" dirty="0"/>
          </a:p>
        </p:txBody>
      </p:sp>
    </p:spTree>
    <p:extLst>
      <p:ext uri="{BB962C8B-B14F-4D97-AF65-F5344CB8AC3E}">
        <p14:creationId xmlns:p14="http://schemas.microsoft.com/office/powerpoint/2010/main" val="179201659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48D254-F9DB-49CA-8552-C75B4CB2896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05C5754-163A-4C5E-B6C8-EFE09D7F4B8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C655712-055C-489A-9C07-C4FB2A8A74D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DBBDABE-EBFC-4B20-B754-208FAEE41EF3}"/>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3BC13A88-2624-48E1-A09D-0CC7BC162F20}"/>
              </a:ext>
            </a:extLst>
          </p:cNvPr>
          <p:cNvSpPr>
            <a:spLocks noGrp="1"/>
          </p:cNvSpPr>
          <p:nvPr>
            <p:ph type="ftr" sz="quarter" idx="11"/>
          </p:nvPr>
        </p:nvSpPr>
        <p:spPr/>
        <p:txBody>
          <a:bodyPr/>
          <a:lstStyle/>
          <a:p>
            <a:r>
              <a:rPr lang="en-US" dirty="0"/>
              <a:t>Confidential- Do not duplicate or distribute without written permission from SDG&amp;E</a:t>
            </a:r>
          </a:p>
        </p:txBody>
      </p:sp>
      <p:sp>
        <p:nvSpPr>
          <p:cNvPr id="7" name="Slide Number Placeholder 6">
            <a:extLst>
              <a:ext uri="{FF2B5EF4-FFF2-40B4-BE49-F238E27FC236}">
                <a16:creationId xmlns:a16="http://schemas.microsoft.com/office/drawing/2014/main" id="{9D1CBDFE-FCC4-4EC9-A769-EC8963B29825}"/>
              </a:ext>
            </a:extLst>
          </p:cNvPr>
          <p:cNvSpPr>
            <a:spLocks noGrp="1"/>
          </p:cNvSpPr>
          <p:nvPr>
            <p:ph type="sldNum" sz="quarter" idx="12"/>
          </p:nvPr>
        </p:nvSpPr>
        <p:spPr/>
        <p:txBody>
          <a:bodyPr/>
          <a:lstStyle/>
          <a:p>
            <a:fld id="{82247F9D-CB9E-4269-A85E-99144B77F124}" type="slidenum">
              <a:rPr lang="en-US" smtClean="0"/>
              <a:t>‹#›</a:t>
            </a:fld>
            <a:endParaRPr lang="en-US" dirty="0"/>
          </a:p>
        </p:txBody>
      </p:sp>
    </p:spTree>
    <p:extLst>
      <p:ext uri="{BB962C8B-B14F-4D97-AF65-F5344CB8AC3E}">
        <p14:creationId xmlns:p14="http://schemas.microsoft.com/office/powerpoint/2010/main" val="384629666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C92FF-589E-49FD-A03D-C2CB106865B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D0020F0-A478-4EED-933D-E4D72052AB1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879C18AE-32F7-465C-86E4-DA677B33BF5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D6300B-ECE7-419B-87AD-3AB19C171933}"/>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9FBEAFF5-4005-43F5-9A35-DDC72056EB51}"/>
              </a:ext>
            </a:extLst>
          </p:cNvPr>
          <p:cNvSpPr>
            <a:spLocks noGrp="1"/>
          </p:cNvSpPr>
          <p:nvPr>
            <p:ph type="ftr" sz="quarter" idx="11"/>
          </p:nvPr>
        </p:nvSpPr>
        <p:spPr/>
        <p:txBody>
          <a:bodyPr/>
          <a:lstStyle/>
          <a:p>
            <a:r>
              <a:rPr lang="en-US" dirty="0"/>
              <a:t>Confidential- Do not duplicate or distribute without written permission from SDG&amp;E</a:t>
            </a:r>
          </a:p>
        </p:txBody>
      </p:sp>
      <p:sp>
        <p:nvSpPr>
          <p:cNvPr id="7" name="Slide Number Placeholder 6">
            <a:extLst>
              <a:ext uri="{FF2B5EF4-FFF2-40B4-BE49-F238E27FC236}">
                <a16:creationId xmlns:a16="http://schemas.microsoft.com/office/drawing/2014/main" id="{59AF392A-F7DA-4D0A-AF43-6A70F19A787A}"/>
              </a:ext>
            </a:extLst>
          </p:cNvPr>
          <p:cNvSpPr>
            <a:spLocks noGrp="1"/>
          </p:cNvSpPr>
          <p:nvPr>
            <p:ph type="sldNum" sz="quarter" idx="12"/>
          </p:nvPr>
        </p:nvSpPr>
        <p:spPr/>
        <p:txBody>
          <a:bodyPr/>
          <a:lstStyle/>
          <a:p>
            <a:fld id="{82247F9D-CB9E-4269-A85E-99144B77F124}" type="slidenum">
              <a:rPr lang="en-US" smtClean="0"/>
              <a:t>‹#›</a:t>
            </a:fld>
            <a:endParaRPr lang="en-US" dirty="0"/>
          </a:p>
        </p:txBody>
      </p:sp>
    </p:spTree>
    <p:extLst>
      <p:ext uri="{BB962C8B-B14F-4D97-AF65-F5344CB8AC3E}">
        <p14:creationId xmlns:p14="http://schemas.microsoft.com/office/powerpoint/2010/main" val="17890723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a:spLocks noChangeAspect="1"/>
          </p:cNvSpPr>
          <p:nvPr/>
        </p:nvSpPr>
        <p:spPr>
          <a:xfrm>
            <a:off x="231140" y="243840"/>
            <a:ext cx="11724640" cy="6377939"/>
          </a:xfrm>
          <a:prstGeom prst="rect">
            <a:avLst/>
          </a:prstGeom>
          <a:solidFill>
            <a:schemeClr val="accent1"/>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109980" y="882376"/>
            <a:ext cx="9966960" cy="2926080"/>
          </a:xfrm>
        </p:spPr>
        <p:txBody>
          <a:bodyPr anchor="b">
            <a:normAutofit/>
          </a:bodyPr>
          <a:lstStyle>
            <a:lvl1pPr algn="ctr">
              <a:lnSpc>
                <a:spcPct val="85000"/>
              </a:lnSpc>
              <a:defRPr sz="7200" b="1" cap="all" baseline="0">
                <a:solidFill>
                  <a:schemeClr val="tx2"/>
                </a:solidFill>
              </a:defRPr>
            </a:lvl1pPr>
          </a:lstStyle>
          <a:p>
            <a:r>
              <a:rPr lang="en-US"/>
              <a:t>Click to edit Master title style</a:t>
            </a:r>
          </a:p>
        </p:txBody>
      </p:sp>
      <p:sp>
        <p:nvSpPr>
          <p:cNvPr id="3" name="Subtitle 2"/>
          <p:cNvSpPr>
            <a:spLocks noGrp="1"/>
          </p:cNvSpPr>
          <p:nvPr>
            <p:ph type="subTitle" idx="1"/>
          </p:nvPr>
        </p:nvSpPr>
        <p:spPr>
          <a:xfrm>
            <a:off x="1709530" y="3869634"/>
            <a:ext cx="8767860" cy="1388165"/>
          </a:xfrm>
        </p:spPr>
        <p:txBody>
          <a:bodyPr>
            <a:normAutofit/>
          </a:bodyPr>
          <a:lstStyle>
            <a:lvl1pPr marL="0" indent="0" algn="ctr">
              <a:buNone/>
              <a:defRPr sz="2200">
                <a:solidFill>
                  <a:schemeClr val="tx2"/>
                </a:solidFill>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4" name="Date Placeholder 3"/>
          <p:cNvSpPr>
            <a:spLocks noGrp="1"/>
          </p:cNvSpPr>
          <p:nvPr>
            <p:ph type="dt" sz="half" idx="10"/>
          </p:nvPr>
        </p:nvSpPr>
        <p:spPr/>
        <p:txBody>
          <a:bodyPr/>
          <a:lstStyle>
            <a:lvl1pPr>
              <a:defRPr>
                <a:solidFill>
                  <a:srgbClr val="FFFFFF"/>
                </a:solidFill>
              </a:defRPr>
            </a:lvl1pPr>
          </a:lstStyle>
          <a:p>
            <a:r>
              <a:rPr lang="en-US" dirty="0"/>
              <a:t>6/18/2021</a:t>
            </a:r>
          </a:p>
        </p:txBody>
      </p:sp>
      <p:sp>
        <p:nvSpPr>
          <p:cNvPr id="5" name="Footer Placeholder 4"/>
          <p:cNvSpPr>
            <a:spLocks noGrp="1"/>
          </p:cNvSpPr>
          <p:nvPr>
            <p:ph type="ftr" sz="quarter" idx="11"/>
          </p:nvPr>
        </p:nvSpPr>
        <p:spPr/>
        <p:txBody>
          <a:bodyPr/>
          <a:lstStyle>
            <a:lvl1pPr>
              <a:defRPr>
                <a:solidFill>
                  <a:srgbClr val="FFFFFF"/>
                </a:solidFill>
              </a:defRPr>
            </a:lvl1pPr>
          </a:lstStyle>
          <a:p>
            <a:r>
              <a:rPr lang="en-US" dirty="0"/>
              <a:t>IE Semi-Annual Report: June 18, 2021 All Hands Meeting</a:t>
            </a:r>
          </a:p>
          <a:p>
            <a:endParaRPr lang="en-US" dirty="0"/>
          </a:p>
        </p:txBody>
      </p:sp>
      <p:sp>
        <p:nvSpPr>
          <p:cNvPr id="6" name="Slide Number Placeholder 5"/>
          <p:cNvSpPr>
            <a:spLocks noGrp="1"/>
          </p:cNvSpPr>
          <p:nvPr>
            <p:ph type="sldNum" sz="quarter" idx="12"/>
          </p:nvPr>
        </p:nvSpPr>
        <p:spPr/>
        <p:txBody>
          <a:bodyPr/>
          <a:lstStyle>
            <a:lvl1pPr>
              <a:defRPr>
                <a:solidFill>
                  <a:srgbClr val="FFFFFF"/>
                </a:solidFill>
              </a:defRPr>
            </a:lvl1pPr>
          </a:lstStyle>
          <a:p>
            <a:fld id="{4FAB73BC-B049-4115-A692-8D63A059BFB8}" type="slidenum">
              <a:rPr lang="en-US"/>
              <a:t>‹#›</a:t>
            </a:fld>
            <a:endParaRPr lang="en-US" dirty="0"/>
          </a:p>
        </p:txBody>
      </p:sp>
      <p:cxnSp>
        <p:nvCxnSpPr>
          <p:cNvPr id="8" name="Straight Connector 7"/>
          <p:cNvCxnSpPr/>
          <p:nvPr/>
        </p:nvCxnSpPr>
        <p:spPr>
          <a:xfrm>
            <a:off x="1978660" y="3733800"/>
            <a:ext cx="822960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245888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829397-590C-43E4-B684-A6F52FF0AB3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035DD14-E023-49FC-83DE-B1C583CD471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63B0CE-09D9-4C77-A052-27A7C6282B5C}"/>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9134F6E8-5B62-469E-9BB0-87AD21F172D5}"/>
              </a:ext>
            </a:extLst>
          </p:cNvPr>
          <p:cNvSpPr>
            <a:spLocks noGrp="1"/>
          </p:cNvSpPr>
          <p:nvPr>
            <p:ph type="ftr" sz="quarter" idx="11"/>
          </p:nvPr>
        </p:nvSpPr>
        <p:spPr/>
        <p:txBody>
          <a:bodyPr/>
          <a:lstStyle/>
          <a:p>
            <a:r>
              <a:rPr lang="en-US" dirty="0"/>
              <a:t>Confidential- Do not duplicate or distribute without written permission from SDG&amp;E</a:t>
            </a:r>
          </a:p>
        </p:txBody>
      </p:sp>
      <p:sp>
        <p:nvSpPr>
          <p:cNvPr id="6" name="Slide Number Placeholder 5">
            <a:extLst>
              <a:ext uri="{FF2B5EF4-FFF2-40B4-BE49-F238E27FC236}">
                <a16:creationId xmlns:a16="http://schemas.microsoft.com/office/drawing/2014/main" id="{23E91F3C-755F-4A12-A236-2CCE72E47312}"/>
              </a:ext>
            </a:extLst>
          </p:cNvPr>
          <p:cNvSpPr>
            <a:spLocks noGrp="1"/>
          </p:cNvSpPr>
          <p:nvPr>
            <p:ph type="sldNum" sz="quarter" idx="12"/>
          </p:nvPr>
        </p:nvSpPr>
        <p:spPr/>
        <p:txBody>
          <a:bodyPr/>
          <a:lstStyle/>
          <a:p>
            <a:fld id="{82247F9D-CB9E-4269-A85E-99144B77F124}" type="slidenum">
              <a:rPr lang="en-US" smtClean="0"/>
              <a:t>‹#›</a:t>
            </a:fld>
            <a:endParaRPr lang="en-US" dirty="0"/>
          </a:p>
        </p:txBody>
      </p:sp>
    </p:spTree>
    <p:extLst>
      <p:ext uri="{BB962C8B-B14F-4D97-AF65-F5344CB8AC3E}">
        <p14:creationId xmlns:p14="http://schemas.microsoft.com/office/powerpoint/2010/main" val="210677674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88ADC04-5CBB-4F74-9EF3-2553C542A13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A9090F6-0094-46E9-83C5-0DBE079FC63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3D482BF-E913-452B-90D7-0C3F835961BB}"/>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BE2FC55E-9240-4B88-8866-B65745284301}"/>
              </a:ext>
            </a:extLst>
          </p:cNvPr>
          <p:cNvSpPr>
            <a:spLocks noGrp="1"/>
          </p:cNvSpPr>
          <p:nvPr>
            <p:ph type="ftr" sz="quarter" idx="11"/>
          </p:nvPr>
        </p:nvSpPr>
        <p:spPr/>
        <p:txBody>
          <a:bodyPr/>
          <a:lstStyle/>
          <a:p>
            <a:r>
              <a:rPr lang="en-US" dirty="0"/>
              <a:t>Confidential- Do not duplicate or distribute without written permission from SDG&amp;E</a:t>
            </a:r>
          </a:p>
        </p:txBody>
      </p:sp>
      <p:sp>
        <p:nvSpPr>
          <p:cNvPr id="6" name="Slide Number Placeholder 5">
            <a:extLst>
              <a:ext uri="{FF2B5EF4-FFF2-40B4-BE49-F238E27FC236}">
                <a16:creationId xmlns:a16="http://schemas.microsoft.com/office/drawing/2014/main" id="{74DAEC7E-63C2-437B-94CC-39DE9B2B7708}"/>
              </a:ext>
            </a:extLst>
          </p:cNvPr>
          <p:cNvSpPr>
            <a:spLocks noGrp="1"/>
          </p:cNvSpPr>
          <p:nvPr>
            <p:ph type="sldNum" sz="quarter" idx="12"/>
          </p:nvPr>
        </p:nvSpPr>
        <p:spPr/>
        <p:txBody>
          <a:bodyPr/>
          <a:lstStyle/>
          <a:p>
            <a:fld id="{82247F9D-CB9E-4269-A85E-99144B77F124}" type="slidenum">
              <a:rPr lang="en-US" smtClean="0"/>
              <a:t>‹#›</a:t>
            </a:fld>
            <a:endParaRPr lang="en-US" dirty="0"/>
          </a:p>
        </p:txBody>
      </p:sp>
    </p:spTree>
    <p:extLst>
      <p:ext uri="{BB962C8B-B14F-4D97-AF65-F5344CB8AC3E}">
        <p14:creationId xmlns:p14="http://schemas.microsoft.com/office/powerpoint/2010/main" val="182131862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Blank Mast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0A15B2E-F95E-47A0-998F-57E97242BC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93815" y="373438"/>
            <a:ext cx="1527765" cy="864524"/>
          </a:xfrm>
          <a:prstGeom prst="rect">
            <a:avLst/>
          </a:prstGeom>
        </p:spPr>
      </p:pic>
      <p:sp>
        <p:nvSpPr>
          <p:cNvPr id="5" name="Rectangle 4">
            <a:extLst>
              <a:ext uri="{FF2B5EF4-FFF2-40B4-BE49-F238E27FC236}">
                <a16:creationId xmlns:a16="http://schemas.microsoft.com/office/drawing/2014/main" id="{01CD760F-0CDC-3D42-BE2B-CC928E67D64D}"/>
              </a:ext>
            </a:extLst>
          </p:cNvPr>
          <p:cNvSpPr/>
          <p:nvPr userDrawn="1"/>
        </p:nvSpPr>
        <p:spPr>
          <a:xfrm>
            <a:off x="0" y="6446520"/>
            <a:ext cx="12192000" cy="411480"/>
          </a:xfrm>
          <a:prstGeom prst="rect">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0499D8D0-8B88-C748-9E4B-31ABE846E279}"/>
              </a:ext>
            </a:extLst>
          </p:cNvPr>
          <p:cNvSpPr txBox="1"/>
          <p:nvPr userDrawn="1"/>
        </p:nvSpPr>
        <p:spPr>
          <a:xfrm>
            <a:off x="11706048" y="6529149"/>
            <a:ext cx="341760" cy="246221"/>
          </a:xfrm>
          <a:prstGeom prst="rect">
            <a:avLst/>
          </a:prstGeom>
          <a:noFill/>
        </p:spPr>
        <p:txBody>
          <a:bodyPr wrap="none" rtlCol="0">
            <a:spAutoFit/>
          </a:bodyPr>
          <a:lstStyle/>
          <a:p>
            <a:fld id="{8A9C26BD-B65B-0247-8C97-B9322C3DB165}" type="slidenum">
              <a:rPr lang="en-US" sz="1000" baseline="0" smtClean="0">
                <a:solidFill>
                  <a:schemeClr val="bg1"/>
                </a:solidFill>
                <a:latin typeface="Arial" panose="020B0604020202020204" pitchFamily="34" charset="0"/>
              </a:rPr>
              <a:t>‹#›</a:t>
            </a:fld>
            <a:endParaRPr lang="en-US" sz="1000" baseline="0" dirty="0">
              <a:solidFill>
                <a:schemeClr val="bg1"/>
              </a:solidFill>
              <a:latin typeface="Arial" panose="020B0604020202020204" pitchFamily="34" charset="0"/>
            </a:endParaRPr>
          </a:p>
        </p:txBody>
      </p:sp>
      <p:cxnSp>
        <p:nvCxnSpPr>
          <p:cNvPr id="9" name="Straight Connector 8">
            <a:extLst>
              <a:ext uri="{FF2B5EF4-FFF2-40B4-BE49-F238E27FC236}">
                <a16:creationId xmlns:a16="http://schemas.microsoft.com/office/drawing/2014/main" id="{B990391C-F287-3943-B915-9AE0611D15F3}"/>
              </a:ext>
            </a:extLst>
          </p:cNvPr>
          <p:cNvCxnSpPr>
            <a:cxnSpLocks/>
          </p:cNvCxnSpPr>
          <p:nvPr userDrawn="1"/>
        </p:nvCxnSpPr>
        <p:spPr>
          <a:xfrm>
            <a:off x="11606773" y="6511896"/>
            <a:ext cx="0" cy="27699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035865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A65F275-095D-B647-82BC-3D75DBE434FD}"/>
              </a:ext>
            </a:extLst>
          </p:cNvPr>
          <p:cNvSpPr txBox="1"/>
          <p:nvPr userDrawn="1"/>
        </p:nvSpPr>
        <p:spPr>
          <a:xfrm>
            <a:off x="11706048" y="6529149"/>
            <a:ext cx="341760" cy="246221"/>
          </a:xfrm>
          <a:prstGeom prst="rect">
            <a:avLst/>
          </a:prstGeom>
          <a:noFill/>
        </p:spPr>
        <p:txBody>
          <a:bodyPr wrap="none" rtlCol="0">
            <a:spAutoFit/>
          </a:bodyPr>
          <a:lstStyle/>
          <a:p>
            <a:fld id="{8A9C26BD-B65B-0247-8C97-B9322C3DB165}" type="slidenum">
              <a:rPr lang="en-US" sz="1000" baseline="0" smtClean="0">
                <a:solidFill>
                  <a:schemeClr val="tx1"/>
                </a:solidFill>
                <a:latin typeface="Arial" panose="020B0604020202020204" pitchFamily="34" charset="0"/>
              </a:rPr>
              <a:t>‹#›</a:t>
            </a:fld>
            <a:endParaRPr lang="en-US" sz="1000" baseline="0" dirty="0">
              <a:solidFill>
                <a:schemeClr val="tx1"/>
              </a:solidFill>
              <a:latin typeface="Arial" panose="020B0604020202020204" pitchFamily="34" charset="0"/>
            </a:endParaRPr>
          </a:p>
        </p:txBody>
      </p:sp>
    </p:spTree>
    <p:extLst>
      <p:ext uri="{BB962C8B-B14F-4D97-AF65-F5344CB8AC3E}">
        <p14:creationId xmlns:p14="http://schemas.microsoft.com/office/powerpoint/2010/main" val="66431485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Heading Paragraph Blue Side Bar w/Logo">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2BADDF6-3834-2F4C-A085-1078EB8B8CE2}"/>
              </a:ext>
            </a:extLst>
          </p:cNvPr>
          <p:cNvSpPr/>
          <p:nvPr userDrawn="1"/>
        </p:nvSpPr>
        <p:spPr>
          <a:xfrm>
            <a:off x="9448800" y="-3352"/>
            <a:ext cx="2743200" cy="6861352"/>
          </a:xfrm>
          <a:prstGeom prst="rect">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a:extLst>
              <a:ext uri="{FF2B5EF4-FFF2-40B4-BE49-F238E27FC236}">
                <a16:creationId xmlns:a16="http://schemas.microsoft.com/office/drawing/2014/main" id="{05D530FF-0737-40A3-B6D5-37C61322223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96144" y="373438"/>
            <a:ext cx="1527048" cy="964451"/>
          </a:xfrm>
          <a:prstGeom prst="rect">
            <a:avLst/>
          </a:prstGeom>
        </p:spPr>
      </p:pic>
      <p:sp>
        <p:nvSpPr>
          <p:cNvPr id="8" name="TextBox 7">
            <a:extLst>
              <a:ext uri="{FF2B5EF4-FFF2-40B4-BE49-F238E27FC236}">
                <a16:creationId xmlns:a16="http://schemas.microsoft.com/office/drawing/2014/main" id="{2A16E9E5-DD7C-B748-94F9-5B2D1BB41A43}"/>
              </a:ext>
            </a:extLst>
          </p:cNvPr>
          <p:cNvSpPr txBox="1"/>
          <p:nvPr userDrawn="1"/>
        </p:nvSpPr>
        <p:spPr>
          <a:xfrm>
            <a:off x="11706048" y="6529149"/>
            <a:ext cx="341760" cy="246221"/>
          </a:xfrm>
          <a:prstGeom prst="rect">
            <a:avLst/>
          </a:prstGeom>
          <a:noFill/>
        </p:spPr>
        <p:txBody>
          <a:bodyPr wrap="none" rtlCol="0">
            <a:spAutoFit/>
          </a:bodyPr>
          <a:lstStyle/>
          <a:p>
            <a:fld id="{8A9C26BD-B65B-0247-8C97-B9322C3DB165}" type="slidenum">
              <a:rPr lang="en-US" sz="1000" baseline="0" smtClean="0">
                <a:solidFill>
                  <a:schemeClr val="bg1"/>
                </a:solidFill>
                <a:latin typeface="Arial" panose="020B0604020202020204" pitchFamily="34" charset="0"/>
              </a:rPr>
              <a:t>‹#›</a:t>
            </a:fld>
            <a:endParaRPr lang="en-US" sz="1000" baseline="0" dirty="0">
              <a:solidFill>
                <a:schemeClr val="bg1"/>
              </a:solidFill>
              <a:latin typeface="Arial" panose="020B0604020202020204" pitchFamily="34" charset="0"/>
            </a:endParaRPr>
          </a:p>
        </p:txBody>
      </p:sp>
      <p:cxnSp>
        <p:nvCxnSpPr>
          <p:cNvPr id="9" name="Straight Connector 8">
            <a:extLst>
              <a:ext uri="{FF2B5EF4-FFF2-40B4-BE49-F238E27FC236}">
                <a16:creationId xmlns:a16="http://schemas.microsoft.com/office/drawing/2014/main" id="{58F12E3B-689B-8D4C-A804-425924F6275D}"/>
              </a:ext>
            </a:extLst>
          </p:cNvPr>
          <p:cNvCxnSpPr>
            <a:cxnSpLocks/>
          </p:cNvCxnSpPr>
          <p:nvPr userDrawn="1"/>
        </p:nvCxnSpPr>
        <p:spPr>
          <a:xfrm>
            <a:off x="11606773" y="6511896"/>
            <a:ext cx="0" cy="27699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541110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Heading + Paragraph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B1DB4D-1657-4800-B9ED-2B852D48F5A5}"/>
              </a:ext>
            </a:extLst>
          </p:cNvPr>
          <p:cNvSpPr/>
          <p:nvPr userDrawn="1"/>
        </p:nvSpPr>
        <p:spPr>
          <a:xfrm>
            <a:off x="8260755" y="0"/>
            <a:ext cx="3931245" cy="6857999"/>
          </a:xfrm>
          <a:prstGeom prst="rect">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a:extLst>
              <a:ext uri="{FF2B5EF4-FFF2-40B4-BE49-F238E27FC236}">
                <a16:creationId xmlns:a16="http://schemas.microsoft.com/office/drawing/2014/main" id="{D62EEAAD-4656-46E7-8EF7-463F2C10E67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96144" y="373438"/>
            <a:ext cx="1527048" cy="964451"/>
          </a:xfrm>
          <a:prstGeom prst="rect">
            <a:avLst/>
          </a:prstGeom>
        </p:spPr>
      </p:pic>
      <p:sp>
        <p:nvSpPr>
          <p:cNvPr id="7" name="TextBox 6">
            <a:extLst>
              <a:ext uri="{FF2B5EF4-FFF2-40B4-BE49-F238E27FC236}">
                <a16:creationId xmlns:a16="http://schemas.microsoft.com/office/drawing/2014/main" id="{3C16C4BC-1A17-3E4A-BB04-686740CBE33F}"/>
              </a:ext>
            </a:extLst>
          </p:cNvPr>
          <p:cNvSpPr txBox="1"/>
          <p:nvPr userDrawn="1"/>
        </p:nvSpPr>
        <p:spPr>
          <a:xfrm>
            <a:off x="11706048" y="6529149"/>
            <a:ext cx="341760" cy="246221"/>
          </a:xfrm>
          <a:prstGeom prst="rect">
            <a:avLst/>
          </a:prstGeom>
          <a:noFill/>
        </p:spPr>
        <p:txBody>
          <a:bodyPr wrap="none" rtlCol="0">
            <a:spAutoFit/>
          </a:bodyPr>
          <a:lstStyle/>
          <a:p>
            <a:fld id="{8A9C26BD-B65B-0247-8C97-B9322C3DB165}" type="slidenum">
              <a:rPr lang="en-US" sz="1000" baseline="0" smtClean="0">
                <a:solidFill>
                  <a:schemeClr val="bg1"/>
                </a:solidFill>
                <a:latin typeface="Arial" panose="020B0604020202020204" pitchFamily="34" charset="0"/>
              </a:rPr>
              <a:t>‹#›</a:t>
            </a:fld>
            <a:endParaRPr lang="en-US" sz="1000" baseline="0" dirty="0">
              <a:solidFill>
                <a:schemeClr val="bg1"/>
              </a:solidFill>
              <a:latin typeface="Arial" panose="020B0604020202020204" pitchFamily="34" charset="0"/>
            </a:endParaRPr>
          </a:p>
        </p:txBody>
      </p:sp>
      <p:cxnSp>
        <p:nvCxnSpPr>
          <p:cNvPr id="8" name="Straight Connector 7">
            <a:extLst>
              <a:ext uri="{FF2B5EF4-FFF2-40B4-BE49-F238E27FC236}">
                <a16:creationId xmlns:a16="http://schemas.microsoft.com/office/drawing/2014/main" id="{BC25D7F9-8BF0-0749-9DC9-F117910B311D}"/>
              </a:ext>
            </a:extLst>
          </p:cNvPr>
          <p:cNvCxnSpPr>
            <a:cxnSpLocks/>
          </p:cNvCxnSpPr>
          <p:nvPr userDrawn="1"/>
        </p:nvCxnSpPr>
        <p:spPr>
          <a:xfrm>
            <a:off x="11606773" y="6511896"/>
            <a:ext cx="0" cy="27699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049925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Boxes">
    <p:spTree>
      <p:nvGrpSpPr>
        <p:cNvPr id="1" name=""/>
        <p:cNvGrpSpPr/>
        <p:nvPr/>
      </p:nvGrpSpPr>
      <p:grpSpPr>
        <a:xfrm>
          <a:off x="0" y="0"/>
          <a:ext cx="0" cy="0"/>
          <a:chOff x="0" y="0"/>
          <a:chExt cx="0" cy="0"/>
        </a:xfrm>
      </p:grpSpPr>
      <p:pic>
        <p:nvPicPr>
          <p:cNvPr id="3" name="Picture 2" descr="A person standing next to a person&#10;&#10;Description automatically generated">
            <a:extLst>
              <a:ext uri="{FF2B5EF4-FFF2-40B4-BE49-F238E27FC236}">
                <a16:creationId xmlns:a16="http://schemas.microsoft.com/office/drawing/2014/main" id="{F8D9A3D6-775B-EC44-B7D6-13A5B797D9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88" y="0"/>
            <a:ext cx="12189023" cy="6858000"/>
          </a:xfrm>
          <a:prstGeom prst="rect">
            <a:avLst/>
          </a:prstGeom>
        </p:spPr>
      </p:pic>
      <p:pic>
        <p:nvPicPr>
          <p:cNvPr id="17" name="Picture 16">
            <a:extLst>
              <a:ext uri="{FF2B5EF4-FFF2-40B4-BE49-F238E27FC236}">
                <a16:creationId xmlns:a16="http://schemas.microsoft.com/office/drawing/2014/main" id="{1D3E289B-169F-4227-B242-B1A4A3BDE29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93815" y="373438"/>
            <a:ext cx="1527765" cy="864524"/>
          </a:xfrm>
          <a:prstGeom prst="rect">
            <a:avLst/>
          </a:prstGeom>
        </p:spPr>
      </p:pic>
      <p:sp>
        <p:nvSpPr>
          <p:cNvPr id="6" name="TextBox 5">
            <a:extLst>
              <a:ext uri="{FF2B5EF4-FFF2-40B4-BE49-F238E27FC236}">
                <a16:creationId xmlns:a16="http://schemas.microsoft.com/office/drawing/2014/main" id="{6B522D31-C8A5-E646-A391-CDFB7B45B4A4}"/>
              </a:ext>
            </a:extLst>
          </p:cNvPr>
          <p:cNvSpPr txBox="1"/>
          <p:nvPr userDrawn="1"/>
        </p:nvSpPr>
        <p:spPr>
          <a:xfrm>
            <a:off x="11706048" y="6529149"/>
            <a:ext cx="341760" cy="246221"/>
          </a:xfrm>
          <a:prstGeom prst="rect">
            <a:avLst/>
          </a:prstGeom>
          <a:noFill/>
        </p:spPr>
        <p:txBody>
          <a:bodyPr wrap="none" rtlCol="0">
            <a:spAutoFit/>
          </a:bodyPr>
          <a:lstStyle/>
          <a:p>
            <a:fld id="{8A9C26BD-B65B-0247-8C97-B9322C3DB165}" type="slidenum">
              <a:rPr lang="en-US" sz="1000" baseline="0" smtClean="0">
                <a:solidFill>
                  <a:schemeClr val="bg1"/>
                </a:solidFill>
                <a:latin typeface="Arial" panose="020B0604020202020204" pitchFamily="34" charset="0"/>
              </a:rPr>
              <a:t>‹#›</a:t>
            </a:fld>
            <a:endParaRPr lang="en-US" sz="1000" baseline="0" dirty="0">
              <a:solidFill>
                <a:schemeClr val="bg1"/>
              </a:solidFill>
              <a:latin typeface="Arial" panose="020B0604020202020204" pitchFamily="34" charset="0"/>
            </a:endParaRPr>
          </a:p>
        </p:txBody>
      </p:sp>
      <p:cxnSp>
        <p:nvCxnSpPr>
          <p:cNvPr id="7" name="Straight Connector 6">
            <a:extLst>
              <a:ext uri="{FF2B5EF4-FFF2-40B4-BE49-F238E27FC236}">
                <a16:creationId xmlns:a16="http://schemas.microsoft.com/office/drawing/2014/main" id="{E14375CE-1232-F347-8F6A-C53AD7203396}"/>
              </a:ext>
            </a:extLst>
          </p:cNvPr>
          <p:cNvCxnSpPr>
            <a:cxnSpLocks/>
          </p:cNvCxnSpPr>
          <p:nvPr userDrawn="1"/>
        </p:nvCxnSpPr>
        <p:spPr>
          <a:xfrm>
            <a:off x="11606773" y="6511896"/>
            <a:ext cx="0" cy="27699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487570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losing Slide + Contact">
    <p:spTree>
      <p:nvGrpSpPr>
        <p:cNvPr id="1" name=""/>
        <p:cNvGrpSpPr/>
        <p:nvPr/>
      </p:nvGrpSpPr>
      <p:grpSpPr>
        <a:xfrm>
          <a:off x="0" y="0"/>
          <a:ext cx="0" cy="0"/>
          <a:chOff x="0" y="0"/>
          <a:chExt cx="0" cy="0"/>
        </a:xfrm>
      </p:grpSpPr>
      <p:pic>
        <p:nvPicPr>
          <p:cNvPr id="9" name="Picture 8" descr="A blue and green grass&#10;&#10;Description automatically generated">
            <a:extLst>
              <a:ext uri="{FF2B5EF4-FFF2-40B4-BE49-F238E27FC236}">
                <a16:creationId xmlns:a16="http://schemas.microsoft.com/office/drawing/2014/main" id="{C2B396EE-4287-A944-B952-0A64EC64E55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347"/>
            <a:ext cx="12192000" cy="6854653"/>
          </a:xfrm>
          <a:prstGeom prst="rect">
            <a:avLst/>
          </a:prstGeom>
        </p:spPr>
      </p:pic>
      <p:sp>
        <p:nvSpPr>
          <p:cNvPr id="6" name="TextBox 5">
            <a:extLst>
              <a:ext uri="{FF2B5EF4-FFF2-40B4-BE49-F238E27FC236}">
                <a16:creationId xmlns:a16="http://schemas.microsoft.com/office/drawing/2014/main" id="{8D254715-2542-D943-9600-92763B0304F8}"/>
              </a:ext>
            </a:extLst>
          </p:cNvPr>
          <p:cNvSpPr txBox="1"/>
          <p:nvPr userDrawn="1"/>
        </p:nvSpPr>
        <p:spPr>
          <a:xfrm>
            <a:off x="11706048" y="6529149"/>
            <a:ext cx="341760" cy="246221"/>
          </a:xfrm>
          <a:prstGeom prst="rect">
            <a:avLst/>
          </a:prstGeom>
          <a:noFill/>
        </p:spPr>
        <p:txBody>
          <a:bodyPr wrap="none" rtlCol="0">
            <a:spAutoFit/>
          </a:bodyPr>
          <a:lstStyle/>
          <a:p>
            <a:fld id="{8A9C26BD-B65B-0247-8C97-B9322C3DB165}" type="slidenum">
              <a:rPr lang="en-US" sz="1000" baseline="0" smtClean="0">
                <a:solidFill>
                  <a:schemeClr val="bg1"/>
                </a:solidFill>
                <a:latin typeface="Arial" panose="020B0604020202020204" pitchFamily="34" charset="0"/>
              </a:rPr>
              <a:t>‹#›</a:t>
            </a:fld>
            <a:endParaRPr lang="en-US" sz="1000" baseline="0" dirty="0">
              <a:solidFill>
                <a:schemeClr val="bg1"/>
              </a:solidFill>
              <a:latin typeface="Arial" panose="020B0604020202020204" pitchFamily="34" charset="0"/>
            </a:endParaRPr>
          </a:p>
        </p:txBody>
      </p:sp>
      <p:cxnSp>
        <p:nvCxnSpPr>
          <p:cNvPr id="7" name="Straight Connector 6">
            <a:extLst>
              <a:ext uri="{FF2B5EF4-FFF2-40B4-BE49-F238E27FC236}">
                <a16:creationId xmlns:a16="http://schemas.microsoft.com/office/drawing/2014/main" id="{96BAD41A-D9DB-C247-9BD9-BD1341C36C7A}"/>
              </a:ext>
            </a:extLst>
          </p:cNvPr>
          <p:cNvCxnSpPr>
            <a:cxnSpLocks/>
          </p:cNvCxnSpPr>
          <p:nvPr userDrawn="1"/>
        </p:nvCxnSpPr>
        <p:spPr>
          <a:xfrm>
            <a:off x="11606773" y="6511896"/>
            <a:ext cx="0" cy="27699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A87EB201-BB2B-C84F-806D-BC0355044C5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96144" y="373438"/>
            <a:ext cx="1527048" cy="964451"/>
          </a:xfrm>
          <a:prstGeom prst="rect">
            <a:avLst/>
          </a:prstGeom>
        </p:spPr>
      </p:pic>
    </p:spTree>
    <p:extLst>
      <p:ext uri="{BB962C8B-B14F-4D97-AF65-F5344CB8AC3E}">
        <p14:creationId xmlns:p14="http://schemas.microsoft.com/office/powerpoint/2010/main" val="258263383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63" y="1621"/>
          <a:ext cx="2159" cy="1619"/>
        </p:xfrm>
        <a:graphic>
          <a:graphicData uri="http://schemas.openxmlformats.org/presentationml/2006/ole">
            <mc:AlternateContent xmlns:mc="http://schemas.openxmlformats.org/markup-compatibility/2006">
              <mc:Choice xmlns:v="urn:schemas-microsoft-com:vml" Requires="v">
                <p:oleObj spid="_x0000_s205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3" y="1621"/>
                        <a:ext cx="2159" cy="1619"/>
                      </a:xfrm>
                      <a:prstGeom prst="rect">
                        <a:avLst/>
                      </a:prstGeom>
                    </p:spPr>
                  </p:pic>
                </p:oleObj>
              </mc:Fallback>
            </mc:AlternateContent>
          </a:graphicData>
        </a:graphic>
      </p:graphicFrame>
      <p:pic>
        <p:nvPicPr>
          <p:cNvPr id="9" name="Picture 8" descr="Color_PPT_template-01.jpg">
            <a:extLst>
              <a:ext uri="{FF2B5EF4-FFF2-40B4-BE49-F238E27FC236}">
                <a16:creationId xmlns:a16="http://schemas.microsoft.com/office/drawing/2014/main" id="{26EF1F96-AEBF-4FBD-B36E-0409144D5E46}"/>
              </a:ext>
            </a:extLst>
          </p:cNvPr>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ltGray">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Working Draft Text" hidden="1"/>
          <p:cNvSpPr txBox="1">
            <a:spLocks noChangeArrowheads="1"/>
          </p:cNvSpPr>
          <p:nvPr/>
        </p:nvSpPr>
        <p:spPr bwMode="black">
          <a:xfrm>
            <a:off x="1917335" y="444758"/>
            <a:ext cx="88165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1" baseline="0" dirty="0">
                <a:solidFill>
                  <a:schemeClr val="bg1"/>
                </a:solidFill>
                <a:latin typeface="+mn-lt"/>
              </a:rPr>
              <a:t>WORKING DRAFT</a:t>
            </a:r>
          </a:p>
        </p:txBody>
      </p:sp>
      <p:sp>
        <p:nvSpPr>
          <p:cNvPr id="6" name="Working Draft" hidden="1"/>
          <p:cNvSpPr txBox="1">
            <a:spLocks noChangeArrowheads="1"/>
          </p:cNvSpPr>
          <p:nvPr/>
        </p:nvSpPr>
        <p:spPr bwMode="black">
          <a:xfrm>
            <a:off x="2199243" y="570367"/>
            <a:ext cx="261289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chemeClr val="bg1"/>
                </a:solidFill>
                <a:latin typeface="+mn-lt"/>
              </a:rPr>
              <a:t>Last Modified 5/17/2018 11:06 PM Pacific Standard Time</a:t>
            </a:r>
          </a:p>
        </p:txBody>
      </p:sp>
      <p:sp>
        <p:nvSpPr>
          <p:cNvPr id="7" name="Printed" hidden="1"/>
          <p:cNvSpPr txBox="1">
            <a:spLocks noChangeArrowheads="1"/>
          </p:cNvSpPr>
          <p:nvPr/>
        </p:nvSpPr>
        <p:spPr bwMode="black">
          <a:xfrm>
            <a:off x="2131919" y="695979"/>
            <a:ext cx="221054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800" baseline="0" dirty="0">
                <a:solidFill>
                  <a:schemeClr val="bg1"/>
                </a:solidFill>
                <a:latin typeface="+mn-lt"/>
              </a:rPr>
              <a:t>Printed 5/8/2018 8:53 AM Pacific Standard Time</a:t>
            </a:r>
          </a:p>
        </p:txBody>
      </p:sp>
      <p:sp>
        <p:nvSpPr>
          <p:cNvPr id="13314" name="Title"/>
          <p:cNvSpPr>
            <a:spLocks noGrp="1" noChangeArrowheads="1"/>
          </p:cNvSpPr>
          <p:nvPr>
            <p:ph type="ctrTitle"/>
          </p:nvPr>
        </p:nvSpPr>
        <p:spPr>
          <a:xfrm>
            <a:off x="1758951" y="1580984"/>
            <a:ext cx="8478152" cy="502445"/>
          </a:xfrm>
          <a:prstGeom prst="rect">
            <a:avLst/>
          </a:prstGeom>
        </p:spPr>
        <p:txBody>
          <a:bodyPr>
            <a:spAutoFit/>
          </a:bodyPr>
          <a:lstStyle>
            <a:lvl1pPr>
              <a:defRPr sz="3200" b="1" baseline="0">
                <a:solidFill>
                  <a:schemeClr val="bg1"/>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a:xfrm>
            <a:off x="1758951" y="3068578"/>
            <a:ext cx="8478152" cy="219820"/>
          </a:xfrm>
          <a:prstGeom prst="rect">
            <a:avLst/>
          </a:prstGeom>
        </p:spPr>
        <p:txBody>
          <a:bodyPr wrap="square">
            <a:spAutoFit/>
          </a:bodyPr>
          <a:lstStyle>
            <a:lvl1pPr>
              <a:defRPr sz="1400" cap="all"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gray">
          <a:xfrm>
            <a:off x="1758951" y="4277920"/>
            <a:ext cx="847815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spTree>
    <p:extLst>
      <p:ext uri="{BB962C8B-B14F-4D97-AF65-F5344CB8AC3E}">
        <p14:creationId xmlns:p14="http://schemas.microsoft.com/office/powerpoint/2010/main" val="199735444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83CF3B-1CED-4AFA-9D4C-1430688D8A51}"/>
              </a:ext>
            </a:extLst>
          </p:cNvPr>
          <p:cNvGraphicFramePr>
            <a:graphicFrameLocks noChangeAspect="1"/>
          </p:cNvGraphicFramePr>
          <p:nvPr>
            <p:custDataLst>
              <p:tags r:id="rId2"/>
            </p:custData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spid="_x0000_s3074" name="think-cell Slide" r:id="rId4" imgW="347" imgH="346" progId="TCLayout.ActiveDocument.1">
                  <p:embed/>
                </p:oleObj>
              </mc:Choice>
              <mc:Fallback>
                <p:oleObj name="think-cell Slide" r:id="rId4" imgW="347" imgH="346" progId="TCLayout.ActiveDocument.1">
                  <p:embed/>
                  <p:pic>
                    <p:nvPicPr>
                      <p:cNvPr id="3" name="Object 2" hidden="1">
                        <a:extLst>
                          <a:ext uri="{FF2B5EF4-FFF2-40B4-BE49-F238E27FC236}">
                            <a16:creationId xmlns:a16="http://schemas.microsoft.com/office/drawing/2014/main" id="{D083CF3B-1CED-4AFA-9D4C-1430688D8A51}"/>
                          </a:ext>
                        </a:extLst>
                      </p:cNvPr>
                      <p:cNvPicPr/>
                      <p:nvPr/>
                    </p:nvPicPr>
                    <p:blipFill>
                      <a:blip r:embed="rId5"/>
                      <a:stretch>
                        <a:fillRect/>
                      </a:stretch>
                    </p:blipFill>
                    <p:spPr>
                      <a:xfrm>
                        <a:off x="2122" y="1589"/>
                        <a:ext cx="2116"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5" name="doc id" hidden="1"/>
          <p:cNvSpPr>
            <a:spLocks noChangeArrowheads="1"/>
          </p:cNvSpPr>
          <p:nvPr/>
        </p:nvSpPr>
        <p:spPr bwMode="auto">
          <a:xfrm>
            <a:off x="10995479"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06"/>
            <a:endParaRPr lang="en-US" sz="800" baseline="0" dirty="0">
              <a:solidFill>
                <a:srgbClr val="808080"/>
              </a:solidFill>
              <a:latin typeface="+mn-lt"/>
              <a:ea typeface="+mn-ea"/>
            </a:endParaRPr>
          </a:p>
        </p:txBody>
      </p:sp>
    </p:spTree>
    <p:extLst>
      <p:ext uri="{BB962C8B-B14F-4D97-AF65-F5344CB8AC3E}">
        <p14:creationId xmlns:p14="http://schemas.microsoft.com/office/powerpoint/2010/main" val="3599555588"/>
      </p:ext>
    </p:extLst>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583">
          <p15:clr>
            <a:srgbClr val="F26B43"/>
          </p15:clr>
        </p15:guide>
        <p15:guide id="4" orient="horz" pos="3990">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r>
              <a:rPr lang="en-US" dirty="0"/>
              <a:t>6/18/2021</a:t>
            </a:r>
          </a:p>
        </p:txBody>
      </p:sp>
      <p:sp>
        <p:nvSpPr>
          <p:cNvPr id="5" name="Footer Placeholder 4"/>
          <p:cNvSpPr>
            <a:spLocks noGrp="1"/>
          </p:cNvSpPr>
          <p:nvPr>
            <p:ph type="ftr" sz="quarter" idx="11"/>
          </p:nvPr>
        </p:nvSpPr>
        <p:spPr/>
        <p:txBody>
          <a:bodyPr/>
          <a:lstStyle/>
          <a:p>
            <a:r>
              <a:rPr lang="en-US" dirty="0"/>
              <a:t>IE Semi-Annual Report: June 18, 2021 All Hands Meeting</a:t>
            </a:r>
          </a:p>
        </p:txBody>
      </p:sp>
      <p:sp>
        <p:nvSpPr>
          <p:cNvPr id="6" name="Slide Number Placeholder 5"/>
          <p:cNvSpPr>
            <a:spLocks noGrp="1"/>
          </p:cNvSpPr>
          <p:nvPr>
            <p:ph type="sldNum" sz="quarter" idx="12"/>
          </p:nvPr>
        </p:nvSpPr>
        <p:spPr/>
        <p:txBody>
          <a:bodyPr/>
          <a:lstStyle/>
          <a:p>
            <a:fld id="{4FAB73BC-B049-4115-A692-8D63A059BFB8}" type="slidenum">
              <a:rPr lang="en-US"/>
              <a:t>‹#›</a:t>
            </a:fld>
            <a:endParaRPr lang="en-US" dirty="0"/>
          </a:p>
        </p:txBody>
      </p:sp>
    </p:spTree>
    <p:extLst>
      <p:ext uri="{BB962C8B-B14F-4D97-AF65-F5344CB8AC3E}">
        <p14:creationId xmlns:p14="http://schemas.microsoft.com/office/powerpoint/2010/main" val="418754647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cSld name="2_Blank">
    <p:spTree>
      <p:nvGrpSpPr>
        <p:cNvPr id="1" name=""/>
        <p:cNvGrpSpPr/>
        <p:nvPr/>
      </p:nvGrpSpPr>
      <p:grpSpPr>
        <a:xfrm>
          <a:off x="0" y="0"/>
          <a:ext cx="0" cy="0"/>
          <a:chOff x="0" y="0"/>
          <a:chExt cx="0" cy="0"/>
        </a:xfrm>
      </p:grpSpPr>
      <p:sp>
        <p:nvSpPr>
          <p:cNvPr id="5" name="Title 1"/>
          <p:cNvSpPr>
            <a:spLocks noGrp="1"/>
          </p:cNvSpPr>
          <p:nvPr>
            <p:ph type="title"/>
          </p:nvPr>
        </p:nvSpPr>
        <p:spPr>
          <a:xfrm>
            <a:off x="1511300" y="241920"/>
            <a:ext cx="10350848" cy="430887"/>
          </a:xfrm>
        </p:spPr>
        <p:txBody>
          <a:bodyPr anchor="ctr"/>
          <a:lstStyle>
            <a:lvl1pPr algn="l">
              <a:defRPr sz="2800">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7579383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Main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55799" y="1244081"/>
            <a:ext cx="10502939" cy="3077830"/>
          </a:xfrm>
          <a:prstGeom prst="rect">
            <a:avLst/>
          </a:prstGeom>
        </p:spPr>
        <p:txBody>
          <a:bodyPr/>
          <a:lstStyle>
            <a:lvl1pPr marL="4233" indent="-4233">
              <a:spcBef>
                <a:spcPts val="800"/>
              </a:spcBef>
              <a:spcAft>
                <a:spcPts val="800"/>
              </a:spcAft>
              <a:defRPr sz="3467" b="0">
                <a:solidFill>
                  <a:srgbClr val="4D4D4D"/>
                </a:solidFill>
                <a:latin typeface="Calibri" panose="020F0502020204030204" pitchFamily="34" charset="0"/>
              </a:defRPr>
            </a:lvl1pPr>
            <a:lvl2pPr marL="467760" indent="-232822">
              <a:spcBef>
                <a:spcPts val="800"/>
              </a:spcBef>
              <a:spcAft>
                <a:spcPts val="800"/>
              </a:spcAft>
              <a:defRPr sz="3200">
                <a:solidFill>
                  <a:srgbClr val="4D4D4D"/>
                </a:solidFill>
                <a:latin typeface="Calibri" panose="020F0502020204030204" pitchFamily="34" charset="0"/>
              </a:defRPr>
            </a:lvl2pPr>
            <a:lvl3pPr marL="848741" indent="-296319">
              <a:spcBef>
                <a:spcPts val="800"/>
              </a:spcBef>
              <a:spcAft>
                <a:spcPts val="800"/>
              </a:spcAft>
              <a:defRPr sz="2933">
                <a:solidFill>
                  <a:srgbClr val="4D4D4D"/>
                </a:solidFill>
                <a:latin typeface="Calibri" panose="020F0502020204030204" pitchFamily="34" charset="0"/>
              </a:defRPr>
            </a:lvl3pPr>
            <a:lvl4pPr marL="1151410" indent="-232822">
              <a:spcBef>
                <a:spcPts val="800"/>
              </a:spcBef>
              <a:spcAft>
                <a:spcPts val="800"/>
              </a:spcAft>
              <a:defRPr sz="2667">
                <a:solidFill>
                  <a:srgbClr val="4D4D4D"/>
                </a:solidFill>
                <a:latin typeface="Calibri" panose="020F0502020204030204" pitchFamily="34" charset="0"/>
              </a:defRPr>
            </a:lvl4pPr>
            <a:lvl5pPr marL="1606471" indent="-232822">
              <a:spcBef>
                <a:spcPts val="800"/>
              </a:spcBef>
              <a:spcAft>
                <a:spcPts val="800"/>
              </a:spcAft>
              <a:buFont typeface="Wingdings" panose="05000000000000000000" pitchFamily="2" charset="2"/>
              <a:buChar char="§"/>
              <a:defRPr sz="2400" b="0">
                <a:solidFill>
                  <a:srgbClr val="4D4D4D"/>
                </a:solidFill>
                <a:latin typeface="Calibri" panose="020F0502020204030204" pitchFamily="34" charset="0"/>
              </a:defRPr>
            </a:lvl5pPr>
            <a:lvl6pPr marL="1985334" indent="-234939">
              <a:buFont typeface="Wingdings" panose="05000000000000000000" pitchFamily="2" charset="2"/>
              <a:buChar char="§"/>
              <a:defRPr sz="2133" b="0">
                <a:solidFill>
                  <a:srgbClr val="4D4D4D"/>
                </a:solidFill>
                <a:latin typeface="Calibri" panose="020F0502020204030204"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1" name="Straight Connector 10"/>
          <p:cNvCxnSpPr/>
          <p:nvPr userDrawn="1"/>
        </p:nvCxnSpPr>
        <p:spPr bwMode="auto">
          <a:xfrm>
            <a:off x="1174721" y="897821"/>
            <a:ext cx="10737581" cy="0"/>
          </a:xfrm>
          <a:prstGeom prst="line">
            <a:avLst/>
          </a:prstGeom>
          <a:solidFill>
            <a:schemeClr val="tx1"/>
          </a:solidFill>
          <a:ln w="2857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Title 1"/>
          <p:cNvSpPr>
            <a:spLocks noGrp="1"/>
          </p:cNvSpPr>
          <p:nvPr userDrawn="1">
            <p:ph type="title"/>
          </p:nvPr>
        </p:nvSpPr>
        <p:spPr>
          <a:xfrm>
            <a:off x="1055802" y="39379"/>
            <a:ext cx="10475356" cy="1143000"/>
          </a:xfrm>
          <a:prstGeom prst="rect">
            <a:avLst/>
          </a:prstGeom>
        </p:spPr>
        <p:txBody>
          <a:bodyPr anchor="ctr" anchorCtr="0">
            <a:normAutofit/>
          </a:bodyPr>
          <a:lstStyle>
            <a:lvl1pPr algn="l">
              <a:defRPr sz="4267" b="0">
                <a:solidFill>
                  <a:srgbClr val="4D4D4D"/>
                </a:solidFill>
                <a:latin typeface="Calibri" panose="020F050202020403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1867820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2" name="Picture 1" descr="ColorBlue_bar_top-12.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5"/>
            <a:ext cx="12192000" cy="1198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2258640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Internal">
    <p:spTree>
      <p:nvGrpSpPr>
        <p:cNvPr id="1" name=""/>
        <p:cNvGrpSpPr/>
        <p:nvPr/>
      </p:nvGrpSpPr>
      <p:grpSpPr>
        <a:xfrm>
          <a:off x="0" y="0"/>
          <a:ext cx="0" cy="0"/>
          <a:chOff x="0" y="0"/>
          <a:chExt cx="0" cy="0"/>
        </a:xfrm>
      </p:grpSpPr>
      <p:pic>
        <p:nvPicPr>
          <p:cNvPr id="4" name="Picture 3" descr="A picture containing screenshot, bird&#10;&#10;Description automatically generated">
            <a:extLst>
              <a:ext uri="{FF2B5EF4-FFF2-40B4-BE49-F238E27FC236}">
                <a16:creationId xmlns:a16="http://schemas.microsoft.com/office/drawing/2014/main" id="{3907816A-CCDA-4B85-A9E3-977A6913C6D6}"/>
              </a:ext>
            </a:extLst>
          </p:cNvPr>
          <p:cNvPicPr>
            <a:picLocks noChangeAspect="1"/>
          </p:cNvPicPr>
          <p:nvPr userDrawn="1"/>
        </p:nvPicPr>
        <p:blipFill>
          <a:blip r:embed="rId2"/>
          <a:stretch>
            <a:fillRect/>
          </a:stretch>
        </p:blipFill>
        <p:spPr>
          <a:xfrm>
            <a:off x="0" y="0"/>
            <a:ext cx="12192000" cy="6857999"/>
          </a:xfrm>
          <a:prstGeom prst="rect">
            <a:avLst/>
          </a:prstGeom>
        </p:spPr>
      </p:pic>
      <p:sp>
        <p:nvSpPr>
          <p:cNvPr id="8" name="Title 1">
            <a:extLst>
              <a:ext uri="{FF2B5EF4-FFF2-40B4-BE49-F238E27FC236}">
                <a16:creationId xmlns:a16="http://schemas.microsoft.com/office/drawing/2014/main" id="{36365C6F-4567-4D9A-ACAB-69DD9A2AEF22}"/>
              </a:ext>
            </a:extLst>
          </p:cNvPr>
          <p:cNvSpPr>
            <a:spLocks noGrp="1"/>
          </p:cNvSpPr>
          <p:nvPr>
            <p:ph type="ctrTitle" hasCustomPrompt="1"/>
          </p:nvPr>
        </p:nvSpPr>
        <p:spPr>
          <a:xfrm>
            <a:off x="797242" y="2429267"/>
            <a:ext cx="10363200" cy="1187172"/>
          </a:xfrm>
          <a:noFill/>
          <a:ln>
            <a:noFill/>
          </a:ln>
          <a:effectLst>
            <a:outerShdw blurRad="50800" dist="38100" dir="2700000" algn="tl" rotWithShape="0">
              <a:prstClr val="black">
                <a:alpha val="40000"/>
              </a:prstClr>
            </a:outerShdw>
          </a:effectLst>
        </p:spPr>
        <p:txBody>
          <a:bodyPr anchor="ctr" anchorCtr="0">
            <a:normAutofit/>
          </a:bodyPr>
          <a:lstStyle>
            <a:lvl1pPr algn="ctr">
              <a:defRPr sz="3600" b="1" cap="all" spc="0" baseline="0">
                <a:ln w="12700">
                  <a:noFill/>
                  <a:prstDash val="solid"/>
                </a:ln>
                <a:solidFill>
                  <a:schemeClr val="bg1"/>
                </a:solidFill>
                <a:effectLst/>
              </a:defRPr>
            </a:lvl1pPr>
          </a:lstStyle>
          <a:p>
            <a:r>
              <a:rPr lang="en-US" dirty="0"/>
              <a:t>Click to edit EXTERNAL Master title style</a:t>
            </a:r>
          </a:p>
        </p:txBody>
      </p:sp>
      <p:sp>
        <p:nvSpPr>
          <p:cNvPr id="9" name="Subtitle 2">
            <a:extLst>
              <a:ext uri="{FF2B5EF4-FFF2-40B4-BE49-F238E27FC236}">
                <a16:creationId xmlns:a16="http://schemas.microsoft.com/office/drawing/2014/main" id="{C03787F4-683B-48C4-8284-6DFF60ABA6CA}"/>
              </a:ext>
            </a:extLst>
          </p:cNvPr>
          <p:cNvSpPr>
            <a:spLocks noGrp="1"/>
          </p:cNvSpPr>
          <p:nvPr>
            <p:ph type="subTitle" idx="1"/>
          </p:nvPr>
        </p:nvSpPr>
        <p:spPr>
          <a:xfrm>
            <a:off x="1711642" y="3750160"/>
            <a:ext cx="8534400" cy="718352"/>
          </a:xfrm>
          <a:noFill/>
        </p:spPr>
        <p:txBody>
          <a:bodyPr>
            <a:normAutofit/>
          </a:bodyPr>
          <a:lstStyle>
            <a:lvl1pPr marL="0" indent="0" algn="ctr">
              <a:buNone/>
              <a:defRPr sz="24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0" name="Text Placeholder 2">
            <a:extLst>
              <a:ext uri="{FF2B5EF4-FFF2-40B4-BE49-F238E27FC236}">
                <a16:creationId xmlns:a16="http://schemas.microsoft.com/office/drawing/2014/main" id="{BD2F822C-F519-43D7-9E03-9E89C2466B11}"/>
              </a:ext>
            </a:extLst>
          </p:cNvPr>
          <p:cNvSpPr>
            <a:spLocks noGrp="1"/>
          </p:cNvSpPr>
          <p:nvPr>
            <p:ph type="body" sz="quarter" idx="10" hasCustomPrompt="1"/>
          </p:nvPr>
        </p:nvSpPr>
        <p:spPr>
          <a:xfrm>
            <a:off x="414620" y="6349193"/>
            <a:ext cx="3594100" cy="434365"/>
          </a:xfrm>
        </p:spPr>
        <p:txBody>
          <a:bodyPr>
            <a:normAutofit/>
          </a:bodyPr>
          <a:lstStyle>
            <a:lvl1pPr marL="0" indent="0" algn="l">
              <a:buNone/>
              <a:defRPr sz="2400"/>
            </a:lvl1pPr>
          </a:lstStyle>
          <a:p>
            <a:pPr lvl="0"/>
            <a:r>
              <a:rPr lang="en-US" dirty="0"/>
              <a:t>Date</a:t>
            </a:r>
          </a:p>
        </p:txBody>
      </p:sp>
    </p:spTree>
    <p:extLst>
      <p:ext uri="{BB962C8B-B14F-4D97-AF65-F5344CB8AC3E}">
        <p14:creationId xmlns:p14="http://schemas.microsoft.com/office/powerpoint/2010/main" val="263570589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External">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FD421B5-AACF-4B9D-9124-494C387600A1}"/>
              </a:ext>
            </a:extLst>
          </p:cNvPr>
          <p:cNvPicPr>
            <a:picLocks noChangeAspect="1"/>
          </p:cNvPicPr>
          <p:nvPr userDrawn="1"/>
        </p:nvPicPr>
        <p:blipFill>
          <a:blip r:embed="rId2"/>
          <a:srcRect/>
          <a:stretch/>
        </p:blipFill>
        <p:spPr>
          <a:xfrm>
            <a:off x="1524" y="858"/>
            <a:ext cx="12188952" cy="6856284"/>
          </a:xfrm>
          <a:prstGeom prst="rect">
            <a:avLst/>
          </a:prstGeom>
        </p:spPr>
      </p:pic>
      <p:sp>
        <p:nvSpPr>
          <p:cNvPr id="6" name="Title 1"/>
          <p:cNvSpPr>
            <a:spLocks noGrp="1"/>
          </p:cNvSpPr>
          <p:nvPr>
            <p:ph type="ctrTitle" hasCustomPrompt="1"/>
          </p:nvPr>
        </p:nvSpPr>
        <p:spPr>
          <a:xfrm>
            <a:off x="414620" y="1577194"/>
            <a:ext cx="10363200" cy="1187172"/>
          </a:xfrm>
          <a:noFill/>
          <a:ln>
            <a:noFill/>
          </a:ln>
          <a:effectLst>
            <a:outerShdw blurRad="50800" dist="38100" dir="2700000" algn="tl" rotWithShape="0">
              <a:prstClr val="black">
                <a:alpha val="40000"/>
              </a:prstClr>
            </a:outerShdw>
          </a:effectLst>
        </p:spPr>
        <p:txBody>
          <a:bodyPr anchor="ctr" anchorCtr="0">
            <a:normAutofit/>
          </a:bodyPr>
          <a:lstStyle>
            <a:lvl1pPr algn="l">
              <a:defRPr sz="3600" b="1" cap="all" spc="0" baseline="0">
                <a:ln w="12700">
                  <a:noFill/>
                  <a:prstDash val="solid"/>
                </a:ln>
                <a:solidFill>
                  <a:schemeClr val="bg1"/>
                </a:solidFill>
                <a:effectLst/>
              </a:defRPr>
            </a:lvl1pPr>
          </a:lstStyle>
          <a:p>
            <a:r>
              <a:rPr lang="en-US" dirty="0"/>
              <a:t>Click to edit Internal Master title style</a:t>
            </a:r>
          </a:p>
        </p:txBody>
      </p:sp>
      <p:sp>
        <p:nvSpPr>
          <p:cNvPr id="7" name="Subtitle 2"/>
          <p:cNvSpPr>
            <a:spLocks noGrp="1"/>
          </p:cNvSpPr>
          <p:nvPr>
            <p:ph type="subTitle" idx="1"/>
          </p:nvPr>
        </p:nvSpPr>
        <p:spPr>
          <a:xfrm>
            <a:off x="414620" y="2898087"/>
            <a:ext cx="8534400" cy="718352"/>
          </a:xfrm>
          <a:noFill/>
        </p:spPr>
        <p:txBody>
          <a:bodyPr>
            <a:normAutofit/>
          </a:bodyPr>
          <a:lstStyle>
            <a:lvl1pPr marL="0" indent="0" algn="l">
              <a:buNone/>
              <a:defRPr sz="24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3" name="Text Placeholder 2"/>
          <p:cNvSpPr>
            <a:spLocks noGrp="1"/>
          </p:cNvSpPr>
          <p:nvPr>
            <p:ph type="body" sz="quarter" idx="10" hasCustomPrompt="1"/>
          </p:nvPr>
        </p:nvSpPr>
        <p:spPr>
          <a:xfrm>
            <a:off x="414620" y="6349193"/>
            <a:ext cx="3594100" cy="434365"/>
          </a:xfrm>
        </p:spPr>
        <p:txBody>
          <a:bodyPr>
            <a:normAutofit/>
          </a:bodyPr>
          <a:lstStyle>
            <a:lvl1pPr marL="0" indent="0" algn="l">
              <a:buNone/>
              <a:defRPr sz="2400"/>
            </a:lvl1pPr>
          </a:lstStyle>
          <a:p>
            <a:pPr lvl="0"/>
            <a:r>
              <a:rPr lang="en-US" dirty="0"/>
              <a:t>Date</a:t>
            </a:r>
          </a:p>
        </p:txBody>
      </p:sp>
    </p:spTree>
    <p:extLst>
      <p:ext uri="{BB962C8B-B14F-4D97-AF65-F5344CB8AC3E}">
        <p14:creationId xmlns:p14="http://schemas.microsoft.com/office/powerpoint/2010/main" val="131101613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only, Full Border DB-w-Lin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srcRect/>
          <a:stretch/>
        </p:blipFill>
        <p:spPr>
          <a:xfrm>
            <a:off x="1524" y="0"/>
            <a:ext cx="12188952" cy="6858000"/>
          </a:xfrm>
          <a:prstGeom prst="rect">
            <a:avLst/>
          </a:prstGeom>
        </p:spPr>
      </p:pic>
      <p:cxnSp>
        <p:nvCxnSpPr>
          <p:cNvPr id="6" name="Straight Connector 5"/>
          <p:cNvCxnSpPr/>
          <p:nvPr/>
        </p:nvCxnSpPr>
        <p:spPr>
          <a:xfrm>
            <a:off x="609600" y="1049338"/>
            <a:ext cx="10972800" cy="0"/>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609600" y="293457"/>
            <a:ext cx="10972800" cy="577851"/>
          </a:xfrm>
          <a:noFill/>
          <a:ln>
            <a:noFill/>
          </a:ln>
        </p:spPr>
        <p:txBody>
          <a:bodyPr vert="horz" wrap="square" lIns="0" tIns="0" rIns="9144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8" name="Footer Placeholder 4"/>
          <p:cNvSpPr>
            <a:spLocks noGrp="1"/>
          </p:cNvSpPr>
          <p:nvPr>
            <p:ph type="ftr" sz="quarter" idx="10"/>
          </p:nvPr>
        </p:nvSpPr>
        <p:spPr/>
        <p:txBody>
          <a:bodyPr/>
          <a:lstStyle>
            <a:lvl1pPr>
              <a:defRPr/>
            </a:lvl1pPr>
          </a:lstStyle>
          <a:p>
            <a:pPr>
              <a:defRPr/>
            </a:pPr>
            <a:r>
              <a:rPr lang="en-US" dirty="0"/>
              <a:t>CPUC Stakeholder Meeting</a:t>
            </a:r>
          </a:p>
        </p:txBody>
      </p:sp>
      <p:sp>
        <p:nvSpPr>
          <p:cNvPr id="9" name="Slide Number Placeholder 5"/>
          <p:cNvSpPr>
            <a:spLocks noGrp="1"/>
          </p:cNvSpPr>
          <p:nvPr>
            <p:ph type="sldNum" sz="quarter" idx="11"/>
          </p:nvPr>
        </p:nvSpPr>
        <p:spPr/>
        <p:txBody>
          <a:bodyPr/>
          <a:lstStyle>
            <a:lvl1pPr>
              <a:defRPr/>
            </a:lvl1pPr>
          </a:lstStyle>
          <a:p>
            <a:pPr>
              <a:defRPr/>
            </a:pPr>
            <a:fld id="{5233A1AA-C032-4449-8476-4B1706E764B3}" type="slidenum">
              <a:rPr lang="en-US"/>
              <a:pPr>
                <a:defRPr/>
              </a:pPr>
              <a:t>‹#›</a:t>
            </a:fld>
            <a:endParaRPr lang="en-US" dirty="0"/>
          </a:p>
        </p:txBody>
      </p:sp>
      <p:cxnSp>
        <p:nvCxnSpPr>
          <p:cNvPr id="14" name="Straight Connector 13"/>
          <p:cNvCxnSpPr/>
          <p:nvPr userDrawn="1"/>
        </p:nvCxnSpPr>
        <p:spPr>
          <a:xfrm flipV="1">
            <a:off x="10878784" y="6270626"/>
            <a:ext cx="0" cy="339725"/>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7914764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Full Border LB-w-Lin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srcRect/>
          <a:stretch/>
        </p:blipFill>
        <p:spPr>
          <a:xfrm>
            <a:off x="1525" y="0"/>
            <a:ext cx="12188950" cy="6857999"/>
          </a:xfrm>
          <a:prstGeom prst="rect">
            <a:avLst/>
          </a:prstGeom>
        </p:spPr>
      </p:pic>
      <p:cxnSp>
        <p:nvCxnSpPr>
          <p:cNvPr id="6" name="Straight Connector 5"/>
          <p:cNvCxnSpPr/>
          <p:nvPr/>
        </p:nvCxnSpPr>
        <p:spPr>
          <a:xfrm>
            <a:off x="609600" y="1049338"/>
            <a:ext cx="10972800" cy="0"/>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609600" y="293457"/>
            <a:ext cx="10972800" cy="577851"/>
          </a:xfrm>
          <a:noFill/>
          <a:ln>
            <a:noFill/>
          </a:ln>
        </p:spPr>
        <p:txBody>
          <a:bodyPr vert="horz" wrap="square" lIns="0" tIns="0" rIns="9144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8" name="Footer Placeholder 4"/>
          <p:cNvSpPr>
            <a:spLocks noGrp="1"/>
          </p:cNvSpPr>
          <p:nvPr>
            <p:ph type="ftr" sz="quarter" idx="10"/>
          </p:nvPr>
        </p:nvSpPr>
        <p:spPr/>
        <p:txBody>
          <a:bodyPr/>
          <a:lstStyle>
            <a:lvl1pPr>
              <a:defRPr/>
            </a:lvl1pPr>
          </a:lstStyle>
          <a:p>
            <a:pPr>
              <a:defRPr/>
            </a:pPr>
            <a:r>
              <a:rPr lang="en-US" dirty="0"/>
              <a:t>CPUC Stakeholder Meeting</a:t>
            </a:r>
          </a:p>
        </p:txBody>
      </p:sp>
      <p:sp>
        <p:nvSpPr>
          <p:cNvPr id="9" name="Slide Number Placeholder 5"/>
          <p:cNvSpPr>
            <a:spLocks noGrp="1"/>
          </p:cNvSpPr>
          <p:nvPr>
            <p:ph type="sldNum" sz="quarter" idx="11"/>
          </p:nvPr>
        </p:nvSpPr>
        <p:spPr/>
        <p:txBody>
          <a:bodyPr/>
          <a:lstStyle>
            <a:lvl1pPr>
              <a:defRPr/>
            </a:lvl1pPr>
          </a:lstStyle>
          <a:p>
            <a:pPr>
              <a:defRPr/>
            </a:pPr>
            <a:fld id="{5233A1AA-C032-4449-8476-4B1706E764B3}" type="slidenum">
              <a:rPr lang="en-US"/>
              <a:pPr>
                <a:defRPr/>
              </a:pPr>
              <a:t>‹#›</a:t>
            </a:fld>
            <a:endParaRPr lang="en-US" dirty="0"/>
          </a:p>
        </p:txBody>
      </p:sp>
      <p:cxnSp>
        <p:nvCxnSpPr>
          <p:cNvPr id="14" name="Straight Connector 13"/>
          <p:cNvCxnSpPr/>
          <p:nvPr userDrawn="1"/>
        </p:nvCxnSpPr>
        <p:spPr>
          <a:xfrm flipV="1">
            <a:off x="10878784" y="6270626"/>
            <a:ext cx="0" cy="339725"/>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906004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atermark-Divider-Layout">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srcRect/>
          <a:stretch/>
        </p:blipFill>
        <p:spPr>
          <a:xfrm>
            <a:off x="1524" y="0"/>
            <a:ext cx="12188952" cy="6858000"/>
          </a:xfrm>
          <a:prstGeom prst="rect">
            <a:avLst/>
          </a:prstGeom>
        </p:spPr>
      </p:pic>
      <p:pic>
        <p:nvPicPr>
          <p:cNvPr id="5" name="Picture 7"/>
          <p:cNvPicPr>
            <a:picLocks noChangeAspect="1"/>
          </p:cNvPicPr>
          <p:nvPr/>
        </p:nvPicPr>
        <p:blipFill>
          <a:blip r:embed="rId3">
            <a:alphaModFix amt="80000"/>
            <a:extLst>
              <a:ext uri="{28A0092B-C50C-407E-A947-70E740481C1C}">
                <a14:useLocalDpi xmlns:a14="http://schemas.microsoft.com/office/drawing/2010/main" val="0"/>
              </a:ext>
            </a:extLst>
          </a:blip>
          <a:srcRect/>
          <a:stretch>
            <a:fillRect/>
          </a:stretch>
        </p:blipFill>
        <p:spPr bwMode="auto">
          <a:xfrm>
            <a:off x="3352868" y="635000"/>
            <a:ext cx="5591628" cy="5207000"/>
          </a:xfrm>
          <a:prstGeom prst="rect">
            <a:avLst/>
          </a:prstGeom>
          <a:noFill/>
          <a:ln>
            <a:noFill/>
          </a:ln>
          <a:extLst>
            <a:ext uri="{909E8E84-426E-40dd-AFC4-6F175D3DCCD1}">
              <a14:hiddenFill xmlns="" xmlns:a14="http://schemas.microsoft.com/office/drawing/2010/main">
                <a:solidFill>
                  <a:srgbClr val="FFFFFF">
                    <a:alpha val="79999"/>
                  </a:srgbClr>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6" name="Straight Connector 5"/>
          <p:cNvCxnSpPr/>
          <p:nvPr/>
        </p:nvCxnSpPr>
        <p:spPr>
          <a:xfrm flipV="1">
            <a:off x="10878784" y="6270626"/>
            <a:ext cx="0" cy="339725"/>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7" name="Title 1"/>
          <p:cNvSpPr>
            <a:spLocks noGrp="1"/>
          </p:cNvSpPr>
          <p:nvPr>
            <p:ph type="ctrTitle"/>
          </p:nvPr>
        </p:nvSpPr>
        <p:spPr>
          <a:xfrm>
            <a:off x="926943" y="2085393"/>
            <a:ext cx="10363200" cy="847898"/>
          </a:xfrm>
          <a:noFill/>
          <a:ln>
            <a:noFill/>
          </a:ln>
        </p:spPr>
        <p:txBody>
          <a:bodyPr>
            <a:normAutofit/>
          </a:bodyPr>
          <a:lstStyle>
            <a:lvl1pPr algn="ctr">
              <a:defRPr sz="3600" b="1" cap="none" spc="0" baseline="0">
                <a:ln w="12700">
                  <a:noFill/>
                  <a:prstDash val="solid"/>
                </a:ln>
                <a:solidFill>
                  <a:schemeClr val="tx1"/>
                </a:solidFill>
                <a:effectLst/>
              </a:defRPr>
            </a:lvl1pPr>
          </a:lstStyle>
          <a:p>
            <a:r>
              <a:rPr lang="en-US"/>
              <a:t>Click to edit Master title style</a:t>
            </a:r>
            <a:endParaRPr lang="en-US" dirty="0"/>
          </a:p>
        </p:txBody>
      </p:sp>
      <p:sp>
        <p:nvSpPr>
          <p:cNvPr id="8" name="Subtitle 2"/>
          <p:cNvSpPr>
            <a:spLocks noGrp="1"/>
          </p:cNvSpPr>
          <p:nvPr>
            <p:ph type="subTitle" idx="1"/>
          </p:nvPr>
        </p:nvSpPr>
        <p:spPr>
          <a:xfrm>
            <a:off x="1828800" y="3429000"/>
            <a:ext cx="8534400" cy="1752600"/>
          </a:xfrm>
          <a:noFill/>
        </p:spPr>
        <p:txBody>
          <a:bodyPr>
            <a:normAutofit/>
          </a:bodyPr>
          <a:lstStyle>
            <a:lvl1pPr marL="0" indent="0" algn="ctr">
              <a:buNone/>
              <a:defRPr sz="3200" baseline="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0" name="Footer Placeholder 2"/>
          <p:cNvSpPr>
            <a:spLocks noGrp="1"/>
          </p:cNvSpPr>
          <p:nvPr>
            <p:ph type="ftr" sz="quarter" idx="10"/>
          </p:nvPr>
        </p:nvSpPr>
        <p:spPr/>
        <p:txBody>
          <a:bodyPr/>
          <a:lstStyle>
            <a:lvl1pPr>
              <a:defRPr/>
            </a:lvl1pPr>
          </a:lstStyle>
          <a:p>
            <a:pPr>
              <a:defRPr/>
            </a:pPr>
            <a:r>
              <a:rPr lang="en-US" dirty="0"/>
              <a:t>CPUC Stakeholder Meeting</a:t>
            </a:r>
          </a:p>
        </p:txBody>
      </p:sp>
      <p:sp>
        <p:nvSpPr>
          <p:cNvPr id="11" name="Slide Number Placeholder 3"/>
          <p:cNvSpPr>
            <a:spLocks noGrp="1"/>
          </p:cNvSpPr>
          <p:nvPr>
            <p:ph type="sldNum" sz="quarter" idx="11"/>
          </p:nvPr>
        </p:nvSpPr>
        <p:spPr/>
        <p:txBody>
          <a:bodyPr/>
          <a:lstStyle>
            <a:lvl1pPr>
              <a:defRPr/>
            </a:lvl1pPr>
          </a:lstStyle>
          <a:p>
            <a:pPr>
              <a:defRPr/>
            </a:pPr>
            <a:fld id="{E019AF5B-0728-184A-BC90-D0C03FF1F89E}" type="slidenum">
              <a:rPr lang="en-US"/>
              <a:pPr>
                <a:defRPr/>
              </a:pPr>
              <a:t>‹#›</a:t>
            </a:fld>
            <a:endParaRPr lang="en-US" dirty="0"/>
          </a:p>
        </p:txBody>
      </p:sp>
    </p:spTree>
    <p:extLst>
      <p:ext uri="{BB962C8B-B14F-4D97-AF65-F5344CB8AC3E}">
        <p14:creationId xmlns:p14="http://schemas.microsoft.com/office/powerpoint/2010/main" val="35345495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ingle Col List, Border DB">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41A7FD6-6AE7-4976-B838-8EA650403A13}"/>
              </a:ext>
            </a:extLst>
          </p:cNvPr>
          <p:cNvPicPr>
            <a:picLocks noChangeAspect="1"/>
          </p:cNvPicPr>
          <p:nvPr userDrawn="1"/>
        </p:nvPicPr>
        <p:blipFill>
          <a:blip r:embed="rId2"/>
          <a:srcRect/>
          <a:stretch/>
        </p:blipFill>
        <p:spPr>
          <a:xfrm>
            <a:off x="1524" y="0"/>
            <a:ext cx="12188952" cy="6858000"/>
          </a:xfrm>
          <a:prstGeom prst="rect">
            <a:avLst/>
          </a:prstGeom>
        </p:spPr>
      </p:pic>
      <p:cxnSp>
        <p:nvCxnSpPr>
          <p:cNvPr id="6" name="Straight Connector 5"/>
          <p:cNvCxnSpPr/>
          <p:nvPr/>
        </p:nvCxnSpPr>
        <p:spPr>
          <a:xfrm>
            <a:off x="609600" y="1049338"/>
            <a:ext cx="10972800" cy="0"/>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609600" y="293457"/>
            <a:ext cx="10972800" cy="577851"/>
          </a:xfrm>
          <a:noFill/>
          <a:ln>
            <a:noFill/>
          </a:ln>
        </p:spPr>
        <p:txBody>
          <a:bodyPr vert="horz" wrap="square" lIns="0" tIns="0" rIns="9144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8" name="Footer Placeholder 4"/>
          <p:cNvSpPr>
            <a:spLocks noGrp="1"/>
          </p:cNvSpPr>
          <p:nvPr>
            <p:ph type="ftr" sz="quarter" idx="10"/>
          </p:nvPr>
        </p:nvSpPr>
        <p:spPr/>
        <p:txBody>
          <a:bodyPr/>
          <a:lstStyle>
            <a:lvl1pPr>
              <a:defRPr/>
            </a:lvl1pPr>
          </a:lstStyle>
          <a:p>
            <a:pPr>
              <a:defRPr/>
            </a:pPr>
            <a:r>
              <a:rPr lang="en-US" dirty="0"/>
              <a:t>CPUC Stakeholder Meeting</a:t>
            </a:r>
          </a:p>
        </p:txBody>
      </p:sp>
      <p:sp>
        <p:nvSpPr>
          <p:cNvPr id="9" name="Slide Number Placeholder 5"/>
          <p:cNvSpPr>
            <a:spLocks noGrp="1"/>
          </p:cNvSpPr>
          <p:nvPr>
            <p:ph type="sldNum" sz="quarter" idx="11"/>
          </p:nvPr>
        </p:nvSpPr>
        <p:spPr/>
        <p:txBody>
          <a:bodyPr/>
          <a:lstStyle>
            <a:lvl1pPr>
              <a:defRPr/>
            </a:lvl1pPr>
          </a:lstStyle>
          <a:p>
            <a:pPr>
              <a:defRPr/>
            </a:pPr>
            <a:fld id="{5233A1AA-C032-4449-8476-4B1706E764B3}" type="slidenum">
              <a:rPr lang="en-US"/>
              <a:pPr>
                <a:defRPr/>
              </a:pPr>
              <a:t>‹#›</a:t>
            </a:fld>
            <a:endParaRPr lang="en-US" dirty="0"/>
          </a:p>
        </p:txBody>
      </p:sp>
      <p:cxnSp>
        <p:nvCxnSpPr>
          <p:cNvPr id="14" name="Straight Connector 13"/>
          <p:cNvCxnSpPr/>
          <p:nvPr userDrawn="1"/>
        </p:nvCxnSpPr>
        <p:spPr>
          <a:xfrm flipV="1">
            <a:off x="10878784" y="6270626"/>
            <a:ext cx="0" cy="339725"/>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4" name="Content Placeholder 3"/>
          <p:cNvSpPr>
            <a:spLocks noGrp="1"/>
          </p:cNvSpPr>
          <p:nvPr>
            <p:ph sz="quarter" idx="12"/>
          </p:nvPr>
        </p:nvSpPr>
        <p:spPr>
          <a:xfrm>
            <a:off x="609600" y="1246188"/>
            <a:ext cx="10972800" cy="4500562"/>
          </a:xfrm>
        </p:spPr>
        <p:txBody>
          <a:bodyPr/>
          <a:lstStyle>
            <a:lvl2pPr>
              <a:buClr>
                <a:schemeClr val="accent4"/>
              </a:buClr>
              <a:defRPr/>
            </a:lvl2pPr>
            <a:lvl3pPr>
              <a:buClr>
                <a:schemeClr val="accent2"/>
              </a:buClr>
              <a:defRPr/>
            </a:lvl3pPr>
            <a:lvl4pPr>
              <a:buClr>
                <a:schemeClr val="accent2">
                  <a:lumMod val="40000"/>
                  <a:lumOff val="60000"/>
                </a:schemeClr>
              </a:buClr>
              <a:defRPr/>
            </a:lvl4pPr>
            <a:lvl5pPr>
              <a:buClr>
                <a:srgbClr val="9999FF"/>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568961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ingle Col List, Top Border w-lin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srcRect/>
          <a:stretch/>
        </p:blipFill>
        <p:spPr>
          <a:xfrm>
            <a:off x="1524" y="0"/>
            <a:ext cx="12188952" cy="6857999"/>
          </a:xfrm>
          <a:prstGeom prst="rect">
            <a:avLst/>
          </a:prstGeom>
        </p:spPr>
      </p:pic>
      <p:cxnSp>
        <p:nvCxnSpPr>
          <p:cNvPr id="6" name="Straight Connector 5"/>
          <p:cNvCxnSpPr/>
          <p:nvPr/>
        </p:nvCxnSpPr>
        <p:spPr>
          <a:xfrm>
            <a:off x="609600" y="1049338"/>
            <a:ext cx="10972800" cy="0"/>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609600" y="293457"/>
            <a:ext cx="10972800" cy="577851"/>
          </a:xfrm>
          <a:noFill/>
          <a:ln>
            <a:noFill/>
          </a:ln>
        </p:spPr>
        <p:txBody>
          <a:bodyPr vert="horz" wrap="square" lIns="0" tIns="0" rIns="9144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8" name="Footer Placeholder 4"/>
          <p:cNvSpPr>
            <a:spLocks noGrp="1"/>
          </p:cNvSpPr>
          <p:nvPr>
            <p:ph type="ftr" sz="quarter" idx="10"/>
          </p:nvPr>
        </p:nvSpPr>
        <p:spPr/>
        <p:txBody>
          <a:bodyPr/>
          <a:lstStyle>
            <a:lvl1pPr>
              <a:defRPr/>
            </a:lvl1pPr>
          </a:lstStyle>
          <a:p>
            <a:pPr>
              <a:defRPr/>
            </a:pPr>
            <a:r>
              <a:rPr lang="en-US" dirty="0"/>
              <a:t>CPUC Stakeholder Meeting</a:t>
            </a:r>
          </a:p>
        </p:txBody>
      </p:sp>
      <p:sp>
        <p:nvSpPr>
          <p:cNvPr id="9" name="Slide Number Placeholder 5"/>
          <p:cNvSpPr>
            <a:spLocks noGrp="1"/>
          </p:cNvSpPr>
          <p:nvPr>
            <p:ph type="sldNum" sz="quarter" idx="11"/>
          </p:nvPr>
        </p:nvSpPr>
        <p:spPr/>
        <p:txBody>
          <a:bodyPr/>
          <a:lstStyle>
            <a:lvl1pPr>
              <a:defRPr/>
            </a:lvl1pPr>
          </a:lstStyle>
          <a:p>
            <a:pPr>
              <a:defRPr/>
            </a:pPr>
            <a:fld id="{5233A1AA-C032-4449-8476-4B1706E764B3}" type="slidenum">
              <a:rPr lang="en-US"/>
              <a:pPr>
                <a:defRPr/>
              </a:pPr>
              <a:t>‹#›</a:t>
            </a:fld>
            <a:endParaRPr lang="en-US" dirty="0"/>
          </a:p>
        </p:txBody>
      </p:sp>
      <p:cxnSp>
        <p:nvCxnSpPr>
          <p:cNvPr id="14" name="Straight Connector 13"/>
          <p:cNvCxnSpPr/>
          <p:nvPr userDrawn="1"/>
        </p:nvCxnSpPr>
        <p:spPr>
          <a:xfrm flipV="1">
            <a:off x="10878784" y="6270626"/>
            <a:ext cx="0" cy="339725"/>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4" name="Content Placeholder 3"/>
          <p:cNvSpPr>
            <a:spLocks noGrp="1"/>
          </p:cNvSpPr>
          <p:nvPr>
            <p:ph sz="quarter" idx="12"/>
          </p:nvPr>
        </p:nvSpPr>
        <p:spPr>
          <a:xfrm>
            <a:off x="609600" y="1246188"/>
            <a:ext cx="10972800" cy="4500562"/>
          </a:xfrm>
        </p:spPr>
        <p:txBody>
          <a:bodyPr/>
          <a:lstStyle>
            <a:lvl2pPr>
              <a:buClr>
                <a:schemeClr val="accent4"/>
              </a:buClr>
              <a:defRPr/>
            </a:lvl2pPr>
            <a:lvl3pPr>
              <a:buClr>
                <a:schemeClr val="accent2"/>
              </a:buClr>
              <a:defRPr/>
            </a:lvl3pPr>
            <a:lvl4pPr>
              <a:buClr>
                <a:schemeClr val="accent2">
                  <a:lumMod val="40000"/>
                  <a:lumOff val="60000"/>
                </a:schemeClr>
              </a:buClr>
              <a:defRPr/>
            </a:lvl4pPr>
            <a:lvl5pPr>
              <a:buClr>
                <a:srgbClr val="9999FF"/>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707677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06424" y="1173575"/>
            <a:ext cx="9966960" cy="2926080"/>
          </a:xfrm>
        </p:spPr>
        <p:txBody>
          <a:bodyPr anchor="b">
            <a:noAutofit/>
          </a:bodyPr>
          <a:lstStyle>
            <a:lvl1pPr algn="ctr">
              <a:lnSpc>
                <a:spcPct val="85000"/>
              </a:lnSpc>
              <a:defRPr sz="7200" b="0" cap="all" baseline="0">
                <a:solidFill>
                  <a:schemeClr val="tx2"/>
                </a:solidFill>
              </a:defRPr>
            </a:lvl1pPr>
          </a:lstStyle>
          <a:p>
            <a:r>
              <a:rPr lang="en-US"/>
              <a:t>Click to edit Master title style</a:t>
            </a:r>
          </a:p>
        </p:txBody>
      </p:sp>
      <p:sp>
        <p:nvSpPr>
          <p:cNvPr id="3" name="Text Placeholder 2"/>
          <p:cNvSpPr>
            <a:spLocks noGrp="1"/>
          </p:cNvSpPr>
          <p:nvPr>
            <p:ph type="body" idx="1"/>
          </p:nvPr>
        </p:nvSpPr>
        <p:spPr>
          <a:xfrm>
            <a:off x="1709928" y="4154520"/>
            <a:ext cx="8769096" cy="1363806"/>
          </a:xfrm>
        </p:spPr>
        <p:txBody>
          <a:bodyPr anchor="t">
            <a:normAutofit/>
          </a:bodyPr>
          <a:lstStyle>
            <a:lvl1pPr marL="0" indent="0" algn="ctr">
              <a:buNone/>
              <a:defRPr sz="22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r>
              <a:rPr lang="en-US" dirty="0"/>
              <a:t>6/18/2021</a:t>
            </a:r>
          </a:p>
        </p:txBody>
      </p:sp>
      <p:sp>
        <p:nvSpPr>
          <p:cNvPr id="5" name="Footer Placeholder 4"/>
          <p:cNvSpPr>
            <a:spLocks noGrp="1"/>
          </p:cNvSpPr>
          <p:nvPr>
            <p:ph type="ftr" sz="quarter" idx="11"/>
          </p:nvPr>
        </p:nvSpPr>
        <p:spPr/>
        <p:txBody>
          <a:bodyPr/>
          <a:lstStyle/>
          <a:p>
            <a:r>
              <a:rPr lang="en-US" dirty="0"/>
              <a:t>IE Semi-Annual Report: June 18, 2021 All Hands Meeting</a:t>
            </a:r>
          </a:p>
        </p:txBody>
      </p:sp>
      <p:sp>
        <p:nvSpPr>
          <p:cNvPr id="6" name="Slide Number Placeholder 5"/>
          <p:cNvSpPr>
            <a:spLocks noGrp="1"/>
          </p:cNvSpPr>
          <p:nvPr>
            <p:ph type="sldNum" sz="quarter" idx="12"/>
          </p:nvPr>
        </p:nvSpPr>
        <p:spPr/>
        <p:txBody>
          <a:bodyPr/>
          <a:lstStyle/>
          <a:p>
            <a:fld id="{4FAB73BC-B049-4115-A692-8D63A059BFB8}" type="slidenum">
              <a:rPr lang="en-US"/>
              <a:t>‹#›</a:t>
            </a:fld>
            <a:endParaRPr lang="en-US" dirty="0"/>
          </a:p>
        </p:txBody>
      </p:sp>
      <p:cxnSp>
        <p:nvCxnSpPr>
          <p:cNvPr id="7" name="Straight Connector 6"/>
          <p:cNvCxnSpPr/>
          <p:nvPr/>
        </p:nvCxnSpPr>
        <p:spPr>
          <a:xfrm>
            <a:off x="1981200" y="4020408"/>
            <a:ext cx="82296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774416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ingle Col List, Top Border-no-lin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srcRect/>
          <a:stretch/>
        </p:blipFill>
        <p:spPr>
          <a:xfrm>
            <a:off x="1524" y="0"/>
            <a:ext cx="12188952" cy="6857999"/>
          </a:xfrm>
          <a:prstGeom prst="rect">
            <a:avLst/>
          </a:prstGeom>
        </p:spPr>
      </p:pic>
      <p:sp>
        <p:nvSpPr>
          <p:cNvPr id="2" name="Title 1"/>
          <p:cNvSpPr>
            <a:spLocks noGrp="1"/>
          </p:cNvSpPr>
          <p:nvPr>
            <p:ph type="title"/>
          </p:nvPr>
        </p:nvSpPr>
        <p:spPr>
          <a:xfrm>
            <a:off x="609600" y="293457"/>
            <a:ext cx="10972800" cy="577851"/>
          </a:xfrm>
          <a:noFill/>
          <a:ln>
            <a:noFill/>
          </a:ln>
        </p:spPr>
        <p:txBody>
          <a:bodyPr vert="horz" wrap="square" lIns="0" tIns="0" rIns="9144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8" name="Footer Placeholder 4"/>
          <p:cNvSpPr>
            <a:spLocks noGrp="1"/>
          </p:cNvSpPr>
          <p:nvPr>
            <p:ph type="ftr" sz="quarter" idx="10"/>
          </p:nvPr>
        </p:nvSpPr>
        <p:spPr/>
        <p:txBody>
          <a:bodyPr/>
          <a:lstStyle>
            <a:lvl1pPr>
              <a:defRPr/>
            </a:lvl1pPr>
          </a:lstStyle>
          <a:p>
            <a:pPr>
              <a:defRPr/>
            </a:pPr>
            <a:r>
              <a:rPr lang="en-US" dirty="0"/>
              <a:t>CPUC Stakeholder Meeting</a:t>
            </a:r>
          </a:p>
        </p:txBody>
      </p:sp>
      <p:sp>
        <p:nvSpPr>
          <p:cNvPr id="9" name="Slide Number Placeholder 5"/>
          <p:cNvSpPr>
            <a:spLocks noGrp="1"/>
          </p:cNvSpPr>
          <p:nvPr>
            <p:ph type="sldNum" sz="quarter" idx="11"/>
          </p:nvPr>
        </p:nvSpPr>
        <p:spPr/>
        <p:txBody>
          <a:bodyPr/>
          <a:lstStyle>
            <a:lvl1pPr>
              <a:defRPr/>
            </a:lvl1pPr>
          </a:lstStyle>
          <a:p>
            <a:pPr>
              <a:defRPr/>
            </a:pPr>
            <a:fld id="{5233A1AA-C032-4449-8476-4B1706E764B3}" type="slidenum">
              <a:rPr lang="en-US"/>
              <a:pPr>
                <a:defRPr/>
              </a:pPr>
              <a:t>‹#›</a:t>
            </a:fld>
            <a:endParaRPr lang="en-US" dirty="0"/>
          </a:p>
        </p:txBody>
      </p:sp>
      <p:cxnSp>
        <p:nvCxnSpPr>
          <p:cNvPr id="14" name="Straight Connector 13"/>
          <p:cNvCxnSpPr/>
          <p:nvPr userDrawn="1"/>
        </p:nvCxnSpPr>
        <p:spPr>
          <a:xfrm flipV="1">
            <a:off x="10878784" y="6270626"/>
            <a:ext cx="0" cy="339725"/>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4" name="Content Placeholder 3"/>
          <p:cNvSpPr>
            <a:spLocks noGrp="1"/>
          </p:cNvSpPr>
          <p:nvPr>
            <p:ph sz="quarter" idx="12"/>
          </p:nvPr>
        </p:nvSpPr>
        <p:spPr>
          <a:xfrm>
            <a:off x="609600" y="1246188"/>
            <a:ext cx="10972800" cy="4500562"/>
          </a:xfrm>
        </p:spPr>
        <p:txBody>
          <a:bodyPr/>
          <a:lstStyle>
            <a:lvl2pPr>
              <a:buClr>
                <a:schemeClr val="accent4"/>
              </a:buClr>
              <a:defRPr/>
            </a:lvl2pPr>
            <a:lvl3pPr>
              <a:buClr>
                <a:schemeClr val="accent2"/>
              </a:buClr>
              <a:defRPr/>
            </a:lvl3pPr>
            <a:lvl4pPr>
              <a:buClr>
                <a:schemeClr val="accent2">
                  <a:lumMod val="40000"/>
                  <a:lumOff val="60000"/>
                </a:schemeClr>
              </a:buClr>
              <a:defRPr/>
            </a:lvl4pPr>
            <a:lvl5pPr>
              <a:buClr>
                <a:srgbClr val="9999FF"/>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987250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ingle Col List, Border LB w-lin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srcRect/>
          <a:stretch/>
        </p:blipFill>
        <p:spPr>
          <a:xfrm>
            <a:off x="1525" y="0"/>
            <a:ext cx="12188950" cy="6857999"/>
          </a:xfrm>
          <a:prstGeom prst="rect">
            <a:avLst/>
          </a:prstGeom>
        </p:spPr>
      </p:pic>
      <p:cxnSp>
        <p:nvCxnSpPr>
          <p:cNvPr id="6" name="Straight Connector 5"/>
          <p:cNvCxnSpPr/>
          <p:nvPr/>
        </p:nvCxnSpPr>
        <p:spPr>
          <a:xfrm>
            <a:off x="609600" y="1049338"/>
            <a:ext cx="10972800" cy="0"/>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609600" y="293457"/>
            <a:ext cx="10972800" cy="577851"/>
          </a:xfrm>
          <a:noFill/>
          <a:ln>
            <a:noFill/>
          </a:ln>
        </p:spPr>
        <p:txBody>
          <a:bodyPr vert="horz" wrap="square" lIns="0" tIns="0" rIns="9144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8" name="Footer Placeholder 4"/>
          <p:cNvSpPr>
            <a:spLocks noGrp="1"/>
          </p:cNvSpPr>
          <p:nvPr>
            <p:ph type="ftr" sz="quarter" idx="10"/>
          </p:nvPr>
        </p:nvSpPr>
        <p:spPr/>
        <p:txBody>
          <a:bodyPr/>
          <a:lstStyle>
            <a:lvl1pPr>
              <a:defRPr/>
            </a:lvl1pPr>
          </a:lstStyle>
          <a:p>
            <a:pPr>
              <a:defRPr/>
            </a:pPr>
            <a:r>
              <a:rPr lang="en-US" dirty="0"/>
              <a:t>CPUC Stakeholder Meeting</a:t>
            </a:r>
          </a:p>
        </p:txBody>
      </p:sp>
      <p:sp>
        <p:nvSpPr>
          <p:cNvPr id="9" name="Slide Number Placeholder 5"/>
          <p:cNvSpPr>
            <a:spLocks noGrp="1"/>
          </p:cNvSpPr>
          <p:nvPr>
            <p:ph type="sldNum" sz="quarter" idx="11"/>
          </p:nvPr>
        </p:nvSpPr>
        <p:spPr/>
        <p:txBody>
          <a:bodyPr/>
          <a:lstStyle>
            <a:lvl1pPr>
              <a:defRPr/>
            </a:lvl1pPr>
          </a:lstStyle>
          <a:p>
            <a:pPr>
              <a:defRPr/>
            </a:pPr>
            <a:fld id="{5233A1AA-C032-4449-8476-4B1706E764B3}" type="slidenum">
              <a:rPr lang="en-US"/>
              <a:pPr>
                <a:defRPr/>
              </a:pPr>
              <a:t>‹#›</a:t>
            </a:fld>
            <a:endParaRPr lang="en-US" dirty="0"/>
          </a:p>
        </p:txBody>
      </p:sp>
      <p:cxnSp>
        <p:nvCxnSpPr>
          <p:cNvPr id="14" name="Straight Connector 13"/>
          <p:cNvCxnSpPr/>
          <p:nvPr userDrawn="1"/>
        </p:nvCxnSpPr>
        <p:spPr>
          <a:xfrm flipV="1">
            <a:off x="10878784" y="6270626"/>
            <a:ext cx="0" cy="339725"/>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4" name="Content Placeholder 3"/>
          <p:cNvSpPr>
            <a:spLocks noGrp="1"/>
          </p:cNvSpPr>
          <p:nvPr>
            <p:ph sz="quarter" idx="12"/>
          </p:nvPr>
        </p:nvSpPr>
        <p:spPr>
          <a:xfrm>
            <a:off x="609600" y="1246188"/>
            <a:ext cx="10972800" cy="4500562"/>
          </a:xfrm>
        </p:spPr>
        <p:txBody>
          <a:bodyPr/>
          <a:lstStyle>
            <a:lvl2pPr>
              <a:buClr>
                <a:schemeClr val="accent4"/>
              </a:buClr>
              <a:defRPr/>
            </a:lvl2pPr>
            <a:lvl3pPr>
              <a:buClr>
                <a:schemeClr val="accent2"/>
              </a:buClr>
              <a:defRPr/>
            </a:lvl3pPr>
            <a:lvl4pPr>
              <a:buClr>
                <a:schemeClr val="accent2">
                  <a:lumMod val="40000"/>
                  <a:lumOff val="60000"/>
                </a:schemeClr>
              </a:buClr>
              <a:defRPr/>
            </a:lvl4pPr>
            <a:lvl5pPr>
              <a:buClr>
                <a:srgbClr val="9999FF"/>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482356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ingle Col List, Top Border LB-no lin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srcRect/>
          <a:stretch/>
        </p:blipFill>
        <p:spPr>
          <a:xfrm>
            <a:off x="1525" y="0"/>
            <a:ext cx="12188950" cy="6857999"/>
          </a:xfrm>
          <a:prstGeom prst="rect">
            <a:avLst/>
          </a:prstGeom>
        </p:spPr>
      </p:pic>
      <p:sp>
        <p:nvSpPr>
          <p:cNvPr id="2" name="Title 1"/>
          <p:cNvSpPr>
            <a:spLocks noGrp="1"/>
          </p:cNvSpPr>
          <p:nvPr>
            <p:ph type="title"/>
          </p:nvPr>
        </p:nvSpPr>
        <p:spPr>
          <a:xfrm>
            <a:off x="609600" y="293457"/>
            <a:ext cx="10972800" cy="577851"/>
          </a:xfrm>
          <a:noFill/>
          <a:ln>
            <a:noFill/>
          </a:ln>
        </p:spPr>
        <p:txBody>
          <a:bodyPr vert="horz" wrap="square" lIns="0" tIns="0" rIns="9144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8" name="Footer Placeholder 4"/>
          <p:cNvSpPr>
            <a:spLocks noGrp="1"/>
          </p:cNvSpPr>
          <p:nvPr>
            <p:ph type="ftr" sz="quarter" idx="10"/>
          </p:nvPr>
        </p:nvSpPr>
        <p:spPr/>
        <p:txBody>
          <a:bodyPr/>
          <a:lstStyle>
            <a:lvl1pPr>
              <a:defRPr/>
            </a:lvl1pPr>
          </a:lstStyle>
          <a:p>
            <a:pPr>
              <a:defRPr/>
            </a:pPr>
            <a:r>
              <a:rPr lang="en-US" dirty="0"/>
              <a:t>CPUC Stakeholder Meeting</a:t>
            </a:r>
          </a:p>
        </p:txBody>
      </p:sp>
      <p:sp>
        <p:nvSpPr>
          <p:cNvPr id="9" name="Slide Number Placeholder 5"/>
          <p:cNvSpPr>
            <a:spLocks noGrp="1"/>
          </p:cNvSpPr>
          <p:nvPr>
            <p:ph type="sldNum" sz="quarter" idx="11"/>
          </p:nvPr>
        </p:nvSpPr>
        <p:spPr/>
        <p:txBody>
          <a:bodyPr/>
          <a:lstStyle>
            <a:lvl1pPr>
              <a:defRPr/>
            </a:lvl1pPr>
          </a:lstStyle>
          <a:p>
            <a:pPr>
              <a:defRPr/>
            </a:pPr>
            <a:fld id="{5233A1AA-C032-4449-8476-4B1706E764B3}" type="slidenum">
              <a:rPr lang="en-US"/>
              <a:pPr>
                <a:defRPr/>
              </a:pPr>
              <a:t>‹#›</a:t>
            </a:fld>
            <a:endParaRPr lang="en-US" dirty="0"/>
          </a:p>
        </p:txBody>
      </p:sp>
      <p:cxnSp>
        <p:nvCxnSpPr>
          <p:cNvPr id="14" name="Straight Connector 13"/>
          <p:cNvCxnSpPr/>
          <p:nvPr userDrawn="1"/>
        </p:nvCxnSpPr>
        <p:spPr>
          <a:xfrm flipV="1">
            <a:off x="10878784" y="6270626"/>
            <a:ext cx="0" cy="339725"/>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4" name="Content Placeholder 3"/>
          <p:cNvSpPr>
            <a:spLocks noGrp="1"/>
          </p:cNvSpPr>
          <p:nvPr>
            <p:ph sz="quarter" idx="12"/>
          </p:nvPr>
        </p:nvSpPr>
        <p:spPr>
          <a:xfrm>
            <a:off x="609600" y="1246188"/>
            <a:ext cx="10972800" cy="4500562"/>
          </a:xfrm>
        </p:spPr>
        <p:txBody>
          <a:bodyPr/>
          <a:lstStyle>
            <a:lvl2pPr>
              <a:buClr>
                <a:schemeClr val="accent4"/>
              </a:buClr>
              <a:defRPr/>
            </a:lvl2pPr>
            <a:lvl3pPr>
              <a:buClr>
                <a:schemeClr val="accent2"/>
              </a:buClr>
              <a:defRPr/>
            </a:lvl3pPr>
            <a:lvl4pPr>
              <a:buClr>
                <a:schemeClr val="accent2">
                  <a:lumMod val="40000"/>
                  <a:lumOff val="60000"/>
                </a:schemeClr>
              </a:buClr>
              <a:defRPr/>
            </a:lvl4pPr>
            <a:lvl5pPr>
              <a:buClr>
                <a:srgbClr val="9999FF"/>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329744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ingle Col List, Top STR-DB-no lin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srcRect/>
          <a:stretch/>
        </p:blipFill>
        <p:spPr>
          <a:xfrm>
            <a:off x="1525" y="858"/>
            <a:ext cx="12188950" cy="6856283"/>
          </a:xfrm>
          <a:prstGeom prst="rect">
            <a:avLst/>
          </a:prstGeom>
        </p:spPr>
      </p:pic>
      <p:sp>
        <p:nvSpPr>
          <p:cNvPr id="2" name="Title 1"/>
          <p:cNvSpPr>
            <a:spLocks noGrp="1"/>
          </p:cNvSpPr>
          <p:nvPr>
            <p:ph type="title"/>
          </p:nvPr>
        </p:nvSpPr>
        <p:spPr>
          <a:xfrm>
            <a:off x="609600" y="293457"/>
            <a:ext cx="10972800" cy="577851"/>
          </a:xfrm>
          <a:noFill/>
          <a:ln>
            <a:noFill/>
          </a:ln>
        </p:spPr>
        <p:txBody>
          <a:bodyPr vert="horz" wrap="square" lIns="0" tIns="0" rIns="9144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8" name="Footer Placeholder 4"/>
          <p:cNvSpPr>
            <a:spLocks noGrp="1"/>
          </p:cNvSpPr>
          <p:nvPr>
            <p:ph type="ftr" sz="quarter" idx="10"/>
          </p:nvPr>
        </p:nvSpPr>
        <p:spPr/>
        <p:txBody>
          <a:bodyPr/>
          <a:lstStyle>
            <a:lvl1pPr>
              <a:defRPr/>
            </a:lvl1pPr>
          </a:lstStyle>
          <a:p>
            <a:pPr>
              <a:defRPr/>
            </a:pPr>
            <a:r>
              <a:rPr lang="en-US" dirty="0"/>
              <a:t>CPUC Stakeholder Meeting</a:t>
            </a:r>
          </a:p>
        </p:txBody>
      </p:sp>
      <p:sp>
        <p:nvSpPr>
          <p:cNvPr id="9" name="Slide Number Placeholder 5"/>
          <p:cNvSpPr>
            <a:spLocks noGrp="1"/>
          </p:cNvSpPr>
          <p:nvPr>
            <p:ph type="sldNum" sz="quarter" idx="11"/>
          </p:nvPr>
        </p:nvSpPr>
        <p:spPr/>
        <p:txBody>
          <a:bodyPr/>
          <a:lstStyle>
            <a:lvl1pPr>
              <a:defRPr/>
            </a:lvl1pPr>
          </a:lstStyle>
          <a:p>
            <a:pPr>
              <a:defRPr/>
            </a:pPr>
            <a:fld id="{5233A1AA-C032-4449-8476-4B1706E764B3}" type="slidenum">
              <a:rPr lang="en-US"/>
              <a:pPr>
                <a:defRPr/>
              </a:pPr>
              <a:t>‹#›</a:t>
            </a:fld>
            <a:endParaRPr lang="en-US" dirty="0"/>
          </a:p>
        </p:txBody>
      </p:sp>
      <p:cxnSp>
        <p:nvCxnSpPr>
          <p:cNvPr id="14" name="Straight Connector 13"/>
          <p:cNvCxnSpPr/>
          <p:nvPr userDrawn="1"/>
        </p:nvCxnSpPr>
        <p:spPr>
          <a:xfrm flipV="1">
            <a:off x="10878784" y="6270626"/>
            <a:ext cx="0" cy="339725"/>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4" name="Content Placeholder 3"/>
          <p:cNvSpPr>
            <a:spLocks noGrp="1"/>
          </p:cNvSpPr>
          <p:nvPr>
            <p:ph sz="quarter" idx="12"/>
          </p:nvPr>
        </p:nvSpPr>
        <p:spPr>
          <a:xfrm>
            <a:off x="609600" y="1246188"/>
            <a:ext cx="10972800" cy="4500562"/>
          </a:xfrm>
        </p:spPr>
        <p:txBody>
          <a:bodyPr/>
          <a:lstStyle>
            <a:lvl2pPr>
              <a:buClr>
                <a:schemeClr val="accent4"/>
              </a:buClr>
              <a:defRPr/>
            </a:lvl2pPr>
            <a:lvl3pPr>
              <a:buClr>
                <a:schemeClr val="accent2"/>
              </a:buClr>
              <a:defRPr/>
            </a:lvl3pPr>
            <a:lvl4pPr>
              <a:buClr>
                <a:schemeClr val="accent2">
                  <a:lumMod val="40000"/>
                  <a:lumOff val="60000"/>
                </a:schemeClr>
              </a:buClr>
              <a:defRPr/>
            </a:lvl4pPr>
            <a:lvl5pPr>
              <a:buClr>
                <a:srgbClr val="9999FF"/>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788976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ingle Col List, Top STR-DB- lin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srcRect/>
          <a:stretch/>
        </p:blipFill>
        <p:spPr>
          <a:xfrm>
            <a:off x="1525" y="858"/>
            <a:ext cx="12188950" cy="6856283"/>
          </a:xfrm>
          <a:prstGeom prst="rect">
            <a:avLst/>
          </a:prstGeom>
        </p:spPr>
      </p:pic>
      <p:sp>
        <p:nvSpPr>
          <p:cNvPr id="2" name="Title 1"/>
          <p:cNvSpPr>
            <a:spLocks noGrp="1"/>
          </p:cNvSpPr>
          <p:nvPr>
            <p:ph type="title"/>
          </p:nvPr>
        </p:nvSpPr>
        <p:spPr>
          <a:xfrm>
            <a:off x="609600" y="293457"/>
            <a:ext cx="10972800" cy="577851"/>
          </a:xfrm>
          <a:noFill/>
          <a:ln>
            <a:noFill/>
          </a:ln>
        </p:spPr>
        <p:txBody>
          <a:bodyPr vert="horz" wrap="square" lIns="0" tIns="0" rIns="9144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8" name="Footer Placeholder 4"/>
          <p:cNvSpPr>
            <a:spLocks noGrp="1"/>
          </p:cNvSpPr>
          <p:nvPr>
            <p:ph type="ftr" sz="quarter" idx="10"/>
          </p:nvPr>
        </p:nvSpPr>
        <p:spPr/>
        <p:txBody>
          <a:bodyPr/>
          <a:lstStyle>
            <a:lvl1pPr>
              <a:defRPr/>
            </a:lvl1pPr>
          </a:lstStyle>
          <a:p>
            <a:pPr>
              <a:defRPr/>
            </a:pPr>
            <a:r>
              <a:rPr lang="en-US" dirty="0"/>
              <a:t>CPUC Stakeholder Meeting</a:t>
            </a:r>
          </a:p>
        </p:txBody>
      </p:sp>
      <p:sp>
        <p:nvSpPr>
          <p:cNvPr id="9" name="Slide Number Placeholder 5"/>
          <p:cNvSpPr>
            <a:spLocks noGrp="1"/>
          </p:cNvSpPr>
          <p:nvPr>
            <p:ph type="sldNum" sz="quarter" idx="11"/>
          </p:nvPr>
        </p:nvSpPr>
        <p:spPr/>
        <p:txBody>
          <a:bodyPr/>
          <a:lstStyle>
            <a:lvl1pPr>
              <a:defRPr/>
            </a:lvl1pPr>
          </a:lstStyle>
          <a:p>
            <a:pPr>
              <a:defRPr/>
            </a:pPr>
            <a:fld id="{5233A1AA-C032-4449-8476-4B1706E764B3}" type="slidenum">
              <a:rPr lang="en-US"/>
              <a:pPr>
                <a:defRPr/>
              </a:pPr>
              <a:t>‹#›</a:t>
            </a:fld>
            <a:endParaRPr lang="en-US" dirty="0"/>
          </a:p>
        </p:txBody>
      </p:sp>
      <p:cxnSp>
        <p:nvCxnSpPr>
          <p:cNvPr id="14" name="Straight Connector 13"/>
          <p:cNvCxnSpPr/>
          <p:nvPr userDrawn="1"/>
        </p:nvCxnSpPr>
        <p:spPr>
          <a:xfrm flipV="1">
            <a:off x="10878784" y="6270626"/>
            <a:ext cx="0" cy="339725"/>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4" name="Content Placeholder 3"/>
          <p:cNvSpPr>
            <a:spLocks noGrp="1"/>
          </p:cNvSpPr>
          <p:nvPr>
            <p:ph sz="quarter" idx="12"/>
          </p:nvPr>
        </p:nvSpPr>
        <p:spPr>
          <a:xfrm>
            <a:off x="609600" y="1246188"/>
            <a:ext cx="10972800" cy="4500562"/>
          </a:xfrm>
        </p:spPr>
        <p:txBody>
          <a:bodyPr/>
          <a:lstStyle>
            <a:lvl2pPr>
              <a:buClr>
                <a:schemeClr val="accent4"/>
              </a:buClr>
              <a:defRPr/>
            </a:lvl2pPr>
            <a:lvl3pPr>
              <a:buClr>
                <a:schemeClr val="accent2"/>
              </a:buClr>
              <a:defRPr/>
            </a:lvl3pPr>
            <a:lvl4pPr>
              <a:buClr>
                <a:schemeClr val="accent2">
                  <a:lumMod val="40000"/>
                  <a:lumOff val="60000"/>
                </a:schemeClr>
              </a:buClr>
              <a:defRPr/>
            </a:lvl4pPr>
            <a:lvl5pPr>
              <a:buClr>
                <a:srgbClr val="9999FF"/>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1" name="Straight Connector 10">
            <a:extLst>
              <a:ext uri="{FF2B5EF4-FFF2-40B4-BE49-F238E27FC236}">
                <a16:creationId xmlns:a16="http://schemas.microsoft.com/office/drawing/2014/main" id="{35243425-E281-4758-829E-4BAD36C028E3}"/>
              </a:ext>
            </a:extLst>
          </p:cNvPr>
          <p:cNvCxnSpPr/>
          <p:nvPr userDrawn="1"/>
        </p:nvCxnSpPr>
        <p:spPr>
          <a:xfrm>
            <a:off x="609600" y="1049338"/>
            <a:ext cx="10972800" cy="0"/>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7508369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ingle Col List, Top STR LB--no lin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srcRect/>
          <a:stretch/>
        </p:blipFill>
        <p:spPr>
          <a:xfrm>
            <a:off x="1526" y="858"/>
            <a:ext cx="12188948" cy="6856283"/>
          </a:xfrm>
          <a:prstGeom prst="rect">
            <a:avLst/>
          </a:prstGeom>
        </p:spPr>
      </p:pic>
      <p:sp>
        <p:nvSpPr>
          <p:cNvPr id="2" name="Title 1"/>
          <p:cNvSpPr>
            <a:spLocks noGrp="1"/>
          </p:cNvSpPr>
          <p:nvPr>
            <p:ph type="title"/>
          </p:nvPr>
        </p:nvSpPr>
        <p:spPr>
          <a:xfrm>
            <a:off x="609600" y="293457"/>
            <a:ext cx="10972800" cy="577851"/>
          </a:xfrm>
          <a:noFill/>
          <a:ln>
            <a:noFill/>
          </a:ln>
        </p:spPr>
        <p:txBody>
          <a:bodyPr vert="horz" wrap="square" lIns="0" tIns="0" rIns="9144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8" name="Footer Placeholder 4"/>
          <p:cNvSpPr>
            <a:spLocks noGrp="1"/>
          </p:cNvSpPr>
          <p:nvPr>
            <p:ph type="ftr" sz="quarter" idx="10"/>
          </p:nvPr>
        </p:nvSpPr>
        <p:spPr/>
        <p:txBody>
          <a:bodyPr/>
          <a:lstStyle>
            <a:lvl1pPr>
              <a:defRPr/>
            </a:lvl1pPr>
          </a:lstStyle>
          <a:p>
            <a:pPr>
              <a:defRPr/>
            </a:pPr>
            <a:r>
              <a:rPr lang="en-US" dirty="0"/>
              <a:t>CPUC Stakeholder Meeting</a:t>
            </a:r>
          </a:p>
        </p:txBody>
      </p:sp>
      <p:sp>
        <p:nvSpPr>
          <p:cNvPr id="9" name="Slide Number Placeholder 5"/>
          <p:cNvSpPr>
            <a:spLocks noGrp="1"/>
          </p:cNvSpPr>
          <p:nvPr>
            <p:ph type="sldNum" sz="quarter" idx="11"/>
          </p:nvPr>
        </p:nvSpPr>
        <p:spPr/>
        <p:txBody>
          <a:bodyPr/>
          <a:lstStyle>
            <a:lvl1pPr>
              <a:defRPr/>
            </a:lvl1pPr>
          </a:lstStyle>
          <a:p>
            <a:pPr>
              <a:defRPr/>
            </a:pPr>
            <a:fld id="{5233A1AA-C032-4449-8476-4B1706E764B3}" type="slidenum">
              <a:rPr lang="en-US"/>
              <a:pPr>
                <a:defRPr/>
              </a:pPr>
              <a:t>‹#›</a:t>
            </a:fld>
            <a:endParaRPr lang="en-US" dirty="0"/>
          </a:p>
        </p:txBody>
      </p:sp>
      <p:cxnSp>
        <p:nvCxnSpPr>
          <p:cNvPr id="14" name="Straight Connector 13"/>
          <p:cNvCxnSpPr/>
          <p:nvPr userDrawn="1"/>
        </p:nvCxnSpPr>
        <p:spPr>
          <a:xfrm flipV="1">
            <a:off x="10878784" y="6270626"/>
            <a:ext cx="0" cy="339725"/>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4" name="Content Placeholder 3"/>
          <p:cNvSpPr>
            <a:spLocks noGrp="1"/>
          </p:cNvSpPr>
          <p:nvPr>
            <p:ph sz="quarter" idx="12"/>
          </p:nvPr>
        </p:nvSpPr>
        <p:spPr>
          <a:xfrm>
            <a:off x="609600" y="1246188"/>
            <a:ext cx="10972800" cy="4500562"/>
          </a:xfrm>
        </p:spPr>
        <p:txBody>
          <a:bodyPr/>
          <a:lstStyle>
            <a:lvl2pPr>
              <a:buClr>
                <a:schemeClr val="accent4"/>
              </a:buClr>
              <a:defRPr/>
            </a:lvl2pPr>
            <a:lvl3pPr>
              <a:buClr>
                <a:schemeClr val="accent2"/>
              </a:buClr>
              <a:defRPr/>
            </a:lvl3pPr>
            <a:lvl4pPr>
              <a:buClr>
                <a:schemeClr val="accent2">
                  <a:lumMod val="40000"/>
                  <a:lumOff val="60000"/>
                </a:schemeClr>
              </a:buClr>
              <a:defRPr/>
            </a:lvl4pPr>
            <a:lvl5pPr>
              <a:buClr>
                <a:srgbClr val="9999FF"/>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9990201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ingle Col List, Top STR LB-- lin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srcRect/>
          <a:stretch/>
        </p:blipFill>
        <p:spPr>
          <a:xfrm>
            <a:off x="1526" y="858"/>
            <a:ext cx="12188948" cy="6856283"/>
          </a:xfrm>
          <a:prstGeom prst="rect">
            <a:avLst/>
          </a:prstGeom>
        </p:spPr>
      </p:pic>
      <p:sp>
        <p:nvSpPr>
          <p:cNvPr id="2" name="Title 1"/>
          <p:cNvSpPr>
            <a:spLocks noGrp="1"/>
          </p:cNvSpPr>
          <p:nvPr>
            <p:ph type="title"/>
          </p:nvPr>
        </p:nvSpPr>
        <p:spPr>
          <a:xfrm>
            <a:off x="609600" y="293457"/>
            <a:ext cx="10972800" cy="577851"/>
          </a:xfrm>
          <a:noFill/>
          <a:ln>
            <a:noFill/>
          </a:ln>
        </p:spPr>
        <p:txBody>
          <a:bodyPr vert="horz" wrap="square" lIns="0" tIns="0" rIns="9144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8" name="Footer Placeholder 4"/>
          <p:cNvSpPr>
            <a:spLocks noGrp="1"/>
          </p:cNvSpPr>
          <p:nvPr>
            <p:ph type="ftr" sz="quarter" idx="10"/>
          </p:nvPr>
        </p:nvSpPr>
        <p:spPr/>
        <p:txBody>
          <a:bodyPr/>
          <a:lstStyle>
            <a:lvl1pPr>
              <a:defRPr/>
            </a:lvl1pPr>
          </a:lstStyle>
          <a:p>
            <a:pPr>
              <a:defRPr/>
            </a:pPr>
            <a:r>
              <a:rPr lang="en-US" dirty="0"/>
              <a:t>CPUC Stakeholder Meeting</a:t>
            </a:r>
          </a:p>
        </p:txBody>
      </p:sp>
      <p:sp>
        <p:nvSpPr>
          <p:cNvPr id="9" name="Slide Number Placeholder 5"/>
          <p:cNvSpPr>
            <a:spLocks noGrp="1"/>
          </p:cNvSpPr>
          <p:nvPr>
            <p:ph type="sldNum" sz="quarter" idx="11"/>
          </p:nvPr>
        </p:nvSpPr>
        <p:spPr/>
        <p:txBody>
          <a:bodyPr/>
          <a:lstStyle>
            <a:lvl1pPr>
              <a:defRPr/>
            </a:lvl1pPr>
          </a:lstStyle>
          <a:p>
            <a:pPr>
              <a:defRPr/>
            </a:pPr>
            <a:fld id="{5233A1AA-C032-4449-8476-4B1706E764B3}" type="slidenum">
              <a:rPr lang="en-US"/>
              <a:pPr>
                <a:defRPr/>
              </a:pPr>
              <a:t>‹#›</a:t>
            </a:fld>
            <a:endParaRPr lang="en-US" dirty="0"/>
          </a:p>
        </p:txBody>
      </p:sp>
      <p:cxnSp>
        <p:nvCxnSpPr>
          <p:cNvPr id="14" name="Straight Connector 13"/>
          <p:cNvCxnSpPr/>
          <p:nvPr userDrawn="1"/>
        </p:nvCxnSpPr>
        <p:spPr>
          <a:xfrm flipV="1">
            <a:off x="10878784" y="6270626"/>
            <a:ext cx="0" cy="339725"/>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4" name="Content Placeholder 3"/>
          <p:cNvSpPr>
            <a:spLocks noGrp="1"/>
          </p:cNvSpPr>
          <p:nvPr>
            <p:ph sz="quarter" idx="12"/>
          </p:nvPr>
        </p:nvSpPr>
        <p:spPr>
          <a:xfrm>
            <a:off x="609600" y="1246188"/>
            <a:ext cx="10972800" cy="4500562"/>
          </a:xfrm>
        </p:spPr>
        <p:txBody>
          <a:bodyPr/>
          <a:lstStyle>
            <a:lvl2pPr>
              <a:buClr>
                <a:schemeClr val="accent4"/>
              </a:buClr>
              <a:defRPr/>
            </a:lvl2pPr>
            <a:lvl3pPr>
              <a:buClr>
                <a:schemeClr val="accent2"/>
              </a:buClr>
              <a:defRPr/>
            </a:lvl3pPr>
            <a:lvl4pPr>
              <a:buClr>
                <a:schemeClr val="accent2">
                  <a:lumMod val="40000"/>
                  <a:lumOff val="60000"/>
                </a:schemeClr>
              </a:buClr>
              <a:defRPr/>
            </a:lvl4pPr>
            <a:lvl5pPr>
              <a:buClr>
                <a:srgbClr val="9999FF"/>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1" name="Straight Connector 10">
            <a:extLst>
              <a:ext uri="{FF2B5EF4-FFF2-40B4-BE49-F238E27FC236}">
                <a16:creationId xmlns:a16="http://schemas.microsoft.com/office/drawing/2014/main" id="{F0DA5772-110B-4FB0-808C-EA20413C667D}"/>
              </a:ext>
            </a:extLst>
          </p:cNvPr>
          <p:cNvCxnSpPr/>
          <p:nvPr userDrawn="1"/>
        </p:nvCxnSpPr>
        <p:spPr>
          <a:xfrm>
            <a:off x="609600" y="1049338"/>
            <a:ext cx="10972800" cy="0"/>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7447505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Navy 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A1D8746-CF82-422D-BEBF-01503D8F8F00}"/>
              </a:ext>
            </a:extLst>
          </p:cNvPr>
          <p:cNvPicPr>
            <a:picLocks noChangeAspect="1"/>
          </p:cNvPicPr>
          <p:nvPr userDrawn="1"/>
        </p:nvPicPr>
        <p:blipFill>
          <a:blip r:embed="rId2"/>
          <a:srcRect/>
          <a:stretch/>
        </p:blipFill>
        <p:spPr>
          <a:xfrm>
            <a:off x="3048" y="1"/>
            <a:ext cx="12188952" cy="6857999"/>
          </a:xfrm>
          <a:prstGeom prst="rect">
            <a:avLst/>
          </a:prstGeom>
        </p:spPr>
      </p:pic>
      <p:sp>
        <p:nvSpPr>
          <p:cNvPr id="6" name="Title 1"/>
          <p:cNvSpPr>
            <a:spLocks noGrp="1"/>
          </p:cNvSpPr>
          <p:nvPr>
            <p:ph type="ctrTitle"/>
          </p:nvPr>
        </p:nvSpPr>
        <p:spPr>
          <a:xfrm>
            <a:off x="926943" y="2160119"/>
            <a:ext cx="10363200" cy="1470025"/>
          </a:xfrm>
          <a:noFill/>
          <a:ln>
            <a:noFill/>
          </a:ln>
        </p:spPr>
        <p:txBody>
          <a:bodyPr>
            <a:normAutofit/>
          </a:bodyPr>
          <a:lstStyle>
            <a:lvl1pPr algn="ctr">
              <a:defRPr sz="4400" b="0" cap="all" spc="0" baseline="0">
                <a:ln w="12700">
                  <a:noFill/>
                  <a:prstDash val="solid"/>
                </a:ln>
                <a:solidFill>
                  <a:schemeClr val="bg1"/>
                </a:solidFill>
                <a:effectLst/>
              </a:defRPr>
            </a:lvl1pPr>
          </a:lstStyle>
          <a:p>
            <a:r>
              <a:rPr lang="en-US"/>
              <a:t>Click to edit Master title style</a:t>
            </a:r>
            <a:endParaRPr lang="en-US" dirty="0"/>
          </a:p>
        </p:txBody>
      </p:sp>
      <p:sp>
        <p:nvSpPr>
          <p:cNvPr id="7" name="Subtitle 2"/>
          <p:cNvSpPr>
            <a:spLocks noGrp="1"/>
          </p:cNvSpPr>
          <p:nvPr>
            <p:ph type="subTitle" idx="1"/>
          </p:nvPr>
        </p:nvSpPr>
        <p:spPr>
          <a:xfrm>
            <a:off x="1828800" y="4062590"/>
            <a:ext cx="8534400" cy="1752600"/>
          </a:xfrm>
          <a:noFill/>
        </p:spPr>
        <p:txBody>
          <a:bodyPr>
            <a:normAutofit/>
          </a:bodyPr>
          <a:lstStyle>
            <a:lvl1pPr marL="0" indent="0" algn="ctr">
              <a:buNone/>
              <a:defRPr sz="32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87045831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Light-Blue 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A1D8746-CF82-422D-BEBF-01503D8F8F00}"/>
              </a:ext>
            </a:extLst>
          </p:cNvPr>
          <p:cNvPicPr>
            <a:picLocks noChangeAspect="1"/>
          </p:cNvPicPr>
          <p:nvPr userDrawn="1"/>
        </p:nvPicPr>
        <p:blipFill>
          <a:blip r:embed="rId2"/>
          <a:srcRect/>
          <a:stretch/>
        </p:blipFill>
        <p:spPr>
          <a:xfrm>
            <a:off x="3049" y="1"/>
            <a:ext cx="12188950" cy="6857999"/>
          </a:xfrm>
          <a:prstGeom prst="rect">
            <a:avLst/>
          </a:prstGeom>
        </p:spPr>
      </p:pic>
      <p:sp>
        <p:nvSpPr>
          <p:cNvPr id="6" name="Title 1"/>
          <p:cNvSpPr>
            <a:spLocks noGrp="1"/>
          </p:cNvSpPr>
          <p:nvPr>
            <p:ph type="ctrTitle"/>
          </p:nvPr>
        </p:nvSpPr>
        <p:spPr>
          <a:xfrm>
            <a:off x="926943" y="2160119"/>
            <a:ext cx="10363200" cy="1470025"/>
          </a:xfrm>
          <a:noFill/>
          <a:ln>
            <a:noFill/>
          </a:ln>
        </p:spPr>
        <p:txBody>
          <a:bodyPr>
            <a:normAutofit/>
          </a:bodyPr>
          <a:lstStyle>
            <a:lvl1pPr algn="ctr">
              <a:defRPr sz="4400" b="0" cap="all" spc="0" baseline="0">
                <a:ln w="12700">
                  <a:noFill/>
                  <a:prstDash val="solid"/>
                </a:ln>
                <a:solidFill>
                  <a:schemeClr val="bg1"/>
                </a:solidFill>
                <a:effectLst/>
              </a:defRPr>
            </a:lvl1pPr>
          </a:lstStyle>
          <a:p>
            <a:r>
              <a:rPr lang="en-US"/>
              <a:t>Click to edit Master title style</a:t>
            </a:r>
            <a:endParaRPr lang="en-US" dirty="0"/>
          </a:p>
        </p:txBody>
      </p:sp>
      <p:sp>
        <p:nvSpPr>
          <p:cNvPr id="7" name="Subtitle 2"/>
          <p:cNvSpPr>
            <a:spLocks noGrp="1"/>
          </p:cNvSpPr>
          <p:nvPr>
            <p:ph type="subTitle" idx="1"/>
          </p:nvPr>
        </p:nvSpPr>
        <p:spPr>
          <a:xfrm>
            <a:off x="1828800" y="4062590"/>
            <a:ext cx="8534400" cy="1752600"/>
          </a:xfrm>
          <a:noFill/>
        </p:spPr>
        <p:txBody>
          <a:bodyPr>
            <a:normAutofit/>
          </a:bodyPr>
          <a:lstStyle>
            <a:lvl1pPr marL="0" indent="0" algn="ctr">
              <a:buNone/>
              <a:defRPr sz="32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84358056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Navy-logomark Section Divid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rcRect/>
          <a:stretch/>
        </p:blipFill>
        <p:spPr>
          <a:xfrm>
            <a:off x="1524" y="0"/>
            <a:ext cx="12188952" cy="6858000"/>
          </a:xfrm>
          <a:prstGeom prst="rect">
            <a:avLst/>
          </a:prstGeom>
        </p:spPr>
      </p:pic>
      <p:sp>
        <p:nvSpPr>
          <p:cNvPr id="6" name="Title 1"/>
          <p:cNvSpPr>
            <a:spLocks noGrp="1"/>
          </p:cNvSpPr>
          <p:nvPr>
            <p:ph type="ctrTitle"/>
          </p:nvPr>
        </p:nvSpPr>
        <p:spPr>
          <a:xfrm>
            <a:off x="926943" y="1962498"/>
            <a:ext cx="10363200" cy="970801"/>
          </a:xfrm>
          <a:noFill/>
          <a:ln>
            <a:noFill/>
          </a:ln>
        </p:spPr>
        <p:txBody>
          <a:bodyPr>
            <a:normAutofit/>
          </a:bodyPr>
          <a:lstStyle>
            <a:lvl1pPr algn="ctr">
              <a:defRPr sz="3600" b="1" cap="none" spc="0" baseline="0">
                <a:ln w="12700">
                  <a:noFill/>
                  <a:prstDash val="solid"/>
                </a:ln>
                <a:solidFill>
                  <a:schemeClr val="bg1"/>
                </a:solidFill>
                <a:effectLst/>
              </a:defRPr>
            </a:lvl1pPr>
          </a:lstStyle>
          <a:p>
            <a:r>
              <a:rPr lang="en-US"/>
              <a:t>Click to edit Master title style</a:t>
            </a:r>
            <a:endParaRPr lang="en-US" dirty="0"/>
          </a:p>
        </p:txBody>
      </p:sp>
      <p:sp>
        <p:nvSpPr>
          <p:cNvPr id="7" name="Subtitle 2"/>
          <p:cNvSpPr>
            <a:spLocks noGrp="1"/>
          </p:cNvSpPr>
          <p:nvPr>
            <p:ph type="subTitle" idx="1"/>
          </p:nvPr>
        </p:nvSpPr>
        <p:spPr>
          <a:xfrm>
            <a:off x="1828800" y="3429000"/>
            <a:ext cx="8534400" cy="1110226"/>
          </a:xfrm>
          <a:noFill/>
        </p:spPr>
        <p:txBody>
          <a:bodyPr>
            <a:normAutofit/>
          </a:bodyPr>
          <a:lstStyle>
            <a:lvl1pPr marL="0" indent="0" algn="ctr">
              <a:buNone/>
              <a:defRPr sz="32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0396056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sz="half" idx="1"/>
          </p:nvPr>
        </p:nvSpPr>
        <p:spPr>
          <a:xfrm>
            <a:off x="1143000" y="2057399"/>
            <a:ext cx="4754880" cy="4023360"/>
          </a:xfrm>
        </p:spPr>
        <p:txBody>
          <a:bodyPr/>
          <a:lstStyle>
            <a:lvl1pPr>
              <a:defRPr sz="22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67612" y="2057400"/>
            <a:ext cx="4754880" cy="4023360"/>
          </a:xfrm>
        </p:spPr>
        <p:txBody>
          <a:bodyPr/>
          <a:lstStyle>
            <a:lvl1pPr>
              <a:defRPr sz="22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r>
              <a:rPr lang="en-US" dirty="0"/>
              <a:t>6/18/2021</a:t>
            </a:r>
          </a:p>
        </p:txBody>
      </p:sp>
      <p:sp>
        <p:nvSpPr>
          <p:cNvPr id="6" name="Footer Placeholder 5"/>
          <p:cNvSpPr>
            <a:spLocks noGrp="1"/>
          </p:cNvSpPr>
          <p:nvPr>
            <p:ph type="ftr" sz="quarter" idx="11"/>
          </p:nvPr>
        </p:nvSpPr>
        <p:spPr/>
        <p:txBody>
          <a:bodyPr/>
          <a:lstStyle/>
          <a:p>
            <a:r>
              <a:rPr lang="en-US" dirty="0"/>
              <a:t>IE Semi-Annual Report: June 18, 2021 All Hands Meeting</a:t>
            </a:r>
          </a:p>
        </p:txBody>
      </p:sp>
      <p:sp>
        <p:nvSpPr>
          <p:cNvPr id="7" name="Slide Number Placeholder 6"/>
          <p:cNvSpPr>
            <a:spLocks noGrp="1"/>
          </p:cNvSpPr>
          <p:nvPr>
            <p:ph type="sldNum" sz="quarter" idx="12"/>
          </p:nvPr>
        </p:nvSpPr>
        <p:spPr/>
        <p:txBody>
          <a:bodyPr/>
          <a:lstStyle/>
          <a:p>
            <a:fld id="{4FAB73BC-B049-4115-A692-8D63A059BFB8}" type="slidenum">
              <a:rPr lang="en-US"/>
              <a:t>‹#›</a:t>
            </a:fld>
            <a:endParaRPr lang="en-US" dirty="0"/>
          </a:p>
        </p:txBody>
      </p:sp>
    </p:spTree>
    <p:extLst>
      <p:ext uri="{BB962C8B-B14F-4D97-AF65-F5344CB8AC3E}">
        <p14:creationId xmlns:p14="http://schemas.microsoft.com/office/powerpoint/2010/main" val="423426774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light-blue-logomark- Section Divid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rcRect/>
          <a:stretch/>
        </p:blipFill>
        <p:spPr>
          <a:xfrm>
            <a:off x="1524" y="0"/>
            <a:ext cx="12188952" cy="6857999"/>
          </a:xfrm>
          <a:prstGeom prst="rect">
            <a:avLst/>
          </a:prstGeom>
        </p:spPr>
      </p:pic>
      <p:sp>
        <p:nvSpPr>
          <p:cNvPr id="6" name="Title 1"/>
          <p:cNvSpPr>
            <a:spLocks noGrp="1"/>
          </p:cNvSpPr>
          <p:nvPr>
            <p:ph type="ctrTitle"/>
          </p:nvPr>
        </p:nvSpPr>
        <p:spPr>
          <a:xfrm>
            <a:off x="926943" y="1962498"/>
            <a:ext cx="10363200" cy="970801"/>
          </a:xfrm>
          <a:noFill/>
          <a:ln>
            <a:noFill/>
          </a:ln>
        </p:spPr>
        <p:txBody>
          <a:bodyPr>
            <a:normAutofit/>
          </a:bodyPr>
          <a:lstStyle>
            <a:lvl1pPr algn="ctr">
              <a:defRPr sz="3600" b="1" cap="none" spc="0" baseline="0">
                <a:ln w="12700">
                  <a:noFill/>
                  <a:prstDash val="solid"/>
                </a:ln>
                <a:solidFill>
                  <a:schemeClr val="bg1"/>
                </a:solidFill>
                <a:effectLst/>
              </a:defRPr>
            </a:lvl1pPr>
          </a:lstStyle>
          <a:p>
            <a:r>
              <a:rPr lang="en-US"/>
              <a:t>Click to edit Master title style</a:t>
            </a:r>
            <a:endParaRPr lang="en-US" dirty="0"/>
          </a:p>
        </p:txBody>
      </p:sp>
      <p:sp>
        <p:nvSpPr>
          <p:cNvPr id="7" name="Subtitle 2"/>
          <p:cNvSpPr>
            <a:spLocks noGrp="1"/>
          </p:cNvSpPr>
          <p:nvPr>
            <p:ph type="subTitle" idx="1"/>
          </p:nvPr>
        </p:nvSpPr>
        <p:spPr>
          <a:xfrm>
            <a:off x="1828800" y="3429000"/>
            <a:ext cx="8534400" cy="1110226"/>
          </a:xfrm>
          <a:noFill/>
        </p:spPr>
        <p:txBody>
          <a:bodyPr>
            <a:normAutofit/>
          </a:bodyPr>
          <a:lstStyle>
            <a:lvl1pPr marL="0" indent="0" algn="ctr">
              <a:buNone/>
              <a:defRPr sz="32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99200040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ouble Col List, Bord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C9C9BB95-1AB8-4AC6-8D27-538DB55E7DCA}"/>
              </a:ext>
            </a:extLst>
          </p:cNvPr>
          <p:cNvPicPr>
            <a:picLocks noChangeAspect="1"/>
          </p:cNvPicPr>
          <p:nvPr userDrawn="1"/>
        </p:nvPicPr>
        <p:blipFill>
          <a:blip r:embed="rId2"/>
          <a:srcRect/>
          <a:stretch/>
        </p:blipFill>
        <p:spPr>
          <a:xfrm>
            <a:off x="1524" y="0"/>
            <a:ext cx="12188952" cy="6857999"/>
          </a:xfrm>
          <a:prstGeom prst="rect">
            <a:avLst/>
          </a:prstGeom>
        </p:spPr>
      </p:pic>
      <p:cxnSp>
        <p:nvCxnSpPr>
          <p:cNvPr id="7" name="Straight Connector 6"/>
          <p:cNvCxnSpPr/>
          <p:nvPr/>
        </p:nvCxnSpPr>
        <p:spPr>
          <a:xfrm>
            <a:off x="609600" y="1049338"/>
            <a:ext cx="10972800" cy="0"/>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9" name="Title 1"/>
          <p:cNvSpPr>
            <a:spLocks noGrp="1"/>
          </p:cNvSpPr>
          <p:nvPr>
            <p:ph type="title" hasCustomPrompt="1"/>
          </p:nvPr>
        </p:nvSpPr>
        <p:spPr>
          <a:xfrm>
            <a:off x="609600" y="292508"/>
            <a:ext cx="10972800" cy="577851"/>
          </a:xfrm>
          <a:noFill/>
          <a:ln>
            <a:noFill/>
          </a:ln>
        </p:spPr>
        <p:txBody>
          <a:bodyPr vert="horz" wrap="square" lIns="0" tIns="0" rIns="91440" bIns="0" numCol="1" anchor="b" anchorCtr="0" compatLnSpc="1">
            <a:prstTxWarp prst="textNoShape">
              <a:avLst/>
            </a:prstTxWarp>
          </a:bodyPr>
          <a:lstStyle>
            <a:lvl1pPr>
              <a:defRPr lang="en-US" dirty="0"/>
            </a:lvl1pPr>
          </a:lstStyle>
          <a:p>
            <a:pPr lvl="0"/>
            <a:r>
              <a:rPr lang="en-US" dirty="0"/>
              <a:t>Two Column Bullet Lists</a:t>
            </a:r>
          </a:p>
        </p:txBody>
      </p:sp>
      <p:sp>
        <p:nvSpPr>
          <p:cNvPr id="10" name="Footer Placeholder 5"/>
          <p:cNvSpPr>
            <a:spLocks noGrp="1"/>
          </p:cNvSpPr>
          <p:nvPr>
            <p:ph type="ftr" sz="quarter" idx="10"/>
          </p:nvPr>
        </p:nvSpPr>
        <p:spPr/>
        <p:txBody>
          <a:bodyPr/>
          <a:lstStyle>
            <a:lvl1pPr>
              <a:defRPr/>
            </a:lvl1pPr>
          </a:lstStyle>
          <a:p>
            <a:pPr>
              <a:defRPr/>
            </a:pPr>
            <a:r>
              <a:rPr lang="en-US" dirty="0"/>
              <a:t>CPUC Stakeholder Meeting</a:t>
            </a:r>
          </a:p>
        </p:txBody>
      </p:sp>
      <p:sp>
        <p:nvSpPr>
          <p:cNvPr id="11" name="Slide Number Placeholder 6"/>
          <p:cNvSpPr>
            <a:spLocks noGrp="1"/>
          </p:cNvSpPr>
          <p:nvPr>
            <p:ph type="sldNum" sz="quarter" idx="11"/>
          </p:nvPr>
        </p:nvSpPr>
        <p:spPr/>
        <p:txBody>
          <a:bodyPr/>
          <a:lstStyle>
            <a:lvl1pPr>
              <a:defRPr/>
            </a:lvl1pPr>
          </a:lstStyle>
          <a:p>
            <a:pPr>
              <a:defRPr/>
            </a:pPr>
            <a:fld id="{179C45D4-F7F0-0842-BCBE-327FF90FC3B7}" type="slidenum">
              <a:rPr lang="en-US"/>
              <a:pPr>
                <a:defRPr/>
              </a:pPr>
              <a:t>‹#›</a:t>
            </a:fld>
            <a:endParaRPr lang="en-US" dirty="0"/>
          </a:p>
        </p:txBody>
      </p:sp>
      <p:cxnSp>
        <p:nvCxnSpPr>
          <p:cNvPr id="13" name="Straight Connector 12"/>
          <p:cNvCxnSpPr/>
          <p:nvPr userDrawn="1"/>
        </p:nvCxnSpPr>
        <p:spPr>
          <a:xfrm flipV="1">
            <a:off x="10878784" y="6270626"/>
            <a:ext cx="0" cy="339725"/>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4" name="Content Placeholder 3"/>
          <p:cNvSpPr>
            <a:spLocks noGrp="1"/>
          </p:cNvSpPr>
          <p:nvPr>
            <p:ph sz="quarter" idx="16"/>
          </p:nvPr>
        </p:nvSpPr>
        <p:spPr>
          <a:xfrm>
            <a:off x="609600" y="1252531"/>
            <a:ext cx="5364480" cy="44942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3"/>
          <p:cNvSpPr>
            <a:spLocks noGrp="1"/>
          </p:cNvSpPr>
          <p:nvPr>
            <p:ph sz="quarter" idx="17"/>
          </p:nvPr>
        </p:nvSpPr>
        <p:spPr>
          <a:xfrm>
            <a:off x="6215529" y="1252531"/>
            <a:ext cx="5364480" cy="44942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07866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ouble Col List, Subtitles, Bord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rcRect/>
          <a:stretch/>
        </p:blipFill>
        <p:spPr>
          <a:xfrm>
            <a:off x="1524" y="0"/>
            <a:ext cx="12188952" cy="6858000"/>
          </a:xfrm>
          <a:prstGeom prst="rect">
            <a:avLst/>
          </a:prstGeom>
        </p:spPr>
      </p:pic>
      <p:cxnSp>
        <p:nvCxnSpPr>
          <p:cNvPr id="9" name="Straight Connector 8"/>
          <p:cNvCxnSpPr/>
          <p:nvPr/>
        </p:nvCxnSpPr>
        <p:spPr>
          <a:xfrm>
            <a:off x="609600" y="1049338"/>
            <a:ext cx="10972800" cy="0"/>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3" name="Text Placeholder 2"/>
          <p:cNvSpPr>
            <a:spLocks noGrp="1"/>
          </p:cNvSpPr>
          <p:nvPr>
            <p:ph type="body" idx="1" hasCustomPrompt="1"/>
          </p:nvPr>
        </p:nvSpPr>
        <p:spPr>
          <a:xfrm>
            <a:off x="609600" y="1049339"/>
            <a:ext cx="5386917" cy="579930"/>
          </a:xfrm>
          <a:noFill/>
        </p:spPr>
        <p:txBody>
          <a:bodyPr anchor="b"/>
          <a:lstStyle>
            <a:lvl1pPr marL="0" indent="0">
              <a:lnSpc>
                <a:spcPct val="90000"/>
              </a:lnSpc>
              <a:buNone/>
              <a:defRPr sz="2800" b="0" i="0" baseline="0">
                <a:solidFill>
                  <a:schemeClr val="tx2"/>
                </a:solidFill>
                <a:latin typeface="+mj-lt"/>
                <a:cs typeface="Franklin Gothic medium"/>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5" name="Text Placeholder 4"/>
          <p:cNvSpPr>
            <a:spLocks noGrp="1"/>
          </p:cNvSpPr>
          <p:nvPr>
            <p:ph type="body" sz="quarter" idx="3"/>
          </p:nvPr>
        </p:nvSpPr>
        <p:spPr>
          <a:xfrm>
            <a:off x="6193368" y="1049337"/>
            <a:ext cx="5389033" cy="579932"/>
          </a:xfrm>
          <a:noFill/>
        </p:spPr>
        <p:txBody>
          <a:bodyPr anchor="b"/>
          <a:lstStyle>
            <a:lvl1pPr marL="0" indent="0">
              <a:lnSpc>
                <a:spcPct val="90000"/>
              </a:lnSpc>
              <a:buNone/>
              <a:defRPr sz="2800" b="0">
                <a:solidFill>
                  <a:schemeClr val="tx2"/>
                </a:solidFill>
                <a:latin typeface="+mj-lt"/>
                <a:cs typeface="Franklin Gothic medium"/>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itle 1"/>
          <p:cNvSpPr>
            <a:spLocks noGrp="1"/>
          </p:cNvSpPr>
          <p:nvPr>
            <p:ph type="title" hasCustomPrompt="1"/>
          </p:nvPr>
        </p:nvSpPr>
        <p:spPr>
          <a:xfrm>
            <a:off x="609600" y="293745"/>
            <a:ext cx="10972800" cy="577851"/>
          </a:xfrm>
          <a:noFill/>
          <a:ln>
            <a:noFill/>
          </a:ln>
        </p:spPr>
        <p:txBody>
          <a:bodyPr vert="horz" wrap="square" lIns="0" tIns="0" rIns="91440" bIns="0" numCol="1" anchor="b" anchorCtr="0" compatLnSpc="1">
            <a:prstTxWarp prst="textNoShape">
              <a:avLst/>
            </a:prstTxWarp>
          </a:bodyPr>
          <a:lstStyle>
            <a:lvl1pPr>
              <a:defRPr lang="en-US" dirty="0"/>
            </a:lvl1pPr>
          </a:lstStyle>
          <a:p>
            <a:pPr lvl="0"/>
            <a:r>
              <a:rPr lang="en-US" dirty="0"/>
              <a:t>Two Column Bullet Lists with Headlines</a:t>
            </a:r>
          </a:p>
        </p:txBody>
      </p:sp>
      <p:sp>
        <p:nvSpPr>
          <p:cNvPr id="12" name="Footer Placeholder 7"/>
          <p:cNvSpPr>
            <a:spLocks noGrp="1"/>
          </p:cNvSpPr>
          <p:nvPr>
            <p:ph type="ftr" sz="quarter" idx="10"/>
          </p:nvPr>
        </p:nvSpPr>
        <p:spPr/>
        <p:txBody>
          <a:bodyPr/>
          <a:lstStyle>
            <a:lvl1pPr>
              <a:defRPr/>
            </a:lvl1pPr>
          </a:lstStyle>
          <a:p>
            <a:pPr>
              <a:defRPr/>
            </a:pPr>
            <a:r>
              <a:rPr lang="en-US" dirty="0"/>
              <a:t>CPUC Stakeholder Meeting</a:t>
            </a:r>
          </a:p>
        </p:txBody>
      </p:sp>
      <p:sp>
        <p:nvSpPr>
          <p:cNvPr id="13" name="Slide Number Placeholder 8"/>
          <p:cNvSpPr>
            <a:spLocks noGrp="1"/>
          </p:cNvSpPr>
          <p:nvPr>
            <p:ph type="sldNum" sz="quarter" idx="11"/>
          </p:nvPr>
        </p:nvSpPr>
        <p:spPr/>
        <p:txBody>
          <a:bodyPr/>
          <a:lstStyle>
            <a:lvl1pPr>
              <a:defRPr/>
            </a:lvl1pPr>
          </a:lstStyle>
          <a:p>
            <a:pPr>
              <a:defRPr/>
            </a:pPr>
            <a:fld id="{B4DBA32C-FA0E-A84B-9DD9-4A60A20B44AB}" type="slidenum">
              <a:rPr lang="en-US"/>
              <a:pPr>
                <a:defRPr/>
              </a:pPr>
              <a:t>‹#›</a:t>
            </a:fld>
            <a:endParaRPr lang="en-US" dirty="0"/>
          </a:p>
        </p:txBody>
      </p:sp>
      <p:cxnSp>
        <p:nvCxnSpPr>
          <p:cNvPr id="15" name="Straight Connector 14"/>
          <p:cNvCxnSpPr/>
          <p:nvPr userDrawn="1"/>
        </p:nvCxnSpPr>
        <p:spPr>
          <a:xfrm flipV="1">
            <a:off x="10878784" y="6270626"/>
            <a:ext cx="0" cy="339725"/>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7" name="Content Placeholder 6"/>
          <p:cNvSpPr>
            <a:spLocks noGrp="1"/>
          </p:cNvSpPr>
          <p:nvPr>
            <p:ph sz="quarter" idx="16"/>
          </p:nvPr>
        </p:nvSpPr>
        <p:spPr>
          <a:xfrm>
            <a:off x="609600" y="1826116"/>
            <a:ext cx="5364480" cy="39206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6"/>
          <p:cNvSpPr>
            <a:spLocks noGrp="1"/>
          </p:cNvSpPr>
          <p:nvPr>
            <p:ph sz="quarter" idx="17"/>
          </p:nvPr>
        </p:nvSpPr>
        <p:spPr>
          <a:xfrm>
            <a:off x="6215529" y="1826116"/>
            <a:ext cx="5364480" cy="39206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928920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ingle Col List, No Border">
    <p:spTree>
      <p:nvGrpSpPr>
        <p:cNvPr id="1" name=""/>
        <p:cNvGrpSpPr/>
        <p:nvPr/>
      </p:nvGrpSpPr>
      <p:grpSpPr>
        <a:xfrm>
          <a:off x="0" y="0"/>
          <a:ext cx="0" cy="0"/>
          <a:chOff x="0" y="0"/>
          <a:chExt cx="0" cy="0"/>
        </a:xfrm>
      </p:grpSpPr>
      <p:cxnSp>
        <p:nvCxnSpPr>
          <p:cNvPr id="7" name="Straight Connector 6"/>
          <p:cNvCxnSpPr/>
          <p:nvPr/>
        </p:nvCxnSpPr>
        <p:spPr>
          <a:xfrm>
            <a:off x="609600" y="1049338"/>
            <a:ext cx="10972800" cy="0"/>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6" name="Title 1"/>
          <p:cNvSpPr>
            <a:spLocks noGrp="1"/>
          </p:cNvSpPr>
          <p:nvPr>
            <p:ph type="title"/>
          </p:nvPr>
        </p:nvSpPr>
        <p:spPr>
          <a:xfrm>
            <a:off x="609600" y="293452"/>
            <a:ext cx="10972800" cy="577851"/>
          </a:xfrm>
          <a:noFill/>
          <a:ln>
            <a:noFill/>
          </a:ln>
        </p:spPr>
        <p:txBody>
          <a:bodyPr vert="horz" wrap="square" lIns="0" tIns="0" rIns="9144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10" name="Footer Placeholder 2"/>
          <p:cNvSpPr>
            <a:spLocks noGrp="1"/>
          </p:cNvSpPr>
          <p:nvPr>
            <p:ph type="ftr" sz="quarter" idx="10"/>
          </p:nvPr>
        </p:nvSpPr>
        <p:spPr/>
        <p:txBody>
          <a:bodyPr/>
          <a:lstStyle>
            <a:lvl1pPr>
              <a:defRPr/>
            </a:lvl1pPr>
          </a:lstStyle>
          <a:p>
            <a:pPr>
              <a:defRPr/>
            </a:pPr>
            <a:r>
              <a:rPr lang="en-US" dirty="0"/>
              <a:t>CPUC Stakeholder Meeting</a:t>
            </a:r>
          </a:p>
        </p:txBody>
      </p:sp>
      <p:sp>
        <p:nvSpPr>
          <p:cNvPr id="11" name="Slide Number Placeholder 3"/>
          <p:cNvSpPr>
            <a:spLocks noGrp="1"/>
          </p:cNvSpPr>
          <p:nvPr>
            <p:ph type="sldNum" sz="quarter" idx="11"/>
          </p:nvPr>
        </p:nvSpPr>
        <p:spPr/>
        <p:txBody>
          <a:bodyPr/>
          <a:lstStyle>
            <a:lvl1pPr>
              <a:defRPr/>
            </a:lvl1pPr>
          </a:lstStyle>
          <a:p>
            <a:pPr>
              <a:defRPr/>
            </a:pPr>
            <a:fld id="{0883BC2A-530D-AC46-81F0-115791FD4844}" type="slidenum">
              <a:rPr lang="en-US"/>
              <a:pPr>
                <a:defRPr/>
              </a:pPr>
              <a:t>‹#›</a:t>
            </a:fld>
            <a:endParaRPr lang="en-US" dirty="0"/>
          </a:p>
        </p:txBody>
      </p:sp>
      <p:cxnSp>
        <p:nvCxnSpPr>
          <p:cNvPr id="15" name="Straight Connector 14"/>
          <p:cNvCxnSpPr/>
          <p:nvPr userDrawn="1"/>
        </p:nvCxnSpPr>
        <p:spPr>
          <a:xfrm flipV="1">
            <a:off x="10878784" y="6270626"/>
            <a:ext cx="0" cy="339725"/>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3" name="Content Placeholder 2"/>
          <p:cNvSpPr>
            <a:spLocks noGrp="1"/>
          </p:cNvSpPr>
          <p:nvPr>
            <p:ph sz="quarter" idx="12"/>
          </p:nvPr>
        </p:nvSpPr>
        <p:spPr>
          <a:xfrm>
            <a:off x="609600" y="1246188"/>
            <a:ext cx="10972800" cy="4500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3" name="Graphic 12">
            <a:extLst>
              <a:ext uri="{FF2B5EF4-FFF2-40B4-BE49-F238E27FC236}">
                <a16:creationId xmlns:a16="http://schemas.microsoft.com/office/drawing/2014/main" id="{B744A34D-0CE3-4BDF-B40F-1F304F29A2B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94197" y="6076265"/>
            <a:ext cx="1760887" cy="544735"/>
          </a:xfrm>
          <a:prstGeom prst="rect">
            <a:avLst/>
          </a:prstGeom>
        </p:spPr>
      </p:pic>
    </p:spTree>
    <p:extLst>
      <p:ext uri="{BB962C8B-B14F-4D97-AF65-F5344CB8AC3E}">
        <p14:creationId xmlns:p14="http://schemas.microsoft.com/office/powerpoint/2010/main" val="189085950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No Border">
    <p:spTree>
      <p:nvGrpSpPr>
        <p:cNvPr id="1" name=""/>
        <p:cNvGrpSpPr/>
        <p:nvPr/>
      </p:nvGrpSpPr>
      <p:grpSpPr>
        <a:xfrm>
          <a:off x="0" y="0"/>
          <a:ext cx="0" cy="0"/>
          <a:chOff x="0" y="0"/>
          <a:chExt cx="0" cy="0"/>
        </a:xfrm>
      </p:grpSpPr>
      <p:cxnSp>
        <p:nvCxnSpPr>
          <p:cNvPr id="7" name="Straight Connector 6"/>
          <p:cNvCxnSpPr/>
          <p:nvPr/>
        </p:nvCxnSpPr>
        <p:spPr>
          <a:xfrm>
            <a:off x="609600" y="1049338"/>
            <a:ext cx="10972800" cy="0"/>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6" name="Title 1"/>
          <p:cNvSpPr>
            <a:spLocks noGrp="1"/>
          </p:cNvSpPr>
          <p:nvPr>
            <p:ph type="title"/>
          </p:nvPr>
        </p:nvSpPr>
        <p:spPr>
          <a:xfrm>
            <a:off x="609600" y="293452"/>
            <a:ext cx="10972800" cy="577851"/>
          </a:xfrm>
          <a:noFill/>
          <a:ln>
            <a:noFill/>
          </a:ln>
        </p:spPr>
        <p:txBody>
          <a:bodyPr vert="horz" wrap="square" lIns="0" tIns="0" rIns="9144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10" name="Footer Placeholder 2"/>
          <p:cNvSpPr>
            <a:spLocks noGrp="1"/>
          </p:cNvSpPr>
          <p:nvPr>
            <p:ph type="ftr" sz="quarter" idx="10"/>
          </p:nvPr>
        </p:nvSpPr>
        <p:spPr/>
        <p:txBody>
          <a:bodyPr/>
          <a:lstStyle>
            <a:lvl1pPr>
              <a:defRPr/>
            </a:lvl1pPr>
          </a:lstStyle>
          <a:p>
            <a:pPr>
              <a:defRPr/>
            </a:pPr>
            <a:r>
              <a:rPr lang="en-US" dirty="0"/>
              <a:t>CPUC Stakeholder Meeting</a:t>
            </a:r>
          </a:p>
        </p:txBody>
      </p:sp>
      <p:sp>
        <p:nvSpPr>
          <p:cNvPr id="11" name="Slide Number Placeholder 3"/>
          <p:cNvSpPr>
            <a:spLocks noGrp="1"/>
          </p:cNvSpPr>
          <p:nvPr>
            <p:ph type="sldNum" sz="quarter" idx="11"/>
          </p:nvPr>
        </p:nvSpPr>
        <p:spPr/>
        <p:txBody>
          <a:bodyPr/>
          <a:lstStyle>
            <a:lvl1pPr>
              <a:defRPr/>
            </a:lvl1pPr>
          </a:lstStyle>
          <a:p>
            <a:pPr>
              <a:defRPr/>
            </a:pPr>
            <a:fld id="{0883BC2A-530D-AC46-81F0-115791FD4844}" type="slidenum">
              <a:rPr lang="en-US"/>
              <a:pPr>
                <a:defRPr/>
              </a:pPr>
              <a:t>‹#›</a:t>
            </a:fld>
            <a:endParaRPr lang="en-US" dirty="0"/>
          </a:p>
        </p:txBody>
      </p:sp>
      <p:cxnSp>
        <p:nvCxnSpPr>
          <p:cNvPr id="15" name="Straight Connector 14"/>
          <p:cNvCxnSpPr/>
          <p:nvPr userDrawn="1"/>
        </p:nvCxnSpPr>
        <p:spPr>
          <a:xfrm flipV="1">
            <a:off x="10878784" y="6270626"/>
            <a:ext cx="0" cy="339725"/>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pic>
        <p:nvPicPr>
          <p:cNvPr id="8" name="Graphic 7">
            <a:extLst>
              <a:ext uri="{FF2B5EF4-FFF2-40B4-BE49-F238E27FC236}">
                <a16:creationId xmlns:a16="http://schemas.microsoft.com/office/drawing/2014/main" id="{5CB93499-029C-4087-B1E5-FD9749E91F1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94197" y="6076265"/>
            <a:ext cx="1760887" cy="544735"/>
          </a:xfrm>
          <a:prstGeom prst="rect">
            <a:avLst/>
          </a:prstGeom>
        </p:spPr>
      </p:pic>
    </p:spTree>
    <p:extLst>
      <p:ext uri="{BB962C8B-B14F-4D97-AF65-F5344CB8AC3E}">
        <p14:creationId xmlns:p14="http://schemas.microsoft.com/office/powerpoint/2010/main" val="169323541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ouble Col List, No Border">
    <p:spTree>
      <p:nvGrpSpPr>
        <p:cNvPr id="1" name=""/>
        <p:cNvGrpSpPr/>
        <p:nvPr/>
      </p:nvGrpSpPr>
      <p:grpSpPr>
        <a:xfrm>
          <a:off x="0" y="0"/>
          <a:ext cx="0" cy="0"/>
          <a:chOff x="0" y="0"/>
          <a:chExt cx="0" cy="0"/>
        </a:xfrm>
      </p:grpSpPr>
      <p:cxnSp>
        <p:nvCxnSpPr>
          <p:cNvPr id="5" name="Straight Connector 4"/>
          <p:cNvCxnSpPr/>
          <p:nvPr userDrawn="1"/>
        </p:nvCxnSpPr>
        <p:spPr>
          <a:xfrm>
            <a:off x="609600" y="1049338"/>
            <a:ext cx="10972800" cy="0"/>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6" name="Title 1"/>
          <p:cNvSpPr>
            <a:spLocks noGrp="1"/>
          </p:cNvSpPr>
          <p:nvPr>
            <p:ph type="title"/>
          </p:nvPr>
        </p:nvSpPr>
        <p:spPr>
          <a:xfrm>
            <a:off x="609600" y="293688"/>
            <a:ext cx="10972800" cy="583022"/>
          </a:xfrm>
          <a:noFill/>
          <a:ln>
            <a:noFill/>
          </a:ln>
        </p:spPr>
        <p:txBody>
          <a:bodyPr vert="horz" wrap="square" lIns="0" tIns="0" rIns="9144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7" name="Footer Placeholder 2"/>
          <p:cNvSpPr>
            <a:spLocks noGrp="1"/>
          </p:cNvSpPr>
          <p:nvPr>
            <p:ph type="ftr" sz="quarter" idx="10"/>
          </p:nvPr>
        </p:nvSpPr>
        <p:spPr>
          <a:xfrm>
            <a:off x="6588998" y="6288088"/>
            <a:ext cx="3915833" cy="315912"/>
          </a:xfrm>
        </p:spPr>
        <p:txBody>
          <a:bodyPr/>
          <a:lstStyle>
            <a:lvl1pPr>
              <a:defRPr/>
            </a:lvl1pPr>
          </a:lstStyle>
          <a:p>
            <a:pPr>
              <a:defRPr/>
            </a:pPr>
            <a:r>
              <a:rPr lang="en-US" dirty="0"/>
              <a:t>CPUC Stakeholder Meeting</a:t>
            </a:r>
          </a:p>
        </p:txBody>
      </p:sp>
      <p:sp>
        <p:nvSpPr>
          <p:cNvPr id="8" name="Slide Number Placeholder 3"/>
          <p:cNvSpPr>
            <a:spLocks noGrp="1"/>
          </p:cNvSpPr>
          <p:nvPr>
            <p:ph type="sldNum" sz="quarter" idx="11"/>
          </p:nvPr>
        </p:nvSpPr>
        <p:spPr>
          <a:xfrm>
            <a:off x="11027859" y="6288089"/>
            <a:ext cx="554541" cy="331787"/>
          </a:xfrm>
        </p:spPr>
        <p:txBody>
          <a:bodyPr/>
          <a:lstStyle>
            <a:lvl1pPr>
              <a:defRPr/>
            </a:lvl1pPr>
          </a:lstStyle>
          <a:p>
            <a:pPr>
              <a:defRPr/>
            </a:pPr>
            <a:fld id="{CA1A322E-89A1-574C-958F-78B70F6F7E7B}" type="slidenum">
              <a:rPr lang="en-US"/>
              <a:pPr>
                <a:defRPr/>
              </a:pPr>
              <a:t>‹#›</a:t>
            </a:fld>
            <a:endParaRPr lang="en-US" dirty="0"/>
          </a:p>
        </p:txBody>
      </p:sp>
      <p:cxnSp>
        <p:nvCxnSpPr>
          <p:cNvPr id="10" name="Straight Connector 9"/>
          <p:cNvCxnSpPr/>
          <p:nvPr userDrawn="1"/>
        </p:nvCxnSpPr>
        <p:spPr>
          <a:xfrm flipV="1">
            <a:off x="10878784" y="6270626"/>
            <a:ext cx="0" cy="339725"/>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3" name="Content Placeholder 2"/>
          <p:cNvSpPr>
            <a:spLocks noGrp="1"/>
          </p:cNvSpPr>
          <p:nvPr>
            <p:ph sz="quarter" idx="12"/>
          </p:nvPr>
        </p:nvSpPr>
        <p:spPr>
          <a:xfrm>
            <a:off x="621553" y="1246188"/>
            <a:ext cx="5364480" cy="4500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p:cNvSpPr>
            <a:spLocks noGrp="1"/>
          </p:cNvSpPr>
          <p:nvPr>
            <p:ph sz="quarter" idx="13"/>
          </p:nvPr>
        </p:nvSpPr>
        <p:spPr>
          <a:xfrm>
            <a:off x="6215529" y="1246188"/>
            <a:ext cx="5364480" cy="4500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762926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_Closin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srcRect/>
          <a:stretch/>
        </p:blipFill>
        <p:spPr>
          <a:xfrm>
            <a:off x="1524" y="0"/>
            <a:ext cx="12188952" cy="6858000"/>
          </a:xfrm>
          <a:prstGeom prst="rect">
            <a:avLst/>
          </a:prstGeom>
        </p:spPr>
      </p:pic>
      <p:cxnSp>
        <p:nvCxnSpPr>
          <p:cNvPr id="6" name="Straight Connector 5"/>
          <p:cNvCxnSpPr/>
          <p:nvPr/>
        </p:nvCxnSpPr>
        <p:spPr>
          <a:xfrm>
            <a:off x="609600" y="1049338"/>
            <a:ext cx="10972800" cy="0"/>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609600" y="293457"/>
            <a:ext cx="10972800" cy="577851"/>
          </a:xfrm>
          <a:noFill/>
          <a:ln>
            <a:noFill/>
          </a:ln>
        </p:spPr>
        <p:txBody>
          <a:bodyPr vert="horz" wrap="square" lIns="0" tIns="0" rIns="91440" bIns="0" numCol="1" anchor="b" anchorCtr="0" compatLnSpc="1">
            <a:prstTxWarp prst="textNoShape">
              <a:avLst/>
            </a:prstTxWarp>
          </a:bodyPr>
          <a:lstStyle>
            <a:lvl1pPr>
              <a:defRPr lang="en-US" dirty="0">
                <a:solidFill>
                  <a:schemeClr val="bg1"/>
                </a:solidFill>
              </a:defRPr>
            </a:lvl1pPr>
          </a:lstStyle>
          <a:p>
            <a:pPr lvl="0"/>
            <a:r>
              <a:rPr lang="en-US"/>
              <a:t>Click to edit Master title style</a:t>
            </a:r>
            <a:endParaRPr lang="en-US" dirty="0"/>
          </a:p>
        </p:txBody>
      </p:sp>
      <p:sp>
        <p:nvSpPr>
          <p:cNvPr id="7" name="Footer Placeholder 2">
            <a:extLst>
              <a:ext uri="{FF2B5EF4-FFF2-40B4-BE49-F238E27FC236}">
                <a16:creationId xmlns:a16="http://schemas.microsoft.com/office/drawing/2014/main" id="{5CB87AF9-88BA-44C2-8B9E-CFF32E4ED344}"/>
              </a:ext>
            </a:extLst>
          </p:cNvPr>
          <p:cNvSpPr>
            <a:spLocks noGrp="1"/>
          </p:cNvSpPr>
          <p:nvPr>
            <p:ph type="ftr" sz="quarter" idx="10"/>
          </p:nvPr>
        </p:nvSpPr>
        <p:spPr>
          <a:xfrm>
            <a:off x="6588998" y="6288088"/>
            <a:ext cx="3915833" cy="315912"/>
          </a:xfrm>
        </p:spPr>
        <p:txBody>
          <a:bodyPr/>
          <a:lstStyle>
            <a:lvl1pPr>
              <a:defRPr/>
            </a:lvl1pPr>
          </a:lstStyle>
          <a:p>
            <a:pPr>
              <a:defRPr/>
            </a:pPr>
            <a:r>
              <a:rPr lang="en-US" dirty="0"/>
              <a:t>CPUC Stakeholder Meeting</a:t>
            </a:r>
          </a:p>
        </p:txBody>
      </p:sp>
      <p:sp>
        <p:nvSpPr>
          <p:cNvPr id="8" name="Slide Number Placeholder 3">
            <a:extLst>
              <a:ext uri="{FF2B5EF4-FFF2-40B4-BE49-F238E27FC236}">
                <a16:creationId xmlns:a16="http://schemas.microsoft.com/office/drawing/2014/main" id="{D0E00F1E-9052-49DB-A7DD-7659B87DAAF5}"/>
              </a:ext>
            </a:extLst>
          </p:cNvPr>
          <p:cNvSpPr>
            <a:spLocks noGrp="1"/>
          </p:cNvSpPr>
          <p:nvPr>
            <p:ph type="sldNum" sz="quarter" idx="11"/>
          </p:nvPr>
        </p:nvSpPr>
        <p:spPr>
          <a:xfrm>
            <a:off x="11027859" y="6288089"/>
            <a:ext cx="554541" cy="331787"/>
          </a:xfrm>
        </p:spPr>
        <p:txBody>
          <a:bodyPr/>
          <a:lstStyle>
            <a:lvl1pPr>
              <a:defRPr/>
            </a:lvl1pPr>
          </a:lstStyle>
          <a:p>
            <a:pPr>
              <a:defRPr/>
            </a:pPr>
            <a:fld id="{CA1A322E-89A1-574C-958F-78B70F6F7E7B}" type="slidenum">
              <a:rPr lang="en-US"/>
              <a:pPr>
                <a:defRPr/>
              </a:pPr>
              <a:t>‹#›</a:t>
            </a:fld>
            <a:endParaRPr lang="en-US" dirty="0"/>
          </a:p>
        </p:txBody>
      </p:sp>
      <p:cxnSp>
        <p:nvCxnSpPr>
          <p:cNvPr id="9" name="Straight Connector 8">
            <a:extLst>
              <a:ext uri="{FF2B5EF4-FFF2-40B4-BE49-F238E27FC236}">
                <a16:creationId xmlns:a16="http://schemas.microsoft.com/office/drawing/2014/main" id="{69E743C9-0F21-479C-BEFB-AD9B6F1FD898}"/>
              </a:ext>
            </a:extLst>
          </p:cNvPr>
          <p:cNvCxnSpPr/>
          <p:nvPr userDrawn="1"/>
        </p:nvCxnSpPr>
        <p:spPr>
          <a:xfrm flipV="1">
            <a:off x="10878784" y="6270626"/>
            <a:ext cx="0" cy="339725"/>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2182467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ED2F4E4-0DC8-4F07-8409-424C7ED9E5C0}"/>
              </a:ext>
            </a:extLst>
          </p:cNvPr>
          <p:cNvPicPr>
            <a:picLocks noChangeAspect="1"/>
          </p:cNvPicPr>
          <p:nvPr userDrawn="1"/>
        </p:nvPicPr>
        <p:blipFill>
          <a:blip r:embed="rId2"/>
          <a:stretch>
            <a:fillRect/>
          </a:stretch>
        </p:blipFill>
        <p:spPr>
          <a:xfrm>
            <a:off x="6484" y="0"/>
            <a:ext cx="8418286" cy="1746406"/>
          </a:xfrm>
          <a:prstGeom prst="rect">
            <a:avLst/>
          </a:prstGeom>
        </p:spPr>
      </p:pic>
      <p:pic>
        <p:nvPicPr>
          <p:cNvPr id="3" name="Picture 2"/>
          <p:cNvPicPr>
            <a:picLocks noChangeAspect="1"/>
          </p:cNvPicPr>
          <p:nvPr userDrawn="1"/>
        </p:nvPicPr>
        <p:blipFill>
          <a:blip r:embed="rId2"/>
          <a:stretch>
            <a:fillRect/>
          </a:stretch>
        </p:blipFill>
        <p:spPr>
          <a:xfrm>
            <a:off x="3147243" y="-2267"/>
            <a:ext cx="9044758" cy="1745282"/>
          </a:xfrm>
          <a:prstGeom prst="rect">
            <a:avLst/>
          </a:prstGeom>
        </p:spPr>
      </p:pic>
      <p:pic>
        <p:nvPicPr>
          <p:cNvPr id="5" name="Graphic 4">
            <a:extLst>
              <a:ext uri="{FF2B5EF4-FFF2-40B4-BE49-F238E27FC236}">
                <a16:creationId xmlns:a16="http://schemas.microsoft.com/office/drawing/2014/main" id="{6EC7C4EC-45AC-4AAB-BA12-40E3D34B6B7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94197" y="6076265"/>
            <a:ext cx="1760887" cy="544735"/>
          </a:xfrm>
          <a:prstGeom prst="rect">
            <a:avLst/>
          </a:prstGeom>
        </p:spPr>
      </p:pic>
      <p:sp>
        <p:nvSpPr>
          <p:cNvPr id="6" name="Footer Placeholder 2">
            <a:extLst>
              <a:ext uri="{FF2B5EF4-FFF2-40B4-BE49-F238E27FC236}">
                <a16:creationId xmlns:a16="http://schemas.microsoft.com/office/drawing/2014/main" id="{E7D7460A-3865-46FF-B51E-26D8F59E5B4A}"/>
              </a:ext>
            </a:extLst>
          </p:cNvPr>
          <p:cNvSpPr>
            <a:spLocks noGrp="1"/>
          </p:cNvSpPr>
          <p:nvPr>
            <p:ph type="ftr" sz="quarter" idx="10"/>
          </p:nvPr>
        </p:nvSpPr>
        <p:spPr>
          <a:xfrm>
            <a:off x="6588998" y="6288088"/>
            <a:ext cx="3915833" cy="315912"/>
          </a:xfrm>
        </p:spPr>
        <p:txBody>
          <a:bodyPr/>
          <a:lstStyle>
            <a:lvl1pPr>
              <a:defRPr/>
            </a:lvl1pPr>
          </a:lstStyle>
          <a:p>
            <a:pPr>
              <a:defRPr/>
            </a:pPr>
            <a:r>
              <a:rPr lang="en-US" dirty="0"/>
              <a:t>CPUC Stakeholder Meeting</a:t>
            </a:r>
          </a:p>
        </p:txBody>
      </p:sp>
      <p:sp>
        <p:nvSpPr>
          <p:cNvPr id="7" name="Slide Number Placeholder 3">
            <a:extLst>
              <a:ext uri="{FF2B5EF4-FFF2-40B4-BE49-F238E27FC236}">
                <a16:creationId xmlns:a16="http://schemas.microsoft.com/office/drawing/2014/main" id="{5840AC0F-A787-4ADC-BB30-3B2F699CA36C}"/>
              </a:ext>
            </a:extLst>
          </p:cNvPr>
          <p:cNvSpPr>
            <a:spLocks noGrp="1"/>
          </p:cNvSpPr>
          <p:nvPr>
            <p:ph type="sldNum" sz="quarter" idx="11"/>
          </p:nvPr>
        </p:nvSpPr>
        <p:spPr>
          <a:xfrm>
            <a:off x="11027859" y="6288089"/>
            <a:ext cx="554541" cy="331787"/>
          </a:xfrm>
        </p:spPr>
        <p:txBody>
          <a:bodyPr/>
          <a:lstStyle>
            <a:lvl1pPr>
              <a:defRPr/>
            </a:lvl1pPr>
          </a:lstStyle>
          <a:p>
            <a:pPr>
              <a:defRPr/>
            </a:pPr>
            <a:fld id="{CA1A322E-89A1-574C-958F-78B70F6F7E7B}" type="slidenum">
              <a:rPr lang="en-US"/>
              <a:pPr>
                <a:defRPr/>
              </a:pPr>
              <a:t>‹#›</a:t>
            </a:fld>
            <a:endParaRPr lang="en-US" dirty="0"/>
          </a:p>
        </p:txBody>
      </p:sp>
      <p:cxnSp>
        <p:nvCxnSpPr>
          <p:cNvPr id="8" name="Straight Connector 7">
            <a:extLst>
              <a:ext uri="{FF2B5EF4-FFF2-40B4-BE49-F238E27FC236}">
                <a16:creationId xmlns:a16="http://schemas.microsoft.com/office/drawing/2014/main" id="{865FD9D2-6CEE-47B6-AF81-730AB3F53703}"/>
              </a:ext>
            </a:extLst>
          </p:cNvPr>
          <p:cNvCxnSpPr/>
          <p:nvPr userDrawn="1"/>
        </p:nvCxnSpPr>
        <p:spPr>
          <a:xfrm flipV="1">
            <a:off x="10878784" y="6270626"/>
            <a:ext cx="0" cy="339725"/>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9" name="Title 1">
            <a:extLst>
              <a:ext uri="{FF2B5EF4-FFF2-40B4-BE49-F238E27FC236}">
                <a16:creationId xmlns:a16="http://schemas.microsoft.com/office/drawing/2014/main" id="{B1AC7432-1CE8-40E6-B489-BBDB27AACAC1}"/>
              </a:ext>
            </a:extLst>
          </p:cNvPr>
          <p:cNvSpPr>
            <a:spLocks noGrp="1"/>
          </p:cNvSpPr>
          <p:nvPr>
            <p:ph type="title"/>
          </p:nvPr>
        </p:nvSpPr>
        <p:spPr>
          <a:xfrm>
            <a:off x="609600" y="130426"/>
            <a:ext cx="10108019" cy="577851"/>
          </a:xfrm>
          <a:noFill/>
          <a:ln>
            <a:noFill/>
          </a:ln>
        </p:spPr>
        <p:txBody>
          <a:bodyPr vert="horz" wrap="square" lIns="0" tIns="0" rIns="91440" bIns="0" numCol="1" anchor="b" anchorCtr="0" compatLnSpc="1">
            <a:prstTxWarp prst="textNoShape">
              <a:avLst/>
            </a:prstTxWarp>
          </a:bodyPr>
          <a:lstStyle>
            <a:lvl1pPr>
              <a:defRPr lang="en-US" dirty="0">
                <a:solidFill>
                  <a:schemeClr val="bg1"/>
                </a:solidFill>
              </a:defRPr>
            </a:lvl1pPr>
          </a:lstStyle>
          <a:p>
            <a:pPr lvl="0"/>
            <a:r>
              <a:rPr lang="en-US"/>
              <a:t>Click to edit Master title style</a:t>
            </a:r>
            <a:endParaRPr lang="en-US" dirty="0"/>
          </a:p>
        </p:txBody>
      </p:sp>
    </p:spTree>
    <p:extLst>
      <p:ext uri="{BB962C8B-B14F-4D97-AF65-F5344CB8AC3E}">
        <p14:creationId xmlns:p14="http://schemas.microsoft.com/office/powerpoint/2010/main" val="416530413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ouble Col List, Subtitles, No Border">
    <p:spTree>
      <p:nvGrpSpPr>
        <p:cNvPr id="1" name=""/>
        <p:cNvGrpSpPr/>
        <p:nvPr/>
      </p:nvGrpSpPr>
      <p:grpSpPr>
        <a:xfrm>
          <a:off x="0" y="0"/>
          <a:ext cx="0" cy="0"/>
          <a:chOff x="0" y="0"/>
          <a:chExt cx="0" cy="0"/>
        </a:xfrm>
      </p:grpSpPr>
      <p:cxnSp>
        <p:nvCxnSpPr>
          <p:cNvPr id="5" name="Straight Connector 4"/>
          <p:cNvCxnSpPr/>
          <p:nvPr userDrawn="1"/>
        </p:nvCxnSpPr>
        <p:spPr>
          <a:xfrm>
            <a:off x="609600" y="1049338"/>
            <a:ext cx="10972800" cy="0"/>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6" name="Title 1"/>
          <p:cNvSpPr>
            <a:spLocks noGrp="1"/>
          </p:cNvSpPr>
          <p:nvPr>
            <p:ph type="title"/>
          </p:nvPr>
        </p:nvSpPr>
        <p:spPr>
          <a:xfrm>
            <a:off x="609600" y="293688"/>
            <a:ext cx="10972800" cy="583022"/>
          </a:xfrm>
          <a:noFill/>
          <a:ln>
            <a:noFill/>
          </a:ln>
        </p:spPr>
        <p:txBody>
          <a:bodyPr vert="horz" wrap="square" lIns="0" tIns="0" rIns="9144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7" name="Footer Placeholder 2"/>
          <p:cNvSpPr>
            <a:spLocks noGrp="1"/>
          </p:cNvSpPr>
          <p:nvPr>
            <p:ph type="ftr" sz="quarter" idx="10"/>
          </p:nvPr>
        </p:nvSpPr>
        <p:spPr>
          <a:xfrm>
            <a:off x="6588998" y="6288088"/>
            <a:ext cx="3915833" cy="315912"/>
          </a:xfrm>
        </p:spPr>
        <p:txBody>
          <a:bodyPr/>
          <a:lstStyle>
            <a:lvl1pPr>
              <a:defRPr/>
            </a:lvl1pPr>
          </a:lstStyle>
          <a:p>
            <a:pPr>
              <a:defRPr/>
            </a:pPr>
            <a:r>
              <a:rPr lang="en-US" dirty="0"/>
              <a:t>CPUC Stakeholder Meeting</a:t>
            </a:r>
          </a:p>
        </p:txBody>
      </p:sp>
      <p:sp>
        <p:nvSpPr>
          <p:cNvPr id="8" name="Slide Number Placeholder 3"/>
          <p:cNvSpPr>
            <a:spLocks noGrp="1"/>
          </p:cNvSpPr>
          <p:nvPr>
            <p:ph type="sldNum" sz="quarter" idx="11"/>
          </p:nvPr>
        </p:nvSpPr>
        <p:spPr>
          <a:xfrm>
            <a:off x="11027859" y="6288089"/>
            <a:ext cx="554541" cy="331787"/>
          </a:xfrm>
        </p:spPr>
        <p:txBody>
          <a:bodyPr/>
          <a:lstStyle>
            <a:lvl1pPr>
              <a:defRPr/>
            </a:lvl1pPr>
          </a:lstStyle>
          <a:p>
            <a:pPr>
              <a:defRPr/>
            </a:pPr>
            <a:fld id="{CA1A322E-89A1-574C-958F-78B70F6F7E7B}" type="slidenum">
              <a:rPr lang="en-US"/>
              <a:pPr>
                <a:defRPr/>
              </a:pPr>
              <a:t>‹#›</a:t>
            </a:fld>
            <a:endParaRPr lang="en-US" dirty="0"/>
          </a:p>
        </p:txBody>
      </p:sp>
      <p:cxnSp>
        <p:nvCxnSpPr>
          <p:cNvPr id="10" name="Straight Connector 9"/>
          <p:cNvCxnSpPr/>
          <p:nvPr userDrawn="1"/>
        </p:nvCxnSpPr>
        <p:spPr>
          <a:xfrm flipV="1">
            <a:off x="10878784" y="6270626"/>
            <a:ext cx="0" cy="339725"/>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13" name="Text Placeholder 2"/>
          <p:cNvSpPr>
            <a:spLocks noGrp="1"/>
          </p:cNvSpPr>
          <p:nvPr>
            <p:ph type="body" idx="1" hasCustomPrompt="1"/>
          </p:nvPr>
        </p:nvSpPr>
        <p:spPr>
          <a:xfrm>
            <a:off x="609600" y="1049339"/>
            <a:ext cx="5386917" cy="579931"/>
          </a:xfrm>
          <a:noFill/>
          <a:ln>
            <a:noFill/>
          </a:ln>
        </p:spPr>
        <p:txBody>
          <a:bodyPr vert="horz" wrap="square" lIns="0" tIns="0" rIns="91440" bIns="0" numCol="1" anchor="b" anchorCtr="0" compatLnSpc="1">
            <a:prstTxWarp prst="textNoShape">
              <a:avLst/>
            </a:prstTxWarp>
          </a:bodyPr>
          <a:lstStyle>
            <a:lvl1pPr>
              <a:defRPr lang="en-US" b="0" i="0" baseline="0" dirty="0">
                <a:solidFill>
                  <a:schemeClr val="tx2"/>
                </a:solidFill>
                <a:latin typeface="+mj-lt"/>
                <a:cs typeface="Franklin Gothic medium"/>
              </a:defRPr>
            </a:lvl1pPr>
          </a:lstStyle>
          <a:p>
            <a:pPr marL="0" lvl="0" indent="0">
              <a:lnSpc>
                <a:spcPct val="90000"/>
              </a:lnSpc>
              <a:buNone/>
            </a:pPr>
            <a:r>
              <a:rPr lang="en-US" dirty="0"/>
              <a:t>Click to edit Master text styles</a:t>
            </a:r>
          </a:p>
        </p:txBody>
      </p:sp>
      <p:sp>
        <p:nvSpPr>
          <p:cNvPr id="14" name="Text Placeholder 4"/>
          <p:cNvSpPr>
            <a:spLocks noGrp="1"/>
          </p:cNvSpPr>
          <p:nvPr>
            <p:ph type="body" sz="quarter" idx="3"/>
          </p:nvPr>
        </p:nvSpPr>
        <p:spPr>
          <a:xfrm>
            <a:off x="6193368" y="1049339"/>
            <a:ext cx="5389033" cy="579930"/>
          </a:xfrm>
          <a:noFill/>
          <a:ln>
            <a:noFill/>
          </a:ln>
        </p:spPr>
        <p:txBody>
          <a:bodyPr vert="horz" wrap="square" lIns="0" tIns="0" rIns="91440" bIns="0" numCol="1" anchor="b" anchorCtr="0" compatLnSpc="1">
            <a:prstTxWarp prst="textNoShape">
              <a:avLst/>
            </a:prstTxWarp>
          </a:bodyPr>
          <a:lstStyle>
            <a:lvl1pPr>
              <a:defRPr lang="en-US" b="0" i="0" baseline="0" dirty="0">
                <a:solidFill>
                  <a:schemeClr val="tx2"/>
                </a:solidFill>
                <a:latin typeface="+mj-lt"/>
                <a:cs typeface="Franklin Gothic medium"/>
              </a:defRPr>
            </a:lvl1pPr>
          </a:lstStyle>
          <a:p>
            <a:pPr marL="0" lvl="0" indent="0">
              <a:lnSpc>
                <a:spcPct val="90000"/>
              </a:lnSpc>
              <a:buNone/>
            </a:pPr>
            <a:r>
              <a:rPr lang="en-US"/>
              <a:t>Click to edit Master text styles</a:t>
            </a:r>
          </a:p>
        </p:txBody>
      </p:sp>
      <p:sp>
        <p:nvSpPr>
          <p:cNvPr id="3" name="Content Placeholder 2"/>
          <p:cNvSpPr>
            <a:spLocks noGrp="1"/>
          </p:cNvSpPr>
          <p:nvPr>
            <p:ph sz="quarter" idx="16"/>
          </p:nvPr>
        </p:nvSpPr>
        <p:spPr>
          <a:xfrm>
            <a:off x="621553" y="1847312"/>
            <a:ext cx="5364480" cy="3893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2"/>
          <p:cNvSpPr>
            <a:spLocks noGrp="1"/>
          </p:cNvSpPr>
          <p:nvPr>
            <p:ph sz="quarter" idx="17"/>
          </p:nvPr>
        </p:nvSpPr>
        <p:spPr>
          <a:xfrm>
            <a:off x="6215533" y="1847312"/>
            <a:ext cx="5364480" cy="3893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Graphic 11">
            <a:extLst>
              <a:ext uri="{FF2B5EF4-FFF2-40B4-BE49-F238E27FC236}">
                <a16:creationId xmlns:a16="http://schemas.microsoft.com/office/drawing/2014/main" id="{96EDDD6F-1039-42C1-88E6-8C8AB4A5129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94197" y="6076265"/>
            <a:ext cx="1760887" cy="544735"/>
          </a:xfrm>
          <a:prstGeom prst="rect">
            <a:avLst/>
          </a:prstGeom>
        </p:spPr>
      </p:pic>
    </p:spTree>
    <p:extLst>
      <p:ext uri="{BB962C8B-B14F-4D97-AF65-F5344CB8AC3E}">
        <p14:creationId xmlns:p14="http://schemas.microsoft.com/office/powerpoint/2010/main" val="64010053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Full Slide Picture">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0"/>
            <a:ext cx="12192000" cy="6858000"/>
          </a:xfrm>
        </p:spPr>
        <p:txBody>
          <a:bodyPr/>
          <a:lstStyle>
            <a:lvl1pPr marL="0" marR="0" indent="0" algn="l" defTabSz="457200" rtl="0" eaLnBrk="0" fontAlgn="base" latinLnBrk="0" hangingPunct="0">
              <a:lnSpc>
                <a:spcPct val="110000"/>
              </a:lnSpc>
              <a:spcBef>
                <a:spcPct val="20000"/>
              </a:spcBef>
              <a:spcAft>
                <a:spcPct val="0"/>
              </a:spcAft>
              <a:buClr>
                <a:schemeClr val="accent1"/>
              </a:buClr>
              <a:buSzTx/>
              <a:buFont typeface="Wingdings" charset="2"/>
              <a:buNone/>
              <a:tabLst/>
              <a:defRPr baseline="0">
                <a:solidFill>
                  <a:schemeClr val="tx1"/>
                </a:solidFill>
              </a:defRPr>
            </a:lvl1pPr>
          </a:lstStyle>
          <a:p>
            <a:r>
              <a:rPr lang="en-US" dirty="0"/>
              <a:t>Click Graphic to Insert a Full-page Photo, or copy and paste one from the Object Gallery Slides</a:t>
            </a:r>
          </a:p>
          <a:p>
            <a:endParaRPr lang="en-US" dirty="0"/>
          </a:p>
        </p:txBody>
      </p:sp>
    </p:spTree>
    <p:extLst>
      <p:ext uri="{BB962C8B-B14F-4D97-AF65-F5344CB8AC3E}">
        <p14:creationId xmlns:p14="http://schemas.microsoft.com/office/powerpoint/2010/main" val="31396561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1143000" y="2001511"/>
            <a:ext cx="4754880" cy="777240"/>
          </a:xfrm>
        </p:spPr>
        <p:txBody>
          <a:bodyPr anchor="ctr"/>
          <a:lstStyle>
            <a:lvl1pPr marL="0" indent="0">
              <a:spcBef>
                <a:spcPts val="0"/>
              </a:spcBef>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143000" y="2721483"/>
            <a:ext cx="4754880" cy="3383280"/>
          </a:xfrm>
        </p:spPr>
        <p:txBody>
          <a:bodyPr/>
          <a:lstStyle>
            <a:lvl1pPr>
              <a:defRPr sz="22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69173" y="1999032"/>
            <a:ext cx="4754880" cy="777240"/>
          </a:xfrm>
        </p:spPr>
        <p:txBody>
          <a:bodyPr anchor="ctr"/>
          <a:lstStyle>
            <a:lvl1pPr marL="0" indent="0">
              <a:spcBef>
                <a:spcPts val="0"/>
              </a:spcBef>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69173" y="2719322"/>
            <a:ext cx="4754880" cy="3383280"/>
          </a:xfrm>
        </p:spPr>
        <p:txBody>
          <a:bodyPr/>
          <a:lstStyle>
            <a:lvl1pPr>
              <a:defRPr sz="22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3E3E4DD-8A7C-4E40-862B-F3521D1E28C0}" type="datetime1">
              <a:rPr lang="en-US" smtClean="0"/>
              <a:t>7/26/2021</a:t>
            </a:fld>
            <a:endParaRPr lang="en-US" dirty="0"/>
          </a:p>
        </p:txBody>
      </p:sp>
      <p:sp>
        <p:nvSpPr>
          <p:cNvPr id="8" name="Footer Placeholder 7"/>
          <p:cNvSpPr>
            <a:spLocks noGrp="1"/>
          </p:cNvSpPr>
          <p:nvPr>
            <p:ph type="ftr" sz="quarter" idx="11"/>
          </p:nvPr>
        </p:nvSpPr>
        <p:spPr/>
        <p:txBody>
          <a:bodyPr/>
          <a:lstStyle/>
          <a:p>
            <a:r>
              <a:rPr lang="en-US" dirty="0"/>
              <a:t>IE Semi-Annual Report: Public Workshop</a:t>
            </a:r>
          </a:p>
        </p:txBody>
      </p:sp>
      <p:sp>
        <p:nvSpPr>
          <p:cNvPr id="9" name="Slide Number Placeholder 8"/>
          <p:cNvSpPr>
            <a:spLocks noGrp="1"/>
          </p:cNvSpPr>
          <p:nvPr>
            <p:ph type="sldNum" sz="quarter" idx="12"/>
          </p:nvPr>
        </p:nvSpPr>
        <p:spPr/>
        <p:txBody>
          <a:bodyPr/>
          <a:lstStyle/>
          <a:p>
            <a:fld id="{4FAB73BC-B049-4115-A692-8D63A059BFB8}" type="slidenum">
              <a:rPr lang="en-US"/>
              <a:t>‹#›</a:t>
            </a:fld>
            <a:endParaRPr lang="en-US" dirty="0"/>
          </a:p>
        </p:txBody>
      </p:sp>
    </p:spTree>
    <p:extLst>
      <p:ext uri="{BB962C8B-B14F-4D97-AF65-F5344CB8AC3E}">
        <p14:creationId xmlns:p14="http://schemas.microsoft.com/office/powerpoint/2010/main" val="343899018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ide Selection, Border">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5370DBB-96C9-450B-B13B-032A88094834}"/>
              </a:ext>
            </a:extLst>
          </p:cNvPr>
          <p:cNvPicPr>
            <a:picLocks noChangeAspect="1"/>
          </p:cNvPicPr>
          <p:nvPr userDrawn="1"/>
        </p:nvPicPr>
        <p:blipFill>
          <a:blip r:embed="rId2"/>
          <a:srcRect/>
          <a:stretch/>
        </p:blipFill>
        <p:spPr>
          <a:xfrm>
            <a:off x="1524" y="0"/>
            <a:ext cx="12188952" cy="6858000"/>
          </a:xfrm>
          <a:prstGeom prst="rect">
            <a:avLst/>
          </a:prstGeom>
        </p:spPr>
      </p:pic>
      <p:cxnSp>
        <p:nvCxnSpPr>
          <p:cNvPr id="7" name="Straight Connector 6"/>
          <p:cNvCxnSpPr/>
          <p:nvPr/>
        </p:nvCxnSpPr>
        <p:spPr>
          <a:xfrm>
            <a:off x="609600" y="1049338"/>
            <a:ext cx="10972800" cy="0"/>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12" name="Title 1"/>
          <p:cNvSpPr>
            <a:spLocks noGrp="1"/>
          </p:cNvSpPr>
          <p:nvPr>
            <p:ph type="title"/>
          </p:nvPr>
        </p:nvSpPr>
        <p:spPr>
          <a:xfrm>
            <a:off x="609600" y="293745"/>
            <a:ext cx="10972800" cy="577851"/>
          </a:xfrm>
          <a:noFill/>
          <a:ln>
            <a:noFill/>
          </a:ln>
        </p:spPr>
        <p:txBody>
          <a:bodyPr vert="horz" wrap="square" lIns="0" tIns="0" rIns="9144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9" name="Footer Placeholder 5"/>
          <p:cNvSpPr>
            <a:spLocks noGrp="1"/>
          </p:cNvSpPr>
          <p:nvPr>
            <p:ph type="ftr" sz="quarter" idx="10"/>
          </p:nvPr>
        </p:nvSpPr>
        <p:spPr/>
        <p:txBody>
          <a:bodyPr/>
          <a:lstStyle>
            <a:lvl1pPr>
              <a:defRPr/>
            </a:lvl1pPr>
          </a:lstStyle>
          <a:p>
            <a:pPr>
              <a:defRPr/>
            </a:pPr>
            <a:r>
              <a:rPr lang="en-US" dirty="0"/>
              <a:t>CPUC Stakeholder Meeting</a:t>
            </a:r>
          </a:p>
        </p:txBody>
      </p:sp>
      <p:sp>
        <p:nvSpPr>
          <p:cNvPr id="10" name="Slide Number Placeholder 6"/>
          <p:cNvSpPr>
            <a:spLocks noGrp="1"/>
          </p:cNvSpPr>
          <p:nvPr>
            <p:ph type="sldNum" sz="quarter" idx="11"/>
          </p:nvPr>
        </p:nvSpPr>
        <p:spPr/>
        <p:txBody>
          <a:bodyPr/>
          <a:lstStyle>
            <a:lvl1pPr>
              <a:defRPr/>
            </a:lvl1pPr>
          </a:lstStyle>
          <a:p>
            <a:pPr>
              <a:defRPr/>
            </a:pPr>
            <a:fld id="{7C5BCB18-D00F-164F-9CF9-AD3BC90F529A}" type="slidenum">
              <a:rPr lang="en-US"/>
              <a:pPr>
                <a:defRPr/>
              </a:pPr>
              <a:t>‹#›</a:t>
            </a:fld>
            <a:endParaRPr lang="en-US" dirty="0"/>
          </a:p>
        </p:txBody>
      </p:sp>
      <p:sp>
        <p:nvSpPr>
          <p:cNvPr id="13" name="Text Placeholder 12"/>
          <p:cNvSpPr>
            <a:spLocks noGrp="1"/>
          </p:cNvSpPr>
          <p:nvPr>
            <p:ph type="body" sz="quarter" idx="12"/>
          </p:nvPr>
        </p:nvSpPr>
        <p:spPr>
          <a:xfrm>
            <a:off x="609600" y="1253824"/>
            <a:ext cx="5401733" cy="44929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6" name="Straight Connector 15"/>
          <p:cNvCxnSpPr/>
          <p:nvPr userDrawn="1"/>
        </p:nvCxnSpPr>
        <p:spPr>
          <a:xfrm flipV="1">
            <a:off x="10878784" y="6270626"/>
            <a:ext cx="0" cy="339725"/>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4" name="Content Placeholder 3"/>
          <p:cNvSpPr>
            <a:spLocks noGrp="1"/>
          </p:cNvSpPr>
          <p:nvPr>
            <p:ph sz="quarter" idx="14"/>
          </p:nvPr>
        </p:nvSpPr>
        <p:spPr>
          <a:xfrm>
            <a:off x="6290733" y="1254947"/>
            <a:ext cx="5291667" cy="3133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298326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Side Picture, Bord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rcRect/>
          <a:stretch/>
        </p:blipFill>
        <p:spPr>
          <a:xfrm>
            <a:off x="1524" y="0"/>
            <a:ext cx="12188952" cy="6858000"/>
          </a:xfrm>
          <a:prstGeom prst="rect">
            <a:avLst/>
          </a:prstGeom>
        </p:spPr>
      </p:pic>
      <p:cxnSp>
        <p:nvCxnSpPr>
          <p:cNvPr id="7" name="Straight Connector 6"/>
          <p:cNvCxnSpPr/>
          <p:nvPr/>
        </p:nvCxnSpPr>
        <p:spPr>
          <a:xfrm>
            <a:off x="609600" y="1049338"/>
            <a:ext cx="10972800" cy="0"/>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12" name="Title 1"/>
          <p:cNvSpPr>
            <a:spLocks noGrp="1"/>
          </p:cNvSpPr>
          <p:nvPr>
            <p:ph type="title"/>
          </p:nvPr>
        </p:nvSpPr>
        <p:spPr>
          <a:xfrm>
            <a:off x="609600" y="293745"/>
            <a:ext cx="10972800" cy="577851"/>
          </a:xfrm>
          <a:noFill/>
          <a:ln>
            <a:noFill/>
          </a:ln>
        </p:spPr>
        <p:txBody>
          <a:bodyPr vert="horz" wrap="square" lIns="0" tIns="0" rIns="9144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9" name="Footer Placeholder 5"/>
          <p:cNvSpPr>
            <a:spLocks noGrp="1"/>
          </p:cNvSpPr>
          <p:nvPr>
            <p:ph type="ftr" sz="quarter" idx="10"/>
          </p:nvPr>
        </p:nvSpPr>
        <p:spPr/>
        <p:txBody>
          <a:bodyPr/>
          <a:lstStyle>
            <a:lvl1pPr>
              <a:defRPr/>
            </a:lvl1pPr>
          </a:lstStyle>
          <a:p>
            <a:pPr>
              <a:defRPr/>
            </a:pPr>
            <a:r>
              <a:rPr lang="en-US" dirty="0"/>
              <a:t>CPUC Stakeholder Meeting</a:t>
            </a:r>
          </a:p>
        </p:txBody>
      </p:sp>
      <p:sp>
        <p:nvSpPr>
          <p:cNvPr id="10" name="Slide Number Placeholder 6"/>
          <p:cNvSpPr>
            <a:spLocks noGrp="1"/>
          </p:cNvSpPr>
          <p:nvPr>
            <p:ph type="sldNum" sz="quarter" idx="11"/>
          </p:nvPr>
        </p:nvSpPr>
        <p:spPr/>
        <p:txBody>
          <a:bodyPr/>
          <a:lstStyle>
            <a:lvl1pPr>
              <a:defRPr/>
            </a:lvl1pPr>
          </a:lstStyle>
          <a:p>
            <a:pPr>
              <a:defRPr/>
            </a:pPr>
            <a:fld id="{7C5BCB18-D00F-164F-9CF9-AD3BC90F529A}" type="slidenum">
              <a:rPr lang="en-US"/>
              <a:pPr>
                <a:defRPr/>
              </a:pPr>
              <a:t>‹#›</a:t>
            </a:fld>
            <a:endParaRPr lang="en-US" dirty="0"/>
          </a:p>
        </p:txBody>
      </p:sp>
      <p:sp>
        <p:nvSpPr>
          <p:cNvPr id="13" name="Text Placeholder 12"/>
          <p:cNvSpPr>
            <a:spLocks noGrp="1"/>
          </p:cNvSpPr>
          <p:nvPr>
            <p:ph type="body" sz="quarter" idx="12"/>
          </p:nvPr>
        </p:nvSpPr>
        <p:spPr>
          <a:xfrm>
            <a:off x="609600" y="1253824"/>
            <a:ext cx="5401733" cy="44929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Picture Placeholder 14"/>
          <p:cNvSpPr>
            <a:spLocks noGrp="1"/>
          </p:cNvSpPr>
          <p:nvPr>
            <p:ph type="pic" sz="quarter" idx="13" hasCustomPrompt="1"/>
          </p:nvPr>
        </p:nvSpPr>
        <p:spPr>
          <a:xfrm>
            <a:off x="6290733" y="1246189"/>
            <a:ext cx="5291667" cy="3133725"/>
          </a:xfrm>
        </p:spPr>
        <p:txBody>
          <a:bodyPr/>
          <a:lstStyle>
            <a:lvl1pPr marL="0" marR="0" indent="0" algn="l" defTabSz="457200" rtl="0" eaLnBrk="0" fontAlgn="base" latinLnBrk="0" hangingPunct="0">
              <a:lnSpc>
                <a:spcPct val="110000"/>
              </a:lnSpc>
              <a:spcBef>
                <a:spcPct val="20000"/>
              </a:spcBef>
              <a:spcAft>
                <a:spcPct val="0"/>
              </a:spcAft>
              <a:buClr>
                <a:schemeClr val="accent1"/>
              </a:buClr>
              <a:buSzTx/>
              <a:buFont typeface="Wingdings" charset="2"/>
              <a:buNone/>
              <a:tabLst/>
              <a:defRPr sz="1000" baseline="0">
                <a:solidFill>
                  <a:srgbClr val="00A3E0"/>
                </a:solidFill>
              </a:defRPr>
            </a:lvl1pPr>
          </a:lstStyle>
          <a:p>
            <a:r>
              <a:rPr lang="en-US" dirty="0"/>
              <a:t>Click Center Graphic to Insert a Photo, or copy and paste one from the Object Gallery Slides</a:t>
            </a:r>
          </a:p>
          <a:p>
            <a:endParaRPr lang="en-US" dirty="0"/>
          </a:p>
        </p:txBody>
      </p:sp>
      <p:cxnSp>
        <p:nvCxnSpPr>
          <p:cNvPr id="16" name="Straight Connector 15"/>
          <p:cNvCxnSpPr/>
          <p:nvPr userDrawn="1"/>
        </p:nvCxnSpPr>
        <p:spPr>
          <a:xfrm flipV="1">
            <a:off x="10878784" y="6270626"/>
            <a:ext cx="0" cy="339725"/>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486694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ide Picture, No Bord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08B88A3-C2CD-48BB-B754-DEC35D6F2442}"/>
              </a:ext>
            </a:extLst>
          </p:cNvPr>
          <p:cNvPicPr>
            <a:picLocks noChangeAspect="1"/>
          </p:cNvPicPr>
          <p:nvPr userDrawn="1"/>
        </p:nvPicPr>
        <p:blipFill>
          <a:blip r:embed="rId2"/>
          <a:srcRect/>
          <a:stretch/>
        </p:blipFill>
        <p:spPr>
          <a:xfrm>
            <a:off x="1525" y="0"/>
            <a:ext cx="12188950" cy="6857999"/>
          </a:xfrm>
          <a:prstGeom prst="rect">
            <a:avLst/>
          </a:prstGeom>
        </p:spPr>
      </p:pic>
      <p:cxnSp>
        <p:nvCxnSpPr>
          <p:cNvPr id="6" name="Straight Connector 5"/>
          <p:cNvCxnSpPr/>
          <p:nvPr userDrawn="1"/>
        </p:nvCxnSpPr>
        <p:spPr>
          <a:xfrm>
            <a:off x="609600" y="1049338"/>
            <a:ext cx="10972800" cy="0"/>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7" name="Title 1"/>
          <p:cNvSpPr>
            <a:spLocks noGrp="1"/>
          </p:cNvSpPr>
          <p:nvPr>
            <p:ph type="title"/>
          </p:nvPr>
        </p:nvSpPr>
        <p:spPr>
          <a:xfrm>
            <a:off x="609600" y="293745"/>
            <a:ext cx="10972800" cy="577851"/>
          </a:xfrm>
          <a:noFill/>
          <a:ln>
            <a:noFill/>
          </a:ln>
        </p:spPr>
        <p:txBody>
          <a:bodyPr vert="horz" wrap="square" lIns="0" tIns="0" rIns="9144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8" name="Footer Placeholder 5"/>
          <p:cNvSpPr>
            <a:spLocks noGrp="1"/>
          </p:cNvSpPr>
          <p:nvPr>
            <p:ph type="ftr" sz="quarter" idx="10"/>
          </p:nvPr>
        </p:nvSpPr>
        <p:spPr>
          <a:xfrm>
            <a:off x="6588998" y="6288088"/>
            <a:ext cx="3915833" cy="315912"/>
          </a:xfrm>
        </p:spPr>
        <p:txBody>
          <a:bodyPr/>
          <a:lstStyle>
            <a:lvl1pPr>
              <a:defRPr/>
            </a:lvl1pPr>
          </a:lstStyle>
          <a:p>
            <a:pPr>
              <a:defRPr/>
            </a:pPr>
            <a:r>
              <a:rPr lang="en-US" dirty="0"/>
              <a:t>CPUC Stakeholder Meeting</a:t>
            </a:r>
          </a:p>
        </p:txBody>
      </p:sp>
      <p:sp>
        <p:nvSpPr>
          <p:cNvPr id="9" name="Slide Number Placeholder 6"/>
          <p:cNvSpPr>
            <a:spLocks noGrp="1"/>
          </p:cNvSpPr>
          <p:nvPr>
            <p:ph type="sldNum" sz="quarter" idx="11"/>
          </p:nvPr>
        </p:nvSpPr>
        <p:spPr>
          <a:xfrm>
            <a:off x="11027859" y="6288089"/>
            <a:ext cx="554541" cy="331787"/>
          </a:xfrm>
        </p:spPr>
        <p:txBody>
          <a:bodyPr/>
          <a:lstStyle>
            <a:lvl1pPr>
              <a:defRPr/>
            </a:lvl1pPr>
          </a:lstStyle>
          <a:p>
            <a:pPr>
              <a:defRPr/>
            </a:pPr>
            <a:fld id="{7C5BCB18-D00F-164F-9CF9-AD3BC90F529A}" type="slidenum">
              <a:rPr lang="en-US"/>
              <a:pPr>
                <a:defRPr/>
              </a:pPr>
              <a:t>‹#›</a:t>
            </a:fld>
            <a:endParaRPr lang="en-US" dirty="0"/>
          </a:p>
        </p:txBody>
      </p:sp>
      <p:sp>
        <p:nvSpPr>
          <p:cNvPr id="11" name="Text Placeholder 12"/>
          <p:cNvSpPr>
            <a:spLocks noGrp="1"/>
          </p:cNvSpPr>
          <p:nvPr>
            <p:ph type="body" sz="quarter" idx="12"/>
          </p:nvPr>
        </p:nvSpPr>
        <p:spPr>
          <a:xfrm>
            <a:off x="609600" y="1253825"/>
            <a:ext cx="5401733" cy="4276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4"/>
          <p:cNvSpPr>
            <a:spLocks noGrp="1"/>
          </p:cNvSpPr>
          <p:nvPr>
            <p:ph type="pic" sz="quarter" idx="13" hasCustomPrompt="1"/>
          </p:nvPr>
        </p:nvSpPr>
        <p:spPr>
          <a:xfrm>
            <a:off x="6290733" y="1246189"/>
            <a:ext cx="5291667" cy="3133725"/>
          </a:xfrm>
        </p:spPr>
        <p:txBody>
          <a:bodyPr/>
          <a:lstStyle>
            <a:lvl1pPr marL="0" marR="0" indent="0" algn="l" defTabSz="457200" rtl="0" eaLnBrk="0" fontAlgn="base" latinLnBrk="0" hangingPunct="0">
              <a:lnSpc>
                <a:spcPct val="110000"/>
              </a:lnSpc>
              <a:spcBef>
                <a:spcPct val="20000"/>
              </a:spcBef>
              <a:spcAft>
                <a:spcPct val="0"/>
              </a:spcAft>
              <a:buClr>
                <a:schemeClr val="accent1"/>
              </a:buClr>
              <a:buSzTx/>
              <a:buFont typeface="Wingdings" charset="2"/>
              <a:buNone/>
              <a:tabLst/>
              <a:defRPr sz="1000" baseline="0">
                <a:solidFill>
                  <a:schemeClr val="bg1"/>
                </a:solidFill>
              </a:defRPr>
            </a:lvl1pPr>
          </a:lstStyle>
          <a:p>
            <a:r>
              <a:rPr lang="en-US" dirty="0"/>
              <a:t>Click Center Graphic to Insert a Photo, or copy and paste one from the Object Gallery Slides</a:t>
            </a:r>
          </a:p>
          <a:p>
            <a:endParaRPr lang="en-US" dirty="0"/>
          </a:p>
        </p:txBody>
      </p:sp>
      <p:cxnSp>
        <p:nvCxnSpPr>
          <p:cNvPr id="13" name="Straight Connector 12"/>
          <p:cNvCxnSpPr/>
          <p:nvPr userDrawn="1"/>
        </p:nvCxnSpPr>
        <p:spPr>
          <a:xfrm flipV="1">
            <a:off x="10878784" y="6270626"/>
            <a:ext cx="0" cy="339725"/>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8368454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ide Chart, Border">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rcRect/>
          <a:stretch/>
        </p:blipFill>
        <p:spPr>
          <a:xfrm>
            <a:off x="1524" y="0"/>
            <a:ext cx="12188952" cy="6858000"/>
          </a:xfrm>
          <a:prstGeom prst="rect">
            <a:avLst/>
          </a:prstGeom>
        </p:spPr>
      </p:pic>
      <p:cxnSp>
        <p:nvCxnSpPr>
          <p:cNvPr id="6" name="Straight Connector 5"/>
          <p:cNvCxnSpPr/>
          <p:nvPr userDrawn="1"/>
        </p:nvCxnSpPr>
        <p:spPr>
          <a:xfrm>
            <a:off x="609600" y="1049338"/>
            <a:ext cx="10972800" cy="0"/>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7" name="Title 1"/>
          <p:cNvSpPr>
            <a:spLocks noGrp="1"/>
          </p:cNvSpPr>
          <p:nvPr>
            <p:ph type="title"/>
          </p:nvPr>
        </p:nvSpPr>
        <p:spPr>
          <a:xfrm>
            <a:off x="609600" y="293745"/>
            <a:ext cx="10972800" cy="577851"/>
          </a:xfrm>
          <a:noFill/>
          <a:ln>
            <a:noFill/>
          </a:ln>
        </p:spPr>
        <p:txBody>
          <a:bodyPr vert="horz" wrap="square" lIns="0" tIns="0" rIns="9144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8" name="Footer Placeholder 5"/>
          <p:cNvSpPr>
            <a:spLocks noGrp="1"/>
          </p:cNvSpPr>
          <p:nvPr>
            <p:ph type="ftr" sz="quarter" idx="10"/>
          </p:nvPr>
        </p:nvSpPr>
        <p:spPr>
          <a:xfrm>
            <a:off x="6588998" y="6288088"/>
            <a:ext cx="3915833" cy="315912"/>
          </a:xfrm>
        </p:spPr>
        <p:txBody>
          <a:bodyPr/>
          <a:lstStyle>
            <a:lvl1pPr>
              <a:defRPr/>
            </a:lvl1pPr>
          </a:lstStyle>
          <a:p>
            <a:pPr>
              <a:defRPr/>
            </a:pPr>
            <a:r>
              <a:rPr lang="en-US" dirty="0"/>
              <a:t>CPUC Stakeholder Meeting</a:t>
            </a:r>
          </a:p>
        </p:txBody>
      </p:sp>
      <p:sp>
        <p:nvSpPr>
          <p:cNvPr id="9" name="Slide Number Placeholder 6"/>
          <p:cNvSpPr>
            <a:spLocks noGrp="1"/>
          </p:cNvSpPr>
          <p:nvPr>
            <p:ph type="sldNum" sz="quarter" idx="11"/>
          </p:nvPr>
        </p:nvSpPr>
        <p:spPr>
          <a:xfrm>
            <a:off x="11027859" y="6288089"/>
            <a:ext cx="554541" cy="331787"/>
          </a:xfrm>
        </p:spPr>
        <p:txBody>
          <a:bodyPr/>
          <a:lstStyle>
            <a:lvl1pPr>
              <a:defRPr/>
            </a:lvl1pPr>
          </a:lstStyle>
          <a:p>
            <a:pPr>
              <a:defRPr/>
            </a:pPr>
            <a:fld id="{7C5BCB18-D00F-164F-9CF9-AD3BC90F529A}" type="slidenum">
              <a:rPr lang="en-US"/>
              <a:pPr>
                <a:defRPr/>
              </a:pPr>
              <a:t>‹#›</a:t>
            </a:fld>
            <a:endParaRPr lang="en-US" dirty="0"/>
          </a:p>
        </p:txBody>
      </p:sp>
      <p:sp>
        <p:nvSpPr>
          <p:cNvPr id="11" name="Text Placeholder 12"/>
          <p:cNvSpPr>
            <a:spLocks noGrp="1"/>
          </p:cNvSpPr>
          <p:nvPr>
            <p:ph type="body" sz="quarter" idx="12"/>
          </p:nvPr>
        </p:nvSpPr>
        <p:spPr>
          <a:xfrm>
            <a:off x="609600" y="1253824"/>
            <a:ext cx="5401733" cy="44864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userDrawn="1"/>
        </p:nvCxnSpPr>
        <p:spPr>
          <a:xfrm flipV="1">
            <a:off x="10878784" y="6270626"/>
            <a:ext cx="0" cy="339725"/>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15" name="Chart Placeholder 14"/>
          <p:cNvSpPr>
            <a:spLocks noGrp="1"/>
          </p:cNvSpPr>
          <p:nvPr>
            <p:ph type="chart" sz="quarter" idx="13" hasCustomPrompt="1"/>
          </p:nvPr>
        </p:nvSpPr>
        <p:spPr>
          <a:xfrm>
            <a:off x="6195485" y="1246188"/>
            <a:ext cx="5386916" cy="4284662"/>
          </a:xfrm>
        </p:spPr>
        <p:txBody>
          <a:bodyPr/>
          <a:lstStyle>
            <a:lvl1pPr marL="0" marR="0" indent="0" algn="l" defTabSz="457200" rtl="0" eaLnBrk="0" fontAlgn="base" latinLnBrk="0" hangingPunct="0">
              <a:lnSpc>
                <a:spcPct val="110000"/>
              </a:lnSpc>
              <a:spcBef>
                <a:spcPct val="20000"/>
              </a:spcBef>
              <a:spcAft>
                <a:spcPct val="0"/>
              </a:spcAft>
              <a:buClr>
                <a:schemeClr val="accent1"/>
              </a:buClr>
              <a:buSzTx/>
              <a:buFont typeface="Wingdings" charset="2"/>
              <a:buNone/>
              <a:tabLst/>
              <a:defRPr sz="1000" baseline="0">
                <a:solidFill>
                  <a:srgbClr val="00A3E0"/>
                </a:solidFill>
              </a:defRPr>
            </a:lvl1pPr>
          </a:lstStyle>
          <a:p>
            <a:r>
              <a:rPr lang="en-US" dirty="0"/>
              <a:t>Click the center chart graphic to insert a chart, or copy and paste one from the Object Gallery Slides</a:t>
            </a:r>
          </a:p>
          <a:p>
            <a:endParaRPr lang="en-US" dirty="0"/>
          </a:p>
        </p:txBody>
      </p:sp>
    </p:spTree>
    <p:extLst>
      <p:ext uri="{BB962C8B-B14F-4D97-AF65-F5344CB8AC3E}">
        <p14:creationId xmlns:p14="http://schemas.microsoft.com/office/powerpoint/2010/main" val="429229778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ide Chart, No Border">
    <p:spTree>
      <p:nvGrpSpPr>
        <p:cNvPr id="1" name=""/>
        <p:cNvGrpSpPr/>
        <p:nvPr/>
      </p:nvGrpSpPr>
      <p:grpSpPr>
        <a:xfrm>
          <a:off x="0" y="0"/>
          <a:ext cx="0" cy="0"/>
          <a:chOff x="0" y="0"/>
          <a:chExt cx="0" cy="0"/>
        </a:xfrm>
      </p:grpSpPr>
      <p:cxnSp>
        <p:nvCxnSpPr>
          <p:cNvPr id="6" name="Straight Connector 5"/>
          <p:cNvCxnSpPr/>
          <p:nvPr userDrawn="1"/>
        </p:nvCxnSpPr>
        <p:spPr>
          <a:xfrm>
            <a:off x="609600" y="1049338"/>
            <a:ext cx="10972800" cy="0"/>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7" name="Title 1"/>
          <p:cNvSpPr>
            <a:spLocks noGrp="1"/>
          </p:cNvSpPr>
          <p:nvPr>
            <p:ph type="title"/>
          </p:nvPr>
        </p:nvSpPr>
        <p:spPr>
          <a:xfrm>
            <a:off x="609600" y="293745"/>
            <a:ext cx="10972800" cy="577851"/>
          </a:xfrm>
          <a:noFill/>
          <a:ln>
            <a:noFill/>
          </a:ln>
        </p:spPr>
        <p:txBody>
          <a:bodyPr vert="horz" wrap="square" lIns="0" tIns="0" rIns="9144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8" name="Footer Placeholder 5"/>
          <p:cNvSpPr>
            <a:spLocks noGrp="1"/>
          </p:cNvSpPr>
          <p:nvPr>
            <p:ph type="ftr" sz="quarter" idx="10"/>
          </p:nvPr>
        </p:nvSpPr>
        <p:spPr>
          <a:xfrm>
            <a:off x="6588998" y="6288088"/>
            <a:ext cx="3915833" cy="315912"/>
          </a:xfrm>
        </p:spPr>
        <p:txBody>
          <a:bodyPr/>
          <a:lstStyle>
            <a:lvl1pPr>
              <a:defRPr/>
            </a:lvl1pPr>
          </a:lstStyle>
          <a:p>
            <a:pPr>
              <a:defRPr/>
            </a:pPr>
            <a:r>
              <a:rPr lang="en-US" dirty="0"/>
              <a:t>CPUC Stakeholder Meeting</a:t>
            </a:r>
          </a:p>
        </p:txBody>
      </p:sp>
      <p:sp>
        <p:nvSpPr>
          <p:cNvPr id="9" name="Slide Number Placeholder 6"/>
          <p:cNvSpPr>
            <a:spLocks noGrp="1"/>
          </p:cNvSpPr>
          <p:nvPr>
            <p:ph type="sldNum" sz="quarter" idx="11"/>
          </p:nvPr>
        </p:nvSpPr>
        <p:spPr>
          <a:xfrm>
            <a:off x="11027859" y="6288089"/>
            <a:ext cx="554541" cy="331787"/>
          </a:xfrm>
        </p:spPr>
        <p:txBody>
          <a:bodyPr/>
          <a:lstStyle>
            <a:lvl1pPr>
              <a:defRPr/>
            </a:lvl1pPr>
          </a:lstStyle>
          <a:p>
            <a:pPr>
              <a:defRPr/>
            </a:pPr>
            <a:fld id="{7C5BCB18-D00F-164F-9CF9-AD3BC90F529A}" type="slidenum">
              <a:rPr lang="en-US"/>
              <a:pPr>
                <a:defRPr/>
              </a:pPr>
              <a:t>‹#›</a:t>
            </a:fld>
            <a:endParaRPr lang="en-US" dirty="0"/>
          </a:p>
        </p:txBody>
      </p:sp>
      <p:sp>
        <p:nvSpPr>
          <p:cNvPr id="11" name="Text Placeholder 12"/>
          <p:cNvSpPr>
            <a:spLocks noGrp="1"/>
          </p:cNvSpPr>
          <p:nvPr>
            <p:ph type="body" sz="quarter" idx="12"/>
          </p:nvPr>
        </p:nvSpPr>
        <p:spPr>
          <a:xfrm>
            <a:off x="609600" y="1253824"/>
            <a:ext cx="5401733" cy="44864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p:cNvCxnSpPr/>
          <p:nvPr userDrawn="1"/>
        </p:nvCxnSpPr>
        <p:spPr>
          <a:xfrm flipV="1">
            <a:off x="10878784" y="6270626"/>
            <a:ext cx="0" cy="339725"/>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13" name="Chart Placeholder 14"/>
          <p:cNvSpPr>
            <a:spLocks noGrp="1"/>
          </p:cNvSpPr>
          <p:nvPr>
            <p:ph type="chart" sz="quarter" idx="13" hasCustomPrompt="1"/>
          </p:nvPr>
        </p:nvSpPr>
        <p:spPr>
          <a:xfrm>
            <a:off x="6195485" y="1246188"/>
            <a:ext cx="5386916" cy="4494078"/>
          </a:xfrm>
        </p:spPr>
        <p:txBody>
          <a:bodyPr/>
          <a:lstStyle>
            <a:lvl1pPr marL="0" marR="0" indent="0" algn="l" defTabSz="457200" rtl="0" eaLnBrk="0" fontAlgn="base" latinLnBrk="0" hangingPunct="0">
              <a:lnSpc>
                <a:spcPct val="110000"/>
              </a:lnSpc>
              <a:spcBef>
                <a:spcPct val="20000"/>
              </a:spcBef>
              <a:spcAft>
                <a:spcPct val="0"/>
              </a:spcAft>
              <a:buClr>
                <a:schemeClr val="accent1"/>
              </a:buClr>
              <a:buSzTx/>
              <a:buFont typeface="Wingdings" charset="2"/>
              <a:buNone/>
              <a:tabLst/>
              <a:defRPr sz="1000" baseline="0">
                <a:solidFill>
                  <a:srgbClr val="00A3E0"/>
                </a:solidFill>
              </a:defRPr>
            </a:lvl1pPr>
          </a:lstStyle>
          <a:p>
            <a:r>
              <a:rPr lang="en-US" dirty="0"/>
              <a:t>Click the center chart graphic to insert a chart, or copy and paste one from the Object Gallery Slides</a:t>
            </a:r>
          </a:p>
          <a:p>
            <a:endParaRPr lang="en-US" dirty="0"/>
          </a:p>
        </p:txBody>
      </p:sp>
      <p:pic>
        <p:nvPicPr>
          <p:cNvPr id="14" name="Graphic 13">
            <a:extLst>
              <a:ext uri="{FF2B5EF4-FFF2-40B4-BE49-F238E27FC236}">
                <a16:creationId xmlns:a16="http://schemas.microsoft.com/office/drawing/2014/main" id="{CF90C00B-C625-46F3-8DAA-D9EBCD8AE00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94197" y="6076265"/>
            <a:ext cx="1760887" cy="544735"/>
          </a:xfrm>
          <a:prstGeom prst="rect">
            <a:avLst/>
          </a:prstGeom>
        </p:spPr>
      </p:pic>
    </p:spTree>
    <p:extLst>
      <p:ext uri="{BB962C8B-B14F-4D97-AF65-F5344CB8AC3E}">
        <p14:creationId xmlns:p14="http://schemas.microsoft.com/office/powerpoint/2010/main" val="107123868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Full Chart, Border">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rcRect/>
          <a:stretch/>
        </p:blipFill>
        <p:spPr>
          <a:xfrm>
            <a:off x="1524" y="0"/>
            <a:ext cx="12188952" cy="6858000"/>
          </a:xfrm>
          <a:prstGeom prst="rect">
            <a:avLst/>
          </a:prstGeom>
        </p:spPr>
      </p:pic>
      <p:cxnSp>
        <p:nvCxnSpPr>
          <p:cNvPr id="6" name="Straight Connector 5"/>
          <p:cNvCxnSpPr/>
          <p:nvPr userDrawn="1"/>
        </p:nvCxnSpPr>
        <p:spPr>
          <a:xfrm>
            <a:off x="609600" y="1049338"/>
            <a:ext cx="10972800" cy="0"/>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7" name="Title 1"/>
          <p:cNvSpPr>
            <a:spLocks noGrp="1"/>
          </p:cNvSpPr>
          <p:nvPr>
            <p:ph type="title"/>
          </p:nvPr>
        </p:nvSpPr>
        <p:spPr>
          <a:xfrm>
            <a:off x="609600" y="293745"/>
            <a:ext cx="10972800" cy="577851"/>
          </a:xfrm>
          <a:noFill/>
          <a:ln>
            <a:noFill/>
          </a:ln>
        </p:spPr>
        <p:txBody>
          <a:bodyPr vert="horz" wrap="square" lIns="0" tIns="0" rIns="9144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8" name="Footer Placeholder 5"/>
          <p:cNvSpPr>
            <a:spLocks noGrp="1"/>
          </p:cNvSpPr>
          <p:nvPr>
            <p:ph type="ftr" sz="quarter" idx="10"/>
          </p:nvPr>
        </p:nvSpPr>
        <p:spPr>
          <a:xfrm>
            <a:off x="6588998" y="6288088"/>
            <a:ext cx="3915833" cy="315912"/>
          </a:xfrm>
        </p:spPr>
        <p:txBody>
          <a:bodyPr/>
          <a:lstStyle>
            <a:lvl1pPr>
              <a:defRPr/>
            </a:lvl1pPr>
          </a:lstStyle>
          <a:p>
            <a:pPr>
              <a:defRPr/>
            </a:pPr>
            <a:r>
              <a:rPr lang="en-US" dirty="0"/>
              <a:t>CPUC Stakeholder Meeting</a:t>
            </a:r>
          </a:p>
        </p:txBody>
      </p:sp>
      <p:sp>
        <p:nvSpPr>
          <p:cNvPr id="9" name="Slide Number Placeholder 6"/>
          <p:cNvSpPr>
            <a:spLocks noGrp="1"/>
          </p:cNvSpPr>
          <p:nvPr>
            <p:ph type="sldNum" sz="quarter" idx="11"/>
          </p:nvPr>
        </p:nvSpPr>
        <p:spPr>
          <a:xfrm>
            <a:off x="11027859" y="6288089"/>
            <a:ext cx="554541" cy="331787"/>
          </a:xfrm>
        </p:spPr>
        <p:txBody>
          <a:bodyPr/>
          <a:lstStyle>
            <a:lvl1pPr>
              <a:defRPr/>
            </a:lvl1pPr>
          </a:lstStyle>
          <a:p>
            <a:pPr>
              <a:defRPr/>
            </a:pPr>
            <a:fld id="{7C5BCB18-D00F-164F-9CF9-AD3BC90F529A}" type="slidenum">
              <a:rPr lang="en-US"/>
              <a:pPr>
                <a:defRPr/>
              </a:pPr>
              <a:t>‹#›</a:t>
            </a:fld>
            <a:endParaRPr lang="en-US" dirty="0"/>
          </a:p>
        </p:txBody>
      </p:sp>
      <p:cxnSp>
        <p:nvCxnSpPr>
          <p:cNvPr id="12" name="Straight Connector 11"/>
          <p:cNvCxnSpPr/>
          <p:nvPr userDrawn="1"/>
        </p:nvCxnSpPr>
        <p:spPr>
          <a:xfrm flipV="1">
            <a:off x="10878784" y="6270626"/>
            <a:ext cx="0" cy="339725"/>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3" name="Content Placeholder 2"/>
          <p:cNvSpPr>
            <a:spLocks noGrp="1"/>
          </p:cNvSpPr>
          <p:nvPr>
            <p:ph sz="quarter" idx="12"/>
          </p:nvPr>
        </p:nvSpPr>
        <p:spPr>
          <a:xfrm>
            <a:off x="609600" y="1246188"/>
            <a:ext cx="10972800" cy="4500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1872754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Full Chart, No Border">
    <p:spTree>
      <p:nvGrpSpPr>
        <p:cNvPr id="1" name=""/>
        <p:cNvGrpSpPr/>
        <p:nvPr/>
      </p:nvGrpSpPr>
      <p:grpSpPr>
        <a:xfrm>
          <a:off x="0" y="0"/>
          <a:ext cx="0" cy="0"/>
          <a:chOff x="0" y="0"/>
          <a:chExt cx="0" cy="0"/>
        </a:xfrm>
      </p:grpSpPr>
      <p:cxnSp>
        <p:nvCxnSpPr>
          <p:cNvPr id="6" name="Straight Connector 5"/>
          <p:cNvCxnSpPr/>
          <p:nvPr userDrawn="1"/>
        </p:nvCxnSpPr>
        <p:spPr>
          <a:xfrm>
            <a:off x="609600" y="1049338"/>
            <a:ext cx="10972800" cy="0"/>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7" name="Title 1"/>
          <p:cNvSpPr>
            <a:spLocks noGrp="1"/>
          </p:cNvSpPr>
          <p:nvPr>
            <p:ph type="title"/>
          </p:nvPr>
        </p:nvSpPr>
        <p:spPr>
          <a:xfrm>
            <a:off x="609600" y="293745"/>
            <a:ext cx="10972800" cy="577851"/>
          </a:xfrm>
          <a:noFill/>
          <a:ln>
            <a:noFill/>
          </a:ln>
        </p:spPr>
        <p:txBody>
          <a:bodyPr vert="horz" wrap="square" lIns="0" tIns="0" rIns="9144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8" name="Footer Placeholder 5"/>
          <p:cNvSpPr>
            <a:spLocks noGrp="1"/>
          </p:cNvSpPr>
          <p:nvPr>
            <p:ph type="ftr" sz="quarter" idx="10"/>
          </p:nvPr>
        </p:nvSpPr>
        <p:spPr>
          <a:xfrm>
            <a:off x="6588998" y="6288088"/>
            <a:ext cx="3915833" cy="315912"/>
          </a:xfrm>
        </p:spPr>
        <p:txBody>
          <a:bodyPr/>
          <a:lstStyle>
            <a:lvl1pPr>
              <a:defRPr/>
            </a:lvl1pPr>
          </a:lstStyle>
          <a:p>
            <a:pPr>
              <a:defRPr/>
            </a:pPr>
            <a:r>
              <a:rPr lang="en-US" dirty="0"/>
              <a:t>CPUC Stakeholder Meeting</a:t>
            </a:r>
          </a:p>
        </p:txBody>
      </p:sp>
      <p:sp>
        <p:nvSpPr>
          <p:cNvPr id="9" name="Slide Number Placeholder 6"/>
          <p:cNvSpPr>
            <a:spLocks noGrp="1"/>
          </p:cNvSpPr>
          <p:nvPr>
            <p:ph type="sldNum" sz="quarter" idx="11"/>
          </p:nvPr>
        </p:nvSpPr>
        <p:spPr>
          <a:xfrm>
            <a:off x="11027859" y="6288089"/>
            <a:ext cx="554541" cy="331787"/>
          </a:xfrm>
        </p:spPr>
        <p:txBody>
          <a:bodyPr/>
          <a:lstStyle>
            <a:lvl1pPr>
              <a:defRPr/>
            </a:lvl1pPr>
          </a:lstStyle>
          <a:p>
            <a:pPr>
              <a:defRPr/>
            </a:pPr>
            <a:fld id="{7C5BCB18-D00F-164F-9CF9-AD3BC90F529A}" type="slidenum">
              <a:rPr lang="en-US"/>
              <a:pPr>
                <a:defRPr/>
              </a:pPr>
              <a:t>‹#›</a:t>
            </a:fld>
            <a:endParaRPr lang="en-US" dirty="0"/>
          </a:p>
        </p:txBody>
      </p:sp>
      <p:cxnSp>
        <p:nvCxnSpPr>
          <p:cNvPr id="11" name="Straight Connector 10"/>
          <p:cNvCxnSpPr/>
          <p:nvPr userDrawn="1"/>
        </p:nvCxnSpPr>
        <p:spPr>
          <a:xfrm flipV="1">
            <a:off x="10878784" y="6270626"/>
            <a:ext cx="0" cy="339725"/>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3" name="Content Placeholder 2"/>
          <p:cNvSpPr>
            <a:spLocks noGrp="1"/>
          </p:cNvSpPr>
          <p:nvPr>
            <p:ph sz="quarter" idx="12"/>
          </p:nvPr>
        </p:nvSpPr>
        <p:spPr>
          <a:xfrm>
            <a:off x="609600" y="1246188"/>
            <a:ext cx="10972800" cy="4500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Graphic 11">
            <a:extLst>
              <a:ext uri="{FF2B5EF4-FFF2-40B4-BE49-F238E27FC236}">
                <a16:creationId xmlns:a16="http://schemas.microsoft.com/office/drawing/2014/main" id="{8756D6AD-DEBC-4E1E-AAD1-A464222C563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94197" y="6076265"/>
            <a:ext cx="1760887" cy="544735"/>
          </a:xfrm>
          <a:prstGeom prst="rect">
            <a:avLst/>
          </a:prstGeom>
        </p:spPr>
      </p:pic>
    </p:spTree>
    <p:extLst>
      <p:ext uri="{BB962C8B-B14F-4D97-AF65-F5344CB8AC3E}">
        <p14:creationId xmlns:p14="http://schemas.microsoft.com/office/powerpoint/2010/main" val="128540868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tyle Guide for Pie Charts">
    <p:spTree>
      <p:nvGrpSpPr>
        <p:cNvPr id="1" name=""/>
        <p:cNvGrpSpPr/>
        <p:nvPr/>
      </p:nvGrpSpPr>
      <p:grpSpPr>
        <a:xfrm>
          <a:off x="0" y="0"/>
          <a:ext cx="0" cy="0"/>
          <a:chOff x="0" y="0"/>
          <a:chExt cx="0" cy="0"/>
        </a:xfrm>
      </p:grpSpPr>
      <p:sp>
        <p:nvSpPr>
          <p:cNvPr id="4" name="Content Placeholder 3"/>
          <p:cNvSpPr>
            <a:spLocks noGrp="1"/>
          </p:cNvSpPr>
          <p:nvPr>
            <p:ph sz="quarter" idx="18"/>
          </p:nvPr>
        </p:nvSpPr>
        <p:spPr>
          <a:xfrm>
            <a:off x="3602567" y="1246188"/>
            <a:ext cx="7979833" cy="4500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p:cNvPicPr>
            <a:picLocks noChangeAspect="1"/>
          </p:cNvPicPr>
          <p:nvPr userDrawn="1"/>
        </p:nvPicPr>
        <p:blipFill>
          <a:blip r:embed="rId2"/>
          <a:srcRect/>
          <a:stretch/>
        </p:blipFill>
        <p:spPr>
          <a:xfrm>
            <a:off x="1524" y="0"/>
            <a:ext cx="12188952" cy="6858000"/>
          </a:xfrm>
          <a:prstGeom prst="rect">
            <a:avLst/>
          </a:prstGeom>
        </p:spPr>
      </p:pic>
      <p:cxnSp>
        <p:nvCxnSpPr>
          <p:cNvPr id="9" name="Straight Connector 8"/>
          <p:cNvCxnSpPr/>
          <p:nvPr/>
        </p:nvCxnSpPr>
        <p:spPr>
          <a:xfrm>
            <a:off x="609600" y="1049338"/>
            <a:ext cx="10972800" cy="0"/>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flipV="1">
            <a:off x="10610851" y="6270626"/>
            <a:ext cx="0" cy="339725"/>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8" name="Title 1"/>
          <p:cNvSpPr>
            <a:spLocks noGrp="1"/>
          </p:cNvSpPr>
          <p:nvPr>
            <p:ph type="title"/>
          </p:nvPr>
        </p:nvSpPr>
        <p:spPr>
          <a:xfrm>
            <a:off x="609600" y="285278"/>
            <a:ext cx="10972800" cy="577851"/>
          </a:xfrm>
          <a:noFill/>
          <a:ln>
            <a:noFill/>
          </a:ln>
        </p:spPr>
        <p:txBody>
          <a:bodyPr vert="horz" wrap="square" lIns="0" tIns="0" rIns="9144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10" name="Text Placeholder 3"/>
          <p:cNvSpPr>
            <a:spLocks noGrp="1"/>
          </p:cNvSpPr>
          <p:nvPr>
            <p:ph type="body" sz="half" idx="2"/>
          </p:nvPr>
        </p:nvSpPr>
        <p:spPr>
          <a:xfrm>
            <a:off x="609602" y="1241792"/>
            <a:ext cx="2651633" cy="265822"/>
          </a:xfrm>
          <a:noFill/>
        </p:spPr>
        <p:txBody>
          <a:bodyPr/>
          <a:lstStyle>
            <a:lvl1pPr marL="0" indent="0">
              <a:lnSpc>
                <a:spcPct val="90000"/>
              </a:lnSpc>
              <a:buNone/>
              <a:defRPr sz="1400" baseline="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4" name="Text Placeholder 3"/>
          <p:cNvSpPr>
            <a:spLocks noGrp="1"/>
          </p:cNvSpPr>
          <p:nvPr>
            <p:ph type="body" sz="half" idx="15"/>
          </p:nvPr>
        </p:nvSpPr>
        <p:spPr>
          <a:xfrm>
            <a:off x="614178" y="1652370"/>
            <a:ext cx="2570181" cy="1948725"/>
          </a:xfrm>
          <a:noFill/>
        </p:spPr>
        <p:txBody>
          <a:bodyPr/>
          <a:lstStyle>
            <a:lvl1pPr marL="0" indent="0">
              <a:lnSpc>
                <a:spcPct val="90000"/>
              </a:lnSpc>
              <a:buNone/>
              <a:defRPr sz="1400">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2" name="Footer Placeholder 2"/>
          <p:cNvSpPr>
            <a:spLocks noGrp="1"/>
          </p:cNvSpPr>
          <p:nvPr>
            <p:ph type="ftr" sz="quarter" idx="16"/>
          </p:nvPr>
        </p:nvSpPr>
        <p:spPr/>
        <p:txBody>
          <a:bodyPr/>
          <a:lstStyle>
            <a:lvl1pPr>
              <a:defRPr/>
            </a:lvl1pPr>
          </a:lstStyle>
          <a:p>
            <a:pPr>
              <a:defRPr/>
            </a:pPr>
            <a:r>
              <a:rPr lang="en-US" dirty="0"/>
              <a:t>CPUC Stakeholder Meeting</a:t>
            </a:r>
          </a:p>
        </p:txBody>
      </p:sp>
      <p:sp>
        <p:nvSpPr>
          <p:cNvPr id="13" name="Slide Number Placeholder 3"/>
          <p:cNvSpPr>
            <a:spLocks noGrp="1"/>
          </p:cNvSpPr>
          <p:nvPr>
            <p:ph type="sldNum" sz="quarter" idx="17"/>
          </p:nvPr>
        </p:nvSpPr>
        <p:spPr/>
        <p:txBody>
          <a:bodyPr/>
          <a:lstStyle>
            <a:lvl1pPr>
              <a:defRPr/>
            </a:lvl1pPr>
          </a:lstStyle>
          <a:p>
            <a:pPr>
              <a:defRPr/>
            </a:pPr>
            <a:fld id="{56F189F6-5842-8F48-BAE7-8DD6C26CDC2D}" type="slidenum">
              <a:rPr lang="en-US"/>
              <a:pPr>
                <a:defRPr/>
              </a:pPr>
              <a:t>‹#›</a:t>
            </a:fld>
            <a:endParaRPr lang="en-US" dirty="0"/>
          </a:p>
        </p:txBody>
      </p:sp>
      <p:sp>
        <p:nvSpPr>
          <p:cNvPr id="15" name="Content Placeholder 14"/>
          <p:cNvSpPr>
            <a:spLocks noGrp="1"/>
          </p:cNvSpPr>
          <p:nvPr>
            <p:ph sz="quarter" idx="19"/>
          </p:nvPr>
        </p:nvSpPr>
        <p:spPr>
          <a:xfrm>
            <a:off x="3602567" y="1246188"/>
            <a:ext cx="7979833" cy="4500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373328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Style Guide for Pie Charts">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rcRect/>
          <a:stretch/>
        </p:blipFill>
        <p:spPr>
          <a:xfrm>
            <a:off x="1524" y="0"/>
            <a:ext cx="12188952" cy="6858000"/>
          </a:xfrm>
          <a:prstGeom prst="rect">
            <a:avLst/>
          </a:prstGeom>
        </p:spPr>
      </p:pic>
      <p:graphicFrame>
        <p:nvGraphicFramePr>
          <p:cNvPr id="7" name="Chart 6"/>
          <p:cNvGraphicFramePr>
            <a:graphicFrameLocks/>
          </p:cNvGraphicFramePr>
          <p:nvPr>
            <p:extLst>
              <p:ext uri="{D42A27DB-BD31-4B8C-83A1-F6EECF244321}">
                <p14:modId xmlns:p14="http://schemas.microsoft.com/office/powerpoint/2010/main" val="1920180415"/>
              </p:ext>
            </p:extLst>
          </p:nvPr>
        </p:nvGraphicFramePr>
        <p:xfrm>
          <a:off x="3601880" y="1241792"/>
          <a:ext cx="7980520" cy="4679632"/>
        </p:xfrm>
        <a:graphic>
          <a:graphicData uri="http://schemas.openxmlformats.org/drawingml/2006/chart">
            <c:chart xmlns:c="http://schemas.openxmlformats.org/drawingml/2006/chart" xmlns:r="http://schemas.openxmlformats.org/officeDocument/2006/relationships" r:id="rId3"/>
          </a:graphicData>
        </a:graphic>
      </p:graphicFrame>
      <p:cxnSp>
        <p:nvCxnSpPr>
          <p:cNvPr id="9" name="Straight Connector 8"/>
          <p:cNvCxnSpPr/>
          <p:nvPr/>
        </p:nvCxnSpPr>
        <p:spPr>
          <a:xfrm>
            <a:off x="609600" y="1049338"/>
            <a:ext cx="10972800" cy="0"/>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flipV="1">
            <a:off x="10610851" y="6270626"/>
            <a:ext cx="0" cy="339725"/>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8" name="Title 1"/>
          <p:cNvSpPr>
            <a:spLocks noGrp="1"/>
          </p:cNvSpPr>
          <p:nvPr>
            <p:ph type="title"/>
          </p:nvPr>
        </p:nvSpPr>
        <p:spPr>
          <a:xfrm>
            <a:off x="609600" y="285278"/>
            <a:ext cx="10972800" cy="577851"/>
          </a:xfrm>
          <a:noFill/>
          <a:ln>
            <a:noFill/>
          </a:ln>
        </p:spPr>
        <p:txBody>
          <a:bodyPr vert="horz" wrap="square" lIns="0" tIns="0" rIns="9144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10" name="Text Placeholder 3"/>
          <p:cNvSpPr>
            <a:spLocks noGrp="1"/>
          </p:cNvSpPr>
          <p:nvPr>
            <p:ph type="body" sz="half" idx="2"/>
          </p:nvPr>
        </p:nvSpPr>
        <p:spPr>
          <a:xfrm>
            <a:off x="609602" y="1241792"/>
            <a:ext cx="2651633" cy="265822"/>
          </a:xfrm>
          <a:noFill/>
        </p:spPr>
        <p:txBody>
          <a:bodyPr/>
          <a:lstStyle>
            <a:lvl1pPr marL="0" indent="0">
              <a:lnSpc>
                <a:spcPct val="90000"/>
              </a:lnSpc>
              <a:buNone/>
              <a:defRPr sz="1400" baseline="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4" name="Text Placeholder 3"/>
          <p:cNvSpPr>
            <a:spLocks noGrp="1"/>
          </p:cNvSpPr>
          <p:nvPr>
            <p:ph type="body" sz="half" idx="15"/>
          </p:nvPr>
        </p:nvSpPr>
        <p:spPr>
          <a:xfrm>
            <a:off x="614178" y="1652370"/>
            <a:ext cx="2570181" cy="1948725"/>
          </a:xfrm>
          <a:noFill/>
        </p:spPr>
        <p:txBody>
          <a:bodyPr/>
          <a:lstStyle>
            <a:lvl1pPr marL="0" indent="0">
              <a:lnSpc>
                <a:spcPct val="90000"/>
              </a:lnSpc>
              <a:buNone/>
              <a:defRPr sz="1400">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2" name="Footer Placeholder 2"/>
          <p:cNvSpPr>
            <a:spLocks noGrp="1"/>
          </p:cNvSpPr>
          <p:nvPr>
            <p:ph type="ftr" sz="quarter" idx="16"/>
          </p:nvPr>
        </p:nvSpPr>
        <p:spPr/>
        <p:txBody>
          <a:bodyPr/>
          <a:lstStyle>
            <a:lvl1pPr>
              <a:defRPr/>
            </a:lvl1pPr>
          </a:lstStyle>
          <a:p>
            <a:pPr>
              <a:defRPr/>
            </a:pPr>
            <a:r>
              <a:rPr lang="en-US" dirty="0"/>
              <a:t>CPUC Stakeholder Meeting</a:t>
            </a:r>
          </a:p>
        </p:txBody>
      </p:sp>
      <p:sp>
        <p:nvSpPr>
          <p:cNvPr id="13" name="Slide Number Placeholder 3"/>
          <p:cNvSpPr>
            <a:spLocks noGrp="1"/>
          </p:cNvSpPr>
          <p:nvPr>
            <p:ph type="sldNum" sz="quarter" idx="17"/>
          </p:nvPr>
        </p:nvSpPr>
        <p:spPr/>
        <p:txBody>
          <a:bodyPr/>
          <a:lstStyle>
            <a:lvl1pPr>
              <a:defRPr/>
            </a:lvl1pPr>
          </a:lstStyle>
          <a:p>
            <a:pPr>
              <a:defRPr/>
            </a:pPr>
            <a:fld id="{56F189F6-5842-8F48-BAE7-8DD6C26CDC2D}" type="slidenum">
              <a:rPr lang="en-US"/>
              <a:pPr>
                <a:defRPr/>
              </a:pPr>
              <a:t>‹#›</a:t>
            </a:fld>
            <a:endParaRPr lang="en-US" dirty="0"/>
          </a:p>
        </p:txBody>
      </p:sp>
    </p:spTree>
    <p:extLst>
      <p:ext uri="{BB962C8B-B14F-4D97-AF65-F5344CB8AC3E}">
        <p14:creationId xmlns:p14="http://schemas.microsoft.com/office/powerpoint/2010/main" val="354831311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tyle Guide for Bar Graphs">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rcRect/>
          <a:stretch/>
        </p:blipFill>
        <p:spPr>
          <a:xfrm>
            <a:off x="1524" y="0"/>
            <a:ext cx="12188952" cy="6858000"/>
          </a:xfrm>
          <a:prstGeom prst="rect">
            <a:avLst/>
          </a:prstGeom>
        </p:spPr>
      </p:pic>
      <p:graphicFrame>
        <p:nvGraphicFramePr>
          <p:cNvPr id="9" name="Chart 8"/>
          <p:cNvGraphicFramePr>
            <a:graphicFrameLocks/>
          </p:cNvGraphicFramePr>
          <p:nvPr>
            <p:extLst>
              <p:ext uri="{D42A27DB-BD31-4B8C-83A1-F6EECF244321}">
                <p14:modId xmlns:p14="http://schemas.microsoft.com/office/powerpoint/2010/main" val="914105543"/>
              </p:ext>
            </p:extLst>
          </p:nvPr>
        </p:nvGraphicFramePr>
        <p:xfrm>
          <a:off x="3834582" y="1159855"/>
          <a:ext cx="7168807" cy="4679632"/>
        </p:xfrm>
        <a:graphic>
          <a:graphicData uri="http://schemas.openxmlformats.org/drawingml/2006/chart">
            <c:chart xmlns:c="http://schemas.openxmlformats.org/drawingml/2006/chart" xmlns:r="http://schemas.openxmlformats.org/officeDocument/2006/relationships" r:id="rId3"/>
          </a:graphicData>
        </a:graphic>
      </p:graphicFrame>
      <p:cxnSp>
        <p:nvCxnSpPr>
          <p:cNvPr id="12" name="Straight Connector 11"/>
          <p:cNvCxnSpPr/>
          <p:nvPr/>
        </p:nvCxnSpPr>
        <p:spPr>
          <a:xfrm>
            <a:off x="609600" y="1049338"/>
            <a:ext cx="10972800" cy="0"/>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10" name="Title 1"/>
          <p:cNvSpPr>
            <a:spLocks noGrp="1"/>
          </p:cNvSpPr>
          <p:nvPr>
            <p:ph type="title"/>
          </p:nvPr>
        </p:nvSpPr>
        <p:spPr>
          <a:xfrm>
            <a:off x="609600" y="285278"/>
            <a:ext cx="10972800" cy="577851"/>
          </a:xfrm>
          <a:noFill/>
          <a:ln>
            <a:noFill/>
          </a:ln>
        </p:spPr>
        <p:txBody>
          <a:bodyPr vert="horz" wrap="square" lIns="0" tIns="0" rIns="9144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11" name="Text Placeholder 3"/>
          <p:cNvSpPr>
            <a:spLocks noGrp="1"/>
          </p:cNvSpPr>
          <p:nvPr>
            <p:ph type="body" sz="half" idx="2"/>
          </p:nvPr>
        </p:nvSpPr>
        <p:spPr>
          <a:xfrm>
            <a:off x="609602" y="1241792"/>
            <a:ext cx="2651633" cy="265822"/>
          </a:xfrm>
          <a:noFill/>
        </p:spPr>
        <p:txBody>
          <a:bodyPr/>
          <a:lstStyle>
            <a:lvl1pPr marL="0" indent="0">
              <a:lnSpc>
                <a:spcPct val="90000"/>
              </a:lnSpc>
              <a:buNone/>
              <a:defRPr sz="1400" baseline="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6" name="Text Placeholder 3"/>
          <p:cNvSpPr>
            <a:spLocks noGrp="1"/>
          </p:cNvSpPr>
          <p:nvPr>
            <p:ph type="body" sz="half" idx="15"/>
          </p:nvPr>
        </p:nvSpPr>
        <p:spPr>
          <a:xfrm>
            <a:off x="614178" y="1652370"/>
            <a:ext cx="2570181" cy="1948725"/>
          </a:xfrm>
          <a:noFill/>
        </p:spPr>
        <p:txBody>
          <a:bodyPr/>
          <a:lstStyle>
            <a:lvl1pPr marL="0" indent="0">
              <a:lnSpc>
                <a:spcPct val="90000"/>
              </a:lnSpc>
              <a:buNone/>
              <a:defRPr sz="1400">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cxnSp>
        <p:nvCxnSpPr>
          <p:cNvPr id="15" name="Straight Connector 14">
            <a:extLst>
              <a:ext uri="{FF2B5EF4-FFF2-40B4-BE49-F238E27FC236}">
                <a16:creationId xmlns:a16="http://schemas.microsoft.com/office/drawing/2014/main" id="{9F99C7EA-D633-4206-9871-445F94F110A9}"/>
              </a:ext>
            </a:extLst>
          </p:cNvPr>
          <p:cNvCxnSpPr/>
          <p:nvPr userDrawn="1"/>
        </p:nvCxnSpPr>
        <p:spPr>
          <a:xfrm flipV="1">
            <a:off x="10610851" y="6270626"/>
            <a:ext cx="0" cy="339725"/>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17" name="Footer Placeholder 2">
            <a:extLst>
              <a:ext uri="{FF2B5EF4-FFF2-40B4-BE49-F238E27FC236}">
                <a16:creationId xmlns:a16="http://schemas.microsoft.com/office/drawing/2014/main" id="{71CD3F95-90ED-4450-9655-B6EC5BA50005}"/>
              </a:ext>
            </a:extLst>
          </p:cNvPr>
          <p:cNvSpPr>
            <a:spLocks noGrp="1"/>
          </p:cNvSpPr>
          <p:nvPr>
            <p:ph type="ftr" sz="quarter" idx="16"/>
          </p:nvPr>
        </p:nvSpPr>
        <p:spPr>
          <a:xfrm>
            <a:off x="6588998" y="6288088"/>
            <a:ext cx="3915833" cy="315912"/>
          </a:xfrm>
        </p:spPr>
        <p:txBody>
          <a:bodyPr/>
          <a:lstStyle>
            <a:lvl1pPr>
              <a:defRPr/>
            </a:lvl1pPr>
          </a:lstStyle>
          <a:p>
            <a:pPr>
              <a:defRPr/>
            </a:pPr>
            <a:r>
              <a:rPr lang="en-US" dirty="0"/>
              <a:t>CPUC Stakeholder Meeting</a:t>
            </a:r>
          </a:p>
        </p:txBody>
      </p:sp>
      <p:sp>
        <p:nvSpPr>
          <p:cNvPr id="18" name="Slide Number Placeholder 3">
            <a:extLst>
              <a:ext uri="{FF2B5EF4-FFF2-40B4-BE49-F238E27FC236}">
                <a16:creationId xmlns:a16="http://schemas.microsoft.com/office/drawing/2014/main" id="{B001D592-A0CC-46A7-BA8F-DA669C1ABE55}"/>
              </a:ext>
            </a:extLst>
          </p:cNvPr>
          <p:cNvSpPr>
            <a:spLocks noGrp="1"/>
          </p:cNvSpPr>
          <p:nvPr>
            <p:ph type="sldNum" sz="quarter" idx="17"/>
          </p:nvPr>
        </p:nvSpPr>
        <p:spPr>
          <a:xfrm>
            <a:off x="11027859" y="6288089"/>
            <a:ext cx="554541" cy="331787"/>
          </a:xfrm>
        </p:spPr>
        <p:txBody>
          <a:bodyPr/>
          <a:lstStyle>
            <a:lvl1pPr>
              <a:defRPr/>
            </a:lvl1pPr>
          </a:lstStyle>
          <a:p>
            <a:pPr>
              <a:defRPr/>
            </a:pPr>
            <a:fld id="{56F189F6-5842-8F48-BAE7-8DD6C26CDC2D}" type="slidenum">
              <a:rPr lang="en-US"/>
              <a:pPr>
                <a:defRPr/>
              </a:pPr>
              <a:t>‹#›</a:t>
            </a:fld>
            <a:endParaRPr lang="en-US" dirty="0"/>
          </a:p>
        </p:txBody>
      </p:sp>
    </p:spTree>
    <p:extLst>
      <p:ext uri="{BB962C8B-B14F-4D97-AF65-F5344CB8AC3E}">
        <p14:creationId xmlns:p14="http://schemas.microsoft.com/office/powerpoint/2010/main" val="1159752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r>
              <a:rPr lang="en-US" dirty="0"/>
              <a:t>6/18/2021</a:t>
            </a:r>
          </a:p>
        </p:txBody>
      </p:sp>
      <p:sp>
        <p:nvSpPr>
          <p:cNvPr id="4" name="Footer Placeholder 3"/>
          <p:cNvSpPr>
            <a:spLocks noGrp="1"/>
          </p:cNvSpPr>
          <p:nvPr>
            <p:ph type="ftr" sz="quarter" idx="11"/>
          </p:nvPr>
        </p:nvSpPr>
        <p:spPr/>
        <p:txBody>
          <a:bodyPr/>
          <a:lstStyle/>
          <a:p>
            <a:r>
              <a:rPr lang="en-US" dirty="0"/>
              <a:t>IE Semi-Annual Report: June 18, 2021 All Hands Meeting</a:t>
            </a:r>
          </a:p>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a:t>‹#›</a:t>
            </a:fld>
            <a:endParaRPr lang="en-US" dirty="0"/>
          </a:p>
        </p:txBody>
      </p:sp>
    </p:spTree>
    <p:extLst>
      <p:ext uri="{BB962C8B-B14F-4D97-AF65-F5344CB8AC3E}">
        <p14:creationId xmlns:p14="http://schemas.microsoft.com/office/powerpoint/2010/main" val="294432797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rcRect/>
          <a:stretch/>
        </p:blipFill>
        <p:spPr>
          <a:xfrm>
            <a:off x="1524" y="0"/>
            <a:ext cx="12188952" cy="6858000"/>
          </a:xfrm>
          <a:prstGeom prst="rect">
            <a:avLst/>
          </a:prstGeom>
        </p:spPr>
      </p:pic>
      <p:graphicFrame>
        <p:nvGraphicFramePr>
          <p:cNvPr id="9" name="Chart 8"/>
          <p:cNvGraphicFramePr>
            <a:graphicFrameLocks/>
          </p:cNvGraphicFramePr>
          <p:nvPr>
            <p:extLst>
              <p:ext uri="{D42A27DB-BD31-4B8C-83A1-F6EECF244321}">
                <p14:modId xmlns:p14="http://schemas.microsoft.com/office/powerpoint/2010/main" val="4164605632"/>
              </p:ext>
            </p:extLst>
          </p:nvPr>
        </p:nvGraphicFramePr>
        <p:xfrm>
          <a:off x="3561463" y="1241792"/>
          <a:ext cx="7753280" cy="4354402"/>
        </p:xfrm>
        <a:graphic>
          <a:graphicData uri="http://schemas.openxmlformats.org/drawingml/2006/chart">
            <c:chart xmlns:c="http://schemas.openxmlformats.org/drawingml/2006/chart" xmlns:r="http://schemas.openxmlformats.org/officeDocument/2006/relationships" r:id="rId3"/>
          </a:graphicData>
        </a:graphic>
      </p:graphicFrame>
      <p:cxnSp>
        <p:nvCxnSpPr>
          <p:cNvPr id="10" name="Straight Connector 9"/>
          <p:cNvCxnSpPr/>
          <p:nvPr/>
        </p:nvCxnSpPr>
        <p:spPr>
          <a:xfrm>
            <a:off x="609600" y="1049338"/>
            <a:ext cx="10972800" cy="0"/>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12" name="Title 1"/>
          <p:cNvSpPr>
            <a:spLocks noGrp="1"/>
          </p:cNvSpPr>
          <p:nvPr>
            <p:ph type="title"/>
          </p:nvPr>
        </p:nvSpPr>
        <p:spPr>
          <a:xfrm>
            <a:off x="609600" y="285278"/>
            <a:ext cx="10972800" cy="577851"/>
          </a:xfrm>
          <a:noFill/>
          <a:ln>
            <a:noFill/>
          </a:ln>
        </p:spPr>
        <p:txBody>
          <a:bodyPr vert="horz" wrap="square" lIns="0" tIns="0" rIns="91440" bIns="0" numCol="1" anchor="b" anchorCtr="0" compatLnSpc="1">
            <a:prstTxWarp prst="textNoShape">
              <a:avLst/>
            </a:prstTxWarp>
          </a:bodyPr>
          <a:lstStyle>
            <a:lvl1pPr>
              <a:defRPr lang="en-US" dirty="0"/>
            </a:lvl1pPr>
          </a:lstStyle>
          <a:p>
            <a:pPr lvl="0"/>
            <a:r>
              <a:rPr lang="en-US"/>
              <a:t>Click to edit Master title style</a:t>
            </a:r>
            <a:endParaRPr lang="en-US" dirty="0"/>
          </a:p>
        </p:txBody>
      </p:sp>
      <p:sp>
        <p:nvSpPr>
          <p:cNvPr id="13" name="Text Placeholder 3"/>
          <p:cNvSpPr>
            <a:spLocks noGrp="1"/>
          </p:cNvSpPr>
          <p:nvPr>
            <p:ph type="body" sz="half" idx="2"/>
          </p:nvPr>
        </p:nvSpPr>
        <p:spPr>
          <a:xfrm>
            <a:off x="609602" y="1241792"/>
            <a:ext cx="2651633" cy="265822"/>
          </a:xfrm>
          <a:noFill/>
        </p:spPr>
        <p:txBody>
          <a:bodyPr/>
          <a:lstStyle>
            <a:lvl1pPr marL="0" indent="0">
              <a:lnSpc>
                <a:spcPct val="90000"/>
              </a:lnSpc>
              <a:buNone/>
              <a:defRPr sz="1400" baseline="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8" name="Text Placeholder 3"/>
          <p:cNvSpPr>
            <a:spLocks noGrp="1"/>
          </p:cNvSpPr>
          <p:nvPr>
            <p:ph type="body" sz="half" idx="15"/>
          </p:nvPr>
        </p:nvSpPr>
        <p:spPr>
          <a:xfrm>
            <a:off x="614178" y="1652370"/>
            <a:ext cx="2570181" cy="1948725"/>
          </a:xfrm>
          <a:noFill/>
        </p:spPr>
        <p:txBody>
          <a:bodyPr/>
          <a:lstStyle>
            <a:lvl1pPr marL="0" indent="0">
              <a:lnSpc>
                <a:spcPct val="90000"/>
              </a:lnSpc>
              <a:buNone/>
              <a:defRPr sz="1400">
                <a:solidFill>
                  <a:schemeClr val="accent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cxnSp>
        <p:nvCxnSpPr>
          <p:cNvPr id="16" name="Straight Connector 15">
            <a:extLst>
              <a:ext uri="{FF2B5EF4-FFF2-40B4-BE49-F238E27FC236}">
                <a16:creationId xmlns:a16="http://schemas.microsoft.com/office/drawing/2014/main" id="{2A6A20D0-64AE-4C9F-B7EC-7F2DB9156A6A}"/>
              </a:ext>
            </a:extLst>
          </p:cNvPr>
          <p:cNvCxnSpPr/>
          <p:nvPr userDrawn="1"/>
        </p:nvCxnSpPr>
        <p:spPr>
          <a:xfrm flipV="1">
            <a:off x="10610851" y="6270626"/>
            <a:ext cx="0" cy="339725"/>
          </a:xfrm>
          <a:prstGeom prst="line">
            <a:avLst/>
          </a:prstGeom>
          <a:ln w="12700" cmpd="sng">
            <a:solidFill>
              <a:schemeClr val="accent6">
                <a:lumMod val="50000"/>
              </a:schemeClr>
            </a:solidFill>
            <a:prstDash val="dot"/>
          </a:ln>
          <a:effectLst/>
        </p:spPr>
        <p:style>
          <a:lnRef idx="2">
            <a:schemeClr val="accent1"/>
          </a:lnRef>
          <a:fillRef idx="0">
            <a:schemeClr val="accent1"/>
          </a:fillRef>
          <a:effectRef idx="1">
            <a:schemeClr val="accent1"/>
          </a:effectRef>
          <a:fontRef idx="minor">
            <a:schemeClr val="tx1"/>
          </a:fontRef>
        </p:style>
      </p:cxnSp>
      <p:sp>
        <p:nvSpPr>
          <p:cNvPr id="17" name="Footer Placeholder 2">
            <a:extLst>
              <a:ext uri="{FF2B5EF4-FFF2-40B4-BE49-F238E27FC236}">
                <a16:creationId xmlns:a16="http://schemas.microsoft.com/office/drawing/2014/main" id="{D7DEDCB2-9B6F-4100-89A3-88BADD3F5C8D}"/>
              </a:ext>
            </a:extLst>
          </p:cNvPr>
          <p:cNvSpPr>
            <a:spLocks noGrp="1"/>
          </p:cNvSpPr>
          <p:nvPr>
            <p:ph type="ftr" sz="quarter" idx="16"/>
          </p:nvPr>
        </p:nvSpPr>
        <p:spPr>
          <a:xfrm>
            <a:off x="6588998" y="6288088"/>
            <a:ext cx="3915833" cy="315912"/>
          </a:xfrm>
        </p:spPr>
        <p:txBody>
          <a:bodyPr/>
          <a:lstStyle>
            <a:lvl1pPr>
              <a:defRPr/>
            </a:lvl1pPr>
          </a:lstStyle>
          <a:p>
            <a:pPr>
              <a:defRPr/>
            </a:pPr>
            <a:r>
              <a:rPr lang="en-US" dirty="0"/>
              <a:t>CPUC Stakeholder Meeting</a:t>
            </a:r>
          </a:p>
        </p:txBody>
      </p:sp>
      <p:sp>
        <p:nvSpPr>
          <p:cNvPr id="19" name="Slide Number Placeholder 3">
            <a:extLst>
              <a:ext uri="{FF2B5EF4-FFF2-40B4-BE49-F238E27FC236}">
                <a16:creationId xmlns:a16="http://schemas.microsoft.com/office/drawing/2014/main" id="{925E8770-82BF-467C-AAC8-35FCF6C8208E}"/>
              </a:ext>
            </a:extLst>
          </p:cNvPr>
          <p:cNvSpPr>
            <a:spLocks noGrp="1"/>
          </p:cNvSpPr>
          <p:nvPr>
            <p:ph type="sldNum" sz="quarter" idx="17"/>
          </p:nvPr>
        </p:nvSpPr>
        <p:spPr>
          <a:xfrm>
            <a:off x="11027859" y="6288089"/>
            <a:ext cx="554541" cy="331787"/>
          </a:xfrm>
        </p:spPr>
        <p:txBody>
          <a:bodyPr/>
          <a:lstStyle>
            <a:lvl1pPr>
              <a:defRPr/>
            </a:lvl1pPr>
          </a:lstStyle>
          <a:p>
            <a:pPr>
              <a:defRPr/>
            </a:pPr>
            <a:fld id="{56F189F6-5842-8F48-BAE7-8DD6C26CDC2D}" type="slidenum">
              <a:rPr lang="en-US"/>
              <a:pPr>
                <a:defRPr/>
              </a:pPr>
              <a:t>‹#›</a:t>
            </a:fld>
            <a:endParaRPr lang="en-US" dirty="0"/>
          </a:p>
        </p:txBody>
      </p:sp>
    </p:spTree>
    <p:extLst>
      <p:ext uri="{BB962C8B-B14F-4D97-AF65-F5344CB8AC3E}">
        <p14:creationId xmlns:p14="http://schemas.microsoft.com/office/powerpoint/2010/main" val="63874278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End-slide">
    <p:spTree>
      <p:nvGrpSpPr>
        <p:cNvPr id="1" name=""/>
        <p:cNvGrpSpPr/>
        <p:nvPr/>
      </p:nvGrpSpPr>
      <p:grpSpPr>
        <a:xfrm>
          <a:off x="0" y="0"/>
          <a:ext cx="0" cy="0"/>
          <a:chOff x="0" y="0"/>
          <a:chExt cx="0" cy="0"/>
        </a:xfrm>
      </p:grpSpPr>
      <p:pic>
        <p:nvPicPr>
          <p:cNvPr id="4" name="Picture 3" descr="A picture containing aircraft&#10;&#10;Description automatically generated">
            <a:extLst>
              <a:ext uri="{FF2B5EF4-FFF2-40B4-BE49-F238E27FC236}">
                <a16:creationId xmlns:a16="http://schemas.microsoft.com/office/drawing/2014/main" id="{B5EEC76A-EBAC-4C79-9B67-327E383063A4}"/>
              </a:ext>
            </a:extLst>
          </p:cNvPr>
          <p:cNvPicPr>
            <a:picLocks noChangeAspect="1"/>
          </p:cNvPicPr>
          <p:nvPr userDrawn="1"/>
        </p:nvPicPr>
        <p:blipFill>
          <a:blip r:embed="rId2"/>
          <a:stretch>
            <a:fillRect/>
          </a:stretch>
        </p:blipFill>
        <p:spPr>
          <a:xfrm>
            <a:off x="1524" y="0"/>
            <a:ext cx="12188952" cy="6858000"/>
          </a:xfrm>
          <a:prstGeom prst="rect">
            <a:avLst/>
          </a:prstGeom>
        </p:spPr>
      </p:pic>
      <p:sp>
        <p:nvSpPr>
          <p:cNvPr id="3" name="Title 14"/>
          <p:cNvSpPr txBox="1">
            <a:spLocks/>
          </p:cNvSpPr>
          <p:nvPr userDrawn="1"/>
        </p:nvSpPr>
        <p:spPr>
          <a:xfrm>
            <a:off x="4368800" y="152400"/>
            <a:ext cx="7213600" cy="609600"/>
          </a:xfrm>
          <a:prstGeom prst="rect">
            <a:avLst/>
          </a:prstGeom>
        </p:spPr>
        <p:txBody>
          <a:bodyPr/>
          <a:lstStyle/>
          <a:p>
            <a:pPr lvl="0" algn="ctr" eaLnBrk="0" hangingPunct="0">
              <a:defRPr/>
            </a:pPr>
            <a:endParaRPr kumimoji="0" lang="en-US" sz="2800" b="0" i="0" u="none" strike="noStrike" kern="1200" cap="none" spc="0" normalizeH="0" baseline="0" noProof="0" dirty="0">
              <a:ln>
                <a:noFill/>
              </a:ln>
              <a:solidFill>
                <a:srgbClr val="FF0000"/>
              </a:solidFill>
              <a:effectLst/>
              <a:uLnTx/>
              <a:uFillTx/>
              <a:latin typeface="Tahoma" pitchFamily="34" charset="0"/>
              <a:ea typeface="+mj-ea"/>
              <a:cs typeface="Tahoma" pitchFamily="34" charset="0"/>
            </a:endParaRPr>
          </a:p>
        </p:txBody>
      </p:sp>
      <p:sp>
        <p:nvSpPr>
          <p:cNvPr id="5" name="Title 14"/>
          <p:cNvSpPr txBox="1">
            <a:spLocks/>
          </p:cNvSpPr>
          <p:nvPr userDrawn="1"/>
        </p:nvSpPr>
        <p:spPr>
          <a:xfrm>
            <a:off x="4572000" y="304800"/>
            <a:ext cx="7213600" cy="609600"/>
          </a:xfrm>
          <a:prstGeom prst="rect">
            <a:avLst/>
          </a:prstGeom>
        </p:spPr>
        <p:txBody>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endParaRPr lang="en-US" sz="2800" dirty="0">
              <a:solidFill>
                <a:srgbClr val="FFC000"/>
              </a:solidFill>
              <a:latin typeface="Tahoma" pitchFamily="34" charset="0"/>
              <a:cs typeface="Tahoma" pitchFamily="34" charset="0"/>
            </a:endParaRPr>
          </a:p>
        </p:txBody>
      </p:sp>
      <p:sp>
        <p:nvSpPr>
          <p:cNvPr id="6" name="Rectangle 5">
            <a:extLst>
              <a:ext uri="{FF2B5EF4-FFF2-40B4-BE49-F238E27FC236}">
                <a16:creationId xmlns:a16="http://schemas.microsoft.com/office/drawing/2014/main" id="{4C1E3535-B8BA-4B4D-8C48-EB910454763D}"/>
              </a:ext>
            </a:extLst>
          </p:cNvPr>
          <p:cNvSpPr/>
          <p:nvPr userDrawn="1"/>
        </p:nvSpPr>
        <p:spPr>
          <a:xfrm>
            <a:off x="242874" y="6439597"/>
            <a:ext cx="10591138" cy="276999"/>
          </a:xfrm>
          <a:prstGeom prst="rect">
            <a:avLst/>
          </a:prstGeom>
        </p:spPr>
        <p:txBody>
          <a:bodyPr wrap="square">
            <a:spAutoFit/>
          </a:bodyPr>
          <a:lstStyle/>
          <a:p>
            <a:r>
              <a:rPr lang="en-US" sz="1200" dirty="0">
                <a:solidFill>
                  <a:schemeClr val="accent1"/>
                </a:solidFill>
                <a:latin typeface="+mj-lt"/>
              </a:rPr>
              <a:t>©2020 Opinion Dynamics. </a:t>
            </a:r>
            <a:r>
              <a:rPr lang="en-US" sz="1200" dirty="0">
                <a:solidFill>
                  <a:schemeClr val="accent1"/>
                </a:solidFill>
                <a:latin typeface="+mj-lt"/>
                <a:cs typeface="Arial" pitchFamily="34" charset="0"/>
              </a:rPr>
              <a:t>All Rights Reserved</a:t>
            </a:r>
            <a:r>
              <a:rPr lang="en-US" sz="1200" dirty="0">
                <a:solidFill>
                  <a:schemeClr val="accent5"/>
                </a:solidFill>
                <a:latin typeface="+mj-lt"/>
                <a:cs typeface="Arial" pitchFamily="34" charset="0"/>
              </a:rPr>
              <a:t>.</a:t>
            </a:r>
          </a:p>
        </p:txBody>
      </p:sp>
      <p:sp>
        <p:nvSpPr>
          <p:cNvPr id="10" name="Subtitle 2">
            <a:extLst>
              <a:ext uri="{FF2B5EF4-FFF2-40B4-BE49-F238E27FC236}">
                <a16:creationId xmlns:a16="http://schemas.microsoft.com/office/drawing/2014/main" id="{F8FAAA74-5873-4452-A1E5-C9192A530E78}"/>
              </a:ext>
            </a:extLst>
          </p:cNvPr>
          <p:cNvSpPr>
            <a:spLocks noGrp="1"/>
          </p:cNvSpPr>
          <p:nvPr>
            <p:ph type="subTitle" idx="1" hasCustomPrompt="1"/>
          </p:nvPr>
        </p:nvSpPr>
        <p:spPr>
          <a:xfrm>
            <a:off x="408568" y="1807373"/>
            <a:ext cx="4420140" cy="2206909"/>
          </a:xfrm>
          <a:noFill/>
        </p:spPr>
        <p:txBody>
          <a:bodyPr>
            <a:normAutofit/>
          </a:bodyPr>
          <a:lstStyle>
            <a:lvl1pPr marL="0" indent="0" algn="l">
              <a:buNone/>
              <a:defRPr sz="24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Contact</a:t>
            </a:r>
          </a:p>
        </p:txBody>
      </p:sp>
    </p:spTree>
    <p:extLst>
      <p:ext uri="{BB962C8B-B14F-4D97-AF65-F5344CB8AC3E}">
        <p14:creationId xmlns:p14="http://schemas.microsoft.com/office/powerpoint/2010/main" val="113159530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5" name="Straight Connector 4"/>
          <p:cNvCxnSpPr/>
          <p:nvPr userDrawn="1"/>
        </p:nvCxnSpPr>
        <p:spPr>
          <a:xfrm flipH="1">
            <a:off x="609600" y="914400"/>
            <a:ext cx="10972800" cy="0"/>
          </a:xfrm>
          <a:prstGeom prst="line">
            <a:avLst/>
          </a:prstGeom>
          <a:ln w="6350" cmpd="sng">
            <a:solidFill>
              <a:srgbClr val="1E81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7991557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097280"/>
            <a:ext cx="5181600" cy="5029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096000" y="1097280"/>
            <a:ext cx="5181600" cy="5029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p:cNvCxnSpPr/>
          <p:nvPr userDrawn="1"/>
        </p:nvCxnSpPr>
        <p:spPr>
          <a:xfrm flipH="1">
            <a:off x="609600" y="914400"/>
            <a:ext cx="10972800" cy="0"/>
          </a:xfrm>
          <a:prstGeom prst="line">
            <a:avLst/>
          </a:prstGeom>
          <a:ln w="6350" cmpd="sng">
            <a:solidFill>
              <a:srgbClr val="1E81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4054692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ig-Picture-Eureka">
    <p:spTree>
      <p:nvGrpSpPr>
        <p:cNvPr id="1" name=""/>
        <p:cNvGrpSpPr/>
        <p:nvPr/>
      </p:nvGrpSpPr>
      <p:grpSpPr>
        <a:xfrm>
          <a:off x="0" y="0"/>
          <a:ext cx="0" cy="0"/>
          <a:chOff x="0" y="0"/>
          <a:chExt cx="0" cy="0"/>
        </a:xfrm>
      </p:grpSpPr>
      <p:sp>
        <p:nvSpPr>
          <p:cNvPr id="2" name="Picture Placeholder 13"/>
          <p:cNvSpPr>
            <a:spLocks noGrp="1"/>
          </p:cNvSpPr>
          <p:nvPr>
            <p:ph type="pic" sz="quarter" idx="13"/>
          </p:nvPr>
        </p:nvSpPr>
        <p:spPr>
          <a:xfrm>
            <a:off x="0" y="0"/>
            <a:ext cx="12192000" cy="6858000"/>
          </a:xfrm>
          <a:effectLst/>
        </p:spPr>
        <p:txBody>
          <a:bodyPr>
            <a:norm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Tree>
    <p:extLst>
      <p:ext uri="{BB962C8B-B14F-4D97-AF65-F5344CB8AC3E}">
        <p14:creationId xmlns:p14="http://schemas.microsoft.com/office/powerpoint/2010/main" val="3342524181"/>
      </p:ext>
    </p:extLst>
  </p:cSld>
  <p:clrMapOvr>
    <a:masterClrMapping/>
  </p:clrMapOvr>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Right_Picture">
    <p:spTree>
      <p:nvGrpSpPr>
        <p:cNvPr id="1" name=""/>
        <p:cNvGrpSpPr/>
        <p:nvPr/>
      </p:nvGrpSpPr>
      <p:grpSpPr>
        <a:xfrm>
          <a:off x="0" y="0"/>
          <a:ext cx="0" cy="0"/>
          <a:chOff x="0" y="0"/>
          <a:chExt cx="0" cy="0"/>
        </a:xfrm>
      </p:grpSpPr>
      <p:sp>
        <p:nvSpPr>
          <p:cNvPr id="2" name="Picture Placeholder 13"/>
          <p:cNvSpPr>
            <a:spLocks noGrp="1"/>
          </p:cNvSpPr>
          <p:nvPr>
            <p:ph type="pic" sz="quarter" idx="13"/>
          </p:nvPr>
        </p:nvSpPr>
        <p:spPr>
          <a:xfrm>
            <a:off x="6090694" y="0"/>
            <a:ext cx="6101306" cy="6858000"/>
          </a:xfrm>
          <a:effectLst/>
        </p:spPr>
        <p:txBody>
          <a:bodyPr>
            <a:norm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Tree>
    <p:extLst>
      <p:ext uri="{BB962C8B-B14F-4D97-AF65-F5344CB8AC3E}">
        <p14:creationId xmlns:p14="http://schemas.microsoft.com/office/powerpoint/2010/main" val="1440885215"/>
      </p:ext>
    </p:extLst>
  </p:cSld>
  <p:clrMapOvr>
    <a:masterClrMapping/>
  </p:clrMapOvr>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Left_Picture">
    <p:spTree>
      <p:nvGrpSpPr>
        <p:cNvPr id="1" name=""/>
        <p:cNvGrpSpPr/>
        <p:nvPr/>
      </p:nvGrpSpPr>
      <p:grpSpPr>
        <a:xfrm>
          <a:off x="0" y="0"/>
          <a:ext cx="0" cy="0"/>
          <a:chOff x="0" y="0"/>
          <a:chExt cx="0" cy="0"/>
        </a:xfrm>
      </p:grpSpPr>
      <p:sp>
        <p:nvSpPr>
          <p:cNvPr id="2" name="Picture Placeholder 13"/>
          <p:cNvSpPr>
            <a:spLocks noGrp="1"/>
          </p:cNvSpPr>
          <p:nvPr>
            <p:ph type="pic" sz="quarter" idx="13"/>
          </p:nvPr>
        </p:nvSpPr>
        <p:spPr>
          <a:xfrm>
            <a:off x="0" y="0"/>
            <a:ext cx="6101306" cy="6858000"/>
          </a:xfrm>
          <a:effectLst/>
        </p:spPr>
        <p:txBody>
          <a:bodyPr>
            <a:norm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Tree>
    <p:extLst>
      <p:ext uri="{BB962C8B-B14F-4D97-AF65-F5344CB8AC3E}">
        <p14:creationId xmlns:p14="http://schemas.microsoft.com/office/powerpoint/2010/main" val="2225672033"/>
      </p:ext>
    </p:extLst>
  </p:cSld>
  <p:clrMapOvr>
    <a:masterClrMapping/>
  </p:clrMapOvr>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2_General Slide">
    <p:spTree>
      <p:nvGrpSpPr>
        <p:cNvPr id="1" name=""/>
        <p:cNvGrpSpPr/>
        <p:nvPr/>
      </p:nvGrpSpPr>
      <p:grpSpPr>
        <a:xfrm>
          <a:off x="0" y="0"/>
          <a:ext cx="0" cy="0"/>
          <a:chOff x="0" y="0"/>
          <a:chExt cx="0" cy="0"/>
        </a:xfrm>
      </p:grpSpPr>
      <p:sp>
        <p:nvSpPr>
          <p:cNvPr id="3" name="Picture Placeholder 13"/>
          <p:cNvSpPr>
            <a:spLocks noGrp="1"/>
          </p:cNvSpPr>
          <p:nvPr>
            <p:ph type="pic" sz="quarter" idx="13"/>
          </p:nvPr>
        </p:nvSpPr>
        <p:spPr>
          <a:xfrm>
            <a:off x="8081078" y="2487697"/>
            <a:ext cx="3168479" cy="2374235"/>
          </a:xfrm>
          <a:effectLst/>
        </p:spPr>
        <p:txBody>
          <a:bodyPr>
            <a:norm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
        <p:nvSpPr>
          <p:cNvPr id="4" name="Picture Placeholder 13"/>
          <p:cNvSpPr>
            <a:spLocks noGrp="1"/>
          </p:cNvSpPr>
          <p:nvPr>
            <p:ph type="pic" sz="quarter" idx="14"/>
          </p:nvPr>
        </p:nvSpPr>
        <p:spPr>
          <a:xfrm>
            <a:off x="953596" y="2487697"/>
            <a:ext cx="3173430" cy="2374235"/>
          </a:xfrm>
          <a:effectLst/>
        </p:spPr>
        <p:txBody>
          <a:bodyPr>
            <a:norm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
        <p:nvSpPr>
          <p:cNvPr id="6" name="Picture Placeholder 13"/>
          <p:cNvSpPr>
            <a:spLocks noGrp="1"/>
          </p:cNvSpPr>
          <p:nvPr>
            <p:ph type="pic" sz="quarter" idx="15"/>
          </p:nvPr>
        </p:nvSpPr>
        <p:spPr>
          <a:xfrm>
            <a:off x="4389065" y="2487697"/>
            <a:ext cx="3429974" cy="2374235"/>
          </a:xfrm>
          <a:effectLst/>
        </p:spPr>
        <p:txBody>
          <a:bodyPr>
            <a:norm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Tree>
    <p:extLst>
      <p:ext uri="{BB962C8B-B14F-4D97-AF65-F5344CB8AC3E}">
        <p14:creationId xmlns:p14="http://schemas.microsoft.com/office/powerpoint/2010/main" val="3878067874"/>
      </p:ext>
    </p:extLst>
  </p:cSld>
  <p:clrMapOvr>
    <a:masterClrMapping/>
  </p:clrMapOvr>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3_General Slide">
    <p:spTree>
      <p:nvGrpSpPr>
        <p:cNvPr id="1" name=""/>
        <p:cNvGrpSpPr/>
        <p:nvPr/>
      </p:nvGrpSpPr>
      <p:grpSpPr>
        <a:xfrm>
          <a:off x="0" y="0"/>
          <a:ext cx="0" cy="0"/>
          <a:chOff x="0" y="0"/>
          <a:chExt cx="0" cy="0"/>
        </a:xfrm>
      </p:grpSpPr>
      <p:sp>
        <p:nvSpPr>
          <p:cNvPr id="7" name="Picture Placeholder 13"/>
          <p:cNvSpPr>
            <a:spLocks noGrp="1"/>
          </p:cNvSpPr>
          <p:nvPr>
            <p:ph type="pic" sz="quarter" idx="14"/>
          </p:nvPr>
        </p:nvSpPr>
        <p:spPr>
          <a:xfrm>
            <a:off x="4592079" y="1984916"/>
            <a:ext cx="3020622" cy="3111190"/>
          </a:xfrm>
          <a:effectLst/>
        </p:spPr>
        <p:txBody>
          <a:bodyPr>
            <a:norm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
        <p:nvSpPr>
          <p:cNvPr id="8" name="Picture Placeholder 13"/>
          <p:cNvSpPr>
            <a:spLocks noGrp="1"/>
          </p:cNvSpPr>
          <p:nvPr>
            <p:ph type="pic" sz="quarter" idx="15"/>
          </p:nvPr>
        </p:nvSpPr>
        <p:spPr>
          <a:xfrm>
            <a:off x="7876981" y="1984916"/>
            <a:ext cx="3020622" cy="3111190"/>
          </a:xfrm>
          <a:effectLst/>
        </p:spPr>
        <p:txBody>
          <a:bodyPr>
            <a:norm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
        <p:nvSpPr>
          <p:cNvPr id="9" name="Picture Placeholder 13"/>
          <p:cNvSpPr>
            <a:spLocks noGrp="1"/>
          </p:cNvSpPr>
          <p:nvPr>
            <p:ph type="pic" sz="quarter" idx="16"/>
          </p:nvPr>
        </p:nvSpPr>
        <p:spPr>
          <a:xfrm>
            <a:off x="1273716" y="1984916"/>
            <a:ext cx="3020622" cy="3111190"/>
          </a:xfrm>
          <a:effectLst/>
        </p:spPr>
        <p:txBody>
          <a:bodyPr>
            <a:norm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Tree>
    <p:extLst>
      <p:ext uri="{BB962C8B-B14F-4D97-AF65-F5344CB8AC3E}">
        <p14:creationId xmlns:p14="http://schemas.microsoft.com/office/powerpoint/2010/main" val="144945865"/>
      </p:ext>
    </p:extLst>
  </p:cSld>
  <p:clrMapOvr>
    <a:masterClrMapping/>
  </p:clrMapOvr>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_Half_picture">
    <p:spTree>
      <p:nvGrpSpPr>
        <p:cNvPr id="1" name=""/>
        <p:cNvGrpSpPr/>
        <p:nvPr/>
      </p:nvGrpSpPr>
      <p:grpSpPr>
        <a:xfrm>
          <a:off x="0" y="0"/>
          <a:ext cx="0" cy="0"/>
          <a:chOff x="0" y="0"/>
          <a:chExt cx="0" cy="0"/>
        </a:xfrm>
      </p:grpSpPr>
      <p:sp>
        <p:nvSpPr>
          <p:cNvPr id="2" name="Picture Placeholder 13"/>
          <p:cNvSpPr>
            <a:spLocks noGrp="1"/>
          </p:cNvSpPr>
          <p:nvPr>
            <p:ph type="pic" sz="quarter" idx="13"/>
          </p:nvPr>
        </p:nvSpPr>
        <p:spPr>
          <a:xfrm>
            <a:off x="6090694" y="0"/>
            <a:ext cx="6101306" cy="6858000"/>
          </a:xfrm>
          <a:effectLst/>
        </p:spPr>
        <p:txBody>
          <a:bodyPr>
            <a:norm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Tree>
    <p:extLst>
      <p:ext uri="{BB962C8B-B14F-4D97-AF65-F5344CB8AC3E}">
        <p14:creationId xmlns:p14="http://schemas.microsoft.com/office/powerpoint/2010/main" val="1335538541"/>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r>
              <a:rPr lang="en-US" dirty="0"/>
              <a:t>6/18/2021</a:t>
            </a:r>
          </a:p>
        </p:txBody>
      </p:sp>
      <p:sp>
        <p:nvSpPr>
          <p:cNvPr id="3" name="Footer Placeholder 2"/>
          <p:cNvSpPr>
            <a:spLocks noGrp="1"/>
          </p:cNvSpPr>
          <p:nvPr>
            <p:ph type="ftr" sz="quarter" idx="11"/>
          </p:nvPr>
        </p:nvSpPr>
        <p:spPr/>
        <p:txBody>
          <a:bodyPr/>
          <a:lstStyle/>
          <a:p>
            <a:r>
              <a:rPr lang="en-US" dirty="0"/>
              <a:t>IE Semi-Annual Report: June 18, 2021 All Hands Meeting</a:t>
            </a:r>
          </a:p>
          <a:p>
            <a:r>
              <a:rPr lang="en-US" dirty="0"/>
              <a:t>IE Semi-Annual Report: Public Workshop</a:t>
            </a:r>
          </a:p>
        </p:txBody>
      </p:sp>
      <p:sp>
        <p:nvSpPr>
          <p:cNvPr id="4" name="Slide Number Placeholder 3"/>
          <p:cNvSpPr>
            <a:spLocks noGrp="1"/>
          </p:cNvSpPr>
          <p:nvPr>
            <p:ph type="sldNum" sz="quarter" idx="12"/>
          </p:nvPr>
        </p:nvSpPr>
        <p:spPr/>
        <p:txBody>
          <a:bodyPr/>
          <a:lstStyle/>
          <a:p>
            <a:fld id="{4FAB73BC-B049-4115-A692-8D63A059BFB8}" type="slidenum">
              <a:rPr lang="en-US"/>
              <a:t>‹#›</a:t>
            </a:fld>
            <a:endParaRPr lang="en-US" dirty="0"/>
          </a:p>
        </p:txBody>
      </p:sp>
    </p:spTree>
    <p:extLst>
      <p:ext uri="{BB962C8B-B14F-4D97-AF65-F5344CB8AC3E}">
        <p14:creationId xmlns:p14="http://schemas.microsoft.com/office/powerpoint/2010/main" val="397121146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macbook_iphone">
    <p:spTree>
      <p:nvGrpSpPr>
        <p:cNvPr id="1" name=""/>
        <p:cNvGrpSpPr/>
        <p:nvPr/>
      </p:nvGrpSpPr>
      <p:grpSpPr>
        <a:xfrm>
          <a:off x="0" y="0"/>
          <a:ext cx="0" cy="0"/>
          <a:chOff x="0" y="0"/>
          <a:chExt cx="0" cy="0"/>
        </a:xfrm>
      </p:grpSpPr>
      <p:sp>
        <p:nvSpPr>
          <p:cNvPr id="34" name="Picture Placeholder 13"/>
          <p:cNvSpPr>
            <a:spLocks noGrp="1"/>
          </p:cNvSpPr>
          <p:nvPr>
            <p:ph type="pic" sz="quarter" idx="13"/>
          </p:nvPr>
        </p:nvSpPr>
        <p:spPr>
          <a:xfrm>
            <a:off x="1624289" y="2275824"/>
            <a:ext cx="4398498" cy="2778175"/>
          </a:xfrm>
          <a:effectLst/>
        </p:spPr>
        <p:txBody>
          <a:bodyPr>
            <a:norm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
        <p:nvSpPr>
          <p:cNvPr id="35" name="Picture Placeholder 13"/>
          <p:cNvSpPr>
            <a:spLocks noGrp="1"/>
          </p:cNvSpPr>
          <p:nvPr>
            <p:ph type="pic" sz="quarter" idx="14"/>
          </p:nvPr>
        </p:nvSpPr>
        <p:spPr>
          <a:xfrm>
            <a:off x="5754103" y="3151010"/>
            <a:ext cx="1129178" cy="2013044"/>
          </a:xfrm>
          <a:effectLst/>
        </p:spPr>
        <p:txBody>
          <a:bodyPr>
            <a:norm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Tree>
    <p:extLst>
      <p:ext uri="{BB962C8B-B14F-4D97-AF65-F5344CB8AC3E}">
        <p14:creationId xmlns:p14="http://schemas.microsoft.com/office/powerpoint/2010/main" val="2061351137"/>
      </p:ext>
    </p:extLst>
  </p:cSld>
  <p:clrMapOvr>
    <a:masterClrMapping/>
  </p:clrMapOvr>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Portfolio 1">
    <p:spTree>
      <p:nvGrpSpPr>
        <p:cNvPr id="1" name=""/>
        <p:cNvGrpSpPr/>
        <p:nvPr/>
      </p:nvGrpSpPr>
      <p:grpSpPr>
        <a:xfrm>
          <a:off x="0" y="0"/>
          <a:ext cx="0" cy="0"/>
          <a:chOff x="0" y="0"/>
          <a:chExt cx="0" cy="0"/>
        </a:xfrm>
      </p:grpSpPr>
      <p:sp>
        <p:nvSpPr>
          <p:cNvPr id="2" name="Picture Placeholder 13"/>
          <p:cNvSpPr>
            <a:spLocks noGrp="1"/>
          </p:cNvSpPr>
          <p:nvPr>
            <p:ph type="pic" sz="quarter" idx="13"/>
          </p:nvPr>
        </p:nvSpPr>
        <p:spPr>
          <a:xfrm>
            <a:off x="6116895" y="1861840"/>
            <a:ext cx="5147345" cy="4193271"/>
          </a:xfrm>
          <a:effectLst/>
        </p:spPr>
        <p:txBody>
          <a:bodyPr>
            <a:norm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Tree>
    <p:extLst>
      <p:ext uri="{BB962C8B-B14F-4D97-AF65-F5344CB8AC3E}">
        <p14:creationId xmlns:p14="http://schemas.microsoft.com/office/powerpoint/2010/main" val="252039543"/>
      </p:ext>
    </p:extLst>
  </p:cSld>
  <p:clrMapOvr>
    <a:masterClrMapping/>
  </p:clrMapOvr>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Portfolio 1">
    <p:spTree>
      <p:nvGrpSpPr>
        <p:cNvPr id="1" name=""/>
        <p:cNvGrpSpPr/>
        <p:nvPr/>
      </p:nvGrpSpPr>
      <p:grpSpPr>
        <a:xfrm>
          <a:off x="0" y="0"/>
          <a:ext cx="0" cy="0"/>
          <a:chOff x="0" y="0"/>
          <a:chExt cx="0" cy="0"/>
        </a:xfrm>
      </p:grpSpPr>
      <p:sp>
        <p:nvSpPr>
          <p:cNvPr id="5" name="Picture Placeholder 13"/>
          <p:cNvSpPr>
            <a:spLocks noGrp="1"/>
          </p:cNvSpPr>
          <p:nvPr>
            <p:ph type="pic" sz="quarter" idx="14"/>
          </p:nvPr>
        </p:nvSpPr>
        <p:spPr>
          <a:xfrm>
            <a:off x="0" y="3434576"/>
            <a:ext cx="6128049" cy="3434576"/>
          </a:xfrm>
          <a:effectLst/>
        </p:spPr>
        <p:txBody>
          <a:bodyPr>
            <a:norm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
        <p:nvSpPr>
          <p:cNvPr id="6" name="Picture Placeholder 13"/>
          <p:cNvSpPr>
            <a:spLocks noGrp="1"/>
          </p:cNvSpPr>
          <p:nvPr>
            <p:ph type="pic" sz="quarter" idx="15"/>
          </p:nvPr>
        </p:nvSpPr>
        <p:spPr>
          <a:xfrm>
            <a:off x="6128049" y="0"/>
            <a:ext cx="6063951" cy="3434576"/>
          </a:xfrm>
          <a:effectLst/>
        </p:spPr>
        <p:txBody>
          <a:bodyPr>
            <a:norm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Tree>
    <p:extLst>
      <p:ext uri="{BB962C8B-B14F-4D97-AF65-F5344CB8AC3E}">
        <p14:creationId xmlns:p14="http://schemas.microsoft.com/office/powerpoint/2010/main" val="717340565"/>
      </p:ext>
    </p:extLst>
  </p:cSld>
  <p:clrMapOvr>
    <a:masterClrMapping/>
  </p:clrMapOvr>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_Portfolio 1">
    <p:spTree>
      <p:nvGrpSpPr>
        <p:cNvPr id="1" name=""/>
        <p:cNvGrpSpPr/>
        <p:nvPr/>
      </p:nvGrpSpPr>
      <p:grpSpPr>
        <a:xfrm>
          <a:off x="0" y="0"/>
          <a:ext cx="0" cy="0"/>
          <a:chOff x="0" y="0"/>
          <a:chExt cx="0" cy="0"/>
        </a:xfrm>
      </p:grpSpPr>
      <p:sp>
        <p:nvSpPr>
          <p:cNvPr id="7" name="Picture Placeholder 13"/>
          <p:cNvSpPr>
            <a:spLocks noGrp="1"/>
          </p:cNvSpPr>
          <p:nvPr>
            <p:ph type="pic" sz="quarter" idx="14"/>
          </p:nvPr>
        </p:nvSpPr>
        <p:spPr>
          <a:xfrm>
            <a:off x="3970868" y="0"/>
            <a:ext cx="3781248" cy="6858000"/>
          </a:xfrm>
          <a:effectLst/>
        </p:spPr>
        <p:txBody>
          <a:bodyPr>
            <a:norm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
        <p:nvSpPr>
          <p:cNvPr id="8" name="Picture Placeholder 13"/>
          <p:cNvSpPr>
            <a:spLocks noGrp="1"/>
          </p:cNvSpPr>
          <p:nvPr>
            <p:ph type="pic" sz="quarter" idx="15"/>
          </p:nvPr>
        </p:nvSpPr>
        <p:spPr>
          <a:xfrm>
            <a:off x="0" y="-5575"/>
            <a:ext cx="3770094" cy="3300984"/>
          </a:xfrm>
          <a:effectLst/>
        </p:spPr>
        <p:txBody>
          <a:bodyPr>
            <a:norm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
        <p:nvSpPr>
          <p:cNvPr id="9" name="Picture Placeholder 13"/>
          <p:cNvSpPr>
            <a:spLocks noGrp="1"/>
          </p:cNvSpPr>
          <p:nvPr>
            <p:ph type="pic" sz="quarter" idx="16"/>
          </p:nvPr>
        </p:nvSpPr>
        <p:spPr>
          <a:xfrm>
            <a:off x="0" y="3557239"/>
            <a:ext cx="3770094" cy="3300761"/>
          </a:xfrm>
          <a:effectLst/>
        </p:spPr>
        <p:txBody>
          <a:bodyPr>
            <a:norm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Tree>
    <p:extLst>
      <p:ext uri="{BB962C8B-B14F-4D97-AF65-F5344CB8AC3E}">
        <p14:creationId xmlns:p14="http://schemas.microsoft.com/office/powerpoint/2010/main" val="3807011776"/>
      </p:ext>
    </p:extLst>
  </p:cSld>
  <p:clrMapOvr>
    <a:masterClrMapping/>
  </p:clrMapOvr>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4_Portfolio 1">
    <p:spTree>
      <p:nvGrpSpPr>
        <p:cNvPr id="1" name=""/>
        <p:cNvGrpSpPr/>
        <p:nvPr/>
      </p:nvGrpSpPr>
      <p:grpSpPr>
        <a:xfrm>
          <a:off x="0" y="0"/>
          <a:ext cx="0" cy="0"/>
          <a:chOff x="0" y="0"/>
          <a:chExt cx="0" cy="0"/>
        </a:xfrm>
      </p:grpSpPr>
      <p:sp>
        <p:nvSpPr>
          <p:cNvPr id="6" name="Picture Placeholder 13"/>
          <p:cNvSpPr>
            <a:spLocks noGrp="1"/>
          </p:cNvSpPr>
          <p:nvPr>
            <p:ph type="pic" sz="quarter" idx="16"/>
          </p:nvPr>
        </p:nvSpPr>
        <p:spPr>
          <a:xfrm>
            <a:off x="6123614" y="1795346"/>
            <a:ext cx="4695886" cy="4361522"/>
          </a:xfrm>
          <a:effectLst/>
        </p:spPr>
        <p:txBody>
          <a:bodyPr>
            <a:norm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Tree>
    <p:extLst>
      <p:ext uri="{BB962C8B-B14F-4D97-AF65-F5344CB8AC3E}">
        <p14:creationId xmlns:p14="http://schemas.microsoft.com/office/powerpoint/2010/main" val="1962293647"/>
      </p:ext>
    </p:extLst>
  </p:cSld>
  <p:clrMapOvr>
    <a:masterClrMapping/>
  </p:clrMapOvr>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5_Portfolio 1">
    <p:spTree>
      <p:nvGrpSpPr>
        <p:cNvPr id="1" name=""/>
        <p:cNvGrpSpPr/>
        <p:nvPr/>
      </p:nvGrpSpPr>
      <p:grpSpPr>
        <a:xfrm>
          <a:off x="0" y="0"/>
          <a:ext cx="0" cy="0"/>
          <a:chOff x="0" y="0"/>
          <a:chExt cx="0" cy="0"/>
        </a:xfrm>
      </p:grpSpPr>
      <p:sp>
        <p:nvSpPr>
          <p:cNvPr id="6" name="Picture Placeholder 13"/>
          <p:cNvSpPr>
            <a:spLocks noGrp="1"/>
          </p:cNvSpPr>
          <p:nvPr>
            <p:ph type="pic" sz="quarter" idx="16"/>
          </p:nvPr>
        </p:nvSpPr>
        <p:spPr>
          <a:xfrm>
            <a:off x="4874352" y="0"/>
            <a:ext cx="7317648" cy="6858000"/>
          </a:xfrm>
          <a:effectLst/>
        </p:spPr>
        <p:txBody>
          <a:bodyPr>
            <a:norm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Tree>
    <p:extLst>
      <p:ext uri="{BB962C8B-B14F-4D97-AF65-F5344CB8AC3E}">
        <p14:creationId xmlns:p14="http://schemas.microsoft.com/office/powerpoint/2010/main" val="3794013817"/>
      </p:ext>
    </p:extLst>
  </p:cSld>
  <p:clrMapOvr>
    <a:masterClrMapping/>
  </p:clrMapOvr>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3_Portfolio 1">
    <p:spTree>
      <p:nvGrpSpPr>
        <p:cNvPr id="1" name=""/>
        <p:cNvGrpSpPr/>
        <p:nvPr/>
      </p:nvGrpSpPr>
      <p:grpSpPr>
        <a:xfrm>
          <a:off x="0" y="0"/>
          <a:ext cx="0" cy="0"/>
          <a:chOff x="0" y="0"/>
          <a:chExt cx="0" cy="0"/>
        </a:xfrm>
      </p:grpSpPr>
      <p:sp>
        <p:nvSpPr>
          <p:cNvPr id="7" name="Picture Placeholder 13"/>
          <p:cNvSpPr>
            <a:spLocks noGrp="1"/>
          </p:cNvSpPr>
          <p:nvPr>
            <p:ph type="pic" sz="quarter" idx="14"/>
          </p:nvPr>
        </p:nvSpPr>
        <p:spPr>
          <a:xfrm>
            <a:off x="4439884" y="0"/>
            <a:ext cx="3781248" cy="6858000"/>
          </a:xfrm>
          <a:effectLst/>
        </p:spPr>
        <p:txBody>
          <a:bodyPr>
            <a:norm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
        <p:nvSpPr>
          <p:cNvPr id="8" name="Picture Placeholder 13"/>
          <p:cNvSpPr>
            <a:spLocks noGrp="1"/>
          </p:cNvSpPr>
          <p:nvPr>
            <p:ph type="pic" sz="quarter" idx="15"/>
          </p:nvPr>
        </p:nvSpPr>
        <p:spPr>
          <a:xfrm>
            <a:off x="8421906" y="3557016"/>
            <a:ext cx="3770094" cy="3300984"/>
          </a:xfrm>
          <a:effectLst/>
        </p:spPr>
        <p:txBody>
          <a:bodyPr>
            <a:norm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
        <p:nvSpPr>
          <p:cNvPr id="9" name="Picture Placeholder 13"/>
          <p:cNvSpPr>
            <a:spLocks noGrp="1"/>
          </p:cNvSpPr>
          <p:nvPr>
            <p:ph type="pic" sz="quarter" idx="16"/>
          </p:nvPr>
        </p:nvSpPr>
        <p:spPr>
          <a:xfrm>
            <a:off x="8421906" y="-5575"/>
            <a:ext cx="3770094" cy="3300761"/>
          </a:xfrm>
          <a:effectLst/>
        </p:spPr>
        <p:txBody>
          <a:bodyPr>
            <a:norm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Tree>
    <p:extLst>
      <p:ext uri="{BB962C8B-B14F-4D97-AF65-F5344CB8AC3E}">
        <p14:creationId xmlns:p14="http://schemas.microsoft.com/office/powerpoint/2010/main" val="3708150109"/>
      </p:ext>
    </p:extLst>
  </p:cSld>
  <p:clrMapOvr>
    <a:masterClrMapping/>
  </p:clrMapOvr>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Portfolio 2">
    <p:spTree>
      <p:nvGrpSpPr>
        <p:cNvPr id="1" name=""/>
        <p:cNvGrpSpPr/>
        <p:nvPr/>
      </p:nvGrpSpPr>
      <p:grpSpPr>
        <a:xfrm>
          <a:off x="0" y="0"/>
          <a:ext cx="0" cy="0"/>
          <a:chOff x="0" y="0"/>
          <a:chExt cx="0" cy="0"/>
        </a:xfrm>
      </p:grpSpPr>
      <p:sp>
        <p:nvSpPr>
          <p:cNvPr id="6" name="Picture Placeholder 13"/>
          <p:cNvSpPr>
            <a:spLocks noGrp="1"/>
          </p:cNvSpPr>
          <p:nvPr>
            <p:ph type="pic" sz="quarter" idx="13"/>
          </p:nvPr>
        </p:nvSpPr>
        <p:spPr>
          <a:xfrm>
            <a:off x="3027201" y="1728541"/>
            <a:ext cx="8264923" cy="2635402"/>
          </a:xfrm>
          <a:effectLst/>
        </p:spPr>
        <p:txBody>
          <a:bodyPr>
            <a:norm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
        <p:nvSpPr>
          <p:cNvPr id="7" name="Picture Placeholder 13"/>
          <p:cNvSpPr>
            <a:spLocks noGrp="1"/>
          </p:cNvSpPr>
          <p:nvPr>
            <p:ph type="pic" sz="quarter" idx="14"/>
          </p:nvPr>
        </p:nvSpPr>
        <p:spPr>
          <a:xfrm>
            <a:off x="9335480" y="4523774"/>
            <a:ext cx="1956644" cy="1540764"/>
          </a:xfrm>
          <a:effectLst/>
        </p:spPr>
        <p:txBody>
          <a:bodyPr>
            <a:norm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
        <p:nvSpPr>
          <p:cNvPr id="9" name="Picture Placeholder 13"/>
          <p:cNvSpPr>
            <a:spLocks noGrp="1"/>
          </p:cNvSpPr>
          <p:nvPr>
            <p:ph type="pic" sz="quarter" idx="15"/>
          </p:nvPr>
        </p:nvSpPr>
        <p:spPr>
          <a:xfrm>
            <a:off x="7232704" y="4523774"/>
            <a:ext cx="1939033" cy="1540764"/>
          </a:xfrm>
          <a:effectLst/>
        </p:spPr>
        <p:txBody>
          <a:bodyPr>
            <a:norm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
        <p:nvSpPr>
          <p:cNvPr id="10" name="Picture Placeholder 13"/>
          <p:cNvSpPr>
            <a:spLocks noGrp="1"/>
          </p:cNvSpPr>
          <p:nvPr>
            <p:ph type="pic" sz="quarter" idx="16"/>
          </p:nvPr>
        </p:nvSpPr>
        <p:spPr>
          <a:xfrm>
            <a:off x="5119341" y="4523774"/>
            <a:ext cx="1939033" cy="1540764"/>
          </a:xfrm>
          <a:effectLst/>
        </p:spPr>
        <p:txBody>
          <a:bodyPr>
            <a:norm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
        <p:nvSpPr>
          <p:cNvPr id="11" name="Picture Placeholder 13"/>
          <p:cNvSpPr>
            <a:spLocks noGrp="1"/>
          </p:cNvSpPr>
          <p:nvPr>
            <p:ph type="pic" sz="quarter" idx="17"/>
          </p:nvPr>
        </p:nvSpPr>
        <p:spPr>
          <a:xfrm>
            <a:off x="3016565" y="4523774"/>
            <a:ext cx="1939033" cy="1540764"/>
          </a:xfrm>
          <a:effectLst/>
        </p:spPr>
        <p:txBody>
          <a:bodyPr>
            <a:norm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
        <p:nvSpPr>
          <p:cNvPr id="12" name="Picture Placeholder 13"/>
          <p:cNvSpPr>
            <a:spLocks noGrp="1"/>
          </p:cNvSpPr>
          <p:nvPr>
            <p:ph type="pic" sz="quarter" idx="18"/>
          </p:nvPr>
        </p:nvSpPr>
        <p:spPr>
          <a:xfrm>
            <a:off x="924425" y="1728541"/>
            <a:ext cx="1939033" cy="1540764"/>
          </a:xfrm>
          <a:effectLst/>
        </p:spPr>
        <p:txBody>
          <a:bodyPr>
            <a:norm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
        <p:nvSpPr>
          <p:cNvPr id="13" name="Picture Placeholder 13"/>
          <p:cNvSpPr>
            <a:spLocks noGrp="1"/>
          </p:cNvSpPr>
          <p:nvPr>
            <p:ph type="pic" sz="quarter" idx="19"/>
          </p:nvPr>
        </p:nvSpPr>
        <p:spPr>
          <a:xfrm>
            <a:off x="924425" y="3440382"/>
            <a:ext cx="1939033" cy="2624156"/>
          </a:xfrm>
          <a:effectLst/>
        </p:spPr>
        <p:txBody>
          <a:bodyPr>
            <a:norm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Tree>
    <p:extLst>
      <p:ext uri="{BB962C8B-B14F-4D97-AF65-F5344CB8AC3E}">
        <p14:creationId xmlns:p14="http://schemas.microsoft.com/office/powerpoint/2010/main" val="1656013853"/>
      </p:ext>
    </p:extLst>
  </p:cSld>
  <p:clrMapOvr>
    <a:masterClrMapping/>
  </p:clrMapOvr>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rvices">
    <p:spTree>
      <p:nvGrpSpPr>
        <p:cNvPr id="1" name=""/>
        <p:cNvGrpSpPr/>
        <p:nvPr/>
      </p:nvGrpSpPr>
      <p:grpSpPr>
        <a:xfrm>
          <a:off x="0" y="0"/>
          <a:ext cx="0" cy="0"/>
          <a:chOff x="0" y="0"/>
          <a:chExt cx="0" cy="0"/>
        </a:xfrm>
      </p:grpSpPr>
      <p:sp>
        <p:nvSpPr>
          <p:cNvPr id="46" name="Picture Placeholder 13"/>
          <p:cNvSpPr>
            <a:spLocks noGrp="1"/>
          </p:cNvSpPr>
          <p:nvPr>
            <p:ph type="pic" sz="quarter" idx="19"/>
          </p:nvPr>
        </p:nvSpPr>
        <p:spPr>
          <a:xfrm>
            <a:off x="7957642" y="1886881"/>
            <a:ext cx="3085093" cy="4173955"/>
          </a:xfrm>
          <a:effectLst/>
        </p:spPr>
        <p:txBody>
          <a:bodyPr>
            <a:norm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Tree>
    <p:extLst>
      <p:ext uri="{BB962C8B-B14F-4D97-AF65-F5344CB8AC3E}">
        <p14:creationId xmlns:p14="http://schemas.microsoft.com/office/powerpoint/2010/main" val="1472987019"/>
      </p:ext>
    </p:extLst>
  </p:cSld>
  <p:clrMapOvr>
    <a:masterClrMapping/>
  </p:clrMapOvr>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rush 1">
    <p:spTree>
      <p:nvGrpSpPr>
        <p:cNvPr id="1" name=""/>
        <p:cNvGrpSpPr/>
        <p:nvPr/>
      </p:nvGrpSpPr>
      <p:grpSpPr>
        <a:xfrm>
          <a:off x="0" y="0"/>
          <a:ext cx="0" cy="0"/>
          <a:chOff x="0" y="0"/>
          <a:chExt cx="0" cy="0"/>
        </a:xfrm>
      </p:grpSpPr>
      <p:sp>
        <p:nvSpPr>
          <p:cNvPr id="6" name="Picture Placeholder 5"/>
          <p:cNvSpPr>
            <a:spLocks noGrp="1"/>
          </p:cNvSpPr>
          <p:nvPr>
            <p:ph type="pic" sz="quarter" idx="19"/>
          </p:nvPr>
        </p:nvSpPr>
        <p:spPr>
          <a:xfrm>
            <a:off x="6870901" y="108856"/>
            <a:ext cx="4717030" cy="6593351"/>
          </a:xfrm>
          <a:custGeom>
            <a:avLst/>
            <a:gdLst>
              <a:gd name="connsiteX0" fmla="*/ 3221940 w 9431603"/>
              <a:gd name="connsiteY0" fmla="*/ 13181219 h 13186702"/>
              <a:gd name="connsiteX1" fmla="*/ 3221940 w 9431603"/>
              <a:gd name="connsiteY1" fmla="*/ 13181219 h 13186702"/>
              <a:gd name="connsiteX2" fmla="*/ 3087050 w 9431603"/>
              <a:gd name="connsiteY2" fmla="*/ 12587346 h 13186702"/>
              <a:gd name="connsiteX3" fmla="*/ 3091512 w 9431603"/>
              <a:gd name="connsiteY3" fmla="*/ 12592551 h 13186702"/>
              <a:gd name="connsiteX4" fmla="*/ 3087050 w 9431603"/>
              <a:gd name="connsiteY4" fmla="*/ 12587346 h 13186702"/>
              <a:gd name="connsiteX5" fmla="*/ 3015722 w 9431603"/>
              <a:gd name="connsiteY5" fmla="*/ 12504427 h 13186702"/>
              <a:gd name="connsiteX6" fmla="*/ 3058024 w 9431603"/>
              <a:gd name="connsiteY6" fmla="*/ 12580214 h 13186702"/>
              <a:gd name="connsiteX7" fmla="*/ 3036872 w 9431603"/>
              <a:gd name="connsiteY7" fmla="*/ 12592551 h 13186702"/>
              <a:gd name="connsiteX8" fmla="*/ 3125000 w 9431603"/>
              <a:gd name="connsiteY8" fmla="*/ 12592551 h 13186702"/>
              <a:gd name="connsiteX9" fmla="*/ 3015722 w 9431603"/>
              <a:gd name="connsiteY9" fmla="*/ 12504427 h 13186702"/>
              <a:gd name="connsiteX10" fmla="*/ 9047164 w 9431603"/>
              <a:gd name="connsiteY10" fmla="*/ 12405728 h 13186702"/>
              <a:gd name="connsiteX11" fmla="*/ 9053386 w 9431603"/>
              <a:gd name="connsiteY11" fmla="*/ 12408838 h 13186702"/>
              <a:gd name="connsiteX12" fmla="*/ 9053774 w 9431603"/>
              <a:gd name="connsiteY12" fmla="*/ 12409694 h 13186702"/>
              <a:gd name="connsiteX13" fmla="*/ 9068316 w 9431603"/>
              <a:gd name="connsiteY13" fmla="*/ 12416303 h 13186702"/>
              <a:gd name="connsiteX14" fmla="*/ 9133530 w 9431603"/>
              <a:gd name="connsiteY14" fmla="*/ 12504427 h 13186702"/>
              <a:gd name="connsiteX15" fmla="*/ 9101804 w 9431603"/>
              <a:gd name="connsiteY15" fmla="*/ 12493852 h 13186702"/>
              <a:gd name="connsiteX16" fmla="*/ 9047164 w 9431603"/>
              <a:gd name="connsiteY16" fmla="*/ 12405728 h 13186702"/>
              <a:gd name="connsiteX17" fmla="*/ 2965510 w 9431603"/>
              <a:gd name="connsiteY17" fmla="*/ 12212279 h 13186702"/>
              <a:gd name="connsiteX18" fmla="*/ 2948745 w 9431603"/>
              <a:gd name="connsiteY18" fmla="*/ 12220668 h 13186702"/>
              <a:gd name="connsiteX19" fmla="*/ 2982234 w 9431603"/>
              <a:gd name="connsiteY19" fmla="*/ 12329941 h 13186702"/>
              <a:gd name="connsiteX20" fmla="*/ 2965510 w 9431603"/>
              <a:gd name="connsiteY20" fmla="*/ 12212279 h 13186702"/>
              <a:gd name="connsiteX21" fmla="*/ 2982234 w 9431603"/>
              <a:gd name="connsiteY21" fmla="*/ 12067332 h 13186702"/>
              <a:gd name="connsiteX22" fmla="*/ 2961083 w 9431603"/>
              <a:gd name="connsiteY22" fmla="*/ 12077907 h 13186702"/>
              <a:gd name="connsiteX23" fmla="*/ 2982234 w 9431603"/>
              <a:gd name="connsiteY23" fmla="*/ 12067332 h 13186702"/>
              <a:gd name="connsiteX24" fmla="*/ 8793398 w 9431603"/>
              <a:gd name="connsiteY24" fmla="*/ 11868853 h 13186702"/>
              <a:gd name="connsiteX25" fmla="*/ 8784544 w 9431603"/>
              <a:gd name="connsiteY25" fmla="*/ 11869934 h 13186702"/>
              <a:gd name="connsiteX26" fmla="*/ 8795120 w 9431603"/>
              <a:gd name="connsiteY26" fmla="*/ 12033845 h 13186702"/>
              <a:gd name="connsiteX27" fmla="*/ 8839184 w 9431603"/>
              <a:gd name="connsiteY27" fmla="*/ 12056757 h 13186702"/>
              <a:gd name="connsiteX28" fmla="*/ 8793398 w 9431603"/>
              <a:gd name="connsiteY28" fmla="*/ 11868853 h 13186702"/>
              <a:gd name="connsiteX29" fmla="*/ 8587140 w 9431603"/>
              <a:gd name="connsiteY29" fmla="*/ 11760660 h 13186702"/>
              <a:gd name="connsiteX30" fmla="*/ 7363930 w 9431603"/>
              <a:gd name="connsiteY30" fmla="*/ 11991545 h 13186702"/>
              <a:gd name="connsiteX31" fmla="*/ 5035604 w 9431603"/>
              <a:gd name="connsiteY31" fmla="*/ 12592551 h 13186702"/>
              <a:gd name="connsiteX32" fmla="*/ 3900522 w 9431603"/>
              <a:gd name="connsiteY32" fmla="*/ 12809336 h 13186702"/>
              <a:gd name="connsiteX33" fmla="*/ 4173716 w 9431603"/>
              <a:gd name="connsiteY33" fmla="*/ 12809336 h 13186702"/>
              <a:gd name="connsiteX34" fmla="*/ 4478638 w 9431603"/>
              <a:gd name="connsiteY34" fmla="*/ 12744124 h 13186702"/>
              <a:gd name="connsiteX35" fmla="*/ 8631204 w 9431603"/>
              <a:gd name="connsiteY35" fmla="*/ 11783573 h 13186702"/>
              <a:gd name="connsiteX36" fmla="*/ 8587140 w 9431603"/>
              <a:gd name="connsiteY36" fmla="*/ 11760660 h 13186702"/>
              <a:gd name="connsiteX37" fmla="*/ 2834675 w 9431603"/>
              <a:gd name="connsiteY37" fmla="*/ 11354243 h 13186702"/>
              <a:gd name="connsiteX38" fmla="*/ 2818316 w 9431603"/>
              <a:gd name="connsiteY38" fmla="*/ 11367627 h 13186702"/>
              <a:gd name="connsiteX39" fmla="*/ 2742527 w 9431603"/>
              <a:gd name="connsiteY39" fmla="*/ 11422264 h 13186702"/>
              <a:gd name="connsiteX40" fmla="*/ 2742527 w 9431603"/>
              <a:gd name="connsiteY40" fmla="*/ 11596750 h 13186702"/>
              <a:gd name="connsiteX41" fmla="*/ 2807741 w 9431603"/>
              <a:gd name="connsiteY41" fmla="*/ 11651387 h 13186702"/>
              <a:gd name="connsiteX42" fmla="*/ 2786590 w 9431603"/>
              <a:gd name="connsiteY42" fmla="*/ 11596750 h 13186702"/>
              <a:gd name="connsiteX43" fmla="*/ 2839467 w 9431603"/>
              <a:gd name="connsiteY43" fmla="*/ 11357052 h 13186702"/>
              <a:gd name="connsiteX44" fmla="*/ 2834675 w 9431603"/>
              <a:gd name="connsiteY44" fmla="*/ 11354243 h 13186702"/>
              <a:gd name="connsiteX45" fmla="*/ 4308976 w 9431603"/>
              <a:gd name="connsiteY45" fmla="*/ 11150361 h 13186702"/>
              <a:gd name="connsiteX46" fmla="*/ 4310122 w 9431603"/>
              <a:gd name="connsiteY46" fmla="*/ 11150732 h 13186702"/>
              <a:gd name="connsiteX47" fmla="*/ 4317378 w 9431603"/>
              <a:gd name="connsiteY47" fmla="*/ 11153085 h 13186702"/>
              <a:gd name="connsiteX48" fmla="*/ 4328464 w 9431603"/>
              <a:gd name="connsiteY48" fmla="*/ 11156681 h 13186702"/>
              <a:gd name="connsiteX49" fmla="*/ 4337634 w 9431603"/>
              <a:gd name="connsiteY49" fmla="*/ 11159655 h 13186702"/>
              <a:gd name="connsiteX50" fmla="*/ 4318910 w 9431603"/>
              <a:gd name="connsiteY50" fmla="*/ 11153583 h 13186702"/>
              <a:gd name="connsiteX51" fmla="*/ 4317378 w 9431603"/>
              <a:gd name="connsiteY51" fmla="*/ 11153085 h 13186702"/>
              <a:gd name="connsiteX52" fmla="*/ 4313178 w 9431603"/>
              <a:gd name="connsiteY52" fmla="*/ 11151724 h 13186702"/>
              <a:gd name="connsiteX53" fmla="*/ 4308976 w 9431603"/>
              <a:gd name="connsiteY53" fmla="*/ 11150361 h 13186702"/>
              <a:gd name="connsiteX54" fmla="*/ 4610058 w 9431603"/>
              <a:gd name="connsiteY54" fmla="*/ 11079572 h 13186702"/>
              <a:gd name="connsiteX55" fmla="*/ 4577340 w 9431603"/>
              <a:gd name="connsiteY55" fmla="*/ 11094443 h 13186702"/>
              <a:gd name="connsiteX56" fmla="*/ 4621404 w 9431603"/>
              <a:gd name="connsiteY56" fmla="*/ 11083868 h 13186702"/>
              <a:gd name="connsiteX57" fmla="*/ 4610058 w 9431603"/>
              <a:gd name="connsiteY57" fmla="*/ 11079572 h 13186702"/>
              <a:gd name="connsiteX58" fmla="*/ 4658748 w 9431603"/>
              <a:gd name="connsiteY58" fmla="*/ 11068997 h 13186702"/>
              <a:gd name="connsiteX59" fmla="*/ 4631980 w 9431603"/>
              <a:gd name="connsiteY59" fmla="*/ 11083868 h 13186702"/>
              <a:gd name="connsiteX60" fmla="*/ 4665468 w 9431603"/>
              <a:gd name="connsiteY60" fmla="*/ 11073293 h 13186702"/>
              <a:gd name="connsiteX61" fmla="*/ 4658748 w 9431603"/>
              <a:gd name="connsiteY61" fmla="*/ 11068997 h 13186702"/>
              <a:gd name="connsiteX62" fmla="*/ 4710578 w 9431603"/>
              <a:gd name="connsiteY62" fmla="*/ 11057679 h 13186702"/>
              <a:gd name="connsiteX63" fmla="*/ 4697194 w 9431603"/>
              <a:gd name="connsiteY63" fmla="*/ 11073293 h 13186702"/>
              <a:gd name="connsiteX64" fmla="*/ 4720108 w 9431603"/>
              <a:gd name="connsiteY64" fmla="*/ 11062718 h 13186702"/>
              <a:gd name="connsiteX65" fmla="*/ 4710578 w 9431603"/>
              <a:gd name="connsiteY65" fmla="*/ 11057679 h 13186702"/>
              <a:gd name="connsiteX66" fmla="*/ 6420030 w 9431603"/>
              <a:gd name="connsiteY66" fmla="*/ 10785073 h 13186702"/>
              <a:gd name="connsiteX67" fmla="*/ 6424492 w 9431603"/>
              <a:gd name="connsiteY67" fmla="*/ 10789534 h 13186702"/>
              <a:gd name="connsiteX68" fmla="*/ 6420030 w 9431603"/>
              <a:gd name="connsiteY68" fmla="*/ 10785073 h 13186702"/>
              <a:gd name="connsiteX69" fmla="*/ 6498082 w 9431603"/>
              <a:gd name="connsiteY69" fmla="*/ 10761144 h 13186702"/>
              <a:gd name="connsiteX70" fmla="*/ 6496812 w 9431603"/>
              <a:gd name="connsiteY70" fmla="*/ 10764088 h 13186702"/>
              <a:gd name="connsiteX71" fmla="*/ 6468556 w 9431603"/>
              <a:gd name="connsiteY71" fmla="*/ 10778959 h 13186702"/>
              <a:gd name="connsiteX72" fmla="*/ 6472026 w 9431603"/>
              <a:gd name="connsiteY72" fmla="*/ 10770174 h 13186702"/>
              <a:gd name="connsiteX73" fmla="*/ 6479368 w 9431603"/>
              <a:gd name="connsiteY73" fmla="*/ 10763817 h 13186702"/>
              <a:gd name="connsiteX74" fmla="*/ 3385858 w 9431603"/>
              <a:gd name="connsiteY74" fmla="*/ 10711985 h 13186702"/>
              <a:gd name="connsiteX75" fmla="*/ 3364706 w 9431603"/>
              <a:gd name="connsiteY75" fmla="*/ 10745472 h 13186702"/>
              <a:gd name="connsiteX76" fmla="*/ 3359826 w 9431603"/>
              <a:gd name="connsiteY76" fmla="*/ 10755234 h 13186702"/>
              <a:gd name="connsiteX77" fmla="*/ 3354132 w 9431603"/>
              <a:gd name="connsiteY77" fmla="*/ 10756047 h 13186702"/>
              <a:gd name="connsiteX78" fmla="*/ 3354132 w 9431603"/>
              <a:gd name="connsiteY78" fmla="*/ 10766622 h 13186702"/>
              <a:gd name="connsiteX79" fmla="*/ 3320644 w 9431603"/>
              <a:gd name="connsiteY79" fmla="*/ 10766622 h 13186702"/>
              <a:gd name="connsiteX80" fmla="*/ 3385858 w 9431603"/>
              <a:gd name="connsiteY80" fmla="*/ 10711985 h 13186702"/>
              <a:gd name="connsiteX81" fmla="*/ 3410478 w 9431603"/>
              <a:gd name="connsiteY81" fmla="*/ 10661093 h 13186702"/>
              <a:gd name="connsiteX82" fmla="*/ 3343556 w 9431603"/>
              <a:gd name="connsiteY82" fmla="*/ 10690835 h 13186702"/>
              <a:gd name="connsiteX83" fmla="*/ 3255428 w 9431603"/>
              <a:gd name="connsiteY83" fmla="*/ 10690835 h 13186702"/>
              <a:gd name="connsiteX84" fmla="*/ 3190214 w 9431603"/>
              <a:gd name="connsiteY84" fmla="*/ 10789534 h 13186702"/>
              <a:gd name="connsiteX85" fmla="*/ 3320644 w 9431603"/>
              <a:gd name="connsiteY85" fmla="*/ 10766622 h 13186702"/>
              <a:gd name="connsiteX86" fmla="*/ 3354132 w 9431603"/>
              <a:gd name="connsiteY86" fmla="*/ 10766622 h 13186702"/>
              <a:gd name="connsiteX87" fmla="*/ 3359420 w 9431603"/>
              <a:gd name="connsiteY87" fmla="*/ 10756047 h 13186702"/>
              <a:gd name="connsiteX88" fmla="*/ 3359826 w 9431603"/>
              <a:gd name="connsiteY88" fmla="*/ 10755234 h 13186702"/>
              <a:gd name="connsiteX89" fmla="*/ 3363384 w 9431603"/>
              <a:gd name="connsiteY89" fmla="*/ 10754725 h 13186702"/>
              <a:gd name="connsiteX90" fmla="*/ 3364706 w 9431603"/>
              <a:gd name="connsiteY90" fmla="*/ 10745472 h 13186702"/>
              <a:gd name="connsiteX91" fmla="*/ 3429920 w 9431603"/>
              <a:gd name="connsiteY91" fmla="*/ 10667923 h 13186702"/>
              <a:gd name="connsiteX92" fmla="*/ 3410478 w 9431603"/>
              <a:gd name="connsiteY92" fmla="*/ 10661093 h 13186702"/>
              <a:gd name="connsiteX93" fmla="*/ 3431958 w 9431603"/>
              <a:gd name="connsiteY93" fmla="*/ 10622814 h 13186702"/>
              <a:gd name="connsiteX94" fmla="*/ 3385858 w 9431603"/>
              <a:gd name="connsiteY94" fmla="*/ 10636198 h 13186702"/>
              <a:gd name="connsiteX95" fmla="*/ 3440496 w 9431603"/>
              <a:gd name="connsiteY95" fmla="*/ 10625623 h 13186702"/>
              <a:gd name="connsiteX96" fmla="*/ 3431958 w 9431603"/>
              <a:gd name="connsiteY96" fmla="*/ 10622814 h 13186702"/>
              <a:gd name="connsiteX97" fmla="*/ 7514684 w 9431603"/>
              <a:gd name="connsiteY97" fmla="*/ 10522628 h 13186702"/>
              <a:gd name="connsiteX98" fmla="*/ 7483784 w 9431603"/>
              <a:gd name="connsiteY98" fmla="*/ 10526924 h 13186702"/>
              <a:gd name="connsiteX99" fmla="*/ 7025520 w 9431603"/>
              <a:gd name="connsiteY99" fmla="*/ 10625623 h 13186702"/>
              <a:gd name="connsiteX100" fmla="*/ 7002608 w 9431603"/>
              <a:gd name="connsiteY100" fmla="*/ 10646773 h 13186702"/>
              <a:gd name="connsiteX101" fmla="*/ 6882754 w 9431603"/>
              <a:gd name="connsiteY101" fmla="*/ 10657348 h 13186702"/>
              <a:gd name="connsiteX102" fmla="*/ 6828116 w 9431603"/>
              <a:gd name="connsiteY102" fmla="*/ 10667923 h 13186702"/>
              <a:gd name="connsiteX103" fmla="*/ 6729412 w 9431603"/>
              <a:gd name="connsiteY103" fmla="*/ 10701410 h 13186702"/>
              <a:gd name="connsiteX104" fmla="*/ 6718838 w 9431603"/>
              <a:gd name="connsiteY104" fmla="*/ 10701410 h 13186702"/>
              <a:gd name="connsiteX105" fmla="*/ 6664198 w 9431603"/>
              <a:gd name="connsiteY105" fmla="*/ 10711985 h 13186702"/>
              <a:gd name="connsiteX106" fmla="*/ 6620136 w 9431603"/>
              <a:gd name="connsiteY106" fmla="*/ 10722560 h 13186702"/>
              <a:gd name="connsiteX107" fmla="*/ 6598984 w 9431603"/>
              <a:gd name="connsiteY107" fmla="*/ 10745472 h 13186702"/>
              <a:gd name="connsiteX108" fmla="*/ 6544346 w 9431603"/>
              <a:gd name="connsiteY108" fmla="*/ 10745472 h 13186702"/>
              <a:gd name="connsiteX109" fmla="*/ 6526500 w 9431603"/>
              <a:gd name="connsiteY109" fmla="*/ 10760343 h 13186702"/>
              <a:gd name="connsiteX110" fmla="*/ 6524240 w 9431603"/>
              <a:gd name="connsiteY110" fmla="*/ 10757408 h 13186702"/>
              <a:gd name="connsiteX111" fmla="*/ 6533770 w 9431603"/>
              <a:gd name="connsiteY111" fmla="*/ 10756047 h 13186702"/>
              <a:gd name="connsiteX112" fmla="*/ 6523194 w 9431603"/>
              <a:gd name="connsiteY112" fmla="*/ 10756047 h 13186702"/>
              <a:gd name="connsiteX113" fmla="*/ 6524240 w 9431603"/>
              <a:gd name="connsiteY113" fmla="*/ 10757408 h 13186702"/>
              <a:gd name="connsiteX114" fmla="*/ 6498082 w 9431603"/>
              <a:gd name="connsiteY114" fmla="*/ 10761144 h 13186702"/>
              <a:gd name="connsiteX115" fmla="*/ 6500282 w 9431603"/>
              <a:gd name="connsiteY115" fmla="*/ 10756047 h 13186702"/>
              <a:gd name="connsiteX116" fmla="*/ 6480454 w 9431603"/>
              <a:gd name="connsiteY116" fmla="*/ 10762877 h 13186702"/>
              <a:gd name="connsiteX117" fmla="*/ 6479368 w 9431603"/>
              <a:gd name="connsiteY117" fmla="*/ 10763817 h 13186702"/>
              <a:gd name="connsiteX118" fmla="*/ 6415376 w 9431603"/>
              <a:gd name="connsiteY118" fmla="*/ 10772956 h 13186702"/>
              <a:gd name="connsiteX119" fmla="*/ 6063170 w 9431603"/>
              <a:gd name="connsiteY119" fmla="*/ 10854746 h 13186702"/>
              <a:gd name="connsiteX120" fmla="*/ 5943316 w 9431603"/>
              <a:gd name="connsiteY120" fmla="*/ 10898808 h 13186702"/>
              <a:gd name="connsiteX121" fmla="*/ 5976804 w 9431603"/>
              <a:gd name="connsiteY121" fmla="*/ 10909383 h 13186702"/>
              <a:gd name="connsiteX122" fmla="*/ 5997956 w 9431603"/>
              <a:gd name="connsiteY122" fmla="*/ 10886470 h 13186702"/>
              <a:gd name="connsiteX123" fmla="*/ 6336364 w 9431603"/>
              <a:gd name="connsiteY123" fmla="*/ 10821259 h 13186702"/>
              <a:gd name="connsiteX124" fmla="*/ 6346940 w 9431603"/>
              <a:gd name="connsiteY124" fmla="*/ 10800109 h 13186702"/>
              <a:gd name="connsiteX125" fmla="*/ 6445642 w 9431603"/>
              <a:gd name="connsiteY125" fmla="*/ 10800109 h 13186702"/>
              <a:gd name="connsiteX126" fmla="*/ 7002608 w 9431603"/>
              <a:gd name="connsiteY126" fmla="*/ 10646773 h 13186702"/>
              <a:gd name="connsiteX127" fmla="*/ 7494360 w 9431603"/>
              <a:gd name="connsiteY127" fmla="*/ 10537499 h 13186702"/>
              <a:gd name="connsiteX128" fmla="*/ 7514684 w 9431603"/>
              <a:gd name="connsiteY128" fmla="*/ 10522628 h 13186702"/>
              <a:gd name="connsiteX129" fmla="*/ 8462278 w 9431603"/>
              <a:gd name="connsiteY129" fmla="*/ 10350931 h 13186702"/>
              <a:gd name="connsiteX130" fmla="*/ 8238156 w 9431603"/>
              <a:gd name="connsiteY130" fmla="*/ 10363014 h 13186702"/>
              <a:gd name="connsiteX131" fmla="*/ 7561336 w 9431603"/>
              <a:gd name="connsiteY131" fmla="*/ 10504012 h 13186702"/>
              <a:gd name="connsiteX132" fmla="*/ 7561336 w 9431603"/>
              <a:gd name="connsiteY132" fmla="*/ 10504012 h 13186702"/>
              <a:gd name="connsiteX133" fmla="*/ 7822194 w 9431603"/>
              <a:gd name="connsiteY133" fmla="*/ 10449375 h 13186702"/>
              <a:gd name="connsiteX134" fmla="*/ 8446136 w 9431603"/>
              <a:gd name="connsiteY134" fmla="*/ 10363014 h 13186702"/>
              <a:gd name="connsiteX135" fmla="*/ 8462278 w 9431603"/>
              <a:gd name="connsiteY135" fmla="*/ 10350931 h 13186702"/>
              <a:gd name="connsiteX136" fmla="*/ 5287648 w 9431603"/>
              <a:gd name="connsiteY136" fmla="*/ 10264315 h 13186702"/>
              <a:gd name="connsiteX137" fmla="*/ 5287648 w 9431603"/>
              <a:gd name="connsiteY137" fmla="*/ 10264315 h 13186702"/>
              <a:gd name="connsiteX138" fmla="*/ 7845106 w 9431603"/>
              <a:gd name="connsiteY138" fmla="*/ 9642160 h 13186702"/>
              <a:gd name="connsiteX139" fmla="*/ 7561336 w 9431603"/>
              <a:gd name="connsiteY139" fmla="*/ 9696796 h 13186702"/>
              <a:gd name="connsiteX140" fmla="*/ 5648970 w 9431603"/>
              <a:gd name="connsiteY140" fmla="*/ 10165616 h 13186702"/>
              <a:gd name="connsiteX141" fmla="*/ 5648970 w 9431603"/>
              <a:gd name="connsiteY141" fmla="*/ 10165616 h 13186702"/>
              <a:gd name="connsiteX142" fmla="*/ 7735828 w 9431603"/>
              <a:gd name="connsiteY142" fmla="*/ 9686222 h 13186702"/>
              <a:gd name="connsiteX143" fmla="*/ 7845106 w 9431603"/>
              <a:gd name="connsiteY143" fmla="*/ 9642160 h 13186702"/>
              <a:gd name="connsiteX144" fmla="*/ 7931472 w 9431603"/>
              <a:gd name="connsiteY144" fmla="*/ 9631585 h 13186702"/>
              <a:gd name="connsiteX145" fmla="*/ 7887408 w 9431603"/>
              <a:gd name="connsiteY145" fmla="*/ 9652734 h 13186702"/>
              <a:gd name="connsiteX146" fmla="*/ 7931472 w 9431603"/>
              <a:gd name="connsiteY146" fmla="*/ 9631585 h 13186702"/>
              <a:gd name="connsiteX147" fmla="*/ 8019600 w 9431603"/>
              <a:gd name="connsiteY147" fmla="*/ 9619247 h 13186702"/>
              <a:gd name="connsiteX148" fmla="*/ 7954384 w 9431603"/>
              <a:gd name="connsiteY148" fmla="*/ 9631585 h 13186702"/>
              <a:gd name="connsiteX149" fmla="*/ 8019600 w 9431603"/>
              <a:gd name="connsiteY149" fmla="*/ 9619247 h 13186702"/>
              <a:gd name="connsiteX150" fmla="*/ 8105964 w 9431603"/>
              <a:gd name="connsiteY150" fmla="*/ 9608672 h 13186702"/>
              <a:gd name="connsiteX151" fmla="*/ 8040750 w 9431603"/>
              <a:gd name="connsiteY151" fmla="*/ 9619247 h 13186702"/>
              <a:gd name="connsiteX152" fmla="*/ 8105964 w 9431603"/>
              <a:gd name="connsiteY152" fmla="*/ 9608672 h 13186702"/>
              <a:gd name="connsiteX153" fmla="*/ 8150028 w 9431603"/>
              <a:gd name="connsiteY153" fmla="*/ 9598098 h 13186702"/>
              <a:gd name="connsiteX154" fmla="*/ 8128876 w 9431603"/>
              <a:gd name="connsiteY154" fmla="*/ 9608672 h 13186702"/>
              <a:gd name="connsiteX155" fmla="*/ 8150028 w 9431603"/>
              <a:gd name="connsiteY155" fmla="*/ 9598098 h 13186702"/>
              <a:gd name="connsiteX156" fmla="*/ 2325794 w 9431603"/>
              <a:gd name="connsiteY156" fmla="*/ 8894097 h 13186702"/>
              <a:gd name="connsiteX157" fmla="*/ 2293077 w 9431603"/>
              <a:gd name="connsiteY157" fmla="*/ 8908968 h 13186702"/>
              <a:gd name="connsiteX158" fmla="*/ 2337140 w 9431603"/>
              <a:gd name="connsiteY158" fmla="*/ 8898393 h 13186702"/>
              <a:gd name="connsiteX159" fmla="*/ 2325794 w 9431603"/>
              <a:gd name="connsiteY159" fmla="*/ 8894097 h 13186702"/>
              <a:gd name="connsiteX160" fmla="*/ 1540337 w 9431603"/>
              <a:gd name="connsiteY160" fmla="*/ 8721629 h 13186702"/>
              <a:gd name="connsiteX161" fmla="*/ 1533869 w 9431603"/>
              <a:gd name="connsiteY161" fmla="*/ 8723041 h 13186702"/>
              <a:gd name="connsiteX162" fmla="*/ 1529893 w 9431603"/>
              <a:gd name="connsiteY162" fmla="*/ 8723908 h 13186702"/>
              <a:gd name="connsiteX163" fmla="*/ 1561006 w 9431603"/>
              <a:gd name="connsiteY163" fmla="*/ 8717120 h 13186702"/>
              <a:gd name="connsiteX164" fmla="*/ 1557726 w 9431603"/>
              <a:gd name="connsiteY164" fmla="*/ 8717836 h 13186702"/>
              <a:gd name="connsiteX165" fmla="*/ 1540337 w 9431603"/>
              <a:gd name="connsiteY165" fmla="*/ 8721629 h 13186702"/>
              <a:gd name="connsiteX166" fmla="*/ 1543525 w 9431603"/>
              <a:gd name="connsiteY166" fmla="*/ 8720934 h 13186702"/>
              <a:gd name="connsiteX167" fmla="*/ 1572494 w 9431603"/>
              <a:gd name="connsiteY167" fmla="*/ 8714614 h 13186702"/>
              <a:gd name="connsiteX168" fmla="*/ 1566246 w 9431603"/>
              <a:gd name="connsiteY168" fmla="*/ 8715977 h 13186702"/>
              <a:gd name="connsiteX169" fmla="*/ 1561006 w 9431603"/>
              <a:gd name="connsiteY169" fmla="*/ 8717120 h 13186702"/>
              <a:gd name="connsiteX170" fmla="*/ 1570790 w 9431603"/>
              <a:gd name="connsiteY170" fmla="*/ 8714985 h 13186702"/>
              <a:gd name="connsiteX171" fmla="*/ 1572494 w 9431603"/>
              <a:gd name="connsiteY171" fmla="*/ 8714614 h 13186702"/>
              <a:gd name="connsiteX172" fmla="*/ 1913688 w 9431603"/>
              <a:gd name="connsiteY172" fmla="*/ 8689539 h 13186702"/>
              <a:gd name="connsiteX173" fmla="*/ 1900028 w 9431603"/>
              <a:gd name="connsiteY173" fmla="*/ 8702758 h 13186702"/>
              <a:gd name="connsiteX174" fmla="*/ 1845389 w 9431603"/>
              <a:gd name="connsiteY174" fmla="*/ 8702758 h 13186702"/>
              <a:gd name="connsiteX175" fmla="*/ 1913688 w 9431603"/>
              <a:gd name="connsiteY175" fmla="*/ 8689539 h 13186702"/>
              <a:gd name="connsiteX176" fmla="*/ 1977663 w 9431603"/>
              <a:gd name="connsiteY176" fmla="*/ 8675385 h 13186702"/>
              <a:gd name="connsiteX177" fmla="*/ 1998731 w 9431603"/>
              <a:gd name="connsiteY177" fmla="*/ 8679846 h 13186702"/>
              <a:gd name="connsiteX178" fmla="*/ 1967005 w 9431603"/>
              <a:gd name="connsiteY178" fmla="*/ 8679846 h 13186702"/>
              <a:gd name="connsiteX179" fmla="*/ 1977663 w 9431603"/>
              <a:gd name="connsiteY179" fmla="*/ 8675385 h 13186702"/>
              <a:gd name="connsiteX180" fmla="*/ 1418852 w 9431603"/>
              <a:gd name="connsiteY180" fmla="*/ 8669271 h 13186702"/>
              <a:gd name="connsiteX181" fmla="*/ 1769600 w 9431603"/>
              <a:gd name="connsiteY181" fmla="*/ 8702758 h 13186702"/>
              <a:gd name="connsiteX182" fmla="*/ 1801326 w 9431603"/>
              <a:gd name="connsiteY182" fmla="*/ 8713333 h 13186702"/>
              <a:gd name="connsiteX183" fmla="*/ 1529893 w 9431603"/>
              <a:gd name="connsiteY183" fmla="*/ 8723908 h 13186702"/>
              <a:gd name="connsiteX184" fmla="*/ 1418852 w 9431603"/>
              <a:gd name="connsiteY184" fmla="*/ 8669271 h 13186702"/>
              <a:gd name="connsiteX185" fmla="*/ 2108009 w 9431603"/>
              <a:gd name="connsiteY185" fmla="*/ 8658696 h 13186702"/>
              <a:gd name="connsiteX186" fmla="*/ 2053370 w 9431603"/>
              <a:gd name="connsiteY186" fmla="*/ 8669271 h 13186702"/>
              <a:gd name="connsiteX187" fmla="*/ 2169891 w 9431603"/>
              <a:gd name="connsiteY187" fmla="*/ 8645312 h 13186702"/>
              <a:gd name="connsiteX188" fmla="*/ 2185561 w 9431603"/>
              <a:gd name="connsiteY188" fmla="*/ 8648121 h 13186702"/>
              <a:gd name="connsiteX189" fmla="*/ 2118584 w 9431603"/>
              <a:gd name="connsiteY189" fmla="*/ 8658696 h 13186702"/>
              <a:gd name="connsiteX190" fmla="*/ 2169891 w 9431603"/>
              <a:gd name="connsiteY190" fmla="*/ 8645312 h 13186702"/>
              <a:gd name="connsiteX191" fmla="*/ 8833016 w 9431603"/>
              <a:gd name="connsiteY191" fmla="*/ 8624328 h 13186702"/>
              <a:gd name="connsiteX192" fmla="*/ 8805696 w 9431603"/>
              <a:gd name="connsiteY192" fmla="*/ 8637546 h 13186702"/>
              <a:gd name="connsiteX193" fmla="*/ 8860336 w 9431603"/>
              <a:gd name="connsiteY193" fmla="*/ 8637546 h 13186702"/>
              <a:gd name="connsiteX194" fmla="*/ 8833016 w 9431603"/>
              <a:gd name="connsiteY194" fmla="*/ 8624328 h 13186702"/>
              <a:gd name="connsiteX195" fmla="*/ 8871158 w 9431603"/>
              <a:gd name="connsiteY195" fmla="*/ 8315260 h 13186702"/>
              <a:gd name="connsiteX196" fmla="*/ 8839184 w 9431603"/>
              <a:gd name="connsiteY196" fmla="*/ 8330874 h 13186702"/>
              <a:gd name="connsiteX197" fmla="*/ 8883248 w 9431603"/>
              <a:gd name="connsiteY197" fmla="*/ 8320300 h 13186702"/>
              <a:gd name="connsiteX198" fmla="*/ 8871158 w 9431603"/>
              <a:gd name="connsiteY198" fmla="*/ 8315260 h 13186702"/>
              <a:gd name="connsiteX199" fmla="*/ 5744730 w 9431603"/>
              <a:gd name="connsiteY199" fmla="*/ 8254802 h 13186702"/>
              <a:gd name="connsiteX200" fmla="*/ 5735336 w 9431603"/>
              <a:gd name="connsiteY200" fmla="*/ 8255088 h 13186702"/>
              <a:gd name="connsiteX201" fmla="*/ 5714184 w 9431603"/>
              <a:gd name="connsiteY201" fmla="*/ 8265663 h 13186702"/>
              <a:gd name="connsiteX202" fmla="*/ 5506204 w 9431603"/>
              <a:gd name="connsiteY202" fmla="*/ 8429573 h 13186702"/>
              <a:gd name="connsiteX203" fmla="*/ 5298224 w 9431603"/>
              <a:gd name="connsiteY203" fmla="*/ 8581147 h 13186702"/>
              <a:gd name="connsiteX204" fmla="*/ 5298224 w 9431603"/>
              <a:gd name="connsiteY204" fmla="*/ 8637546 h 13186702"/>
              <a:gd name="connsiteX205" fmla="*/ 5680696 w 9431603"/>
              <a:gd name="connsiteY205" fmla="*/ 8341450 h 13186702"/>
              <a:gd name="connsiteX206" fmla="*/ 5659546 w 9431603"/>
              <a:gd name="connsiteY206" fmla="*/ 8330874 h 13186702"/>
              <a:gd name="connsiteX207" fmla="*/ 5744730 w 9431603"/>
              <a:gd name="connsiteY207" fmla="*/ 8254802 h 13186702"/>
              <a:gd name="connsiteX208" fmla="*/ 1025804 w 9431603"/>
              <a:gd name="connsiteY208" fmla="*/ 8200451 h 13186702"/>
              <a:gd name="connsiteX209" fmla="*/ 1025804 w 9431603"/>
              <a:gd name="connsiteY209" fmla="*/ 8242750 h 13186702"/>
              <a:gd name="connsiteX210" fmla="*/ 1025804 w 9431603"/>
              <a:gd name="connsiteY210" fmla="*/ 8200451 h 13186702"/>
              <a:gd name="connsiteX211" fmla="*/ 8856260 w 9431603"/>
              <a:gd name="connsiteY211" fmla="*/ 8174730 h 13186702"/>
              <a:gd name="connsiteX212" fmla="*/ 8805696 w 9431603"/>
              <a:gd name="connsiteY212" fmla="*/ 8188114 h 13186702"/>
              <a:gd name="connsiteX213" fmla="*/ 8870910 w 9431603"/>
              <a:gd name="connsiteY213" fmla="*/ 8177539 h 13186702"/>
              <a:gd name="connsiteX214" fmla="*/ 8856260 w 9431603"/>
              <a:gd name="connsiteY214" fmla="*/ 8174730 h 13186702"/>
              <a:gd name="connsiteX215" fmla="*/ 8773198 w 9431603"/>
              <a:gd name="connsiteY215" fmla="*/ 8164155 h 13186702"/>
              <a:gd name="connsiteX216" fmla="*/ 8740480 w 9431603"/>
              <a:gd name="connsiteY216" fmla="*/ 8177539 h 13186702"/>
              <a:gd name="connsiteX217" fmla="*/ 8784544 w 9431603"/>
              <a:gd name="connsiteY217" fmla="*/ 8166964 h 13186702"/>
              <a:gd name="connsiteX218" fmla="*/ 8773198 w 9431603"/>
              <a:gd name="connsiteY218" fmla="*/ 8164155 h 13186702"/>
              <a:gd name="connsiteX219" fmla="*/ 971165 w 9431603"/>
              <a:gd name="connsiteY219" fmla="*/ 7992479 h 13186702"/>
              <a:gd name="connsiteX220" fmla="*/ 950014 w 9431603"/>
              <a:gd name="connsiteY220" fmla="*/ 8003054 h 13186702"/>
              <a:gd name="connsiteX221" fmla="*/ 971165 w 9431603"/>
              <a:gd name="connsiteY221" fmla="*/ 7992479 h 13186702"/>
              <a:gd name="connsiteX222" fmla="*/ 866707 w 9431603"/>
              <a:gd name="connsiteY222" fmla="*/ 7830276 h 13186702"/>
              <a:gd name="connsiteX223" fmla="*/ 874225 w 9431603"/>
              <a:gd name="connsiteY223" fmla="*/ 7849718 h 13186702"/>
              <a:gd name="connsiteX224" fmla="*/ 916526 w 9431603"/>
              <a:gd name="connsiteY224" fmla="*/ 7870868 h 13186702"/>
              <a:gd name="connsiteX225" fmla="*/ 884800 w 9431603"/>
              <a:gd name="connsiteY225" fmla="*/ 7893780 h 13186702"/>
              <a:gd name="connsiteX226" fmla="*/ 928864 w 9431603"/>
              <a:gd name="connsiteY226" fmla="*/ 7914930 h 13186702"/>
              <a:gd name="connsiteX227" fmla="*/ 884800 w 9431603"/>
              <a:gd name="connsiteY227" fmla="*/ 7969566 h 13186702"/>
              <a:gd name="connsiteX228" fmla="*/ 866707 w 9431603"/>
              <a:gd name="connsiteY228" fmla="*/ 7830276 h 13186702"/>
              <a:gd name="connsiteX229" fmla="*/ 710748 w 9431603"/>
              <a:gd name="connsiteY229" fmla="*/ 7672589 h 13186702"/>
              <a:gd name="connsiteX230" fmla="*/ 697970 w 9431603"/>
              <a:gd name="connsiteY230" fmla="*/ 7685807 h 13186702"/>
              <a:gd name="connsiteX231" fmla="*/ 731458 w 9431603"/>
              <a:gd name="connsiteY231" fmla="*/ 7675232 h 13186702"/>
              <a:gd name="connsiteX232" fmla="*/ 710748 w 9431603"/>
              <a:gd name="connsiteY232" fmla="*/ 7672589 h 13186702"/>
              <a:gd name="connsiteX233" fmla="*/ 3070360 w 9431603"/>
              <a:gd name="connsiteY233" fmla="*/ 7631170 h 13186702"/>
              <a:gd name="connsiteX234" fmla="*/ 2862380 w 9431603"/>
              <a:gd name="connsiteY234" fmla="*/ 7685807 h 13186702"/>
              <a:gd name="connsiteX235" fmla="*/ 2654400 w 9431603"/>
              <a:gd name="connsiteY235" fmla="*/ 7729869 h 13186702"/>
              <a:gd name="connsiteX236" fmla="*/ 2883531 w 9431603"/>
              <a:gd name="connsiteY236" fmla="*/ 7685807 h 13186702"/>
              <a:gd name="connsiteX237" fmla="*/ 3070360 w 9431603"/>
              <a:gd name="connsiteY237" fmla="*/ 7631170 h 13186702"/>
              <a:gd name="connsiteX238" fmla="*/ 3146150 w 9431603"/>
              <a:gd name="connsiteY238" fmla="*/ 7620595 h 13186702"/>
              <a:gd name="connsiteX239" fmla="*/ 3146150 w 9431603"/>
              <a:gd name="connsiteY239" fmla="*/ 7620595 h 13186702"/>
              <a:gd name="connsiteX240" fmla="*/ 805124 w 9431603"/>
              <a:gd name="connsiteY240" fmla="*/ 7613442 h 13186702"/>
              <a:gd name="connsiteX241" fmla="*/ 786097 w 9431603"/>
              <a:gd name="connsiteY241" fmla="*/ 7620595 h 13186702"/>
              <a:gd name="connsiteX242" fmla="*/ 830161 w 9431603"/>
              <a:gd name="connsiteY242" fmla="*/ 7696382 h 13186702"/>
              <a:gd name="connsiteX243" fmla="*/ 805124 w 9431603"/>
              <a:gd name="connsiteY243" fmla="*/ 7613442 h 13186702"/>
              <a:gd name="connsiteX244" fmla="*/ 2467074 w 9431603"/>
              <a:gd name="connsiteY244" fmla="*/ 7594406 h 13186702"/>
              <a:gd name="connsiteX245" fmla="*/ 2435843 w 9431603"/>
              <a:gd name="connsiteY245" fmla="*/ 7610021 h 13186702"/>
              <a:gd name="connsiteX246" fmla="*/ 2479907 w 9431603"/>
              <a:gd name="connsiteY246" fmla="*/ 7599446 h 13186702"/>
              <a:gd name="connsiteX247" fmla="*/ 2467074 w 9431603"/>
              <a:gd name="connsiteY247" fmla="*/ 7594406 h 13186702"/>
              <a:gd name="connsiteX248" fmla="*/ 2573543 w 9431603"/>
              <a:gd name="connsiteY248" fmla="*/ 7572237 h 13186702"/>
              <a:gd name="connsiteX249" fmla="*/ 2555697 w 9431603"/>
              <a:gd name="connsiteY249" fmla="*/ 7587108 h 13186702"/>
              <a:gd name="connsiteX250" fmla="*/ 2578610 w 9431603"/>
              <a:gd name="connsiteY250" fmla="*/ 7576533 h 13186702"/>
              <a:gd name="connsiteX251" fmla="*/ 2573543 w 9431603"/>
              <a:gd name="connsiteY251" fmla="*/ 7572237 h 13186702"/>
              <a:gd name="connsiteX252" fmla="*/ 710308 w 9431603"/>
              <a:gd name="connsiteY252" fmla="*/ 7477835 h 13186702"/>
              <a:gd name="connsiteX253" fmla="*/ 710308 w 9431603"/>
              <a:gd name="connsiteY253" fmla="*/ 7477835 h 13186702"/>
              <a:gd name="connsiteX254" fmla="*/ 3372858 w 9431603"/>
              <a:gd name="connsiteY254" fmla="*/ 7375858 h 13186702"/>
              <a:gd name="connsiteX255" fmla="*/ 3331218 w 9431603"/>
              <a:gd name="connsiteY255" fmla="*/ 7391473 h 13186702"/>
              <a:gd name="connsiteX256" fmla="*/ 3385858 w 9431603"/>
              <a:gd name="connsiteY256" fmla="*/ 7380898 h 13186702"/>
              <a:gd name="connsiteX257" fmla="*/ 3372858 w 9431603"/>
              <a:gd name="connsiteY257" fmla="*/ 7375858 h 13186702"/>
              <a:gd name="connsiteX258" fmla="*/ 3473984 w 9431603"/>
              <a:gd name="connsiteY258" fmla="*/ 7347411 h 13186702"/>
              <a:gd name="connsiteX259" fmla="*/ 3419346 w 9431603"/>
              <a:gd name="connsiteY259" fmla="*/ 7357986 h 13186702"/>
              <a:gd name="connsiteX260" fmla="*/ 3419346 w 9431603"/>
              <a:gd name="connsiteY260" fmla="*/ 7357986 h 13186702"/>
              <a:gd name="connsiteX261" fmla="*/ 3473984 w 9431603"/>
              <a:gd name="connsiteY261" fmla="*/ 7347411 h 13186702"/>
              <a:gd name="connsiteX262" fmla="*/ 3150034 w 9431603"/>
              <a:gd name="connsiteY262" fmla="*/ 7025869 h 13186702"/>
              <a:gd name="connsiteX263" fmla="*/ 3125000 w 9431603"/>
              <a:gd name="connsiteY263" fmla="*/ 7040740 h 13186702"/>
              <a:gd name="connsiteX264" fmla="*/ 3156726 w 9431603"/>
              <a:gd name="connsiteY264" fmla="*/ 7030165 h 13186702"/>
              <a:gd name="connsiteX265" fmla="*/ 3150034 w 9431603"/>
              <a:gd name="connsiteY265" fmla="*/ 7025869 h 13186702"/>
              <a:gd name="connsiteX266" fmla="*/ 3333212 w 9431603"/>
              <a:gd name="connsiteY266" fmla="*/ 6994165 h 13186702"/>
              <a:gd name="connsiteX267" fmla="*/ 3310068 w 9431603"/>
              <a:gd name="connsiteY267" fmla="*/ 6998440 h 13186702"/>
              <a:gd name="connsiteX268" fmla="*/ 3167302 w 9431603"/>
              <a:gd name="connsiteY268" fmla="*/ 7030165 h 13186702"/>
              <a:gd name="connsiteX269" fmla="*/ 3333212 w 9431603"/>
              <a:gd name="connsiteY269" fmla="*/ 6994165 h 13186702"/>
              <a:gd name="connsiteX270" fmla="*/ 4182358 w 9431603"/>
              <a:gd name="connsiteY270" fmla="*/ 6765999 h 13186702"/>
              <a:gd name="connsiteX271" fmla="*/ 4150804 w 9431603"/>
              <a:gd name="connsiteY271" fmla="*/ 6767555 h 13186702"/>
              <a:gd name="connsiteX272" fmla="*/ 3757756 w 9431603"/>
              <a:gd name="connsiteY272" fmla="*/ 6866254 h 13186702"/>
              <a:gd name="connsiteX273" fmla="*/ 3452834 w 9431603"/>
              <a:gd name="connsiteY273" fmla="*/ 6943803 h 13186702"/>
              <a:gd name="connsiteX274" fmla="*/ 3507474 w 9431603"/>
              <a:gd name="connsiteY274" fmla="*/ 6964953 h 13186702"/>
              <a:gd name="connsiteX275" fmla="*/ 4020376 w 9431603"/>
              <a:gd name="connsiteY275" fmla="*/ 6822192 h 13186702"/>
              <a:gd name="connsiteX276" fmla="*/ 4182358 w 9431603"/>
              <a:gd name="connsiteY276" fmla="*/ 6765999 h 13186702"/>
              <a:gd name="connsiteX277" fmla="*/ 3299492 w 9431603"/>
              <a:gd name="connsiteY277" fmla="*/ 6756980 h 13186702"/>
              <a:gd name="connsiteX278" fmla="*/ 3266004 w 9431603"/>
              <a:gd name="connsiteY278" fmla="*/ 6767555 h 13186702"/>
              <a:gd name="connsiteX279" fmla="*/ 3299492 w 9431603"/>
              <a:gd name="connsiteY279" fmla="*/ 6756980 h 13186702"/>
              <a:gd name="connsiteX280" fmla="*/ 3343556 w 9431603"/>
              <a:gd name="connsiteY280" fmla="*/ 6746405 h 13186702"/>
              <a:gd name="connsiteX281" fmla="*/ 3320644 w 9431603"/>
              <a:gd name="connsiteY281" fmla="*/ 6756980 h 13186702"/>
              <a:gd name="connsiteX282" fmla="*/ 3343556 w 9431603"/>
              <a:gd name="connsiteY282" fmla="*/ 6746405 h 13186702"/>
              <a:gd name="connsiteX283" fmla="*/ 3366030 w 9431603"/>
              <a:gd name="connsiteY283" fmla="*/ 6733187 h 13186702"/>
              <a:gd name="connsiteX284" fmla="*/ 3354132 w 9431603"/>
              <a:gd name="connsiteY284" fmla="*/ 6746405 h 13186702"/>
              <a:gd name="connsiteX285" fmla="*/ 3385858 w 9431603"/>
              <a:gd name="connsiteY285" fmla="*/ 6735831 h 13186702"/>
              <a:gd name="connsiteX286" fmla="*/ 3366030 w 9431603"/>
              <a:gd name="connsiteY286" fmla="*/ 6733187 h 13186702"/>
              <a:gd name="connsiteX287" fmla="*/ 3659052 w 9431603"/>
              <a:gd name="connsiteY287" fmla="*/ 6658281 h 13186702"/>
              <a:gd name="connsiteX288" fmla="*/ 3627326 w 9431603"/>
              <a:gd name="connsiteY288" fmla="*/ 6670619 h 13186702"/>
              <a:gd name="connsiteX289" fmla="*/ 3659052 w 9431603"/>
              <a:gd name="connsiteY289" fmla="*/ 6658281 h 13186702"/>
              <a:gd name="connsiteX290" fmla="*/ 3845882 w 9431603"/>
              <a:gd name="connsiteY290" fmla="*/ 6603645 h 13186702"/>
              <a:gd name="connsiteX291" fmla="*/ 3812394 w 9431603"/>
              <a:gd name="connsiteY291" fmla="*/ 6626557 h 13186702"/>
              <a:gd name="connsiteX292" fmla="*/ 3845882 w 9431603"/>
              <a:gd name="connsiteY292" fmla="*/ 6603645 h 13186702"/>
              <a:gd name="connsiteX293" fmla="*/ 3877608 w 9431603"/>
              <a:gd name="connsiteY293" fmla="*/ 6593070 h 13186702"/>
              <a:gd name="connsiteX294" fmla="*/ 3856458 w 9431603"/>
              <a:gd name="connsiteY294" fmla="*/ 6603645 h 13186702"/>
              <a:gd name="connsiteX295" fmla="*/ 3877608 w 9431603"/>
              <a:gd name="connsiteY295" fmla="*/ 6593070 h 13186702"/>
              <a:gd name="connsiteX296" fmla="*/ 3921672 w 9431603"/>
              <a:gd name="connsiteY296" fmla="*/ 6582495 h 13186702"/>
              <a:gd name="connsiteX297" fmla="*/ 3889946 w 9431603"/>
              <a:gd name="connsiteY297" fmla="*/ 6593070 h 13186702"/>
              <a:gd name="connsiteX298" fmla="*/ 3921672 w 9431603"/>
              <a:gd name="connsiteY298" fmla="*/ 6582495 h 13186702"/>
              <a:gd name="connsiteX299" fmla="*/ 3965158 w 9431603"/>
              <a:gd name="connsiteY299" fmla="*/ 6569111 h 13186702"/>
              <a:gd name="connsiteX300" fmla="*/ 3944586 w 9431603"/>
              <a:gd name="connsiteY300" fmla="*/ 6582495 h 13186702"/>
              <a:gd name="connsiteX301" fmla="*/ 3976312 w 9431603"/>
              <a:gd name="connsiteY301" fmla="*/ 6571920 h 13186702"/>
              <a:gd name="connsiteX302" fmla="*/ 3965158 w 9431603"/>
              <a:gd name="connsiteY302" fmla="*/ 6569111 h 13186702"/>
              <a:gd name="connsiteX303" fmla="*/ 4032494 w 9431603"/>
              <a:gd name="connsiteY303" fmla="*/ 6546585 h 13186702"/>
              <a:gd name="connsiteX304" fmla="*/ 4020376 w 9431603"/>
              <a:gd name="connsiteY304" fmla="*/ 6561345 h 13186702"/>
              <a:gd name="connsiteX305" fmla="*/ 4053864 w 9431603"/>
              <a:gd name="connsiteY305" fmla="*/ 6549008 h 13186702"/>
              <a:gd name="connsiteX306" fmla="*/ 4032494 w 9431603"/>
              <a:gd name="connsiteY306" fmla="*/ 6546585 h 13186702"/>
              <a:gd name="connsiteX307" fmla="*/ 4466492 w 9431603"/>
              <a:gd name="connsiteY307" fmla="*/ 6434970 h 13186702"/>
              <a:gd name="connsiteX308" fmla="*/ 4446912 w 9431603"/>
              <a:gd name="connsiteY308" fmla="*/ 6452072 h 13186702"/>
              <a:gd name="connsiteX309" fmla="*/ 4392272 w 9431603"/>
              <a:gd name="connsiteY309" fmla="*/ 6462646 h 13186702"/>
              <a:gd name="connsiteX310" fmla="*/ 4348208 w 9431603"/>
              <a:gd name="connsiteY310" fmla="*/ 6473221 h 13186702"/>
              <a:gd name="connsiteX311" fmla="*/ 4293570 w 9431603"/>
              <a:gd name="connsiteY311" fmla="*/ 6483796 h 13186702"/>
              <a:gd name="connsiteX312" fmla="*/ 4163142 w 9431603"/>
              <a:gd name="connsiteY312" fmla="*/ 6527858 h 13186702"/>
              <a:gd name="connsiteX313" fmla="*/ 4108502 w 9431603"/>
              <a:gd name="connsiteY313" fmla="*/ 6538433 h 13186702"/>
              <a:gd name="connsiteX314" fmla="*/ 4163142 w 9431603"/>
              <a:gd name="connsiteY314" fmla="*/ 6527858 h 13186702"/>
              <a:gd name="connsiteX315" fmla="*/ 4293570 w 9431603"/>
              <a:gd name="connsiteY315" fmla="*/ 6483796 h 13186702"/>
              <a:gd name="connsiteX316" fmla="*/ 4348208 w 9431603"/>
              <a:gd name="connsiteY316" fmla="*/ 6473221 h 13186702"/>
              <a:gd name="connsiteX317" fmla="*/ 4392272 w 9431603"/>
              <a:gd name="connsiteY317" fmla="*/ 6462646 h 13186702"/>
              <a:gd name="connsiteX318" fmla="*/ 4446912 w 9431603"/>
              <a:gd name="connsiteY318" fmla="*/ 6452072 h 13186702"/>
              <a:gd name="connsiteX319" fmla="*/ 4466492 w 9431603"/>
              <a:gd name="connsiteY319" fmla="*/ 6434970 h 13186702"/>
              <a:gd name="connsiteX320" fmla="*/ 4566764 w 9431603"/>
              <a:gd name="connsiteY320" fmla="*/ 6408010 h 13186702"/>
              <a:gd name="connsiteX321" fmla="*/ 4545614 w 9431603"/>
              <a:gd name="connsiteY321" fmla="*/ 6418584 h 13186702"/>
              <a:gd name="connsiteX322" fmla="*/ 4566764 w 9431603"/>
              <a:gd name="connsiteY322" fmla="*/ 6408010 h 13186702"/>
              <a:gd name="connsiteX323" fmla="*/ 5679 w 9431603"/>
              <a:gd name="connsiteY323" fmla="*/ 5787278 h 13186702"/>
              <a:gd name="connsiteX324" fmla="*/ 13003 w 9431603"/>
              <a:gd name="connsiteY324" fmla="*/ 5789851 h 13186702"/>
              <a:gd name="connsiteX325" fmla="*/ 31726 w 9431603"/>
              <a:gd name="connsiteY325" fmla="*/ 5796429 h 13186702"/>
              <a:gd name="connsiteX326" fmla="*/ 7271 w 9431603"/>
              <a:gd name="connsiteY326" fmla="*/ 5787837 h 13186702"/>
              <a:gd name="connsiteX327" fmla="*/ 3068 w 9431603"/>
              <a:gd name="connsiteY327" fmla="*/ 5786360 h 13186702"/>
              <a:gd name="connsiteX328" fmla="*/ 5679 w 9431603"/>
              <a:gd name="connsiteY328" fmla="*/ 5787278 h 13186702"/>
              <a:gd name="connsiteX329" fmla="*/ 4214 w 9431603"/>
              <a:gd name="connsiteY329" fmla="*/ 5786763 h 13186702"/>
              <a:gd name="connsiteX330" fmla="*/ 3068 w 9431603"/>
              <a:gd name="connsiteY330" fmla="*/ 5786360 h 13186702"/>
              <a:gd name="connsiteX331" fmla="*/ 0 w 9431603"/>
              <a:gd name="connsiteY331" fmla="*/ 5697730 h 13186702"/>
              <a:gd name="connsiteX332" fmla="*/ 0 w 9431603"/>
              <a:gd name="connsiteY332" fmla="*/ 5697730 h 13186702"/>
              <a:gd name="connsiteX333" fmla="*/ 331143 w 9431603"/>
              <a:gd name="connsiteY333" fmla="*/ 5165275 h 13186702"/>
              <a:gd name="connsiteX334" fmla="*/ 315497 w 9431603"/>
              <a:gd name="connsiteY334" fmla="*/ 5172511 h 13186702"/>
              <a:gd name="connsiteX335" fmla="*/ 294346 w 9431603"/>
              <a:gd name="connsiteY335" fmla="*/ 5205998 h 13186702"/>
              <a:gd name="connsiteX336" fmla="*/ 331143 w 9431603"/>
              <a:gd name="connsiteY336" fmla="*/ 5165275 h 13186702"/>
              <a:gd name="connsiteX337" fmla="*/ 1441766 w 9431603"/>
              <a:gd name="connsiteY337" fmla="*/ 2955311 h 13186702"/>
              <a:gd name="connsiteX338" fmla="*/ 1376551 w 9431603"/>
              <a:gd name="connsiteY338" fmla="*/ 2987036 h 13186702"/>
              <a:gd name="connsiteX339" fmla="*/ 1380698 w 9431603"/>
              <a:gd name="connsiteY339" fmla="*/ 2984377 h 13186702"/>
              <a:gd name="connsiteX340" fmla="*/ 1399988 w 9431603"/>
              <a:gd name="connsiteY340" fmla="*/ 2974258 h 13186702"/>
              <a:gd name="connsiteX341" fmla="*/ 1441766 w 9431603"/>
              <a:gd name="connsiteY341" fmla="*/ 2955311 h 13186702"/>
              <a:gd name="connsiteX342" fmla="*/ 1503014 w 9431603"/>
              <a:gd name="connsiteY342" fmla="*/ 2909707 h 13186702"/>
              <a:gd name="connsiteX343" fmla="*/ 1441766 w 9431603"/>
              <a:gd name="connsiteY343" fmla="*/ 2955311 h 13186702"/>
              <a:gd name="connsiteX344" fmla="*/ 1483898 w 9431603"/>
              <a:gd name="connsiteY344" fmla="*/ 2919569 h 13186702"/>
              <a:gd name="connsiteX345" fmla="*/ 1495709 w 9431603"/>
              <a:gd name="connsiteY345" fmla="*/ 2912712 h 13186702"/>
              <a:gd name="connsiteX346" fmla="*/ 1503014 w 9431603"/>
              <a:gd name="connsiteY346" fmla="*/ 2909707 h 13186702"/>
              <a:gd name="connsiteX347" fmla="*/ 1418852 w 9431603"/>
              <a:gd name="connsiteY347" fmla="*/ 2824888 h 13186702"/>
              <a:gd name="connsiteX348" fmla="*/ 1408277 w 9431603"/>
              <a:gd name="connsiteY348" fmla="*/ 2846038 h 13186702"/>
              <a:gd name="connsiteX349" fmla="*/ 1418852 w 9431603"/>
              <a:gd name="connsiteY349" fmla="*/ 2824888 h 13186702"/>
              <a:gd name="connsiteX350" fmla="*/ 1431190 w 9431603"/>
              <a:gd name="connsiteY350" fmla="*/ 2812550 h 13186702"/>
              <a:gd name="connsiteX351" fmla="*/ 1418852 w 9431603"/>
              <a:gd name="connsiteY351" fmla="*/ 2824888 h 13186702"/>
              <a:gd name="connsiteX352" fmla="*/ 1431190 w 9431603"/>
              <a:gd name="connsiteY352" fmla="*/ 2812550 h 13186702"/>
              <a:gd name="connsiteX353" fmla="*/ 1452341 w 9431603"/>
              <a:gd name="connsiteY353" fmla="*/ 2801976 h 13186702"/>
              <a:gd name="connsiteX354" fmla="*/ 1431190 w 9431603"/>
              <a:gd name="connsiteY354" fmla="*/ 2812550 h 13186702"/>
              <a:gd name="connsiteX355" fmla="*/ 1452341 w 9431603"/>
              <a:gd name="connsiteY355" fmla="*/ 2801976 h 13186702"/>
              <a:gd name="connsiteX356" fmla="*/ 1462916 w 9431603"/>
              <a:gd name="connsiteY356" fmla="*/ 2791401 h 13186702"/>
              <a:gd name="connsiteX357" fmla="*/ 1452341 w 9431603"/>
              <a:gd name="connsiteY357" fmla="*/ 2801976 h 13186702"/>
              <a:gd name="connsiteX358" fmla="*/ 1462916 w 9431603"/>
              <a:gd name="connsiteY358" fmla="*/ 2791401 h 13186702"/>
              <a:gd name="connsiteX359" fmla="*/ 2472306 w 9431603"/>
              <a:gd name="connsiteY359" fmla="*/ 2327951 h 13186702"/>
              <a:gd name="connsiteX360" fmla="*/ 2469332 w 9431603"/>
              <a:gd name="connsiteY360" fmla="*/ 2333156 h 13186702"/>
              <a:gd name="connsiteX361" fmla="*/ 2305415 w 9431603"/>
              <a:gd name="connsiteY361" fmla="*/ 2408942 h 13186702"/>
              <a:gd name="connsiteX362" fmla="*/ 2282502 w 9431603"/>
              <a:gd name="connsiteY362" fmla="*/ 2419517 h 13186702"/>
              <a:gd name="connsiteX363" fmla="*/ 2282502 w 9431603"/>
              <a:gd name="connsiteY363" fmla="*/ 2419517 h 13186702"/>
              <a:gd name="connsiteX364" fmla="*/ 2305415 w 9431603"/>
              <a:gd name="connsiteY364" fmla="*/ 2408942 h 13186702"/>
              <a:gd name="connsiteX365" fmla="*/ 2469332 w 9431603"/>
              <a:gd name="connsiteY365" fmla="*/ 2333156 h 13186702"/>
              <a:gd name="connsiteX366" fmla="*/ 2472306 w 9431603"/>
              <a:gd name="connsiteY366" fmla="*/ 2327951 h 13186702"/>
              <a:gd name="connsiteX367" fmla="*/ 2700033 w 9431603"/>
              <a:gd name="connsiteY367" fmla="*/ 2211242 h 13186702"/>
              <a:gd name="connsiteX368" fmla="*/ 2687888 w 9431603"/>
              <a:gd name="connsiteY368" fmla="*/ 2223882 h 13186702"/>
              <a:gd name="connsiteX369" fmla="*/ 2664975 w 9431603"/>
              <a:gd name="connsiteY369" fmla="*/ 2234457 h 13186702"/>
              <a:gd name="connsiteX370" fmla="*/ 2643824 w 9431603"/>
              <a:gd name="connsiteY370" fmla="*/ 2245032 h 13186702"/>
              <a:gd name="connsiteX371" fmla="*/ 2620911 w 9431603"/>
              <a:gd name="connsiteY371" fmla="*/ 2255607 h 13186702"/>
              <a:gd name="connsiteX372" fmla="*/ 2620911 w 9431603"/>
              <a:gd name="connsiteY372" fmla="*/ 2255607 h 13186702"/>
              <a:gd name="connsiteX373" fmla="*/ 2643824 w 9431603"/>
              <a:gd name="connsiteY373" fmla="*/ 2245032 h 13186702"/>
              <a:gd name="connsiteX374" fmla="*/ 2664975 w 9431603"/>
              <a:gd name="connsiteY374" fmla="*/ 2234457 h 13186702"/>
              <a:gd name="connsiteX375" fmla="*/ 2687888 w 9431603"/>
              <a:gd name="connsiteY375" fmla="*/ 2223882 h 13186702"/>
              <a:gd name="connsiteX376" fmla="*/ 2700033 w 9431603"/>
              <a:gd name="connsiteY376" fmla="*/ 2211242 h 13186702"/>
              <a:gd name="connsiteX377" fmla="*/ 2847151 w 9431603"/>
              <a:gd name="connsiteY377" fmla="*/ 2134436 h 13186702"/>
              <a:gd name="connsiteX378" fmla="*/ 2839467 w 9431603"/>
              <a:gd name="connsiteY378" fmla="*/ 2146333 h 13186702"/>
              <a:gd name="connsiteX379" fmla="*/ 2818316 w 9431603"/>
              <a:gd name="connsiteY379" fmla="*/ 2156908 h 13186702"/>
              <a:gd name="connsiteX380" fmla="*/ 2839467 w 9431603"/>
              <a:gd name="connsiteY380" fmla="*/ 2146333 h 13186702"/>
              <a:gd name="connsiteX381" fmla="*/ 2847151 w 9431603"/>
              <a:gd name="connsiteY381" fmla="*/ 2134436 h 13186702"/>
              <a:gd name="connsiteX382" fmla="*/ 2771362 w 9431603"/>
              <a:gd name="connsiteY382" fmla="*/ 2086161 h 13186702"/>
              <a:gd name="connsiteX383" fmla="*/ 2763678 w 9431603"/>
              <a:gd name="connsiteY383" fmla="*/ 2102271 h 13186702"/>
              <a:gd name="connsiteX384" fmla="*/ 2742527 w 9431603"/>
              <a:gd name="connsiteY384" fmla="*/ 2114608 h 13186702"/>
              <a:gd name="connsiteX385" fmla="*/ 2763678 w 9431603"/>
              <a:gd name="connsiteY385" fmla="*/ 2102271 h 13186702"/>
              <a:gd name="connsiteX386" fmla="*/ 2771362 w 9431603"/>
              <a:gd name="connsiteY386" fmla="*/ 2086161 h 13186702"/>
              <a:gd name="connsiteX387" fmla="*/ 1963440 w 9431603"/>
              <a:gd name="connsiteY387" fmla="*/ 2060366 h 13186702"/>
              <a:gd name="connsiteX388" fmla="*/ 1961800 w 9431603"/>
              <a:gd name="connsiteY388" fmla="*/ 2066223 h 13186702"/>
              <a:gd name="connsiteX389" fmla="*/ 1962378 w 9431603"/>
              <a:gd name="connsiteY389" fmla="*/ 2064157 h 13186702"/>
              <a:gd name="connsiteX390" fmla="*/ 1967005 w 9431603"/>
              <a:gd name="connsiteY390" fmla="*/ 2047634 h 13186702"/>
              <a:gd name="connsiteX391" fmla="*/ 1965270 w 9431603"/>
              <a:gd name="connsiteY391" fmla="*/ 2053830 h 13186702"/>
              <a:gd name="connsiteX392" fmla="*/ 1963440 w 9431603"/>
              <a:gd name="connsiteY392" fmla="*/ 2060366 h 13186702"/>
              <a:gd name="connsiteX393" fmla="*/ 1988156 w 9431603"/>
              <a:gd name="connsiteY393" fmla="*/ 2037059 h 13186702"/>
              <a:gd name="connsiteX394" fmla="*/ 1967005 w 9431603"/>
              <a:gd name="connsiteY394" fmla="*/ 2047634 h 13186702"/>
              <a:gd name="connsiteX395" fmla="*/ 1988156 w 9431603"/>
              <a:gd name="connsiteY395" fmla="*/ 2037059 h 13186702"/>
              <a:gd name="connsiteX396" fmla="*/ 2009306 w 9431603"/>
              <a:gd name="connsiteY396" fmla="*/ 2026484 h 13186702"/>
              <a:gd name="connsiteX397" fmla="*/ 1988156 w 9431603"/>
              <a:gd name="connsiteY397" fmla="*/ 2037059 h 13186702"/>
              <a:gd name="connsiteX398" fmla="*/ 2009306 w 9431603"/>
              <a:gd name="connsiteY398" fmla="*/ 2026484 h 13186702"/>
              <a:gd name="connsiteX399" fmla="*/ 3153834 w 9431603"/>
              <a:gd name="connsiteY399" fmla="*/ 1988233 h 13186702"/>
              <a:gd name="connsiteX400" fmla="*/ 3146150 w 9431603"/>
              <a:gd name="connsiteY400" fmla="*/ 2005335 h 13186702"/>
              <a:gd name="connsiteX401" fmla="*/ 3125000 w 9431603"/>
              <a:gd name="connsiteY401" fmla="*/ 2015909 h 13186702"/>
              <a:gd name="connsiteX402" fmla="*/ 3102086 w 9431603"/>
              <a:gd name="connsiteY402" fmla="*/ 2026484 h 13186702"/>
              <a:gd name="connsiteX403" fmla="*/ 3070360 w 9431603"/>
              <a:gd name="connsiteY403" fmla="*/ 2037059 h 13186702"/>
              <a:gd name="connsiteX404" fmla="*/ 3047448 w 9431603"/>
              <a:gd name="connsiteY404" fmla="*/ 2047634 h 13186702"/>
              <a:gd name="connsiteX405" fmla="*/ 2883531 w 9431603"/>
              <a:gd name="connsiteY405" fmla="*/ 2125183 h 13186702"/>
              <a:gd name="connsiteX406" fmla="*/ 3047448 w 9431603"/>
              <a:gd name="connsiteY406" fmla="*/ 2047634 h 13186702"/>
              <a:gd name="connsiteX407" fmla="*/ 3070360 w 9431603"/>
              <a:gd name="connsiteY407" fmla="*/ 2037059 h 13186702"/>
              <a:gd name="connsiteX408" fmla="*/ 3102086 w 9431603"/>
              <a:gd name="connsiteY408" fmla="*/ 2026484 h 13186702"/>
              <a:gd name="connsiteX409" fmla="*/ 3125000 w 9431603"/>
              <a:gd name="connsiteY409" fmla="*/ 2015909 h 13186702"/>
              <a:gd name="connsiteX410" fmla="*/ 3146150 w 9431603"/>
              <a:gd name="connsiteY410" fmla="*/ 2005335 h 13186702"/>
              <a:gd name="connsiteX411" fmla="*/ 3153834 w 9431603"/>
              <a:gd name="connsiteY411" fmla="*/ 1988233 h 13186702"/>
              <a:gd name="connsiteX412" fmla="*/ 3317752 w 9431603"/>
              <a:gd name="connsiteY412" fmla="*/ 1915889 h 13186702"/>
              <a:gd name="connsiteX413" fmla="*/ 3310068 w 9431603"/>
              <a:gd name="connsiteY413" fmla="*/ 1927785 h 13186702"/>
              <a:gd name="connsiteX414" fmla="*/ 3288916 w 9431603"/>
              <a:gd name="connsiteY414" fmla="*/ 1938360 h 13186702"/>
              <a:gd name="connsiteX415" fmla="*/ 3255428 w 9431603"/>
              <a:gd name="connsiteY415" fmla="*/ 1950698 h 13186702"/>
              <a:gd name="connsiteX416" fmla="*/ 3234278 w 9431603"/>
              <a:gd name="connsiteY416" fmla="*/ 1961273 h 13186702"/>
              <a:gd name="connsiteX417" fmla="*/ 3200790 w 9431603"/>
              <a:gd name="connsiteY417" fmla="*/ 1971847 h 13186702"/>
              <a:gd name="connsiteX418" fmla="*/ 3234278 w 9431603"/>
              <a:gd name="connsiteY418" fmla="*/ 1961273 h 13186702"/>
              <a:gd name="connsiteX419" fmla="*/ 3255428 w 9431603"/>
              <a:gd name="connsiteY419" fmla="*/ 1950698 h 13186702"/>
              <a:gd name="connsiteX420" fmla="*/ 3288916 w 9431603"/>
              <a:gd name="connsiteY420" fmla="*/ 1938360 h 13186702"/>
              <a:gd name="connsiteX421" fmla="*/ 3310068 w 9431603"/>
              <a:gd name="connsiteY421" fmla="*/ 1927785 h 13186702"/>
              <a:gd name="connsiteX422" fmla="*/ 3317752 w 9431603"/>
              <a:gd name="connsiteY422" fmla="*/ 1915889 h 13186702"/>
              <a:gd name="connsiteX423" fmla="*/ 3473984 w 9431603"/>
              <a:gd name="connsiteY423" fmla="*/ 1851999 h 13186702"/>
              <a:gd name="connsiteX424" fmla="*/ 3473984 w 9431603"/>
              <a:gd name="connsiteY424" fmla="*/ 1851999 h 13186702"/>
              <a:gd name="connsiteX425" fmla="*/ 3589458 w 9431603"/>
              <a:gd name="connsiteY425" fmla="*/ 1790835 h 13186702"/>
              <a:gd name="connsiteX426" fmla="*/ 3583262 w 9431603"/>
              <a:gd name="connsiteY426" fmla="*/ 1807937 h 13186702"/>
              <a:gd name="connsiteX427" fmla="*/ 3562112 w 9431603"/>
              <a:gd name="connsiteY427" fmla="*/ 1818512 h 13186702"/>
              <a:gd name="connsiteX428" fmla="*/ 3583262 w 9431603"/>
              <a:gd name="connsiteY428" fmla="*/ 1807937 h 13186702"/>
              <a:gd name="connsiteX429" fmla="*/ 3589458 w 9431603"/>
              <a:gd name="connsiteY429" fmla="*/ 1790835 h 13186702"/>
              <a:gd name="connsiteX430" fmla="*/ 3671390 w 9431603"/>
              <a:gd name="connsiteY430" fmla="*/ 1763875 h 13186702"/>
              <a:gd name="connsiteX431" fmla="*/ 3677338 w 9431603"/>
              <a:gd name="connsiteY431" fmla="*/ 1765610 h 13186702"/>
              <a:gd name="connsiteX432" fmla="*/ 3680648 w 9431603"/>
              <a:gd name="connsiteY432" fmla="*/ 1766575 h 13186702"/>
              <a:gd name="connsiteX433" fmla="*/ 3683536 w 9431603"/>
              <a:gd name="connsiteY433" fmla="*/ 1767417 h 13186702"/>
              <a:gd name="connsiteX434" fmla="*/ 3687254 w 9431603"/>
              <a:gd name="connsiteY434" fmla="*/ 1768501 h 13186702"/>
              <a:gd name="connsiteX435" fmla="*/ 3680648 w 9431603"/>
              <a:gd name="connsiteY435" fmla="*/ 1766575 h 13186702"/>
              <a:gd name="connsiteX436" fmla="*/ 3703116 w 9431603"/>
              <a:gd name="connsiteY436" fmla="*/ 1753300 h 13186702"/>
              <a:gd name="connsiteX437" fmla="*/ 3703116 w 9431603"/>
              <a:gd name="connsiteY437" fmla="*/ 1753300 h 13186702"/>
              <a:gd name="connsiteX438" fmla="*/ 3844864 w 9431603"/>
              <a:gd name="connsiteY438" fmla="*/ 1686188 h 13186702"/>
              <a:gd name="connsiteX439" fmla="*/ 3812394 w 9431603"/>
              <a:gd name="connsiteY439" fmla="*/ 1709238 h 13186702"/>
              <a:gd name="connsiteX440" fmla="*/ 3757756 w 9431603"/>
              <a:gd name="connsiteY440" fmla="*/ 1732150 h 13186702"/>
              <a:gd name="connsiteX441" fmla="*/ 3812394 w 9431603"/>
              <a:gd name="connsiteY441" fmla="*/ 1709238 h 13186702"/>
              <a:gd name="connsiteX442" fmla="*/ 3844864 w 9431603"/>
              <a:gd name="connsiteY442" fmla="*/ 1686188 h 13186702"/>
              <a:gd name="connsiteX443" fmla="*/ 6874930 w 9431603"/>
              <a:gd name="connsiteY443" fmla="*/ 138 h 13186702"/>
              <a:gd name="connsiteX444" fmla="*/ 6905668 w 9431603"/>
              <a:gd name="connsiteY444" fmla="*/ 4920 h 13186702"/>
              <a:gd name="connsiteX445" fmla="*/ 6905668 w 9431603"/>
              <a:gd name="connsiteY445" fmla="*/ 137106 h 13186702"/>
              <a:gd name="connsiteX446" fmla="*/ 6937394 w 9431603"/>
              <a:gd name="connsiteY446" fmla="*/ 168830 h 13186702"/>
              <a:gd name="connsiteX447" fmla="*/ 6916244 w 9431603"/>
              <a:gd name="connsiteY447" fmla="*/ 246380 h 13186702"/>
              <a:gd name="connsiteX448" fmla="*/ 6970882 w 9431603"/>
              <a:gd name="connsiteY448" fmla="*/ 288679 h 13186702"/>
              <a:gd name="connsiteX449" fmla="*/ 6937394 w 9431603"/>
              <a:gd name="connsiteY449" fmla="*/ 332741 h 13186702"/>
              <a:gd name="connsiteX450" fmla="*/ 6992032 w 9431603"/>
              <a:gd name="connsiteY450" fmla="*/ 343316 h 13186702"/>
              <a:gd name="connsiteX451" fmla="*/ 6981458 w 9431603"/>
              <a:gd name="connsiteY451" fmla="*/ 420865 h 13186702"/>
              <a:gd name="connsiteX452" fmla="*/ 6916244 w 9431603"/>
              <a:gd name="connsiteY452" fmla="*/ 431440 h 13186702"/>
              <a:gd name="connsiteX453" fmla="*/ 7014946 w 9431603"/>
              <a:gd name="connsiteY453" fmla="*/ 519564 h 13186702"/>
              <a:gd name="connsiteX454" fmla="*/ 6970882 w 9431603"/>
              <a:gd name="connsiteY454" fmla="*/ 574201 h 13186702"/>
              <a:gd name="connsiteX455" fmla="*/ 7002608 w 9431603"/>
              <a:gd name="connsiteY455" fmla="*/ 639413 h 13186702"/>
              <a:gd name="connsiteX456" fmla="*/ 7002608 w 9431603"/>
              <a:gd name="connsiteY456" fmla="*/ 683475 h 13186702"/>
              <a:gd name="connsiteX457" fmla="*/ 7002608 w 9431603"/>
              <a:gd name="connsiteY457" fmla="*/ 780411 h 13186702"/>
              <a:gd name="connsiteX458" fmla="*/ 7014946 w 9431603"/>
              <a:gd name="connsiteY458" fmla="*/ 868535 h 13186702"/>
              <a:gd name="connsiteX459" fmla="*/ 7002608 w 9431603"/>
              <a:gd name="connsiteY459" fmla="*/ 933747 h 13186702"/>
              <a:gd name="connsiteX460" fmla="*/ 7111886 w 9431603"/>
              <a:gd name="connsiteY460" fmla="*/ 977809 h 13186702"/>
              <a:gd name="connsiteX461" fmla="*/ 7025520 w 9431603"/>
              <a:gd name="connsiteY461" fmla="*/ 1076508 h 13186702"/>
              <a:gd name="connsiteX462" fmla="*/ 7090736 w 9431603"/>
              <a:gd name="connsiteY462" fmla="*/ 1108232 h 13186702"/>
              <a:gd name="connsiteX463" fmla="*/ 7090736 w 9431603"/>
              <a:gd name="connsiteY463" fmla="*/ 1250993 h 13186702"/>
              <a:gd name="connsiteX464" fmla="*/ 7124224 w 9431603"/>
              <a:gd name="connsiteY464" fmla="*/ 1360267 h 13186702"/>
              <a:gd name="connsiteX465" fmla="*/ 7069584 w 9431603"/>
              <a:gd name="connsiteY465" fmla="*/ 1480116 h 13186702"/>
              <a:gd name="connsiteX466" fmla="*/ 7124224 w 9431603"/>
              <a:gd name="connsiteY466" fmla="*/ 1622876 h 13186702"/>
              <a:gd name="connsiteX467" fmla="*/ 7166524 w 9431603"/>
              <a:gd name="connsiteY467" fmla="*/ 1665176 h 13186702"/>
              <a:gd name="connsiteX468" fmla="*/ 7155950 w 9431603"/>
              <a:gd name="connsiteY468" fmla="*/ 1688088 h 13186702"/>
              <a:gd name="connsiteX469" fmla="*/ 7189438 w 9431603"/>
              <a:gd name="connsiteY469" fmla="*/ 1709238 h 13186702"/>
              <a:gd name="connsiteX470" fmla="*/ 7166524 w 9431603"/>
              <a:gd name="connsiteY470" fmla="*/ 1763875 h 13186702"/>
              <a:gd name="connsiteX471" fmla="*/ 7221164 w 9431603"/>
              <a:gd name="connsiteY471" fmla="*/ 1851999 h 13186702"/>
              <a:gd name="connsiteX472" fmla="*/ 7200014 w 9431603"/>
              <a:gd name="connsiteY472" fmla="*/ 1873149 h 13186702"/>
              <a:gd name="connsiteX473" fmla="*/ 7221164 w 9431603"/>
              <a:gd name="connsiteY473" fmla="*/ 1927785 h 13186702"/>
              <a:gd name="connsiteX474" fmla="*/ 7221164 w 9431603"/>
              <a:gd name="connsiteY474" fmla="*/ 2059971 h 13186702"/>
              <a:gd name="connsiteX475" fmla="*/ 7166524 w 9431603"/>
              <a:gd name="connsiteY475" fmla="*/ 2135758 h 13186702"/>
              <a:gd name="connsiteX476" fmla="*/ 7254652 w 9431603"/>
              <a:gd name="connsiteY476" fmla="*/ 2156908 h 13186702"/>
              <a:gd name="connsiteX477" fmla="*/ 7221164 w 9431603"/>
              <a:gd name="connsiteY477" fmla="*/ 2190395 h 13186702"/>
              <a:gd name="connsiteX478" fmla="*/ 7275804 w 9431603"/>
              <a:gd name="connsiteY478" fmla="*/ 2223882 h 13186702"/>
              <a:gd name="connsiteX479" fmla="*/ 7231740 w 9431603"/>
              <a:gd name="connsiteY479" fmla="*/ 2343731 h 13186702"/>
              <a:gd name="connsiteX480" fmla="*/ 7288140 w 9431603"/>
              <a:gd name="connsiteY480" fmla="*/ 2354306 h 13186702"/>
              <a:gd name="connsiteX481" fmla="*/ 7265228 w 9431603"/>
              <a:gd name="connsiteY481" fmla="*/ 2497066 h 13186702"/>
              <a:gd name="connsiteX482" fmla="*/ 7309292 w 9431603"/>
              <a:gd name="connsiteY482" fmla="*/ 2507641 h 13186702"/>
              <a:gd name="connsiteX483" fmla="*/ 7309292 w 9431603"/>
              <a:gd name="connsiteY483" fmla="*/ 2638065 h 13186702"/>
              <a:gd name="connsiteX484" fmla="*/ 7275804 w 9431603"/>
              <a:gd name="connsiteY484" fmla="*/ 2726189 h 13186702"/>
              <a:gd name="connsiteX485" fmla="*/ 7309292 w 9431603"/>
              <a:gd name="connsiteY485" fmla="*/ 2747339 h 13186702"/>
              <a:gd name="connsiteX486" fmla="*/ 7363930 w 9431603"/>
              <a:gd name="connsiteY486" fmla="*/ 2757914 h 13186702"/>
              <a:gd name="connsiteX487" fmla="*/ 7374506 w 9431603"/>
              <a:gd name="connsiteY487" fmla="*/ 2846038 h 13186702"/>
              <a:gd name="connsiteX488" fmla="*/ 7342780 w 9431603"/>
              <a:gd name="connsiteY488" fmla="*/ 2900674 h 13186702"/>
              <a:gd name="connsiteX489" fmla="*/ 7385080 w 9431603"/>
              <a:gd name="connsiteY489" fmla="*/ 2921824 h 13186702"/>
              <a:gd name="connsiteX490" fmla="*/ 7363930 w 9431603"/>
              <a:gd name="connsiteY490" fmla="*/ 3009948 h 13186702"/>
              <a:gd name="connsiteX491" fmla="*/ 7397420 w 9431603"/>
              <a:gd name="connsiteY491" fmla="*/ 3031098 h 13186702"/>
              <a:gd name="connsiteX492" fmla="*/ 7385080 w 9431603"/>
              <a:gd name="connsiteY492" fmla="*/ 3129797 h 13186702"/>
              <a:gd name="connsiteX493" fmla="*/ 7450296 w 9431603"/>
              <a:gd name="connsiteY493" fmla="*/ 3129797 h 13186702"/>
              <a:gd name="connsiteX494" fmla="*/ 7439720 w 9431603"/>
              <a:gd name="connsiteY494" fmla="*/ 3173859 h 13186702"/>
              <a:gd name="connsiteX495" fmla="*/ 7439720 w 9431603"/>
              <a:gd name="connsiteY495" fmla="*/ 3217921 h 13186702"/>
              <a:gd name="connsiteX496" fmla="*/ 7374506 w 9431603"/>
              <a:gd name="connsiteY496" fmla="*/ 3261983 h 13186702"/>
              <a:gd name="connsiteX497" fmla="*/ 7363930 w 9431603"/>
              <a:gd name="connsiteY497" fmla="*/ 3369494 h 13186702"/>
              <a:gd name="connsiteX498" fmla="*/ 7517272 w 9431603"/>
              <a:gd name="connsiteY498" fmla="*/ 3381831 h 13186702"/>
              <a:gd name="connsiteX499" fmla="*/ 7483784 w 9431603"/>
              <a:gd name="connsiteY499" fmla="*/ 3535167 h 13186702"/>
              <a:gd name="connsiteX500" fmla="*/ 7538424 w 9431603"/>
              <a:gd name="connsiteY500" fmla="*/ 3600379 h 13186702"/>
              <a:gd name="connsiteX501" fmla="*/ 7494360 w 9431603"/>
              <a:gd name="connsiteY501" fmla="*/ 3655016 h 13186702"/>
              <a:gd name="connsiteX502" fmla="*/ 7548998 w 9431603"/>
              <a:gd name="connsiteY502" fmla="*/ 3730802 h 13186702"/>
              <a:gd name="connsiteX503" fmla="*/ 7494360 w 9431603"/>
              <a:gd name="connsiteY503" fmla="*/ 3720228 h 13186702"/>
              <a:gd name="connsiteX504" fmla="*/ 7582486 w 9431603"/>
              <a:gd name="connsiteY504" fmla="*/ 3796014 h 13186702"/>
              <a:gd name="connsiteX505" fmla="*/ 7756980 w 9431603"/>
              <a:gd name="connsiteY505" fmla="*/ 4113260 h 13186702"/>
              <a:gd name="connsiteX506" fmla="*/ 7725252 w 9431603"/>
              <a:gd name="connsiteY506" fmla="*/ 4134411 h 13186702"/>
              <a:gd name="connsiteX507" fmla="*/ 7756980 w 9431603"/>
              <a:gd name="connsiteY507" fmla="*/ 4266596 h 13186702"/>
              <a:gd name="connsiteX508" fmla="*/ 7756980 w 9431603"/>
              <a:gd name="connsiteY508" fmla="*/ 4365296 h 13186702"/>
              <a:gd name="connsiteX509" fmla="*/ 7790468 w 9431603"/>
              <a:gd name="connsiteY509" fmla="*/ 4430507 h 13186702"/>
              <a:gd name="connsiteX510" fmla="*/ 7779892 w 9431603"/>
              <a:gd name="connsiteY510" fmla="*/ 4495719 h 13186702"/>
              <a:gd name="connsiteX511" fmla="*/ 7801044 w 9431603"/>
              <a:gd name="connsiteY511" fmla="*/ 4571505 h 13186702"/>
              <a:gd name="connsiteX512" fmla="*/ 7790468 w 9431603"/>
              <a:gd name="connsiteY512" fmla="*/ 4670204 h 13186702"/>
              <a:gd name="connsiteX513" fmla="*/ 7832768 w 9431603"/>
              <a:gd name="connsiteY513" fmla="*/ 4857027 h 13186702"/>
              <a:gd name="connsiteX514" fmla="*/ 7822194 w 9431603"/>
              <a:gd name="connsiteY514" fmla="*/ 4943388 h 13186702"/>
              <a:gd name="connsiteX515" fmla="*/ 7887408 w 9431603"/>
              <a:gd name="connsiteY515" fmla="*/ 5161936 h 13186702"/>
              <a:gd name="connsiteX516" fmla="*/ 7910320 w 9431603"/>
              <a:gd name="connsiteY516" fmla="*/ 5435121 h 13186702"/>
              <a:gd name="connsiteX517" fmla="*/ 7964960 w 9431603"/>
              <a:gd name="connsiteY517" fmla="*/ 5554969 h 13186702"/>
              <a:gd name="connsiteX518" fmla="*/ 7954384 w 9431603"/>
              <a:gd name="connsiteY518" fmla="*/ 5697730 h 13186702"/>
              <a:gd name="connsiteX519" fmla="*/ 7986110 w 9431603"/>
              <a:gd name="connsiteY519" fmla="*/ 5817579 h 13186702"/>
              <a:gd name="connsiteX520" fmla="*/ 7986110 w 9431603"/>
              <a:gd name="connsiteY520" fmla="*/ 5960339 h 13186702"/>
              <a:gd name="connsiteX521" fmla="*/ 8019600 w 9431603"/>
              <a:gd name="connsiteY521" fmla="*/ 6025551 h 13186702"/>
              <a:gd name="connsiteX522" fmla="*/ 8009024 w 9431603"/>
              <a:gd name="connsiteY522" fmla="*/ 6124251 h 13186702"/>
              <a:gd name="connsiteX523" fmla="*/ 8084812 w 9431603"/>
              <a:gd name="connsiteY523" fmla="*/ 6288161 h 13186702"/>
              <a:gd name="connsiteX524" fmla="*/ 8118302 w 9431603"/>
              <a:gd name="connsiteY524" fmla="*/ 6670619 h 13186702"/>
              <a:gd name="connsiteX525" fmla="*/ 8204666 w 9431603"/>
              <a:gd name="connsiteY525" fmla="*/ 6845104 h 13186702"/>
              <a:gd name="connsiteX526" fmla="*/ 8217004 w 9431603"/>
              <a:gd name="connsiteY526" fmla="*/ 7238137 h 13186702"/>
              <a:gd name="connsiteX527" fmla="*/ 8238156 w 9431603"/>
              <a:gd name="connsiteY527" fmla="*/ 7313924 h 13186702"/>
              <a:gd name="connsiteX528" fmla="*/ 8303370 w 9431603"/>
              <a:gd name="connsiteY528" fmla="*/ 7488409 h 13186702"/>
              <a:gd name="connsiteX529" fmla="*/ 8248730 w 9431603"/>
              <a:gd name="connsiteY529" fmla="*/ 7870868 h 13186702"/>
              <a:gd name="connsiteX530" fmla="*/ 8172940 w 9431603"/>
              <a:gd name="connsiteY530" fmla="*/ 7969566 h 13186702"/>
              <a:gd name="connsiteX531" fmla="*/ 8248730 w 9431603"/>
              <a:gd name="connsiteY531" fmla="*/ 7992479 h 13186702"/>
              <a:gd name="connsiteX532" fmla="*/ 8204666 w 9431603"/>
              <a:gd name="connsiteY532" fmla="*/ 8003054 h 13186702"/>
              <a:gd name="connsiteX533" fmla="*/ 8336858 w 9431603"/>
              <a:gd name="connsiteY533" fmla="*/ 8003054 h 13186702"/>
              <a:gd name="connsiteX534" fmla="*/ 8740480 w 9431603"/>
              <a:gd name="connsiteY534" fmla="*/ 8089415 h 13186702"/>
              <a:gd name="connsiteX535" fmla="*/ 9013676 w 9431603"/>
              <a:gd name="connsiteY535" fmla="*/ 8177539 h 13186702"/>
              <a:gd name="connsiteX536" fmla="*/ 8969612 w 9431603"/>
              <a:gd name="connsiteY536" fmla="*/ 8188114 h 13186702"/>
              <a:gd name="connsiteX537" fmla="*/ 8992526 w 9431603"/>
              <a:gd name="connsiteY537" fmla="*/ 8276238 h 13186702"/>
              <a:gd name="connsiteX538" fmla="*/ 8925548 w 9431603"/>
              <a:gd name="connsiteY538" fmla="*/ 8276238 h 13186702"/>
              <a:gd name="connsiteX539" fmla="*/ 9003100 w 9431603"/>
              <a:gd name="connsiteY539" fmla="*/ 8418999 h 13186702"/>
              <a:gd name="connsiteX540" fmla="*/ 8969612 w 9431603"/>
              <a:gd name="connsiteY540" fmla="*/ 8538847 h 13186702"/>
              <a:gd name="connsiteX541" fmla="*/ 9024252 w 9431603"/>
              <a:gd name="connsiteY541" fmla="*/ 8757395 h 13186702"/>
              <a:gd name="connsiteX542" fmla="*/ 9013676 w 9431603"/>
              <a:gd name="connsiteY542" fmla="*/ 8799694 h 13186702"/>
              <a:gd name="connsiteX543" fmla="*/ 9068316 w 9431603"/>
              <a:gd name="connsiteY543" fmla="*/ 8856094 h 13186702"/>
              <a:gd name="connsiteX544" fmla="*/ 9068316 w 9431603"/>
              <a:gd name="connsiteY544" fmla="*/ 9171577 h 13186702"/>
              <a:gd name="connsiteX545" fmla="*/ 9078892 w 9431603"/>
              <a:gd name="connsiteY545" fmla="*/ 9215639 h 13186702"/>
              <a:gd name="connsiteX546" fmla="*/ 9057740 w 9431603"/>
              <a:gd name="connsiteY546" fmla="*/ 9236789 h 13186702"/>
              <a:gd name="connsiteX547" fmla="*/ 9101804 w 9431603"/>
              <a:gd name="connsiteY547" fmla="*/ 9335488 h 13186702"/>
              <a:gd name="connsiteX548" fmla="*/ 9101804 w 9431603"/>
              <a:gd name="connsiteY548" fmla="*/ 9707371 h 13186702"/>
              <a:gd name="connsiteX549" fmla="*/ 9144104 w 9431603"/>
              <a:gd name="connsiteY549" fmla="*/ 9860707 h 13186702"/>
              <a:gd name="connsiteX550" fmla="*/ 9156444 w 9431603"/>
              <a:gd name="connsiteY550" fmla="*/ 10220253 h 13186702"/>
              <a:gd name="connsiteX551" fmla="*/ 9177594 w 9431603"/>
              <a:gd name="connsiteY551" fmla="*/ 10329527 h 13186702"/>
              <a:gd name="connsiteX552" fmla="*/ 9156444 w 9431603"/>
              <a:gd name="connsiteY552" fmla="*/ 10352439 h 13186702"/>
              <a:gd name="connsiteX553" fmla="*/ 9198744 w 9431603"/>
              <a:gd name="connsiteY553" fmla="*/ 10636198 h 13186702"/>
              <a:gd name="connsiteX554" fmla="*/ 9265720 w 9431603"/>
              <a:gd name="connsiteY554" fmla="*/ 10898808 h 13186702"/>
              <a:gd name="connsiteX555" fmla="*/ 9232232 w 9431603"/>
              <a:gd name="connsiteY555" fmla="*/ 10941107 h 13186702"/>
              <a:gd name="connsiteX556" fmla="*/ 9255146 w 9431603"/>
              <a:gd name="connsiteY556" fmla="*/ 11127930 h 13186702"/>
              <a:gd name="connsiteX557" fmla="*/ 9286872 w 9431603"/>
              <a:gd name="connsiteY557" fmla="*/ 11390540 h 13186702"/>
              <a:gd name="connsiteX558" fmla="*/ 9341512 w 9431603"/>
              <a:gd name="connsiteY558" fmla="*/ 11739511 h 13186702"/>
              <a:gd name="connsiteX559" fmla="*/ 9375000 w 9431603"/>
              <a:gd name="connsiteY559" fmla="*/ 11838209 h 13186702"/>
              <a:gd name="connsiteX560" fmla="*/ 9341512 w 9431603"/>
              <a:gd name="connsiteY560" fmla="*/ 11882271 h 13186702"/>
              <a:gd name="connsiteX561" fmla="*/ 9385574 w 9431603"/>
              <a:gd name="connsiteY561" fmla="*/ 12100819 h 13186702"/>
              <a:gd name="connsiteX562" fmla="*/ 9375000 w 9431603"/>
              <a:gd name="connsiteY562" fmla="*/ 12143119 h 13186702"/>
              <a:gd name="connsiteX563" fmla="*/ 9429638 w 9431603"/>
              <a:gd name="connsiteY563" fmla="*/ 12241817 h 13186702"/>
              <a:gd name="connsiteX564" fmla="*/ 9362660 w 9431603"/>
              <a:gd name="connsiteY564" fmla="*/ 12426878 h 13186702"/>
              <a:gd name="connsiteX565" fmla="*/ 9320360 w 9431603"/>
              <a:gd name="connsiteY565" fmla="*/ 12426878 h 13186702"/>
              <a:gd name="connsiteX566" fmla="*/ 9330936 w 9431603"/>
              <a:gd name="connsiteY566" fmla="*/ 12483277 h 13186702"/>
              <a:gd name="connsiteX567" fmla="*/ 9308022 w 9431603"/>
              <a:gd name="connsiteY567" fmla="*/ 12504427 h 13186702"/>
              <a:gd name="connsiteX568" fmla="*/ 9198744 w 9431603"/>
              <a:gd name="connsiteY568" fmla="*/ 12416303 h 13186702"/>
              <a:gd name="connsiteX569" fmla="*/ 9211082 w 9431603"/>
              <a:gd name="connsiteY569" fmla="*/ 12537914 h 13186702"/>
              <a:gd name="connsiteX570" fmla="*/ 9133530 w 9431603"/>
              <a:gd name="connsiteY570" fmla="*/ 12493852 h 13186702"/>
              <a:gd name="connsiteX571" fmla="*/ 9133530 w 9431603"/>
              <a:gd name="connsiteY571" fmla="*/ 12504427 h 13186702"/>
              <a:gd name="connsiteX572" fmla="*/ 9068316 w 9431603"/>
              <a:gd name="connsiteY572" fmla="*/ 12416303 h 13186702"/>
              <a:gd name="connsiteX573" fmla="*/ 9057740 w 9431603"/>
              <a:gd name="connsiteY573" fmla="*/ 12411015 h 13186702"/>
              <a:gd name="connsiteX574" fmla="*/ 9053386 w 9431603"/>
              <a:gd name="connsiteY574" fmla="*/ 12408838 h 13186702"/>
              <a:gd name="connsiteX575" fmla="*/ 9047164 w 9431603"/>
              <a:gd name="connsiteY575" fmla="*/ 12395153 h 13186702"/>
              <a:gd name="connsiteX576" fmla="*/ 9047164 w 9431603"/>
              <a:gd name="connsiteY576" fmla="*/ 12405728 h 13186702"/>
              <a:gd name="connsiteX577" fmla="*/ 8992526 w 9431603"/>
              <a:gd name="connsiteY577" fmla="*/ 12351091 h 13186702"/>
              <a:gd name="connsiteX578" fmla="*/ 9003100 w 9431603"/>
              <a:gd name="connsiteY578" fmla="*/ 12416303 h 13186702"/>
              <a:gd name="connsiteX579" fmla="*/ 8893824 w 9431603"/>
              <a:gd name="connsiteY579" fmla="*/ 12361666 h 13186702"/>
              <a:gd name="connsiteX580" fmla="*/ 8893824 w 9431603"/>
              <a:gd name="connsiteY580" fmla="*/ 12319367 h 13186702"/>
              <a:gd name="connsiteX581" fmla="*/ 8828608 w 9431603"/>
              <a:gd name="connsiteY581" fmla="*/ 12155456 h 13186702"/>
              <a:gd name="connsiteX582" fmla="*/ 8818034 w 9431603"/>
              <a:gd name="connsiteY582" fmla="*/ 12197755 h 13186702"/>
              <a:gd name="connsiteX583" fmla="*/ 8740480 w 9431603"/>
              <a:gd name="connsiteY583" fmla="*/ 11913996 h 13186702"/>
              <a:gd name="connsiteX584" fmla="*/ 8587140 w 9431603"/>
              <a:gd name="connsiteY584" fmla="*/ 11838209 h 13186702"/>
              <a:gd name="connsiteX585" fmla="*/ 7189438 w 9431603"/>
              <a:gd name="connsiteY585" fmla="*/ 12100819 h 13186702"/>
              <a:gd name="connsiteX586" fmla="*/ 6523194 w 9431603"/>
              <a:gd name="connsiteY586" fmla="*/ 12264730 h 13186702"/>
              <a:gd name="connsiteX587" fmla="*/ 5003878 w 9431603"/>
              <a:gd name="connsiteY587" fmla="*/ 12668338 h 13186702"/>
              <a:gd name="connsiteX588" fmla="*/ 4490976 w 9431603"/>
              <a:gd name="connsiteY588" fmla="*/ 12798761 h 13186702"/>
              <a:gd name="connsiteX589" fmla="*/ 4108502 w 9431603"/>
              <a:gd name="connsiteY589" fmla="*/ 12876310 h 13186702"/>
              <a:gd name="connsiteX590" fmla="*/ 4053864 w 9431603"/>
              <a:gd name="connsiteY590" fmla="*/ 12908035 h 13186702"/>
              <a:gd name="connsiteX591" fmla="*/ 3583262 w 9431603"/>
              <a:gd name="connsiteY591" fmla="*/ 12930947 h 13186702"/>
              <a:gd name="connsiteX592" fmla="*/ 3102086 w 9431603"/>
              <a:gd name="connsiteY592" fmla="*/ 12767036 h 13186702"/>
              <a:gd name="connsiteX593" fmla="*/ 2971658 w 9431603"/>
              <a:gd name="connsiteY593" fmla="*/ 12580214 h 13186702"/>
              <a:gd name="connsiteX594" fmla="*/ 3005147 w 9431603"/>
              <a:gd name="connsiteY594" fmla="*/ 12483277 h 13186702"/>
              <a:gd name="connsiteX595" fmla="*/ 2906444 w 9431603"/>
              <a:gd name="connsiteY595" fmla="*/ 12307029 h 13186702"/>
              <a:gd name="connsiteX596" fmla="*/ 2917019 w 9431603"/>
              <a:gd name="connsiteY596" fmla="*/ 12132544 h 13186702"/>
              <a:gd name="connsiteX597" fmla="*/ 2872956 w 9431603"/>
              <a:gd name="connsiteY597" fmla="*/ 11924571 h 13186702"/>
              <a:gd name="connsiteX598" fmla="*/ 2906444 w 9431603"/>
              <a:gd name="connsiteY598" fmla="*/ 11913996 h 13186702"/>
              <a:gd name="connsiteX599" fmla="*/ 2851805 w 9431603"/>
              <a:gd name="connsiteY599" fmla="*/ 11739511 h 13186702"/>
              <a:gd name="connsiteX600" fmla="*/ 2687888 w 9431603"/>
              <a:gd name="connsiteY600" fmla="*/ 11510388 h 13186702"/>
              <a:gd name="connsiteX601" fmla="*/ 2763678 w 9431603"/>
              <a:gd name="connsiteY601" fmla="*/ 11226629 h 13186702"/>
              <a:gd name="connsiteX602" fmla="*/ 2719614 w 9431603"/>
              <a:gd name="connsiteY602" fmla="*/ 11127930 h 13186702"/>
              <a:gd name="connsiteX603" fmla="*/ 2719614 w 9431603"/>
              <a:gd name="connsiteY603" fmla="*/ 10886470 h 13186702"/>
              <a:gd name="connsiteX604" fmla="*/ 2664975 w 9431603"/>
              <a:gd name="connsiteY604" fmla="*/ 10941107 h 13186702"/>
              <a:gd name="connsiteX605" fmla="*/ 2643824 w 9431603"/>
              <a:gd name="connsiteY605" fmla="*/ 10821259 h 13186702"/>
              <a:gd name="connsiteX606" fmla="*/ 2523971 w 9431603"/>
              <a:gd name="connsiteY606" fmla="*/ 10789534 h 13186702"/>
              <a:gd name="connsiteX607" fmla="*/ 2534546 w 9431603"/>
              <a:gd name="connsiteY607" fmla="*/ 10667923 h 13186702"/>
              <a:gd name="connsiteX608" fmla="*/ 2534546 w 9431603"/>
              <a:gd name="connsiteY608" fmla="*/ 10526924 h 13186702"/>
              <a:gd name="connsiteX609" fmla="*/ 2555697 w 9431603"/>
              <a:gd name="connsiteY609" fmla="*/ 10449375 h 13186702"/>
              <a:gd name="connsiteX610" fmla="*/ 2523971 w 9431603"/>
              <a:gd name="connsiteY610" fmla="*/ 10449375 h 13186702"/>
              <a:gd name="connsiteX611" fmla="*/ 2545121 w 9431603"/>
              <a:gd name="connsiteY611" fmla="*/ 10407076 h 13186702"/>
              <a:gd name="connsiteX612" fmla="*/ 2402355 w 9431603"/>
              <a:gd name="connsiteY612" fmla="*/ 10089829 h 13186702"/>
              <a:gd name="connsiteX613" fmla="*/ 2402355 w 9431603"/>
              <a:gd name="connsiteY613" fmla="*/ 9991131 h 13186702"/>
              <a:gd name="connsiteX614" fmla="*/ 2381204 w 9431603"/>
              <a:gd name="connsiteY614" fmla="*/ 9936494 h 13186702"/>
              <a:gd name="connsiteX615" fmla="*/ 2337140 w 9431603"/>
              <a:gd name="connsiteY615" fmla="*/ 9860707 h 13186702"/>
              <a:gd name="connsiteX616" fmla="*/ 2370629 w 9431603"/>
              <a:gd name="connsiteY616" fmla="*/ 9772583 h 13186702"/>
              <a:gd name="connsiteX617" fmla="*/ 2360054 w 9431603"/>
              <a:gd name="connsiteY617" fmla="*/ 9707371 h 13186702"/>
              <a:gd name="connsiteX618" fmla="*/ 2315990 w 9431603"/>
              <a:gd name="connsiteY618" fmla="*/ 9707371 h 13186702"/>
              <a:gd name="connsiteX619" fmla="*/ 2315990 w 9431603"/>
              <a:gd name="connsiteY619" fmla="*/ 9631585 h 13186702"/>
              <a:gd name="connsiteX620" fmla="*/ 2250776 w 9431603"/>
              <a:gd name="connsiteY620" fmla="*/ 9631585 h 13186702"/>
              <a:gd name="connsiteX621" fmla="*/ 2261351 w 9431603"/>
              <a:gd name="connsiteY621" fmla="*/ 9532886 h 13186702"/>
              <a:gd name="connsiteX622" fmla="*/ 2217287 w 9431603"/>
              <a:gd name="connsiteY622" fmla="*/ 9522311 h 13186702"/>
              <a:gd name="connsiteX623" fmla="*/ 2238438 w 9431603"/>
              <a:gd name="connsiteY623" fmla="*/ 9488824 h 13186702"/>
              <a:gd name="connsiteX624" fmla="*/ 2238438 w 9431603"/>
              <a:gd name="connsiteY624" fmla="*/ 9423612 h 13186702"/>
              <a:gd name="connsiteX625" fmla="*/ 2261351 w 9431603"/>
              <a:gd name="connsiteY625" fmla="*/ 9379550 h 13186702"/>
              <a:gd name="connsiteX626" fmla="*/ 2282502 w 9431603"/>
              <a:gd name="connsiteY626" fmla="*/ 9303763 h 13186702"/>
              <a:gd name="connsiteX627" fmla="*/ 2206712 w 9431603"/>
              <a:gd name="connsiteY627" fmla="*/ 9291426 h 13186702"/>
              <a:gd name="connsiteX628" fmla="*/ 2315990 w 9431603"/>
              <a:gd name="connsiteY628" fmla="*/ 9150428 h 13186702"/>
              <a:gd name="connsiteX629" fmla="*/ 2337140 w 9431603"/>
              <a:gd name="connsiteY629" fmla="*/ 9041154 h 13186702"/>
              <a:gd name="connsiteX630" fmla="*/ 2271926 w 9431603"/>
              <a:gd name="connsiteY630" fmla="*/ 9062304 h 13186702"/>
              <a:gd name="connsiteX631" fmla="*/ 2349478 w 9431603"/>
              <a:gd name="connsiteY631" fmla="*/ 8931880 h 13186702"/>
              <a:gd name="connsiteX632" fmla="*/ 2293077 w 9431603"/>
              <a:gd name="connsiteY632" fmla="*/ 8942455 h 13186702"/>
              <a:gd name="connsiteX633" fmla="*/ 2293077 w 9431603"/>
              <a:gd name="connsiteY633" fmla="*/ 8921305 h 13186702"/>
              <a:gd name="connsiteX634" fmla="*/ 2162648 w 9431603"/>
              <a:gd name="connsiteY634" fmla="*/ 8942455 h 13186702"/>
              <a:gd name="connsiteX635" fmla="*/ 2173224 w 9431603"/>
              <a:gd name="connsiteY635" fmla="*/ 8908968 h 13186702"/>
              <a:gd name="connsiteX636" fmla="*/ 2130922 w 9431603"/>
              <a:gd name="connsiteY636" fmla="*/ 8833181 h 13186702"/>
              <a:gd name="connsiteX637" fmla="*/ 2206712 w 9431603"/>
              <a:gd name="connsiteY637" fmla="*/ 8745057 h 13186702"/>
              <a:gd name="connsiteX638" fmla="*/ 2173224 w 9431603"/>
              <a:gd name="connsiteY638" fmla="*/ 8734482 h 13186702"/>
              <a:gd name="connsiteX639" fmla="*/ 2238438 w 9431603"/>
              <a:gd name="connsiteY639" fmla="*/ 8637546 h 13186702"/>
              <a:gd name="connsiteX640" fmla="*/ 1769600 w 9431603"/>
              <a:gd name="connsiteY640" fmla="*/ 8658696 h 13186702"/>
              <a:gd name="connsiteX641" fmla="*/ 1418852 w 9431603"/>
              <a:gd name="connsiteY641" fmla="*/ 8669271 h 13186702"/>
              <a:gd name="connsiteX642" fmla="*/ 1244360 w 9431603"/>
              <a:gd name="connsiteY642" fmla="*/ 8604059 h 13186702"/>
              <a:gd name="connsiteX643" fmla="*/ 1168570 w 9431603"/>
              <a:gd name="connsiteY643" fmla="*/ 8515935 h 13186702"/>
              <a:gd name="connsiteX644" fmla="*/ 981740 w 9431603"/>
              <a:gd name="connsiteY644" fmla="*/ 8385511 h 13186702"/>
              <a:gd name="connsiteX645" fmla="*/ 1135082 w 9431603"/>
              <a:gd name="connsiteY645" fmla="*/ 8418999 h 13186702"/>
              <a:gd name="connsiteX646" fmla="*/ 1113932 w 9431603"/>
              <a:gd name="connsiteY646" fmla="*/ 8385511 h 13186702"/>
              <a:gd name="connsiteX647" fmla="*/ 939439 w 9431603"/>
              <a:gd name="connsiteY647" fmla="*/ 8255088 h 13186702"/>
              <a:gd name="connsiteX648" fmla="*/ 960590 w 9431603"/>
              <a:gd name="connsiteY648" fmla="*/ 8188114 h 13186702"/>
              <a:gd name="connsiteX649" fmla="*/ 752609 w 9431603"/>
              <a:gd name="connsiteY649" fmla="*/ 8036541 h 13186702"/>
              <a:gd name="connsiteX650" fmla="*/ 950014 w 9431603"/>
              <a:gd name="connsiteY650" fmla="*/ 8101752 h 13186702"/>
              <a:gd name="connsiteX651" fmla="*/ 1015229 w 9431603"/>
              <a:gd name="connsiteY651" fmla="*/ 8078840 h 13186702"/>
              <a:gd name="connsiteX652" fmla="*/ 960590 w 9431603"/>
              <a:gd name="connsiteY652" fmla="*/ 8057690 h 13186702"/>
              <a:gd name="connsiteX653" fmla="*/ 960590 w 9431603"/>
              <a:gd name="connsiteY653" fmla="*/ 8013628 h 13186702"/>
              <a:gd name="connsiteX654" fmla="*/ 884800 w 9431603"/>
              <a:gd name="connsiteY654" fmla="*/ 7969566 h 13186702"/>
              <a:gd name="connsiteX655" fmla="*/ 971165 w 9431603"/>
              <a:gd name="connsiteY655" fmla="*/ 7969566 h 13186702"/>
              <a:gd name="connsiteX656" fmla="*/ 928864 w 9431603"/>
              <a:gd name="connsiteY656" fmla="*/ 7795081 h 13186702"/>
              <a:gd name="connsiteX657" fmla="*/ 666244 w 9431603"/>
              <a:gd name="connsiteY657" fmla="*/ 7675232 h 13186702"/>
              <a:gd name="connsiteX658" fmla="*/ 710308 w 9431603"/>
              <a:gd name="connsiteY658" fmla="*/ 7532471 h 13186702"/>
              <a:gd name="connsiteX659" fmla="*/ 697970 w 9431603"/>
              <a:gd name="connsiteY659" fmla="*/ 7641745 h 13186702"/>
              <a:gd name="connsiteX660" fmla="*/ 710308 w 9431603"/>
              <a:gd name="connsiteY660" fmla="*/ 7477835 h 13186702"/>
              <a:gd name="connsiteX661" fmla="*/ 742034 w 9431603"/>
              <a:gd name="connsiteY661" fmla="*/ 7446110 h 13186702"/>
              <a:gd name="connsiteX662" fmla="*/ 742034 w 9431603"/>
              <a:gd name="connsiteY662" fmla="*/ 7446110 h 13186702"/>
              <a:gd name="connsiteX663" fmla="*/ 578117 w 9431603"/>
              <a:gd name="connsiteY663" fmla="*/ 7303349 h 13186702"/>
              <a:gd name="connsiteX664" fmla="*/ 479414 w 9431603"/>
              <a:gd name="connsiteY664" fmla="*/ 7227562 h 13186702"/>
              <a:gd name="connsiteX665" fmla="*/ 491752 w 9431603"/>
              <a:gd name="connsiteY665" fmla="*/ 7053077 h 13186702"/>
              <a:gd name="connsiteX666" fmla="*/ 260858 w 9431603"/>
              <a:gd name="connsiteY666" fmla="*/ 6725256 h 13186702"/>
              <a:gd name="connsiteX667" fmla="*/ 283771 w 9431603"/>
              <a:gd name="connsiteY667" fmla="*/ 6571920 h 13186702"/>
              <a:gd name="connsiteX668" fmla="*/ 141004 w 9431603"/>
              <a:gd name="connsiteY668" fmla="*/ 6483796 h 13186702"/>
              <a:gd name="connsiteX669" fmla="*/ 283771 w 9431603"/>
              <a:gd name="connsiteY669" fmla="*/ 6538433 h 13186702"/>
              <a:gd name="connsiteX670" fmla="*/ 195643 w 9431603"/>
              <a:gd name="connsiteY670" fmla="*/ 6473221 h 13186702"/>
              <a:gd name="connsiteX671" fmla="*/ 185068 w 9431603"/>
              <a:gd name="connsiteY671" fmla="*/ 6254674 h 13186702"/>
              <a:gd name="connsiteX672" fmla="*/ 75790 w 9431603"/>
              <a:gd name="connsiteY672" fmla="*/ 6090763 h 13186702"/>
              <a:gd name="connsiteX673" fmla="*/ 96941 w 9431603"/>
              <a:gd name="connsiteY673" fmla="*/ 6002639 h 13186702"/>
              <a:gd name="connsiteX674" fmla="*/ 10576 w 9431603"/>
              <a:gd name="connsiteY674" fmla="*/ 5926852 h 13186702"/>
              <a:gd name="connsiteX675" fmla="*/ 31726 w 9431603"/>
              <a:gd name="connsiteY675" fmla="*/ 5796429 h 13186702"/>
              <a:gd name="connsiteX676" fmla="*/ 86365 w 9431603"/>
              <a:gd name="connsiteY676" fmla="*/ 5741792 h 13186702"/>
              <a:gd name="connsiteX677" fmla="*/ 195643 w 9431603"/>
              <a:gd name="connsiteY677" fmla="*/ 5533819 h 13186702"/>
              <a:gd name="connsiteX678" fmla="*/ 109278 w 9431603"/>
              <a:gd name="connsiteY678" fmla="*/ 5599031 h 13186702"/>
              <a:gd name="connsiteX679" fmla="*/ 130429 w 9431603"/>
              <a:gd name="connsiteY679" fmla="*/ 5523245 h 13186702"/>
              <a:gd name="connsiteX680" fmla="*/ 109278 w 9431603"/>
              <a:gd name="connsiteY680" fmla="*/ 5458033 h 13186702"/>
              <a:gd name="connsiteX681" fmla="*/ 195643 w 9431603"/>
              <a:gd name="connsiteY681" fmla="*/ 5260635 h 13186702"/>
              <a:gd name="connsiteX682" fmla="*/ 174493 w 9431603"/>
              <a:gd name="connsiteY682" fmla="*/ 5260635 h 13186702"/>
              <a:gd name="connsiteX683" fmla="*/ 174493 w 9431603"/>
              <a:gd name="connsiteY683" fmla="*/ 5172511 h 13186702"/>
              <a:gd name="connsiteX684" fmla="*/ 239707 w 9431603"/>
              <a:gd name="connsiteY684" fmla="*/ 5042087 h 13186702"/>
              <a:gd name="connsiteX685" fmla="*/ 185068 w 9431603"/>
              <a:gd name="connsiteY685" fmla="*/ 5086149 h 13186702"/>
              <a:gd name="connsiteX686" fmla="*/ 130429 w 9431603"/>
              <a:gd name="connsiteY686" fmla="*/ 5075574 h 13186702"/>
              <a:gd name="connsiteX687" fmla="*/ 75790 w 9431603"/>
              <a:gd name="connsiteY687" fmla="*/ 5216573 h 13186702"/>
              <a:gd name="connsiteX688" fmla="*/ 130429 w 9431603"/>
              <a:gd name="connsiteY688" fmla="*/ 4998025 h 13186702"/>
              <a:gd name="connsiteX689" fmla="*/ 206219 w 9431603"/>
              <a:gd name="connsiteY689" fmla="*/ 4867602 h 13186702"/>
              <a:gd name="connsiteX690" fmla="*/ 491752 w 9431603"/>
              <a:gd name="connsiteY690" fmla="*/ 4583843 h 13186702"/>
              <a:gd name="connsiteX691" fmla="*/ 493735 w 9431603"/>
              <a:gd name="connsiteY691" fmla="*/ 4581612 h 13186702"/>
              <a:gd name="connsiteX692" fmla="*/ 494062 w 9431603"/>
              <a:gd name="connsiteY692" fmla="*/ 4581078 h 13186702"/>
              <a:gd name="connsiteX693" fmla="*/ 506293 w 9431603"/>
              <a:gd name="connsiteY693" fmla="*/ 4566438 h 13186702"/>
              <a:gd name="connsiteX694" fmla="*/ 512902 w 9431603"/>
              <a:gd name="connsiteY694" fmla="*/ 4550355 h 13186702"/>
              <a:gd name="connsiteX695" fmla="*/ 494062 w 9431603"/>
              <a:gd name="connsiteY695" fmla="*/ 4581078 h 13186702"/>
              <a:gd name="connsiteX696" fmla="*/ 491752 w 9431603"/>
              <a:gd name="connsiteY696" fmla="*/ 4583843 h 13186702"/>
              <a:gd name="connsiteX697" fmla="*/ 523478 w 9431603"/>
              <a:gd name="connsiteY697" fmla="*/ 4485144 h 13186702"/>
              <a:gd name="connsiteX698" fmla="*/ 382474 w 9431603"/>
              <a:gd name="connsiteY698" fmla="*/ 4583843 h 13186702"/>
              <a:gd name="connsiteX699" fmla="*/ 174493 w 9431603"/>
              <a:gd name="connsiteY699" fmla="*/ 4758328 h 13186702"/>
              <a:gd name="connsiteX700" fmla="*/ 447688 w 9431603"/>
              <a:gd name="connsiteY700" fmla="*/ 4495719 h 13186702"/>
              <a:gd name="connsiteX701" fmla="*/ 458263 w 9431603"/>
              <a:gd name="connsiteY701" fmla="*/ 4419932 h 13186702"/>
              <a:gd name="connsiteX702" fmla="*/ 611605 w 9431603"/>
              <a:gd name="connsiteY702" fmla="*/ 4287746 h 13186702"/>
              <a:gd name="connsiteX703" fmla="*/ 775522 w 9431603"/>
              <a:gd name="connsiteY703" fmla="*/ 4134411 h 13186702"/>
              <a:gd name="connsiteX704" fmla="*/ 601030 w 9431603"/>
              <a:gd name="connsiteY704" fmla="*/ 4243684 h 13186702"/>
              <a:gd name="connsiteX705" fmla="*/ 752609 w 9431603"/>
              <a:gd name="connsiteY705" fmla="*/ 4113260 h 13186702"/>
              <a:gd name="connsiteX706" fmla="*/ 763184 w 9431603"/>
              <a:gd name="connsiteY706" fmla="*/ 4069198 h 13186702"/>
              <a:gd name="connsiteX707" fmla="*/ 895375 w 9431603"/>
              <a:gd name="connsiteY707" fmla="*/ 3949350 h 13186702"/>
              <a:gd name="connsiteX708" fmla="*/ 1801326 w 9431603"/>
              <a:gd name="connsiteY708" fmla="*/ 3249645 h 13186702"/>
              <a:gd name="connsiteX709" fmla="*/ 1714961 w 9431603"/>
              <a:gd name="connsiteY709" fmla="*/ 3249645 h 13186702"/>
              <a:gd name="connsiteX710" fmla="*/ 1540468 w 9431603"/>
              <a:gd name="connsiteY710" fmla="*/ 3381831 h 13186702"/>
              <a:gd name="connsiteX711" fmla="*/ 1353638 w 9431603"/>
              <a:gd name="connsiteY711" fmla="*/ 3468193 h 13186702"/>
              <a:gd name="connsiteX712" fmla="*/ 1693810 w 9431603"/>
              <a:gd name="connsiteY712" fmla="*/ 3228496 h 13186702"/>
              <a:gd name="connsiteX713" fmla="*/ 1660322 w 9431603"/>
              <a:gd name="connsiteY713" fmla="*/ 3195009 h 13186702"/>
              <a:gd name="connsiteX714" fmla="*/ 1418852 w 9431603"/>
              <a:gd name="connsiteY714" fmla="*/ 3358919 h 13186702"/>
              <a:gd name="connsiteX715" fmla="*/ 1441766 w 9431603"/>
              <a:gd name="connsiteY715" fmla="*/ 3272558 h 13186702"/>
              <a:gd name="connsiteX716" fmla="*/ 1256698 w 9431603"/>
              <a:gd name="connsiteY716" fmla="*/ 3348344 h 13186702"/>
              <a:gd name="connsiteX717" fmla="*/ 1277848 w 9431603"/>
              <a:gd name="connsiteY717" fmla="*/ 3283132 h 13186702"/>
              <a:gd name="connsiteX718" fmla="*/ 1267273 w 9431603"/>
              <a:gd name="connsiteY718" fmla="*/ 3217921 h 13186702"/>
              <a:gd name="connsiteX719" fmla="*/ 1277848 w 9431603"/>
              <a:gd name="connsiteY719" fmla="*/ 3129797 h 13186702"/>
              <a:gd name="connsiteX720" fmla="*/ 2130922 w 9431603"/>
              <a:gd name="connsiteY720" fmla="*/ 2507641 h 13186702"/>
              <a:gd name="connsiteX721" fmla="*/ 2130922 w 9431603"/>
              <a:gd name="connsiteY721" fmla="*/ 2507641 h 13186702"/>
              <a:gd name="connsiteX722" fmla="*/ 1714961 w 9431603"/>
              <a:gd name="connsiteY722" fmla="*/ 2747339 h 13186702"/>
              <a:gd name="connsiteX723" fmla="*/ 1578363 w 9431603"/>
              <a:gd name="connsiteY723" fmla="*/ 2839428 h 13186702"/>
              <a:gd name="connsiteX724" fmla="*/ 1483898 w 9431603"/>
              <a:gd name="connsiteY724" fmla="*/ 2919569 h 13186702"/>
              <a:gd name="connsiteX725" fmla="*/ 1473987 w 9431603"/>
              <a:gd name="connsiteY725" fmla="*/ 2925322 h 13186702"/>
              <a:gd name="connsiteX726" fmla="*/ 1435163 w 9431603"/>
              <a:gd name="connsiteY726" fmla="*/ 2949456 h 13186702"/>
              <a:gd name="connsiteX727" fmla="*/ 1380698 w 9431603"/>
              <a:gd name="connsiteY727" fmla="*/ 2984377 h 13186702"/>
              <a:gd name="connsiteX728" fmla="*/ 1361349 w 9431603"/>
              <a:gd name="connsiteY728" fmla="*/ 2994526 h 13186702"/>
              <a:gd name="connsiteX729" fmla="*/ 1321912 w 9431603"/>
              <a:gd name="connsiteY729" fmla="*/ 3009948 h 13186702"/>
              <a:gd name="connsiteX730" fmla="*/ 1376551 w 9431603"/>
              <a:gd name="connsiteY730" fmla="*/ 2944736 h 13186702"/>
              <a:gd name="connsiteX731" fmla="*/ 1988156 w 9431603"/>
              <a:gd name="connsiteY731" fmla="*/ 2539366 h 13186702"/>
              <a:gd name="connsiteX732" fmla="*/ 2523971 w 9431603"/>
              <a:gd name="connsiteY732" fmla="*/ 2223882 h 13186702"/>
              <a:gd name="connsiteX733" fmla="*/ 2643824 w 9431603"/>
              <a:gd name="connsiteY733" fmla="*/ 2146333 h 13186702"/>
              <a:gd name="connsiteX734" fmla="*/ 2009306 w 9431603"/>
              <a:gd name="connsiteY734" fmla="*/ 2463579 h 13186702"/>
              <a:gd name="connsiteX735" fmla="*/ 1462916 w 9431603"/>
              <a:gd name="connsiteY735" fmla="*/ 2791401 h 13186702"/>
              <a:gd name="connsiteX736" fmla="*/ 1277848 w 9431603"/>
              <a:gd name="connsiteY736" fmla="*/ 2890100 h 13186702"/>
              <a:gd name="connsiteX737" fmla="*/ 1179146 w 9431603"/>
              <a:gd name="connsiteY737" fmla="*/ 2879525 h 13186702"/>
              <a:gd name="connsiteX738" fmla="*/ 1311337 w 9431603"/>
              <a:gd name="connsiteY738" fmla="*/ 2747339 h 13186702"/>
              <a:gd name="connsiteX739" fmla="*/ 1813664 w 9431603"/>
              <a:gd name="connsiteY739" fmla="*/ 2398368 h 13186702"/>
              <a:gd name="connsiteX740" fmla="*/ 1868302 w 9431603"/>
              <a:gd name="connsiteY740" fmla="*/ 2333156 h 13186702"/>
              <a:gd name="connsiteX741" fmla="*/ 1418852 w 9431603"/>
              <a:gd name="connsiteY741" fmla="*/ 2606340 h 13186702"/>
              <a:gd name="connsiteX742" fmla="*/ 1244360 w 9431603"/>
              <a:gd name="connsiteY742" fmla="*/ 2703277 h 13186702"/>
              <a:gd name="connsiteX743" fmla="*/ 1332488 w 9431603"/>
              <a:gd name="connsiteY743" fmla="*/ 2606340 h 13186702"/>
              <a:gd name="connsiteX744" fmla="*/ 1311337 w 9431603"/>
              <a:gd name="connsiteY744" fmla="*/ 2562278 h 13186702"/>
              <a:gd name="connsiteX745" fmla="*/ 1912366 w 9431603"/>
              <a:gd name="connsiteY745" fmla="*/ 2135758 h 13186702"/>
              <a:gd name="connsiteX746" fmla="*/ 1967005 w 9431603"/>
              <a:gd name="connsiteY746" fmla="*/ 2070546 h 13186702"/>
              <a:gd name="connsiteX747" fmla="*/ 2009306 w 9431603"/>
              <a:gd name="connsiteY747" fmla="*/ 2026484 h 13186702"/>
              <a:gd name="connsiteX748" fmla="*/ 3419346 w 9431603"/>
              <a:gd name="connsiteY748" fmla="*/ 1339117 h 13186702"/>
              <a:gd name="connsiteX749" fmla="*/ 3507474 w 9431603"/>
              <a:gd name="connsiteY749" fmla="*/ 1272143 h 13186702"/>
              <a:gd name="connsiteX750" fmla="*/ 4249506 w 9431603"/>
              <a:gd name="connsiteY750" fmla="*/ 977809 h 13186702"/>
              <a:gd name="connsiteX751" fmla="*/ 4522702 w 9431603"/>
              <a:gd name="connsiteY751" fmla="*/ 857960 h 13186702"/>
              <a:gd name="connsiteX752" fmla="*/ 4795896 w 9431603"/>
              <a:gd name="connsiteY752" fmla="*/ 748686 h 13186702"/>
              <a:gd name="connsiteX753" fmla="*/ 6380428 w 9431603"/>
              <a:gd name="connsiteY753" fmla="*/ 147681 h 13186702"/>
              <a:gd name="connsiteX754" fmla="*/ 6874930 w 9431603"/>
              <a:gd name="connsiteY754" fmla="*/ 138 h 13186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Lst>
            <a:rect l="l" t="t" r="r" b="b"/>
            <a:pathLst>
              <a:path w="9431603" h="13186702">
                <a:moveTo>
                  <a:pt x="3221940" y="13181219"/>
                </a:moveTo>
                <a:cubicBezTo>
                  <a:pt x="3234278" y="13193557"/>
                  <a:pt x="3221940" y="13181219"/>
                  <a:pt x="3221940" y="13181219"/>
                </a:cubicBezTo>
                <a:close/>
                <a:moveTo>
                  <a:pt x="3087050" y="12587346"/>
                </a:moveTo>
                <a:cubicBezTo>
                  <a:pt x="3085564" y="12585611"/>
                  <a:pt x="3091512" y="12592551"/>
                  <a:pt x="3091512" y="12592551"/>
                </a:cubicBezTo>
                <a:cubicBezTo>
                  <a:pt x="3088868" y="12589467"/>
                  <a:pt x="3087546" y="12587925"/>
                  <a:pt x="3087050" y="12587346"/>
                </a:cubicBezTo>
                <a:close/>
                <a:moveTo>
                  <a:pt x="3015722" y="12504427"/>
                </a:moveTo>
                <a:cubicBezTo>
                  <a:pt x="2982234" y="12525577"/>
                  <a:pt x="3058024" y="12559064"/>
                  <a:pt x="3058024" y="12580214"/>
                </a:cubicBezTo>
                <a:cubicBezTo>
                  <a:pt x="3058024" y="12580214"/>
                  <a:pt x="3026297" y="12580214"/>
                  <a:pt x="3036872" y="12592551"/>
                </a:cubicBezTo>
                <a:cubicBezTo>
                  <a:pt x="3091512" y="12645425"/>
                  <a:pt x="3200790" y="12678912"/>
                  <a:pt x="3125000" y="12592551"/>
                </a:cubicBezTo>
                <a:cubicBezTo>
                  <a:pt x="3091512" y="12559064"/>
                  <a:pt x="3026297" y="12493852"/>
                  <a:pt x="3015722" y="12504427"/>
                </a:cubicBezTo>
                <a:close/>
                <a:moveTo>
                  <a:pt x="9047164" y="12405728"/>
                </a:moveTo>
                <a:lnTo>
                  <a:pt x="9053386" y="12408838"/>
                </a:lnTo>
                <a:lnTo>
                  <a:pt x="9053774" y="12409694"/>
                </a:lnTo>
                <a:cubicBezTo>
                  <a:pt x="9057740" y="12413659"/>
                  <a:pt x="9063028" y="12416303"/>
                  <a:pt x="9068316" y="12416303"/>
                </a:cubicBezTo>
                <a:cubicBezTo>
                  <a:pt x="9101804" y="12483277"/>
                  <a:pt x="9122956" y="12504427"/>
                  <a:pt x="9133530" y="12504427"/>
                </a:cubicBezTo>
                <a:cubicBezTo>
                  <a:pt x="9122956" y="12504427"/>
                  <a:pt x="9122956" y="12504427"/>
                  <a:pt x="9101804" y="12493852"/>
                </a:cubicBezTo>
                <a:cubicBezTo>
                  <a:pt x="9078892" y="12470940"/>
                  <a:pt x="9068316" y="12439215"/>
                  <a:pt x="9047164" y="12405728"/>
                </a:cubicBezTo>
                <a:close/>
                <a:moveTo>
                  <a:pt x="2965510" y="12212279"/>
                </a:moveTo>
                <a:cubicBezTo>
                  <a:pt x="2959926" y="12212572"/>
                  <a:pt x="2954253" y="12215160"/>
                  <a:pt x="2948745" y="12220668"/>
                </a:cubicBezTo>
                <a:cubicBezTo>
                  <a:pt x="2917019" y="12252392"/>
                  <a:pt x="2961083" y="12340516"/>
                  <a:pt x="2982234" y="12329941"/>
                </a:cubicBezTo>
                <a:cubicBezTo>
                  <a:pt x="3039296" y="12320689"/>
                  <a:pt x="3004596" y="12210231"/>
                  <a:pt x="2965510" y="12212279"/>
                </a:cubicBezTo>
                <a:close/>
                <a:moveTo>
                  <a:pt x="2982234" y="12067332"/>
                </a:moveTo>
                <a:lnTo>
                  <a:pt x="2961083" y="12077907"/>
                </a:lnTo>
                <a:cubicBezTo>
                  <a:pt x="2971658" y="12088482"/>
                  <a:pt x="2992809" y="12077907"/>
                  <a:pt x="2982234" y="12067332"/>
                </a:cubicBezTo>
                <a:close/>
                <a:moveTo>
                  <a:pt x="8793398" y="11868853"/>
                </a:moveTo>
                <a:cubicBezTo>
                  <a:pt x="8790190" y="11865913"/>
                  <a:pt x="8787188" y="11865968"/>
                  <a:pt x="8784544" y="11869934"/>
                </a:cubicBezTo>
                <a:cubicBezTo>
                  <a:pt x="8751056" y="11903421"/>
                  <a:pt x="8795120" y="12044420"/>
                  <a:pt x="8795120" y="12033845"/>
                </a:cubicBezTo>
                <a:cubicBezTo>
                  <a:pt x="8818034" y="12088482"/>
                  <a:pt x="8839184" y="12067332"/>
                  <a:pt x="8839184" y="12056757"/>
                </a:cubicBezTo>
                <a:cubicBezTo>
                  <a:pt x="8848438" y="12056757"/>
                  <a:pt x="8815858" y="11889431"/>
                  <a:pt x="8793398" y="11868853"/>
                </a:cubicBezTo>
                <a:close/>
                <a:moveTo>
                  <a:pt x="8587140" y="11760660"/>
                </a:moveTo>
                <a:cubicBezTo>
                  <a:pt x="8162366" y="11783573"/>
                  <a:pt x="7756980" y="11903421"/>
                  <a:pt x="7363930" y="11991545"/>
                </a:cubicBezTo>
                <a:cubicBezTo>
                  <a:pt x="6554920" y="12197755"/>
                  <a:pt x="5823462" y="12384578"/>
                  <a:pt x="5035604" y="12592551"/>
                </a:cubicBezTo>
                <a:cubicBezTo>
                  <a:pt x="4709532" y="12678912"/>
                  <a:pt x="4327058" y="12777611"/>
                  <a:pt x="3900522" y="12809336"/>
                </a:cubicBezTo>
                <a:cubicBezTo>
                  <a:pt x="3681966" y="12832248"/>
                  <a:pt x="4053864" y="12832248"/>
                  <a:pt x="4173716" y="12809336"/>
                </a:cubicBezTo>
                <a:cubicBezTo>
                  <a:pt x="4304146" y="12788186"/>
                  <a:pt x="4402848" y="12767036"/>
                  <a:pt x="4478638" y="12744124"/>
                </a:cubicBezTo>
                <a:cubicBezTo>
                  <a:pt x="5899252" y="12426878"/>
                  <a:pt x="7101312" y="11968633"/>
                  <a:pt x="8631204" y="11783573"/>
                </a:cubicBezTo>
                <a:cubicBezTo>
                  <a:pt x="8751056" y="11772998"/>
                  <a:pt x="8685842" y="11760660"/>
                  <a:pt x="8587140" y="11760660"/>
                </a:cubicBezTo>
                <a:close/>
                <a:moveTo>
                  <a:pt x="2834675" y="11354243"/>
                </a:moveTo>
                <a:cubicBezTo>
                  <a:pt x="2826248" y="11355731"/>
                  <a:pt x="2810385" y="11367627"/>
                  <a:pt x="2818316" y="11367627"/>
                </a:cubicBezTo>
                <a:cubicBezTo>
                  <a:pt x="2786590" y="11367627"/>
                  <a:pt x="2753102" y="11411689"/>
                  <a:pt x="2742527" y="11422264"/>
                </a:cubicBezTo>
                <a:cubicBezTo>
                  <a:pt x="2730189" y="11432839"/>
                  <a:pt x="2719614" y="11554450"/>
                  <a:pt x="2742527" y="11596750"/>
                </a:cubicBezTo>
                <a:cubicBezTo>
                  <a:pt x="2753102" y="11630237"/>
                  <a:pt x="2786590" y="11640812"/>
                  <a:pt x="2807741" y="11651387"/>
                </a:cubicBezTo>
                <a:cubicBezTo>
                  <a:pt x="2862380" y="11695449"/>
                  <a:pt x="2797166" y="11651387"/>
                  <a:pt x="2786590" y="11596750"/>
                </a:cubicBezTo>
                <a:cubicBezTo>
                  <a:pt x="2763678" y="11499813"/>
                  <a:pt x="2839467" y="11411689"/>
                  <a:pt x="2839467" y="11357052"/>
                </a:cubicBezTo>
                <a:cubicBezTo>
                  <a:pt x="2839467" y="11354408"/>
                  <a:pt x="2837484" y="11353748"/>
                  <a:pt x="2834675" y="11354243"/>
                </a:cubicBezTo>
                <a:close/>
                <a:moveTo>
                  <a:pt x="4308976" y="11150361"/>
                </a:moveTo>
                <a:cubicBezTo>
                  <a:pt x="4308338" y="11150154"/>
                  <a:pt x="4308594" y="11150237"/>
                  <a:pt x="4310122" y="11150732"/>
                </a:cubicBezTo>
                <a:lnTo>
                  <a:pt x="4317378" y="11153085"/>
                </a:lnTo>
                <a:lnTo>
                  <a:pt x="4328464" y="11156681"/>
                </a:lnTo>
                <a:cubicBezTo>
                  <a:pt x="4333558" y="11158333"/>
                  <a:pt x="4337634" y="11159655"/>
                  <a:pt x="4337634" y="11159655"/>
                </a:cubicBezTo>
                <a:cubicBezTo>
                  <a:pt x="4329482" y="11157011"/>
                  <a:pt x="4323368" y="11155029"/>
                  <a:pt x="4318910" y="11153583"/>
                </a:cubicBezTo>
                <a:lnTo>
                  <a:pt x="4317378" y="11153085"/>
                </a:lnTo>
                <a:lnTo>
                  <a:pt x="4313178" y="11151724"/>
                </a:lnTo>
                <a:cubicBezTo>
                  <a:pt x="4311140" y="11151063"/>
                  <a:pt x="4309612" y="11150567"/>
                  <a:pt x="4308976" y="11150361"/>
                </a:cubicBezTo>
                <a:close/>
                <a:moveTo>
                  <a:pt x="4610058" y="11079572"/>
                </a:moveTo>
                <a:cubicBezTo>
                  <a:pt x="4596178" y="11078581"/>
                  <a:pt x="4577340" y="11086512"/>
                  <a:pt x="4577340" y="11094443"/>
                </a:cubicBezTo>
                <a:cubicBezTo>
                  <a:pt x="4587916" y="11105018"/>
                  <a:pt x="4621404" y="11083868"/>
                  <a:pt x="4621404" y="11083868"/>
                </a:cubicBezTo>
                <a:cubicBezTo>
                  <a:pt x="4618760" y="11081224"/>
                  <a:pt x="4614684" y="11079902"/>
                  <a:pt x="4610058" y="11079572"/>
                </a:cubicBezTo>
                <a:close/>
                <a:moveTo>
                  <a:pt x="4658748" y="11068997"/>
                </a:moveTo>
                <a:cubicBezTo>
                  <a:pt x="4646852" y="11068006"/>
                  <a:pt x="4624048" y="11075937"/>
                  <a:pt x="4631980" y="11083868"/>
                </a:cubicBezTo>
                <a:cubicBezTo>
                  <a:pt x="4631980" y="11083868"/>
                  <a:pt x="4676044" y="11073293"/>
                  <a:pt x="4665468" y="11073293"/>
                </a:cubicBezTo>
                <a:cubicBezTo>
                  <a:pt x="4665468" y="11070649"/>
                  <a:pt x="4662714" y="11069327"/>
                  <a:pt x="4658748" y="11068997"/>
                </a:cubicBezTo>
                <a:close/>
                <a:moveTo>
                  <a:pt x="4710578" y="11057679"/>
                </a:moveTo>
                <a:cubicBezTo>
                  <a:pt x="4700168" y="11056439"/>
                  <a:pt x="4689262" y="11065362"/>
                  <a:pt x="4697194" y="11073293"/>
                </a:cubicBezTo>
                <a:lnTo>
                  <a:pt x="4720108" y="11062718"/>
                </a:lnTo>
                <a:cubicBezTo>
                  <a:pt x="4717464" y="11059634"/>
                  <a:pt x="4714050" y="11058092"/>
                  <a:pt x="4710578" y="11057679"/>
                </a:cubicBezTo>
                <a:close/>
                <a:moveTo>
                  <a:pt x="6420030" y="10785073"/>
                </a:moveTo>
                <a:cubicBezTo>
                  <a:pt x="6418542" y="10783586"/>
                  <a:pt x="6424492" y="10789534"/>
                  <a:pt x="6424492" y="10789534"/>
                </a:cubicBezTo>
                <a:cubicBezTo>
                  <a:pt x="6421848" y="10786890"/>
                  <a:pt x="6420526" y="10785568"/>
                  <a:pt x="6420030" y="10785073"/>
                </a:cubicBezTo>
                <a:close/>
                <a:moveTo>
                  <a:pt x="6498082" y="10761144"/>
                </a:moveTo>
                <a:lnTo>
                  <a:pt x="6496812" y="10764088"/>
                </a:lnTo>
                <a:cubicBezTo>
                  <a:pt x="6490368" y="10772019"/>
                  <a:pt x="6476488" y="10778959"/>
                  <a:pt x="6468556" y="10778959"/>
                </a:cubicBezTo>
                <a:cubicBezTo>
                  <a:pt x="6468556" y="10775875"/>
                  <a:pt x="6469878" y="10772901"/>
                  <a:pt x="6472026" y="10770174"/>
                </a:cubicBezTo>
                <a:lnTo>
                  <a:pt x="6479368" y="10763817"/>
                </a:lnTo>
                <a:close/>
                <a:moveTo>
                  <a:pt x="3385858" y="10711985"/>
                </a:moveTo>
                <a:cubicBezTo>
                  <a:pt x="3375282" y="10711985"/>
                  <a:pt x="3375282" y="10734897"/>
                  <a:pt x="3364706" y="10745472"/>
                </a:cubicBezTo>
                <a:lnTo>
                  <a:pt x="3359826" y="10755234"/>
                </a:lnTo>
                <a:lnTo>
                  <a:pt x="3354132" y="10756047"/>
                </a:lnTo>
                <a:cubicBezTo>
                  <a:pt x="3354132" y="10766622"/>
                  <a:pt x="3354132" y="10766622"/>
                  <a:pt x="3354132" y="10766622"/>
                </a:cubicBezTo>
                <a:cubicBezTo>
                  <a:pt x="3343556" y="10766622"/>
                  <a:pt x="3331218" y="10766622"/>
                  <a:pt x="3320644" y="10766622"/>
                </a:cubicBezTo>
                <a:cubicBezTo>
                  <a:pt x="3343556" y="10756047"/>
                  <a:pt x="3364706" y="10734897"/>
                  <a:pt x="3385858" y="10711985"/>
                </a:cubicBezTo>
                <a:close/>
                <a:moveTo>
                  <a:pt x="3410478" y="10661093"/>
                </a:moveTo>
                <a:cubicBezTo>
                  <a:pt x="3388170" y="10662085"/>
                  <a:pt x="3359418" y="10682904"/>
                  <a:pt x="3343556" y="10690835"/>
                </a:cubicBezTo>
                <a:cubicBezTo>
                  <a:pt x="3331218" y="10690835"/>
                  <a:pt x="3266004" y="10680260"/>
                  <a:pt x="3255428" y="10690835"/>
                </a:cubicBezTo>
                <a:cubicBezTo>
                  <a:pt x="3255428" y="10690835"/>
                  <a:pt x="3179640" y="10778959"/>
                  <a:pt x="3190214" y="10789534"/>
                </a:cubicBezTo>
                <a:cubicBezTo>
                  <a:pt x="3179640" y="10789534"/>
                  <a:pt x="3276580" y="10778959"/>
                  <a:pt x="3320644" y="10766622"/>
                </a:cubicBezTo>
                <a:cubicBezTo>
                  <a:pt x="3015722" y="11083868"/>
                  <a:pt x="3221940" y="10886470"/>
                  <a:pt x="3354132" y="10766622"/>
                </a:cubicBezTo>
                <a:cubicBezTo>
                  <a:pt x="3354132" y="10761334"/>
                  <a:pt x="3356776" y="10758691"/>
                  <a:pt x="3359420" y="10756047"/>
                </a:cubicBezTo>
                <a:lnTo>
                  <a:pt x="3359826" y="10755234"/>
                </a:lnTo>
                <a:lnTo>
                  <a:pt x="3363384" y="10754725"/>
                </a:lnTo>
                <a:cubicBezTo>
                  <a:pt x="3364706" y="10753403"/>
                  <a:pt x="3364706" y="10750760"/>
                  <a:pt x="3364706" y="10745472"/>
                </a:cubicBezTo>
                <a:cubicBezTo>
                  <a:pt x="3408770" y="10711985"/>
                  <a:pt x="3429920" y="10680260"/>
                  <a:pt x="3429920" y="10667923"/>
                </a:cubicBezTo>
                <a:cubicBezTo>
                  <a:pt x="3424632" y="10662635"/>
                  <a:pt x="3417914" y="10660763"/>
                  <a:pt x="3410478" y="10661093"/>
                </a:cubicBezTo>
                <a:close/>
                <a:moveTo>
                  <a:pt x="3431958" y="10622814"/>
                </a:moveTo>
                <a:cubicBezTo>
                  <a:pt x="3416592" y="10624301"/>
                  <a:pt x="3385858" y="10636198"/>
                  <a:pt x="3385858" y="10636198"/>
                </a:cubicBezTo>
                <a:cubicBezTo>
                  <a:pt x="3408770" y="10657348"/>
                  <a:pt x="3440496" y="10625623"/>
                  <a:pt x="3440496" y="10625623"/>
                </a:cubicBezTo>
                <a:cubicBezTo>
                  <a:pt x="3440496" y="10622979"/>
                  <a:pt x="3437082" y="10622318"/>
                  <a:pt x="3431958" y="10622814"/>
                </a:cubicBezTo>
                <a:close/>
                <a:moveTo>
                  <a:pt x="7514684" y="10522628"/>
                </a:moveTo>
                <a:cubicBezTo>
                  <a:pt x="7509672" y="10522959"/>
                  <a:pt x="7500088" y="10524280"/>
                  <a:pt x="7483784" y="10526924"/>
                </a:cubicBezTo>
                <a:cubicBezTo>
                  <a:pt x="7342780" y="10548074"/>
                  <a:pt x="7200014" y="10592136"/>
                  <a:pt x="7025520" y="10625623"/>
                </a:cubicBezTo>
                <a:cubicBezTo>
                  <a:pt x="6992032" y="10625623"/>
                  <a:pt x="6981458" y="10625623"/>
                  <a:pt x="7002608" y="10646773"/>
                </a:cubicBezTo>
                <a:cubicBezTo>
                  <a:pt x="6937394" y="10636198"/>
                  <a:pt x="6916244" y="10657348"/>
                  <a:pt x="6882754" y="10657348"/>
                </a:cubicBezTo>
                <a:cubicBezTo>
                  <a:pt x="6861604" y="10667923"/>
                  <a:pt x="6851028" y="10667923"/>
                  <a:pt x="6828116" y="10667923"/>
                </a:cubicBezTo>
                <a:cubicBezTo>
                  <a:pt x="6838692" y="10667923"/>
                  <a:pt x="6773476" y="10690835"/>
                  <a:pt x="6729412" y="10701410"/>
                </a:cubicBezTo>
                <a:cubicBezTo>
                  <a:pt x="6752326" y="10701410"/>
                  <a:pt x="6718838" y="10734897"/>
                  <a:pt x="6718838" y="10701410"/>
                </a:cubicBezTo>
                <a:cubicBezTo>
                  <a:pt x="6697688" y="10701410"/>
                  <a:pt x="6674774" y="10690835"/>
                  <a:pt x="6664198" y="10711985"/>
                </a:cubicBezTo>
                <a:cubicBezTo>
                  <a:pt x="6653624" y="10711985"/>
                  <a:pt x="6620136" y="10701410"/>
                  <a:pt x="6620136" y="10722560"/>
                </a:cubicBezTo>
                <a:cubicBezTo>
                  <a:pt x="6577834" y="10701410"/>
                  <a:pt x="6554920" y="10745472"/>
                  <a:pt x="6598984" y="10745472"/>
                </a:cubicBezTo>
                <a:cubicBezTo>
                  <a:pt x="6577834" y="10745472"/>
                  <a:pt x="6565496" y="10745472"/>
                  <a:pt x="6544346" y="10745472"/>
                </a:cubicBezTo>
                <a:cubicBezTo>
                  <a:pt x="6544346" y="10753403"/>
                  <a:pt x="6532448" y="10761334"/>
                  <a:pt x="6526500" y="10760343"/>
                </a:cubicBezTo>
                <a:lnTo>
                  <a:pt x="6524240" y="10757408"/>
                </a:lnTo>
                <a:lnTo>
                  <a:pt x="6533770" y="10756047"/>
                </a:lnTo>
                <a:cubicBezTo>
                  <a:pt x="6523194" y="10756047"/>
                  <a:pt x="6523194" y="10756047"/>
                  <a:pt x="6523194" y="10756047"/>
                </a:cubicBezTo>
                <a:lnTo>
                  <a:pt x="6524240" y="10757408"/>
                </a:lnTo>
                <a:lnTo>
                  <a:pt x="6498082" y="10761144"/>
                </a:lnTo>
                <a:lnTo>
                  <a:pt x="6500282" y="10756047"/>
                </a:lnTo>
                <a:cubicBezTo>
                  <a:pt x="6494994" y="10756047"/>
                  <a:pt x="6487062" y="10758691"/>
                  <a:pt x="6480454" y="10762877"/>
                </a:cubicBezTo>
                <a:lnTo>
                  <a:pt x="6479368" y="10763817"/>
                </a:lnTo>
                <a:lnTo>
                  <a:pt x="6415376" y="10772956"/>
                </a:lnTo>
                <a:cubicBezTo>
                  <a:pt x="6288556" y="10797245"/>
                  <a:pt x="6145128" y="10838884"/>
                  <a:pt x="6063170" y="10854746"/>
                </a:cubicBezTo>
                <a:cubicBezTo>
                  <a:pt x="5997956" y="10875895"/>
                  <a:pt x="5943316" y="10875895"/>
                  <a:pt x="5943316" y="10898808"/>
                </a:cubicBezTo>
                <a:cubicBezTo>
                  <a:pt x="5943316" y="10886470"/>
                  <a:pt x="5976804" y="10909383"/>
                  <a:pt x="5976804" y="10909383"/>
                </a:cubicBezTo>
                <a:cubicBezTo>
                  <a:pt x="5987380" y="10909383"/>
                  <a:pt x="5987380" y="10886470"/>
                  <a:pt x="5997956" y="10886470"/>
                </a:cubicBezTo>
                <a:cubicBezTo>
                  <a:pt x="6107232" y="10865321"/>
                  <a:pt x="6227086" y="10854746"/>
                  <a:pt x="6336364" y="10821259"/>
                </a:cubicBezTo>
                <a:cubicBezTo>
                  <a:pt x="6336364" y="10821259"/>
                  <a:pt x="6336364" y="10800109"/>
                  <a:pt x="6346940" y="10800109"/>
                </a:cubicBezTo>
                <a:cubicBezTo>
                  <a:pt x="6380428" y="10789534"/>
                  <a:pt x="6413916" y="10800109"/>
                  <a:pt x="6445642" y="10800109"/>
                </a:cubicBezTo>
                <a:cubicBezTo>
                  <a:pt x="6632472" y="10766622"/>
                  <a:pt x="6828116" y="10690835"/>
                  <a:pt x="7002608" y="10646773"/>
                </a:cubicBezTo>
                <a:cubicBezTo>
                  <a:pt x="7145374" y="10625623"/>
                  <a:pt x="7450296" y="10560412"/>
                  <a:pt x="7494360" y="10537499"/>
                </a:cubicBezTo>
                <a:cubicBezTo>
                  <a:pt x="7503612" y="10529568"/>
                  <a:pt x="7529720" y="10521637"/>
                  <a:pt x="7514684" y="10522628"/>
                </a:cubicBezTo>
                <a:close/>
                <a:moveTo>
                  <a:pt x="8462278" y="10350931"/>
                </a:moveTo>
                <a:cubicBezTo>
                  <a:pt x="8410004" y="10349795"/>
                  <a:pt x="8285524" y="10356405"/>
                  <a:pt x="8238156" y="10363014"/>
                </a:cubicBezTo>
                <a:cubicBezTo>
                  <a:pt x="8030174" y="10396501"/>
                  <a:pt x="7691764" y="10461713"/>
                  <a:pt x="7561336" y="10504012"/>
                </a:cubicBezTo>
                <a:cubicBezTo>
                  <a:pt x="7439720" y="10482862"/>
                  <a:pt x="7603638" y="10560412"/>
                  <a:pt x="7561336" y="10504012"/>
                </a:cubicBezTo>
                <a:cubicBezTo>
                  <a:pt x="7626550" y="10504012"/>
                  <a:pt x="7712916" y="10472288"/>
                  <a:pt x="7822194" y="10449375"/>
                </a:cubicBezTo>
                <a:cubicBezTo>
                  <a:pt x="8009024" y="10417651"/>
                  <a:pt x="8227580" y="10407076"/>
                  <a:pt x="8446136" y="10363014"/>
                </a:cubicBezTo>
                <a:cubicBezTo>
                  <a:pt x="8499012" y="10355083"/>
                  <a:pt x="8493642" y="10351613"/>
                  <a:pt x="8462278" y="10350931"/>
                </a:cubicBezTo>
                <a:close/>
                <a:moveTo>
                  <a:pt x="5287648" y="10264315"/>
                </a:moveTo>
                <a:cubicBezTo>
                  <a:pt x="5287648" y="10264315"/>
                  <a:pt x="5342288" y="10274890"/>
                  <a:pt x="5287648" y="10264315"/>
                </a:cubicBezTo>
                <a:close/>
                <a:moveTo>
                  <a:pt x="7845106" y="9642160"/>
                </a:moveTo>
                <a:cubicBezTo>
                  <a:pt x="7801044" y="9642160"/>
                  <a:pt x="7626550" y="9686222"/>
                  <a:pt x="7561336" y="9696796"/>
                </a:cubicBezTo>
                <a:cubicBezTo>
                  <a:pt x="6916244" y="9816645"/>
                  <a:pt x="6250000" y="10014043"/>
                  <a:pt x="5648970" y="10165616"/>
                </a:cubicBezTo>
                <a:cubicBezTo>
                  <a:pt x="5594332" y="10155041"/>
                  <a:pt x="5636632" y="10209678"/>
                  <a:pt x="5648970" y="10165616"/>
                </a:cubicBezTo>
                <a:cubicBezTo>
                  <a:pt x="6325788" y="10001705"/>
                  <a:pt x="6992032" y="9837795"/>
                  <a:pt x="7735828" y="9686222"/>
                </a:cubicBezTo>
                <a:cubicBezTo>
                  <a:pt x="7790468" y="9673884"/>
                  <a:pt x="7822194" y="9642160"/>
                  <a:pt x="7845106" y="9642160"/>
                </a:cubicBezTo>
                <a:close/>
                <a:moveTo>
                  <a:pt x="7931472" y="9631585"/>
                </a:moveTo>
                <a:cubicBezTo>
                  <a:pt x="7920896" y="9631585"/>
                  <a:pt x="7887408" y="9642160"/>
                  <a:pt x="7887408" y="9652734"/>
                </a:cubicBezTo>
                <a:cubicBezTo>
                  <a:pt x="7899746" y="9652734"/>
                  <a:pt x="7931472" y="9642160"/>
                  <a:pt x="7931472" y="9631585"/>
                </a:cubicBezTo>
                <a:close/>
                <a:moveTo>
                  <a:pt x="8019600" y="9619247"/>
                </a:moveTo>
                <a:cubicBezTo>
                  <a:pt x="8009024" y="9619247"/>
                  <a:pt x="7954384" y="9631585"/>
                  <a:pt x="7954384" y="9631585"/>
                </a:cubicBezTo>
                <a:cubicBezTo>
                  <a:pt x="7975536" y="9663309"/>
                  <a:pt x="8019600" y="9619247"/>
                  <a:pt x="8019600" y="9619247"/>
                </a:cubicBezTo>
                <a:close/>
                <a:moveTo>
                  <a:pt x="8105964" y="9608672"/>
                </a:moveTo>
                <a:cubicBezTo>
                  <a:pt x="8095388" y="9608672"/>
                  <a:pt x="8040750" y="9619247"/>
                  <a:pt x="8040750" y="9619247"/>
                </a:cubicBezTo>
                <a:cubicBezTo>
                  <a:pt x="8063662" y="9652734"/>
                  <a:pt x="8105964" y="9608672"/>
                  <a:pt x="8105964" y="9608672"/>
                </a:cubicBezTo>
                <a:close/>
                <a:moveTo>
                  <a:pt x="8150028" y="9598098"/>
                </a:moveTo>
                <a:cubicBezTo>
                  <a:pt x="8150028" y="9598098"/>
                  <a:pt x="8118302" y="9608672"/>
                  <a:pt x="8128876" y="9608672"/>
                </a:cubicBezTo>
                <a:cubicBezTo>
                  <a:pt x="8128876" y="9619247"/>
                  <a:pt x="8162366" y="9608672"/>
                  <a:pt x="8150028" y="9598098"/>
                </a:cubicBezTo>
                <a:close/>
                <a:moveTo>
                  <a:pt x="2325794" y="8894097"/>
                </a:moveTo>
                <a:cubicBezTo>
                  <a:pt x="2311914" y="8893106"/>
                  <a:pt x="2293077" y="8901037"/>
                  <a:pt x="2293077" y="8908968"/>
                </a:cubicBezTo>
                <a:cubicBezTo>
                  <a:pt x="2305415" y="8908968"/>
                  <a:pt x="2337140" y="8898393"/>
                  <a:pt x="2337140" y="8898393"/>
                </a:cubicBezTo>
                <a:cubicBezTo>
                  <a:pt x="2334496" y="8895749"/>
                  <a:pt x="2330421" y="8894427"/>
                  <a:pt x="2325794" y="8894097"/>
                </a:cubicBezTo>
                <a:close/>
                <a:moveTo>
                  <a:pt x="1540337" y="8721629"/>
                </a:moveTo>
                <a:lnTo>
                  <a:pt x="1533869" y="8723041"/>
                </a:lnTo>
                <a:cubicBezTo>
                  <a:pt x="1531408" y="8723577"/>
                  <a:pt x="1529893" y="8723908"/>
                  <a:pt x="1529893" y="8723908"/>
                </a:cubicBezTo>
                <a:close/>
                <a:moveTo>
                  <a:pt x="1561006" y="8717120"/>
                </a:moveTo>
                <a:lnTo>
                  <a:pt x="1557726" y="8717836"/>
                </a:lnTo>
                <a:lnTo>
                  <a:pt x="1540337" y="8721629"/>
                </a:lnTo>
                <a:lnTo>
                  <a:pt x="1543525" y="8720934"/>
                </a:lnTo>
                <a:close/>
                <a:moveTo>
                  <a:pt x="1572494" y="8714614"/>
                </a:moveTo>
                <a:cubicBezTo>
                  <a:pt x="1571547" y="8714820"/>
                  <a:pt x="1569275" y="8715316"/>
                  <a:pt x="1566246" y="8715977"/>
                </a:cubicBezTo>
                <a:lnTo>
                  <a:pt x="1561006" y="8717120"/>
                </a:lnTo>
                <a:lnTo>
                  <a:pt x="1570790" y="8714985"/>
                </a:lnTo>
                <a:cubicBezTo>
                  <a:pt x="1573062" y="8714490"/>
                  <a:pt x="1573440" y="8714407"/>
                  <a:pt x="1572494" y="8714614"/>
                </a:cubicBezTo>
                <a:close/>
                <a:moveTo>
                  <a:pt x="1913688" y="8689539"/>
                </a:moveTo>
                <a:cubicBezTo>
                  <a:pt x="1943652" y="8690861"/>
                  <a:pt x="1959955" y="8696589"/>
                  <a:pt x="1900028" y="8702758"/>
                </a:cubicBezTo>
                <a:cubicBezTo>
                  <a:pt x="1889453" y="8702758"/>
                  <a:pt x="1855965" y="8702758"/>
                  <a:pt x="1845389" y="8702758"/>
                </a:cubicBezTo>
                <a:cubicBezTo>
                  <a:pt x="1840102" y="8691302"/>
                  <a:pt x="1883725" y="8688217"/>
                  <a:pt x="1913688" y="8689539"/>
                </a:cubicBezTo>
                <a:close/>
                <a:moveTo>
                  <a:pt x="1977663" y="8675385"/>
                </a:moveTo>
                <a:cubicBezTo>
                  <a:pt x="2008976" y="8673898"/>
                  <a:pt x="2080690" y="8679846"/>
                  <a:pt x="1998731" y="8679846"/>
                </a:cubicBezTo>
                <a:cubicBezTo>
                  <a:pt x="1998731" y="8679846"/>
                  <a:pt x="1967005" y="8690420"/>
                  <a:pt x="1967005" y="8679846"/>
                </a:cubicBezTo>
                <a:cubicBezTo>
                  <a:pt x="1961277" y="8677202"/>
                  <a:pt x="1967226" y="8675880"/>
                  <a:pt x="1977663" y="8675385"/>
                </a:cubicBezTo>
                <a:close/>
                <a:moveTo>
                  <a:pt x="1418852" y="8669271"/>
                </a:moveTo>
                <a:cubicBezTo>
                  <a:pt x="1496405" y="8713333"/>
                  <a:pt x="1736111" y="8690420"/>
                  <a:pt x="1769600" y="8702758"/>
                </a:cubicBezTo>
                <a:cubicBezTo>
                  <a:pt x="1780175" y="8702758"/>
                  <a:pt x="1790750" y="8713333"/>
                  <a:pt x="1801326" y="8713333"/>
                </a:cubicBezTo>
                <a:cubicBezTo>
                  <a:pt x="1725536" y="8734482"/>
                  <a:pt x="1572194" y="8679846"/>
                  <a:pt x="1529893" y="8723908"/>
                </a:cubicBezTo>
                <a:cubicBezTo>
                  <a:pt x="1485829" y="8713333"/>
                  <a:pt x="1397702" y="8713333"/>
                  <a:pt x="1418852" y="8669271"/>
                </a:cubicBezTo>
                <a:close/>
                <a:moveTo>
                  <a:pt x="2108009" y="8658696"/>
                </a:moveTo>
                <a:cubicBezTo>
                  <a:pt x="2108009" y="8658696"/>
                  <a:pt x="2074521" y="8702758"/>
                  <a:pt x="2053370" y="8669271"/>
                </a:cubicBezTo>
                <a:close/>
                <a:moveTo>
                  <a:pt x="2169891" y="8645312"/>
                </a:moveTo>
                <a:cubicBezTo>
                  <a:pt x="2176749" y="8644816"/>
                  <a:pt x="2182477" y="8645477"/>
                  <a:pt x="2185561" y="8648121"/>
                </a:cubicBezTo>
                <a:cubicBezTo>
                  <a:pt x="2185561" y="8648121"/>
                  <a:pt x="2152073" y="8679846"/>
                  <a:pt x="2118584" y="8658696"/>
                </a:cubicBezTo>
                <a:cubicBezTo>
                  <a:pt x="2118584" y="8658696"/>
                  <a:pt x="2149319" y="8646799"/>
                  <a:pt x="2169891" y="8645312"/>
                </a:cubicBezTo>
                <a:close/>
                <a:moveTo>
                  <a:pt x="8833016" y="8624328"/>
                </a:moveTo>
                <a:cubicBezTo>
                  <a:pt x="8819356" y="8623006"/>
                  <a:pt x="8805696" y="8626090"/>
                  <a:pt x="8805696" y="8637546"/>
                </a:cubicBezTo>
                <a:cubicBezTo>
                  <a:pt x="8818034" y="8669271"/>
                  <a:pt x="8860336" y="8637546"/>
                  <a:pt x="8860336" y="8637546"/>
                </a:cubicBezTo>
                <a:cubicBezTo>
                  <a:pt x="8860336" y="8631377"/>
                  <a:pt x="8846676" y="8625649"/>
                  <a:pt x="8833016" y="8624328"/>
                </a:cubicBezTo>
                <a:close/>
                <a:moveTo>
                  <a:pt x="8871158" y="8315260"/>
                </a:moveTo>
                <a:cubicBezTo>
                  <a:pt x="8857030" y="8314021"/>
                  <a:pt x="8839184" y="8322943"/>
                  <a:pt x="8839184" y="8330874"/>
                </a:cubicBezTo>
                <a:cubicBezTo>
                  <a:pt x="8849760" y="8330874"/>
                  <a:pt x="8883248" y="8320300"/>
                  <a:pt x="8883248" y="8320300"/>
                </a:cubicBezTo>
                <a:cubicBezTo>
                  <a:pt x="8880164" y="8317215"/>
                  <a:pt x="8875868" y="8315673"/>
                  <a:pt x="8871158" y="8315260"/>
                </a:cubicBezTo>
                <a:close/>
                <a:moveTo>
                  <a:pt x="5744730" y="8254802"/>
                </a:moveTo>
                <a:cubicBezTo>
                  <a:pt x="5743790" y="8253573"/>
                  <a:pt x="5740844" y="8253546"/>
                  <a:pt x="5735336" y="8255088"/>
                </a:cubicBezTo>
                <a:cubicBezTo>
                  <a:pt x="5714184" y="8255088"/>
                  <a:pt x="5724760" y="8265663"/>
                  <a:pt x="5714184" y="8265663"/>
                </a:cubicBezTo>
                <a:cubicBezTo>
                  <a:pt x="5636632" y="8297388"/>
                  <a:pt x="5583756" y="8362599"/>
                  <a:pt x="5506204" y="8429573"/>
                </a:cubicBezTo>
                <a:cubicBezTo>
                  <a:pt x="5430414" y="8484210"/>
                  <a:pt x="5352862" y="8515935"/>
                  <a:pt x="5298224" y="8581147"/>
                </a:cubicBezTo>
                <a:cubicBezTo>
                  <a:pt x="5277072" y="8614634"/>
                  <a:pt x="5254160" y="8648121"/>
                  <a:pt x="5298224" y="8637546"/>
                </a:cubicBezTo>
                <a:cubicBezTo>
                  <a:pt x="5419840" y="8581147"/>
                  <a:pt x="5615482" y="8406661"/>
                  <a:pt x="5680696" y="8341450"/>
                </a:cubicBezTo>
                <a:cubicBezTo>
                  <a:pt x="5680696" y="8341450"/>
                  <a:pt x="5648970" y="8330874"/>
                  <a:pt x="5659546" y="8330874"/>
                </a:cubicBezTo>
                <a:cubicBezTo>
                  <a:pt x="5659546" y="8330874"/>
                  <a:pt x="5751310" y="8263404"/>
                  <a:pt x="5744730" y="8254802"/>
                </a:cubicBezTo>
                <a:close/>
                <a:moveTo>
                  <a:pt x="1025804" y="8200451"/>
                </a:moveTo>
                <a:cubicBezTo>
                  <a:pt x="960590" y="8211026"/>
                  <a:pt x="1025804" y="8221601"/>
                  <a:pt x="1025804" y="8242750"/>
                </a:cubicBezTo>
                <a:cubicBezTo>
                  <a:pt x="1025804" y="8330874"/>
                  <a:pt x="1124507" y="8200451"/>
                  <a:pt x="1025804" y="8200451"/>
                </a:cubicBezTo>
                <a:close/>
                <a:moveTo>
                  <a:pt x="8856260" y="8174730"/>
                </a:moveTo>
                <a:cubicBezTo>
                  <a:pt x="8836432" y="8176217"/>
                  <a:pt x="8805696" y="8188114"/>
                  <a:pt x="8805696" y="8188114"/>
                </a:cubicBezTo>
                <a:cubicBezTo>
                  <a:pt x="8828608" y="8211026"/>
                  <a:pt x="8870910" y="8177539"/>
                  <a:pt x="8870910" y="8177539"/>
                </a:cubicBezTo>
                <a:cubicBezTo>
                  <a:pt x="8868266" y="8174895"/>
                  <a:pt x="8862868" y="8174234"/>
                  <a:pt x="8856260" y="8174730"/>
                </a:cubicBezTo>
                <a:close/>
                <a:moveTo>
                  <a:pt x="8773198" y="8164155"/>
                </a:moveTo>
                <a:cubicBezTo>
                  <a:pt x="8759318" y="8165642"/>
                  <a:pt x="8740480" y="8177539"/>
                  <a:pt x="8740480" y="8177539"/>
                </a:cubicBezTo>
                <a:cubicBezTo>
                  <a:pt x="8751056" y="8188114"/>
                  <a:pt x="8784544" y="8177539"/>
                  <a:pt x="8784544" y="8166964"/>
                </a:cubicBezTo>
                <a:cubicBezTo>
                  <a:pt x="8781900" y="8164320"/>
                  <a:pt x="8777824" y="8163660"/>
                  <a:pt x="8773198" y="8164155"/>
                </a:cubicBezTo>
                <a:close/>
                <a:moveTo>
                  <a:pt x="971165" y="7992479"/>
                </a:moveTo>
                <a:cubicBezTo>
                  <a:pt x="971165" y="7992479"/>
                  <a:pt x="939439" y="8003054"/>
                  <a:pt x="950014" y="8003054"/>
                </a:cubicBezTo>
                <a:cubicBezTo>
                  <a:pt x="950014" y="8013628"/>
                  <a:pt x="981740" y="8003054"/>
                  <a:pt x="971165" y="7992479"/>
                </a:cubicBezTo>
                <a:close/>
                <a:moveTo>
                  <a:pt x="866707" y="7830276"/>
                </a:moveTo>
                <a:cubicBezTo>
                  <a:pt x="870810" y="7828017"/>
                  <a:pt x="874225" y="7833415"/>
                  <a:pt x="874225" y="7849718"/>
                </a:cubicBezTo>
                <a:cubicBezTo>
                  <a:pt x="874225" y="7870868"/>
                  <a:pt x="905951" y="7860293"/>
                  <a:pt x="916526" y="7870868"/>
                </a:cubicBezTo>
                <a:cubicBezTo>
                  <a:pt x="916526" y="7883205"/>
                  <a:pt x="884800" y="7883205"/>
                  <a:pt x="884800" y="7893780"/>
                </a:cubicBezTo>
                <a:cubicBezTo>
                  <a:pt x="884800" y="7904355"/>
                  <a:pt x="928864" y="7925504"/>
                  <a:pt x="928864" y="7914930"/>
                </a:cubicBezTo>
                <a:cubicBezTo>
                  <a:pt x="916526" y="7937842"/>
                  <a:pt x="851312" y="7914930"/>
                  <a:pt x="884800" y="7969566"/>
                </a:cubicBezTo>
                <a:cubicBezTo>
                  <a:pt x="835890" y="7912726"/>
                  <a:pt x="854396" y="7837050"/>
                  <a:pt x="866707" y="7830276"/>
                </a:cubicBezTo>
                <a:close/>
                <a:moveTo>
                  <a:pt x="710748" y="7672589"/>
                </a:moveTo>
                <a:cubicBezTo>
                  <a:pt x="703698" y="7675232"/>
                  <a:pt x="697970" y="7680520"/>
                  <a:pt x="697970" y="7685807"/>
                </a:cubicBezTo>
                <a:cubicBezTo>
                  <a:pt x="710308" y="7685807"/>
                  <a:pt x="731458" y="7675232"/>
                  <a:pt x="731458" y="7675232"/>
                </a:cubicBezTo>
                <a:cubicBezTo>
                  <a:pt x="726171" y="7669945"/>
                  <a:pt x="717799" y="7669945"/>
                  <a:pt x="710748" y="7672589"/>
                </a:cubicBezTo>
                <a:close/>
                <a:moveTo>
                  <a:pt x="3070360" y="7631170"/>
                </a:moveTo>
                <a:cubicBezTo>
                  <a:pt x="2992809" y="7641745"/>
                  <a:pt x="2948745" y="7664657"/>
                  <a:pt x="2862380" y="7685807"/>
                </a:cubicBezTo>
                <a:cubicBezTo>
                  <a:pt x="2851805" y="7685807"/>
                  <a:pt x="2643824" y="7729869"/>
                  <a:pt x="2654400" y="7729869"/>
                </a:cubicBezTo>
                <a:cubicBezTo>
                  <a:pt x="2675550" y="7763356"/>
                  <a:pt x="2828892" y="7696382"/>
                  <a:pt x="2883531" y="7685807"/>
                </a:cubicBezTo>
                <a:cubicBezTo>
                  <a:pt x="2992809" y="7664657"/>
                  <a:pt x="3167302" y="7631170"/>
                  <a:pt x="3070360" y="7631170"/>
                </a:cubicBezTo>
                <a:close/>
                <a:moveTo>
                  <a:pt x="3146150" y="7620595"/>
                </a:moveTo>
                <a:cubicBezTo>
                  <a:pt x="3146150" y="7620595"/>
                  <a:pt x="3135576" y="7631170"/>
                  <a:pt x="3146150" y="7620595"/>
                </a:cubicBezTo>
                <a:close/>
                <a:moveTo>
                  <a:pt x="805124" y="7613442"/>
                </a:moveTo>
                <a:cubicBezTo>
                  <a:pt x="798132" y="7612994"/>
                  <a:pt x="791605" y="7615087"/>
                  <a:pt x="786097" y="7620595"/>
                </a:cubicBezTo>
                <a:cubicBezTo>
                  <a:pt x="796673" y="7610021"/>
                  <a:pt x="830161" y="7696382"/>
                  <a:pt x="830161" y="7696382"/>
                </a:cubicBezTo>
                <a:cubicBezTo>
                  <a:pt x="925779" y="7744189"/>
                  <a:pt x="854066" y="7616575"/>
                  <a:pt x="805124" y="7613442"/>
                </a:cubicBezTo>
                <a:close/>
                <a:moveTo>
                  <a:pt x="2467074" y="7594406"/>
                </a:moveTo>
                <a:cubicBezTo>
                  <a:pt x="2450715" y="7593167"/>
                  <a:pt x="2427912" y="7602089"/>
                  <a:pt x="2435843" y="7610021"/>
                </a:cubicBezTo>
                <a:cubicBezTo>
                  <a:pt x="2435843" y="7620595"/>
                  <a:pt x="2490482" y="7610021"/>
                  <a:pt x="2479907" y="7599446"/>
                </a:cubicBezTo>
                <a:cubicBezTo>
                  <a:pt x="2477263" y="7596361"/>
                  <a:pt x="2472527" y="7594819"/>
                  <a:pt x="2467074" y="7594406"/>
                </a:cubicBezTo>
                <a:close/>
                <a:moveTo>
                  <a:pt x="2573543" y="7572237"/>
                </a:moveTo>
                <a:cubicBezTo>
                  <a:pt x="2564620" y="7571246"/>
                  <a:pt x="2547765" y="7579177"/>
                  <a:pt x="2555697" y="7587108"/>
                </a:cubicBezTo>
                <a:cubicBezTo>
                  <a:pt x="2555697" y="7587108"/>
                  <a:pt x="2589185" y="7576533"/>
                  <a:pt x="2578610" y="7576533"/>
                </a:cubicBezTo>
                <a:cubicBezTo>
                  <a:pt x="2578610" y="7573890"/>
                  <a:pt x="2576517" y="7572568"/>
                  <a:pt x="2573543" y="7572237"/>
                </a:cubicBezTo>
                <a:close/>
                <a:moveTo>
                  <a:pt x="710308" y="7477835"/>
                </a:moveTo>
                <a:cubicBezTo>
                  <a:pt x="710308" y="7477835"/>
                  <a:pt x="742034" y="7544809"/>
                  <a:pt x="710308" y="7477835"/>
                </a:cubicBezTo>
                <a:close/>
                <a:moveTo>
                  <a:pt x="3372858" y="7375858"/>
                </a:moveTo>
                <a:cubicBezTo>
                  <a:pt x="3356004" y="7374619"/>
                  <a:pt x="3331218" y="7383542"/>
                  <a:pt x="3331218" y="7391473"/>
                </a:cubicBezTo>
                <a:cubicBezTo>
                  <a:pt x="3343556" y="7391473"/>
                  <a:pt x="3385858" y="7380898"/>
                  <a:pt x="3385858" y="7380898"/>
                </a:cubicBezTo>
                <a:cubicBezTo>
                  <a:pt x="3383214" y="7377814"/>
                  <a:pt x="3378478" y="7376272"/>
                  <a:pt x="3372858" y="7375858"/>
                </a:cubicBezTo>
                <a:close/>
                <a:moveTo>
                  <a:pt x="3473984" y="7347411"/>
                </a:moveTo>
                <a:cubicBezTo>
                  <a:pt x="3452834" y="7347411"/>
                  <a:pt x="3419346" y="7347411"/>
                  <a:pt x="3419346" y="7357986"/>
                </a:cubicBezTo>
                <a:cubicBezTo>
                  <a:pt x="3364706" y="7347411"/>
                  <a:pt x="3419346" y="7402048"/>
                  <a:pt x="3419346" y="7357986"/>
                </a:cubicBezTo>
                <a:cubicBezTo>
                  <a:pt x="3440496" y="7357986"/>
                  <a:pt x="3463410" y="7368561"/>
                  <a:pt x="3473984" y="7347411"/>
                </a:cubicBezTo>
                <a:close/>
                <a:moveTo>
                  <a:pt x="3150034" y="7025869"/>
                </a:moveTo>
                <a:cubicBezTo>
                  <a:pt x="3138220" y="7024877"/>
                  <a:pt x="3115746" y="7032809"/>
                  <a:pt x="3125000" y="7040740"/>
                </a:cubicBezTo>
                <a:cubicBezTo>
                  <a:pt x="3135576" y="7053077"/>
                  <a:pt x="3167302" y="7030165"/>
                  <a:pt x="3156726" y="7030165"/>
                </a:cubicBezTo>
                <a:cubicBezTo>
                  <a:pt x="3156726" y="7027521"/>
                  <a:pt x="3153972" y="7026199"/>
                  <a:pt x="3150034" y="7025869"/>
                </a:cubicBezTo>
                <a:close/>
                <a:moveTo>
                  <a:pt x="3333212" y="6994165"/>
                </a:moveTo>
                <a:cubicBezTo>
                  <a:pt x="3329786" y="6994282"/>
                  <a:pt x="3322406" y="6995576"/>
                  <a:pt x="3310068" y="6998440"/>
                </a:cubicBezTo>
                <a:cubicBezTo>
                  <a:pt x="3266004" y="6998440"/>
                  <a:pt x="3167302" y="7019590"/>
                  <a:pt x="3167302" y="7030165"/>
                </a:cubicBezTo>
                <a:cubicBezTo>
                  <a:pt x="3187350" y="7050213"/>
                  <a:pt x="3357188" y="6993345"/>
                  <a:pt x="3333212" y="6994165"/>
                </a:cubicBezTo>
                <a:close/>
                <a:moveTo>
                  <a:pt x="4182358" y="6765999"/>
                </a:moveTo>
                <a:cubicBezTo>
                  <a:pt x="4176224" y="6765765"/>
                  <a:pt x="4166006" y="6766233"/>
                  <a:pt x="4150804" y="6767555"/>
                </a:cubicBezTo>
                <a:cubicBezTo>
                  <a:pt x="4009800" y="6779893"/>
                  <a:pt x="3911096" y="6822192"/>
                  <a:pt x="3757756" y="6866254"/>
                </a:cubicBezTo>
                <a:cubicBezTo>
                  <a:pt x="3659052" y="6889166"/>
                  <a:pt x="3549774" y="6920891"/>
                  <a:pt x="3452834" y="6943803"/>
                </a:cubicBezTo>
                <a:cubicBezTo>
                  <a:pt x="3310068" y="6986103"/>
                  <a:pt x="3375282" y="6998440"/>
                  <a:pt x="3507474" y="6964953"/>
                </a:cubicBezTo>
                <a:cubicBezTo>
                  <a:pt x="3616752" y="6943803"/>
                  <a:pt x="3877608" y="6855679"/>
                  <a:pt x="4020376" y="6822192"/>
                </a:cubicBezTo>
                <a:cubicBezTo>
                  <a:pt x="4068184" y="6803686"/>
                  <a:pt x="4225300" y="6767638"/>
                  <a:pt x="4182358" y="6765999"/>
                </a:cubicBezTo>
                <a:close/>
                <a:moveTo>
                  <a:pt x="3299492" y="6756980"/>
                </a:moveTo>
                <a:cubicBezTo>
                  <a:pt x="3288916" y="6756980"/>
                  <a:pt x="3266004" y="6767555"/>
                  <a:pt x="3266004" y="6767555"/>
                </a:cubicBezTo>
                <a:cubicBezTo>
                  <a:pt x="3276580" y="6767555"/>
                  <a:pt x="3299492" y="6767555"/>
                  <a:pt x="3299492" y="6756980"/>
                </a:cubicBezTo>
                <a:close/>
                <a:moveTo>
                  <a:pt x="3343556" y="6746405"/>
                </a:moveTo>
                <a:cubicBezTo>
                  <a:pt x="3343556" y="6746405"/>
                  <a:pt x="3310068" y="6756980"/>
                  <a:pt x="3320644" y="6756980"/>
                </a:cubicBezTo>
                <a:cubicBezTo>
                  <a:pt x="3320644" y="6756980"/>
                  <a:pt x="3354132" y="6746405"/>
                  <a:pt x="3343556" y="6746405"/>
                </a:cubicBezTo>
                <a:close/>
                <a:moveTo>
                  <a:pt x="3366030" y="6733187"/>
                </a:moveTo>
                <a:cubicBezTo>
                  <a:pt x="3359420" y="6735831"/>
                  <a:pt x="3354132" y="6741118"/>
                  <a:pt x="3354132" y="6746405"/>
                </a:cubicBezTo>
                <a:cubicBezTo>
                  <a:pt x="3364706" y="6746405"/>
                  <a:pt x="3385858" y="6735831"/>
                  <a:pt x="3385858" y="6735831"/>
                </a:cubicBezTo>
                <a:cubicBezTo>
                  <a:pt x="3380570" y="6730543"/>
                  <a:pt x="3372638" y="6730543"/>
                  <a:pt x="3366030" y="6733187"/>
                </a:cubicBezTo>
                <a:close/>
                <a:moveTo>
                  <a:pt x="3659052" y="6658281"/>
                </a:moveTo>
                <a:cubicBezTo>
                  <a:pt x="3648476" y="6658281"/>
                  <a:pt x="3627326" y="6670619"/>
                  <a:pt x="3627326" y="6670619"/>
                </a:cubicBezTo>
                <a:cubicBezTo>
                  <a:pt x="3637902" y="6670619"/>
                  <a:pt x="3659052" y="6670619"/>
                  <a:pt x="3659052" y="6658281"/>
                </a:cubicBezTo>
                <a:close/>
                <a:moveTo>
                  <a:pt x="3845882" y="6603645"/>
                </a:moveTo>
                <a:cubicBezTo>
                  <a:pt x="3835308" y="6603645"/>
                  <a:pt x="3812394" y="6615982"/>
                  <a:pt x="3812394" y="6626557"/>
                </a:cubicBezTo>
                <a:cubicBezTo>
                  <a:pt x="3822970" y="6626557"/>
                  <a:pt x="3845882" y="6615982"/>
                  <a:pt x="3845882" y="6603645"/>
                </a:cubicBezTo>
                <a:close/>
                <a:moveTo>
                  <a:pt x="3877608" y="6593070"/>
                </a:moveTo>
                <a:cubicBezTo>
                  <a:pt x="3877608" y="6593070"/>
                  <a:pt x="3845882" y="6603645"/>
                  <a:pt x="3856458" y="6603645"/>
                </a:cubicBezTo>
                <a:cubicBezTo>
                  <a:pt x="3856458" y="6615982"/>
                  <a:pt x="3877608" y="6603645"/>
                  <a:pt x="3877608" y="6593070"/>
                </a:cubicBezTo>
                <a:close/>
                <a:moveTo>
                  <a:pt x="3921672" y="6582495"/>
                </a:moveTo>
                <a:cubicBezTo>
                  <a:pt x="3921672" y="6582495"/>
                  <a:pt x="3877608" y="6593070"/>
                  <a:pt x="3889946" y="6593070"/>
                </a:cubicBezTo>
                <a:cubicBezTo>
                  <a:pt x="3900522" y="6603645"/>
                  <a:pt x="3932248" y="6593070"/>
                  <a:pt x="3921672" y="6582495"/>
                </a:cubicBezTo>
                <a:close/>
                <a:moveTo>
                  <a:pt x="3965158" y="6569111"/>
                </a:moveTo>
                <a:cubicBezTo>
                  <a:pt x="3951856" y="6570598"/>
                  <a:pt x="3935332" y="6582495"/>
                  <a:pt x="3944586" y="6582495"/>
                </a:cubicBezTo>
                <a:cubicBezTo>
                  <a:pt x="3944586" y="6593070"/>
                  <a:pt x="3986886" y="6582495"/>
                  <a:pt x="3976312" y="6571920"/>
                </a:cubicBezTo>
                <a:cubicBezTo>
                  <a:pt x="3973668" y="6569276"/>
                  <a:pt x="3969592" y="6568615"/>
                  <a:pt x="3965158" y="6569111"/>
                </a:cubicBezTo>
                <a:close/>
                <a:moveTo>
                  <a:pt x="4032494" y="6546585"/>
                </a:moveTo>
                <a:cubicBezTo>
                  <a:pt x="4025664" y="6549449"/>
                  <a:pt x="4020376" y="6555177"/>
                  <a:pt x="4020376" y="6561345"/>
                </a:cubicBezTo>
                <a:cubicBezTo>
                  <a:pt x="4030950" y="6561345"/>
                  <a:pt x="4053864" y="6549008"/>
                  <a:pt x="4053864" y="6549008"/>
                </a:cubicBezTo>
                <a:cubicBezTo>
                  <a:pt x="4047696" y="6543720"/>
                  <a:pt x="4039324" y="6543720"/>
                  <a:pt x="4032494" y="6546585"/>
                </a:cubicBezTo>
                <a:close/>
                <a:moveTo>
                  <a:pt x="4466492" y="6434970"/>
                </a:moveTo>
                <a:cubicBezTo>
                  <a:pt x="4459580" y="6436209"/>
                  <a:pt x="4452200" y="6441056"/>
                  <a:pt x="4446912" y="6452072"/>
                </a:cubicBezTo>
                <a:cubicBezTo>
                  <a:pt x="4423998" y="6452072"/>
                  <a:pt x="4402848" y="6439734"/>
                  <a:pt x="4392272" y="6462646"/>
                </a:cubicBezTo>
                <a:cubicBezTo>
                  <a:pt x="4381698" y="6462646"/>
                  <a:pt x="4348208" y="6452072"/>
                  <a:pt x="4348208" y="6473221"/>
                </a:cubicBezTo>
                <a:cubicBezTo>
                  <a:pt x="4327058" y="6473221"/>
                  <a:pt x="4304146" y="6462646"/>
                  <a:pt x="4293570" y="6483796"/>
                </a:cubicBezTo>
                <a:cubicBezTo>
                  <a:pt x="4238932" y="6496134"/>
                  <a:pt x="4194868" y="6496134"/>
                  <a:pt x="4163142" y="6527858"/>
                </a:cubicBezTo>
                <a:cubicBezTo>
                  <a:pt x="4140228" y="6527858"/>
                  <a:pt x="4119078" y="6517283"/>
                  <a:pt x="4108502" y="6538433"/>
                </a:cubicBezTo>
                <a:cubicBezTo>
                  <a:pt x="4129652" y="6538433"/>
                  <a:pt x="4163142" y="6538433"/>
                  <a:pt x="4163142" y="6527858"/>
                </a:cubicBezTo>
                <a:cubicBezTo>
                  <a:pt x="4216018" y="6517283"/>
                  <a:pt x="4260082" y="6506708"/>
                  <a:pt x="4293570" y="6483796"/>
                </a:cubicBezTo>
                <a:cubicBezTo>
                  <a:pt x="4314720" y="6483796"/>
                  <a:pt x="4348208" y="6496134"/>
                  <a:pt x="4348208" y="6473221"/>
                </a:cubicBezTo>
                <a:cubicBezTo>
                  <a:pt x="4369360" y="6473221"/>
                  <a:pt x="4392272" y="6483796"/>
                  <a:pt x="4392272" y="6462646"/>
                </a:cubicBezTo>
                <a:cubicBezTo>
                  <a:pt x="4413424" y="6462646"/>
                  <a:pt x="4446912" y="6462646"/>
                  <a:pt x="4446912" y="6452072"/>
                </a:cubicBezTo>
                <a:cubicBezTo>
                  <a:pt x="4503754" y="6460003"/>
                  <a:pt x="4487230" y="6431252"/>
                  <a:pt x="4466492" y="6434970"/>
                </a:cubicBezTo>
                <a:close/>
                <a:moveTo>
                  <a:pt x="4566764" y="6408010"/>
                </a:moveTo>
                <a:cubicBezTo>
                  <a:pt x="4566764" y="6408010"/>
                  <a:pt x="4533276" y="6418584"/>
                  <a:pt x="4545614" y="6418584"/>
                </a:cubicBezTo>
                <a:cubicBezTo>
                  <a:pt x="4545614" y="6429159"/>
                  <a:pt x="4577340" y="6418584"/>
                  <a:pt x="4566764" y="6408010"/>
                </a:cubicBezTo>
                <a:close/>
                <a:moveTo>
                  <a:pt x="5679" y="5787278"/>
                </a:moveTo>
                <a:lnTo>
                  <a:pt x="13003" y="5789851"/>
                </a:lnTo>
                <a:cubicBezTo>
                  <a:pt x="17461" y="5791417"/>
                  <a:pt x="23574" y="5793565"/>
                  <a:pt x="31726" y="5796429"/>
                </a:cubicBezTo>
                <a:cubicBezTo>
                  <a:pt x="31726" y="5796429"/>
                  <a:pt x="15423" y="5790701"/>
                  <a:pt x="7271" y="5787837"/>
                </a:cubicBezTo>
                <a:close/>
                <a:moveTo>
                  <a:pt x="3068" y="5786360"/>
                </a:moveTo>
                <a:lnTo>
                  <a:pt x="5679" y="5787278"/>
                </a:lnTo>
                <a:lnTo>
                  <a:pt x="4214" y="5786763"/>
                </a:lnTo>
                <a:cubicBezTo>
                  <a:pt x="2686" y="5786226"/>
                  <a:pt x="2431" y="5786136"/>
                  <a:pt x="3068" y="5786360"/>
                </a:cubicBezTo>
                <a:close/>
                <a:moveTo>
                  <a:pt x="0" y="5697730"/>
                </a:moveTo>
                <a:cubicBezTo>
                  <a:pt x="10576" y="5762942"/>
                  <a:pt x="0" y="5697730"/>
                  <a:pt x="0" y="5697730"/>
                </a:cubicBezTo>
                <a:close/>
                <a:moveTo>
                  <a:pt x="331143" y="5165275"/>
                </a:moveTo>
                <a:cubicBezTo>
                  <a:pt x="327449" y="5166260"/>
                  <a:pt x="322327" y="5168545"/>
                  <a:pt x="315497" y="5172511"/>
                </a:cubicBezTo>
                <a:cubicBezTo>
                  <a:pt x="315497" y="5172511"/>
                  <a:pt x="283771" y="5195423"/>
                  <a:pt x="294346" y="5205998"/>
                </a:cubicBezTo>
                <a:cubicBezTo>
                  <a:pt x="312853" y="5215251"/>
                  <a:pt x="357000" y="5158384"/>
                  <a:pt x="331143" y="5165275"/>
                </a:cubicBezTo>
                <a:close/>
                <a:moveTo>
                  <a:pt x="1441766" y="2955311"/>
                </a:moveTo>
                <a:cubicBezTo>
                  <a:pt x="1418852" y="2965886"/>
                  <a:pt x="1397702" y="2976461"/>
                  <a:pt x="1376551" y="2987036"/>
                </a:cubicBezTo>
                <a:lnTo>
                  <a:pt x="1380698" y="2984377"/>
                </a:lnTo>
                <a:lnTo>
                  <a:pt x="1399988" y="2974258"/>
                </a:lnTo>
                <a:cubicBezTo>
                  <a:pt x="1413786" y="2967318"/>
                  <a:pt x="1428106" y="2960599"/>
                  <a:pt x="1441766" y="2955311"/>
                </a:cubicBezTo>
                <a:close/>
                <a:moveTo>
                  <a:pt x="1503014" y="2909707"/>
                </a:moveTo>
                <a:cubicBezTo>
                  <a:pt x="1504336" y="2911249"/>
                  <a:pt x="1474373" y="2933280"/>
                  <a:pt x="1441766" y="2955311"/>
                </a:cubicBezTo>
                <a:lnTo>
                  <a:pt x="1483898" y="2919569"/>
                </a:lnTo>
                <a:lnTo>
                  <a:pt x="1495709" y="2912712"/>
                </a:lnTo>
                <a:cubicBezTo>
                  <a:pt x="1500398" y="2910217"/>
                  <a:pt x="1502684" y="2909322"/>
                  <a:pt x="1503014" y="2909707"/>
                </a:cubicBezTo>
                <a:close/>
                <a:moveTo>
                  <a:pt x="1418852" y="2824888"/>
                </a:moveTo>
                <a:cubicBezTo>
                  <a:pt x="1418852" y="2835463"/>
                  <a:pt x="1418852" y="2846038"/>
                  <a:pt x="1408277" y="2846038"/>
                </a:cubicBezTo>
                <a:cubicBezTo>
                  <a:pt x="1408277" y="2835463"/>
                  <a:pt x="1408277" y="2824888"/>
                  <a:pt x="1418852" y="2824888"/>
                </a:cubicBezTo>
                <a:close/>
                <a:moveTo>
                  <a:pt x="1431190" y="2812550"/>
                </a:moveTo>
                <a:cubicBezTo>
                  <a:pt x="1431190" y="2824888"/>
                  <a:pt x="1431190" y="2835463"/>
                  <a:pt x="1418852" y="2824888"/>
                </a:cubicBezTo>
                <a:cubicBezTo>
                  <a:pt x="1418852" y="2824888"/>
                  <a:pt x="1418852" y="2812550"/>
                  <a:pt x="1431190" y="2812550"/>
                </a:cubicBezTo>
                <a:close/>
                <a:moveTo>
                  <a:pt x="1452341" y="2801976"/>
                </a:moveTo>
                <a:cubicBezTo>
                  <a:pt x="1452341" y="2812550"/>
                  <a:pt x="1441766" y="2824888"/>
                  <a:pt x="1431190" y="2812550"/>
                </a:cubicBezTo>
                <a:cubicBezTo>
                  <a:pt x="1431190" y="2801976"/>
                  <a:pt x="1441766" y="2801976"/>
                  <a:pt x="1452341" y="2801976"/>
                </a:cubicBezTo>
                <a:close/>
                <a:moveTo>
                  <a:pt x="1462916" y="2791401"/>
                </a:moveTo>
                <a:cubicBezTo>
                  <a:pt x="1462916" y="2801976"/>
                  <a:pt x="1462916" y="2801976"/>
                  <a:pt x="1452341" y="2801976"/>
                </a:cubicBezTo>
                <a:cubicBezTo>
                  <a:pt x="1452341" y="2801976"/>
                  <a:pt x="1452341" y="2791401"/>
                  <a:pt x="1462916" y="2791401"/>
                </a:cubicBezTo>
                <a:close/>
                <a:moveTo>
                  <a:pt x="2472306" y="2327951"/>
                </a:moveTo>
                <a:cubicBezTo>
                  <a:pt x="2470654" y="2328529"/>
                  <a:pt x="2469332" y="2330071"/>
                  <a:pt x="2469332" y="2333156"/>
                </a:cubicBezTo>
                <a:cubicBezTo>
                  <a:pt x="2402355" y="2343731"/>
                  <a:pt x="2360054" y="2375455"/>
                  <a:pt x="2305415" y="2408942"/>
                </a:cubicBezTo>
                <a:cubicBezTo>
                  <a:pt x="2293077" y="2408942"/>
                  <a:pt x="2282502" y="2408942"/>
                  <a:pt x="2282502" y="2419517"/>
                </a:cubicBezTo>
                <a:cubicBezTo>
                  <a:pt x="2261351" y="2430092"/>
                  <a:pt x="2282502" y="2442430"/>
                  <a:pt x="2282502" y="2419517"/>
                </a:cubicBezTo>
                <a:cubicBezTo>
                  <a:pt x="2293077" y="2419517"/>
                  <a:pt x="2305415" y="2419517"/>
                  <a:pt x="2305415" y="2408942"/>
                </a:cubicBezTo>
                <a:cubicBezTo>
                  <a:pt x="2381204" y="2398368"/>
                  <a:pt x="2425268" y="2364881"/>
                  <a:pt x="2469332" y="2333156"/>
                </a:cubicBezTo>
                <a:cubicBezTo>
                  <a:pt x="2485195" y="2333156"/>
                  <a:pt x="2477263" y="2326216"/>
                  <a:pt x="2472306" y="2327951"/>
                </a:cubicBezTo>
                <a:close/>
                <a:moveTo>
                  <a:pt x="2700033" y="2211242"/>
                </a:moveTo>
                <a:cubicBezTo>
                  <a:pt x="2695269" y="2211985"/>
                  <a:pt x="2690532" y="2215510"/>
                  <a:pt x="2687888" y="2223882"/>
                </a:cubicBezTo>
                <a:cubicBezTo>
                  <a:pt x="2675550" y="2223882"/>
                  <a:pt x="2664975" y="2223882"/>
                  <a:pt x="2664975" y="2234457"/>
                </a:cubicBezTo>
                <a:cubicBezTo>
                  <a:pt x="2654400" y="2234457"/>
                  <a:pt x="2643824" y="2234457"/>
                  <a:pt x="2643824" y="2245032"/>
                </a:cubicBezTo>
                <a:cubicBezTo>
                  <a:pt x="2633249" y="2245032"/>
                  <a:pt x="2620911" y="2255607"/>
                  <a:pt x="2620911" y="2255607"/>
                </a:cubicBezTo>
                <a:cubicBezTo>
                  <a:pt x="2568034" y="2245032"/>
                  <a:pt x="2610336" y="2299669"/>
                  <a:pt x="2620911" y="2255607"/>
                </a:cubicBezTo>
                <a:cubicBezTo>
                  <a:pt x="2633249" y="2266181"/>
                  <a:pt x="2643824" y="2255607"/>
                  <a:pt x="2643824" y="2245032"/>
                </a:cubicBezTo>
                <a:cubicBezTo>
                  <a:pt x="2654400" y="2245032"/>
                  <a:pt x="2664975" y="2245032"/>
                  <a:pt x="2664975" y="2234457"/>
                </a:cubicBezTo>
                <a:cubicBezTo>
                  <a:pt x="2675550" y="2234457"/>
                  <a:pt x="2687888" y="2234457"/>
                  <a:pt x="2687888" y="2223882"/>
                </a:cubicBezTo>
                <a:cubicBezTo>
                  <a:pt x="2728867" y="2231813"/>
                  <a:pt x="2714326" y="2209011"/>
                  <a:pt x="2700033" y="2211242"/>
                </a:cubicBezTo>
                <a:close/>
                <a:moveTo>
                  <a:pt x="2847151" y="2134436"/>
                </a:moveTo>
                <a:cubicBezTo>
                  <a:pt x="2842882" y="2135097"/>
                  <a:pt x="2839467" y="2138402"/>
                  <a:pt x="2839467" y="2146333"/>
                </a:cubicBezTo>
                <a:cubicBezTo>
                  <a:pt x="2828892" y="2146333"/>
                  <a:pt x="2818316" y="2156908"/>
                  <a:pt x="2818316" y="2156908"/>
                </a:cubicBezTo>
                <a:cubicBezTo>
                  <a:pt x="2828892" y="2169245"/>
                  <a:pt x="2839467" y="2156908"/>
                  <a:pt x="2839467" y="2146333"/>
                </a:cubicBezTo>
                <a:cubicBezTo>
                  <a:pt x="2880446" y="2154264"/>
                  <a:pt x="2859957" y="2132453"/>
                  <a:pt x="2847151" y="2134436"/>
                </a:cubicBezTo>
                <a:close/>
                <a:moveTo>
                  <a:pt x="2771362" y="2086161"/>
                </a:moveTo>
                <a:cubicBezTo>
                  <a:pt x="2767093" y="2087180"/>
                  <a:pt x="2763678" y="2091696"/>
                  <a:pt x="2763678" y="2102271"/>
                </a:cubicBezTo>
                <a:cubicBezTo>
                  <a:pt x="2753102" y="2102271"/>
                  <a:pt x="2742527" y="2102271"/>
                  <a:pt x="2742527" y="2114608"/>
                </a:cubicBezTo>
                <a:cubicBezTo>
                  <a:pt x="2753102" y="2114608"/>
                  <a:pt x="2763678" y="2114608"/>
                  <a:pt x="2763678" y="2102271"/>
                </a:cubicBezTo>
                <a:cubicBezTo>
                  <a:pt x="2804657" y="2111524"/>
                  <a:pt x="2784167" y="2083104"/>
                  <a:pt x="2771362" y="2086161"/>
                </a:cubicBezTo>
                <a:close/>
                <a:moveTo>
                  <a:pt x="1963440" y="2060366"/>
                </a:moveTo>
                <a:lnTo>
                  <a:pt x="1961800" y="2066223"/>
                </a:lnTo>
                <a:cubicBezTo>
                  <a:pt x="1961222" y="2068288"/>
                  <a:pt x="1961607" y="2066911"/>
                  <a:pt x="1962378" y="2064157"/>
                </a:cubicBezTo>
                <a:close/>
                <a:moveTo>
                  <a:pt x="1967005" y="2047634"/>
                </a:moveTo>
                <a:cubicBezTo>
                  <a:pt x="1967005" y="2047634"/>
                  <a:pt x="1966234" y="2050388"/>
                  <a:pt x="1965270" y="2053830"/>
                </a:cubicBezTo>
                <a:lnTo>
                  <a:pt x="1963440" y="2060366"/>
                </a:lnTo>
                <a:close/>
                <a:moveTo>
                  <a:pt x="1988156" y="2037059"/>
                </a:moveTo>
                <a:cubicBezTo>
                  <a:pt x="1988156" y="2047634"/>
                  <a:pt x="1977580" y="2047634"/>
                  <a:pt x="1967005" y="2047634"/>
                </a:cubicBezTo>
                <a:cubicBezTo>
                  <a:pt x="1967005" y="2037059"/>
                  <a:pt x="1977580" y="2037059"/>
                  <a:pt x="1988156" y="2037059"/>
                </a:cubicBezTo>
                <a:close/>
                <a:moveTo>
                  <a:pt x="2009306" y="2026484"/>
                </a:moveTo>
                <a:cubicBezTo>
                  <a:pt x="2009306" y="2037059"/>
                  <a:pt x="1998731" y="2037059"/>
                  <a:pt x="1988156" y="2037059"/>
                </a:cubicBezTo>
                <a:cubicBezTo>
                  <a:pt x="1988156" y="2026484"/>
                  <a:pt x="1998731" y="2026484"/>
                  <a:pt x="2009306" y="2026484"/>
                </a:cubicBezTo>
                <a:close/>
                <a:moveTo>
                  <a:pt x="3153834" y="1988233"/>
                </a:moveTo>
                <a:cubicBezTo>
                  <a:pt x="3149566" y="1989472"/>
                  <a:pt x="3146150" y="1994319"/>
                  <a:pt x="3146150" y="2005335"/>
                </a:cubicBezTo>
                <a:cubicBezTo>
                  <a:pt x="3135576" y="2005335"/>
                  <a:pt x="3125000" y="2005335"/>
                  <a:pt x="3125000" y="2015909"/>
                </a:cubicBezTo>
                <a:cubicBezTo>
                  <a:pt x="3112662" y="2015909"/>
                  <a:pt x="3102086" y="2015909"/>
                  <a:pt x="3102086" y="2026484"/>
                </a:cubicBezTo>
                <a:cubicBezTo>
                  <a:pt x="3080936" y="2026484"/>
                  <a:pt x="3080936" y="2026484"/>
                  <a:pt x="3070360" y="2037059"/>
                </a:cubicBezTo>
                <a:cubicBezTo>
                  <a:pt x="3058024" y="2037059"/>
                  <a:pt x="3047448" y="2037059"/>
                  <a:pt x="3047448" y="2047634"/>
                </a:cubicBezTo>
                <a:cubicBezTo>
                  <a:pt x="2982234" y="2059971"/>
                  <a:pt x="2938170" y="2091696"/>
                  <a:pt x="2883531" y="2125183"/>
                </a:cubicBezTo>
                <a:cubicBezTo>
                  <a:pt x="2961083" y="2114608"/>
                  <a:pt x="3005147" y="2081121"/>
                  <a:pt x="3047448" y="2047634"/>
                </a:cubicBezTo>
                <a:cubicBezTo>
                  <a:pt x="3058024" y="2047634"/>
                  <a:pt x="3070360" y="2047634"/>
                  <a:pt x="3070360" y="2037059"/>
                </a:cubicBezTo>
                <a:cubicBezTo>
                  <a:pt x="3091512" y="2037059"/>
                  <a:pt x="3091512" y="2037059"/>
                  <a:pt x="3102086" y="2026484"/>
                </a:cubicBezTo>
                <a:cubicBezTo>
                  <a:pt x="3112662" y="2026484"/>
                  <a:pt x="3125000" y="2026484"/>
                  <a:pt x="3125000" y="2015909"/>
                </a:cubicBezTo>
                <a:cubicBezTo>
                  <a:pt x="3135576" y="2015909"/>
                  <a:pt x="3146150" y="2015909"/>
                  <a:pt x="3146150" y="2005335"/>
                </a:cubicBezTo>
                <a:cubicBezTo>
                  <a:pt x="3187130" y="2013266"/>
                  <a:pt x="3166640" y="1984515"/>
                  <a:pt x="3153834" y="1988233"/>
                </a:cubicBezTo>
                <a:close/>
                <a:moveTo>
                  <a:pt x="3317752" y="1915889"/>
                </a:moveTo>
                <a:cubicBezTo>
                  <a:pt x="3313484" y="1916550"/>
                  <a:pt x="3310068" y="1919854"/>
                  <a:pt x="3310068" y="1927785"/>
                </a:cubicBezTo>
                <a:cubicBezTo>
                  <a:pt x="3299492" y="1927785"/>
                  <a:pt x="3288916" y="1927785"/>
                  <a:pt x="3288916" y="1938360"/>
                </a:cubicBezTo>
                <a:cubicBezTo>
                  <a:pt x="3266004" y="1938360"/>
                  <a:pt x="3266004" y="1938360"/>
                  <a:pt x="3255428" y="1950698"/>
                </a:cubicBezTo>
                <a:cubicBezTo>
                  <a:pt x="3244854" y="1950698"/>
                  <a:pt x="3234278" y="1950698"/>
                  <a:pt x="3234278" y="1961273"/>
                </a:cubicBezTo>
                <a:cubicBezTo>
                  <a:pt x="3221940" y="1961273"/>
                  <a:pt x="3200790" y="1961273"/>
                  <a:pt x="3200790" y="1971847"/>
                </a:cubicBezTo>
                <a:cubicBezTo>
                  <a:pt x="3211364" y="1982422"/>
                  <a:pt x="3234278" y="1982422"/>
                  <a:pt x="3234278" y="1961273"/>
                </a:cubicBezTo>
                <a:cubicBezTo>
                  <a:pt x="3244854" y="1961273"/>
                  <a:pt x="3255428" y="1961273"/>
                  <a:pt x="3255428" y="1950698"/>
                </a:cubicBezTo>
                <a:cubicBezTo>
                  <a:pt x="3276580" y="1950698"/>
                  <a:pt x="3276580" y="1950698"/>
                  <a:pt x="3288916" y="1938360"/>
                </a:cubicBezTo>
                <a:cubicBezTo>
                  <a:pt x="3299492" y="1938360"/>
                  <a:pt x="3310068" y="1938360"/>
                  <a:pt x="3310068" y="1927785"/>
                </a:cubicBezTo>
                <a:cubicBezTo>
                  <a:pt x="3351046" y="1935717"/>
                  <a:pt x="3330558" y="1913906"/>
                  <a:pt x="3317752" y="1915889"/>
                </a:cubicBezTo>
                <a:close/>
                <a:moveTo>
                  <a:pt x="3473984" y="1851999"/>
                </a:moveTo>
                <a:cubicBezTo>
                  <a:pt x="3473984" y="1851999"/>
                  <a:pt x="3518048" y="1862574"/>
                  <a:pt x="3473984" y="1851999"/>
                </a:cubicBezTo>
                <a:close/>
                <a:moveTo>
                  <a:pt x="3589458" y="1790835"/>
                </a:moveTo>
                <a:cubicBezTo>
                  <a:pt x="3586016" y="1792075"/>
                  <a:pt x="3583262" y="1796921"/>
                  <a:pt x="3583262" y="1807937"/>
                </a:cubicBezTo>
                <a:cubicBezTo>
                  <a:pt x="3562112" y="1797362"/>
                  <a:pt x="3562112" y="1807937"/>
                  <a:pt x="3562112" y="1818512"/>
                </a:cubicBezTo>
                <a:cubicBezTo>
                  <a:pt x="3572688" y="1818512"/>
                  <a:pt x="3583262" y="1807937"/>
                  <a:pt x="3583262" y="1807937"/>
                </a:cubicBezTo>
                <a:cubicBezTo>
                  <a:pt x="3616310" y="1815868"/>
                  <a:pt x="3599786" y="1787118"/>
                  <a:pt x="3589458" y="1790835"/>
                </a:cubicBezTo>
                <a:close/>
                <a:moveTo>
                  <a:pt x="3671390" y="1763875"/>
                </a:moveTo>
                <a:cubicBezTo>
                  <a:pt x="3671390" y="1763875"/>
                  <a:pt x="3674034" y="1764646"/>
                  <a:pt x="3677338" y="1765610"/>
                </a:cubicBezTo>
                <a:lnTo>
                  <a:pt x="3680648" y="1766575"/>
                </a:lnTo>
                <a:lnTo>
                  <a:pt x="3683536" y="1767417"/>
                </a:lnTo>
                <a:cubicBezTo>
                  <a:pt x="3692210" y="1769947"/>
                  <a:pt x="3691220" y="1769658"/>
                  <a:pt x="3687254" y="1768501"/>
                </a:cubicBezTo>
                <a:lnTo>
                  <a:pt x="3680648" y="1766575"/>
                </a:lnTo>
                <a:close/>
                <a:moveTo>
                  <a:pt x="3703116" y="1753300"/>
                </a:moveTo>
                <a:cubicBezTo>
                  <a:pt x="3703116" y="1753300"/>
                  <a:pt x="3713692" y="1763875"/>
                  <a:pt x="3703116" y="1753300"/>
                </a:cubicBezTo>
                <a:close/>
                <a:moveTo>
                  <a:pt x="3844864" y="1686188"/>
                </a:moveTo>
                <a:cubicBezTo>
                  <a:pt x="3835088" y="1688749"/>
                  <a:pt x="3823410" y="1695579"/>
                  <a:pt x="3812394" y="1709238"/>
                </a:cubicBezTo>
                <a:cubicBezTo>
                  <a:pt x="3780668" y="1698663"/>
                  <a:pt x="3768330" y="1709238"/>
                  <a:pt x="3757756" y="1732150"/>
                </a:cubicBezTo>
                <a:cubicBezTo>
                  <a:pt x="3780668" y="1732150"/>
                  <a:pt x="3801818" y="1719813"/>
                  <a:pt x="3812394" y="1709238"/>
                </a:cubicBezTo>
                <a:cubicBezTo>
                  <a:pt x="3886420" y="1709238"/>
                  <a:pt x="3874194" y="1678505"/>
                  <a:pt x="3844864" y="1686188"/>
                </a:cubicBezTo>
                <a:close/>
                <a:moveTo>
                  <a:pt x="6874930" y="138"/>
                </a:moveTo>
                <a:cubicBezTo>
                  <a:pt x="6889530" y="-478"/>
                  <a:pt x="6900160" y="954"/>
                  <a:pt x="6905668" y="4920"/>
                </a:cubicBezTo>
                <a:cubicBezTo>
                  <a:pt x="6947968" y="27832"/>
                  <a:pt x="6893330" y="93044"/>
                  <a:pt x="6905668" y="137106"/>
                </a:cubicBezTo>
                <a:cubicBezTo>
                  <a:pt x="6905668" y="179405"/>
                  <a:pt x="6937394" y="137106"/>
                  <a:pt x="6937394" y="168830"/>
                </a:cubicBezTo>
                <a:cubicBezTo>
                  <a:pt x="6947968" y="202318"/>
                  <a:pt x="6916244" y="223467"/>
                  <a:pt x="6916244" y="246380"/>
                </a:cubicBezTo>
                <a:cubicBezTo>
                  <a:pt x="6916244" y="301016"/>
                  <a:pt x="6960308" y="246380"/>
                  <a:pt x="6970882" y="288679"/>
                </a:cubicBezTo>
                <a:cubicBezTo>
                  <a:pt x="6970882" y="322166"/>
                  <a:pt x="6916244" y="288679"/>
                  <a:pt x="6937394" y="332741"/>
                </a:cubicBezTo>
                <a:cubicBezTo>
                  <a:pt x="6947968" y="343316"/>
                  <a:pt x="6981458" y="343316"/>
                  <a:pt x="6992032" y="343316"/>
                </a:cubicBezTo>
                <a:cubicBezTo>
                  <a:pt x="6981458" y="355653"/>
                  <a:pt x="6970882" y="420865"/>
                  <a:pt x="6981458" y="420865"/>
                </a:cubicBezTo>
                <a:cubicBezTo>
                  <a:pt x="6970882" y="420865"/>
                  <a:pt x="6916244" y="408528"/>
                  <a:pt x="6916244" y="431440"/>
                </a:cubicBezTo>
                <a:cubicBezTo>
                  <a:pt x="6926818" y="486077"/>
                  <a:pt x="7025520" y="408528"/>
                  <a:pt x="7014946" y="519564"/>
                </a:cubicBezTo>
                <a:cubicBezTo>
                  <a:pt x="7014946" y="551289"/>
                  <a:pt x="6970882" y="551289"/>
                  <a:pt x="6970882" y="574201"/>
                </a:cubicBezTo>
                <a:cubicBezTo>
                  <a:pt x="6970882" y="605925"/>
                  <a:pt x="7080160" y="584776"/>
                  <a:pt x="7002608" y="639413"/>
                </a:cubicBezTo>
                <a:cubicBezTo>
                  <a:pt x="6960308" y="671137"/>
                  <a:pt x="6970882" y="660562"/>
                  <a:pt x="7002608" y="683475"/>
                </a:cubicBezTo>
                <a:cubicBezTo>
                  <a:pt x="7046672" y="715199"/>
                  <a:pt x="7002608" y="759261"/>
                  <a:pt x="7002608" y="780411"/>
                </a:cubicBezTo>
                <a:cubicBezTo>
                  <a:pt x="7002608" y="803323"/>
                  <a:pt x="7014946" y="824473"/>
                  <a:pt x="7014946" y="868535"/>
                </a:cubicBezTo>
                <a:cubicBezTo>
                  <a:pt x="7014946" y="889685"/>
                  <a:pt x="6992032" y="923172"/>
                  <a:pt x="7002608" y="933747"/>
                </a:cubicBezTo>
                <a:cubicBezTo>
                  <a:pt x="7014946" y="967234"/>
                  <a:pt x="7111886" y="956659"/>
                  <a:pt x="7111886" y="977809"/>
                </a:cubicBezTo>
                <a:cubicBezTo>
                  <a:pt x="7134800" y="1032446"/>
                  <a:pt x="7025520" y="1043021"/>
                  <a:pt x="7025520" y="1076508"/>
                </a:cubicBezTo>
                <a:cubicBezTo>
                  <a:pt x="7025520" y="1097657"/>
                  <a:pt x="7069584" y="1087083"/>
                  <a:pt x="7090736" y="1108232"/>
                </a:cubicBezTo>
                <a:cubicBezTo>
                  <a:pt x="7124224" y="1152294"/>
                  <a:pt x="7090736" y="1228081"/>
                  <a:pt x="7090736" y="1250993"/>
                </a:cubicBezTo>
                <a:cubicBezTo>
                  <a:pt x="7080160" y="1326780"/>
                  <a:pt x="7101312" y="1339117"/>
                  <a:pt x="7124224" y="1360267"/>
                </a:cubicBezTo>
                <a:cubicBezTo>
                  <a:pt x="7221164" y="1414904"/>
                  <a:pt x="6981458" y="1490690"/>
                  <a:pt x="7069584" y="1480116"/>
                </a:cubicBezTo>
                <a:cubicBezTo>
                  <a:pt x="7210588" y="1458966"/>
                  <a:pt x="7124224" y="1578814"/>
                  <a:pt x="7124224" y="1622876"/>
                </a:cubicBezTo>
                <a:cubicBezTo>
                  <a:pt x="7124224" y="1654601"/>
                  <a:pt x="7145374" y="1644026"/>
                  <a:pt x="7166524" y="1665176"/>
                </a:cubicBezTo>
                <a:cubicBezTo>
                  <a:pt x="7166524" y="1677513"/>
                  <a:pt x="7145374" y="1688088"/>
                  <a:pt x="7155950" y="1688088"/>
                </a:cubicBezTo>
                <a:cubicBezTo>
                  <a:pt x="7155950" y="1698663"/>
                  <a:pt x="7189438" y="1698663"/>
                  <a:pt x="7189438" y="1709238"/>
                </a:cubicBezTo>
                <a:cubicBezTo>
                  <a:pt x="7189438" y="1719813"/>
                  <a:pt x="7166524" y="1776212"/>
                  <a:pt x="7166524" y="1763875"/>
                </a:cubicBezTo>
                <a:cubicBezTo>
                  <a:pt x="7166524" y="1829087"/>
                  <a:pt x="7210588" y="1818512"/>
                  <a:pt x="7221164" y="1851999"/>
                </a:cubicBezTo>
                <a:cubicBezTo>
                  <a:pt x="7231740" y="1873149"/>
                  <a:pt x="7200014" y="1873149"/>
                  <a:pt x="7200014" y="1873149"/>
                </a:cubicBezTo>
                <a:cubicBezTo>
                  <a:pt x="7189438" y="1917211"/>
                  <a:pt x="7265228" y="1896061"/>
                  <a:pt x="7221164" y="1927785"/>
                </a:cubicBezTo>
                <a:cubicBezTo>
                  <a:pt x="7189438" y="1961273"/>
                  <a:pt x="7254652" y="1982422"/>
                  <a:pt x="7221164" y="2059971"/>
                </a:cubicBezTo>
                <a:cubicBezTo>
                  <a:pt x="7210588" y="2091696"/>
                  <a:pt x="7155950" y="2114608"/>
                  <a:pt x="7166524" y="2135758"/>
                </a:cubicBezTo>
                <a:cubicBezTo>
                  <a:pt x="7166524" y="2169245"/>
                  <a:pt x="7210588" y="2125183"/>
                  <a:pt x="7254652" y="2156908"/>
                </a:cubicBezTo>
                <a:cubicBezTo>
                  <a:pt x="7254652" y="2169245"/>
                  <a:pt x="7221164" y="2190395"/>
                  <a:pt x="7221164" y="2190395"/>
                </a:cubicBezTo>
                <a:cubicBezTo>
                  <a:pt x="7221164" y="2200970"/>
                  <a:pt x="7275804" y="2223882"/>
                  <a:pt x="7275804" y="2223882"/>
                </a:cubicBezTo>
                <a:cubicBezTo>
                  <a:pt x="7288140" y="2278519"/>
                  <a:pt x="7231740" y="2299669"/>
                  <a:pt x="7231740" y="2343731"/>
                </a:cubicBezTo>
                <a:cubicBezTo>
                  <a:pt x="7244078" y="2375455"/>
                  <a:pt x="7275804" y="2343731"/>
                  <a:pt x="7288140" y="2354306"/>
                </a:cubicBezTo>
                <a:cubicBezTo>
                  <a:pt x="7319868" y="2398368"/>
                  <a:pt x="7254652" y="2463579"/>
                  <a:pt x="7265228" y="2497066"/>
                </a:cubicBezTo>
                <a:cubicBezTo>
                  <a:pt x="7265228" y="2528791"/>
                  <a:pt x="7298716" y="2484729"/>
                  <a:pt x="7309292" y="2507641"/>
                </a:cubicBezTo>
                <a:cubicBezTo>
                  <a:pt x="7319868" y="2528791"/>
                  <a:pt x="7319868" y="2616915"/>
                  <a:pt x="7309292" y="2638065"/>
                </a:cubicBezTo>
                <a:cubicBezTo>
                  <a:pt x="7298716" y="2692702"/>
                  <a:pt x="7189438" y="2768488"/>
                  <a:pt x="7275804" y="2726189"/>
                </a:cubicBezTo>
                <a:cubicBezTo>
                  <a:pt x="7353356" y="2703277"/>
                  <a:pt x="7298716" y="2726189"/>
                  <a:pt x="7309292" y="2747339"/>
                </a:cubicBezTo>
                <a:cubicBezTo>
                  <a:pt x="7319868" y="2757914"/>
                  <a:pt x="7353356" y="2736764"/>
                  <a:pt x="7363930" y="2757914"/>
                </a:cubicBezTo>
                <a:cubicBezTo>
                  <a:pt x="7363930" y="2757914"/>
                  <a:pt x="7374506" y="2824888"/>
                  <a:pt x="7374506" y="2846038"/>
                </a:cubicBezTo>
                <a:cubicBezTo>
                  <a:pt x="7374506" y="2867187"/>
                  <a:pt x="7330442" y="2867187"/>
                  <a:pt x="7342780" y="2900674"/>
                </a:cubicBezTo>
                <a:cubicBezTo>
                  <a:pt x="7342780" y="2911249"/>
                  <a:pt x="7385080" y="2921824"/>
                  <a:pt x="7385080" y="2921824"/>
                </a:cubicBezTo>
                <a:cubicBezTo>
                  <a:pt x="7385080" y="2955311"/>
                  <a:pt x="7363930" y="2976461"/>
                  <a:pt x="7363930" y="3009948"/>
                </a:cubicBezTo>
                <a:cubicBezTo>
                  <a:pt x="7363930" y="3043435"/>
                  <a:pt x="7385080" y="3009948"/>
                  <a:pt x="7397420" y="3031098"/>
                </a:cubicBezTo>
                <a:cubicBezTo>
                  <a:pt x="7418570" y="3054010"/>
                  <a:pt x="7397420" y="3129797"/>
                  <a:pt x="7385080" y="3129797"/>
                </a:cubicBezTo>
                <a:cubicBezTo>
                  <a:pt x="7407994" y="3150947"/>
                  <a:pt x="7439720" y="3085735"/>
                  <a:pt x="7450296" y="3129797"/>
                </a:cubicBezTo>
                <a:cubicBezTo>
                  <a:pt x="7450296" y="3150947"/>
                  <a:pt x="7439720" y="3163284"/>
                  <a:pt x="7439720" y="3173859"/>
                </a:cubicBezTo>
                <a:cubicBezTo>
                  <a:pt x="7439720" y="3173859"/>
                  <a:pt x="7439720" y="3205583"/>
                  <a:pt x="7439720" y="3217921"/>
                </a:cubicBezTo>
                <a:cubicBezTo>
                  <a:pt x="7429144" y="3228496"/>
                  <a:pt x="7385080" y="3239070"/>
                  <a:pt x="7374506" y="3261983"/>
                </a:cubicBezTo>
                <a:lnTo>
                  <a:pt x="7363930" y="3369494"/>
                </a:lnTo>
                <a:cubicBezTo>
                  <a:pt x="7385080" y="3402981"/>
                  <a:pt x="7517272" y="3369494"/>
                  <a:pt x="7517272" y="3381831"/>
                </a:cubicBezTo>
                <a:cubicBezTo>
                  <a:pt x="7538424" y="3413556"/>
                  <a:pt x="7473208" y="3480530"/>
                  <a:pt x="7483784" y="3535167"/>
                </a:cubicBezTo>
                <a:cubicBezTo>
                  <a:pt x="7494360" y="3566892"/>
                  <a:pt x="7527848" y="3577467"/>
                  <a:pt x="7538424" y="3600379"/>
                </a:cubicBezTo>
                <a:cubicBezTo>
                  <a:pt x="7538424" y="3621529"/>
                  <a:pt x="7494360" y="3632104"/>
                  <a:pt x="7494360" y="3655016"/>
                </a:cubicBezTo>
                <a:cubicBezTo>
                  <a:pt x="7494360" y="3676166"/>
                  <a:pt x="7538424" y="3720228"/>
                  <a:pt x="7548998" y="3730802"/>
                </a:cubicBezTo>
                <a:cubicBezTo>
                  <a:pt x="7548998" y="3730802"/>
                  <a:pt x="7494360" y="3709653"/>
                  <a:pt x="7494360" y="3720228"/>
                </a:cubicBezTo>
                <a:cubicBezTo>
                  <a:pt x="7494360" y="3730802"/>
                  <a:pt x="7548998" y="3751952"/>
                  <a:pt x="7582486" y="3796014"/>
                </a:cubicBezTo>
                <a:cubicBezTo>
                  <a:pt x="7647700" y="3861226"/>
                  <a:pt x="7756980" y="4003987"/>
                  <a:pt x="7756980" y="4113260"/>
                </a:cubicBezTo>
                <a:cubicBezTo>
                  <a:pt x="7756980" y="4134411"/>
                  <a:pt x="7725252" y="4123835"/>
                  <a:pt x="7725252" y="4134411"/>
                </a:cubicBezTo>
                <a:cubicBezTo>
                  <a:pt x="7712916" y="4167897"/>
                  <a:pt x="7746404" y="4189048"/>
                  <a:pt x="7756980" y="4266596"/>
                </a:cubicBezTo>
                <a:cubicBezTo>
                  <a:pt x="7767554" y="4298321"/>
                  <a:pt x="7746404" y="4331808"/>
                  <a:pt x="7756980" y="4365296"/>
                </a:cubicBezTo>
                <a:cubicBezTo>
                  <a:pt x="7767554" y="4386445"/>
                  <a:pt x="7790468" y="4419932"/>
                  <a:pt x="7790468" y="4430507"/>
                </a:cubicBezTo>
                <a:cubicBezTo>
                  <a:pt x="7801044" y="4451657"/>
                  <a:pt x="7779892" y="4474569"/>
                  <a:pt x="7779892" y="4495719"/>
                </a:cubicBezTo>
                <a:cubicBezTo>
                  <a:pt x="7779892" y="4529206"/>
                  <a:pt x="7801044" y="4550355"/>
                  <a:pt x="7801044" y="4571505"/>
                </a:cubicBezTo>
                <a:cubicBezTo>
                  <a:pt x="7811618" y="4604993"/>
                  <a:pt x="7790468" y="4638479"/>
                  <a:pt x="7790468" y="4670204"/>
                </a:cubicBezTo>
                <a:cubicBezTo>
                  <a:pt x="7790468" y="4735416"/>
                  <a:pt x="7832768" y="4802390"/>
                  <a:pt x="7832768" y="4857027"/>
                </a:cubicBezTo>
                <a:cubicBezTo>
                  <a:pt x="7832768" y="4888752"/>
                  <a:pt x="7811618" y="4909901"/>
                  <a:pt x="7822194" y="4943388"/>
                </a:cubicBezTo>
                <a:cubicBezTo>
                  <a:pt x="7832768" y="5020938"/>
                  <a:pt x="7876832" y="5086149"/>
                  <a:pt x="7887408" y="5161936"/>
                </a:cubicBezTo>
                <a:cubicBezTo>
                  <a:pt x="7910320" y="5260635"/>
                  <a:pt x="7876832" y="5346997"/>
                  <a:pt x="7910320" y="5435121"/>
                </a:cubicBezTo>
                <a:cubicBezTo>
                  <a:pt x="7920896" y="5479183"/>
                  <a:pt x="7964960" y="5510907"/>
                  <a:pt x="7964960" y="5554969"/>
                </a:cubicBezTo>
                <a:cubicBezTo>
                  <a:pt x="7975536" y="5599031"/>
                  <a:pt x="7954384" y="5653668"/>
                  <a:pt x="7954384" y="5697730"/>
                </a:cubicBezTo>
                <a:cubicBezTo>
                  <a:pt x="7954384" y="5741792"/>
                  <a:pt x="7986110" y="5773517"/>
                  <a:pt x="7986110" y="5817579"/>
                </a:cubicBezTo>
                <a:cubicBezTo>
                  <a:pt x="7998448" y="5861641"/>
                  <a:pt x="7986110" y="5916277"/>
                  <a:pt x="7986110" y="5960339"/>
                </a:cubicBezTo>
                <a:cubicBezTo>
                  <a:pt x="7998448" y="5981490"/>
                  <a:pt x="8019600" y="6002639"/>
                  <a:pt x="8019600" y="6025551"/>
                </a:cubicBezTo>
                <a:cubicBezTo>
                  <a:pt x="8019600" y="6059038"/>
                  <a:pt x="7998448" y="6101338"/>
                  <a:pt x="8009024" y="6124251"/>
                </a:cubicBezTo>
                <a:cubicBezTo>
                  <a:pt x="8019600" y="6189462"/>
                  <a:pt x="8074238" y="6233524"/>
                  <a:pt x="8084812" y="6288161"/>
                </a:cubicBezTo>
                <a:cubicBezTo>
                  <a:pt x="8128876" y="6408010"/>
                  <a:pt x="8095388" y="6571920"/>
                  <a:pt x="8118302" y="6670619"/>
                </a:cubicBezTo>
                <a:cubicBezTo>
                  <a:pt x="8128876" y="6746405"/>
                  <a:pt x="8183516" y="6790467"/>
                  <a:pt x="8204666" y="6845104"/>
                </a:cubicBezTo>
                <a:cubicBezTo>
                  <a:pt x="8238156" y="6964953"/>
                  <a:pt x="8194092" y="7162351"/>
                  <a:pt x="8217004" y="7238137"/>
                </a:cubicBezTo>
                <a:cubicBezTo>
                  <a:pt x="8217004" y="7269862"/>
                  <a:pt x="8217004" y="7292774"/>
                  <a:pt x="8238156" y="7313924"/>
                </a:cubicBezTo>
                <a:cubicBezTo>
                  <a:pt x="8282218" y="7357986"/>
                  <a:pt x="8282218" y="7402048"/>
                  <a:pt x="8303370" y="7488409"/>
                </a:cubicBezTo>
                <a:cubicBezTo>
                  <a:pt x="8324520" y="7641745"/>
                  <a:pt x="8303370" y="7763356"/>
                  <a:pt x="8248730" y="7870868"/>
                </a:cubicBezTo>
                <a:cubicBezTo>
                  <a:pt x="8238156" y="7904355"/>
                  <a:pt x="8183516" y="7981904"/>
                  <a:pt x="8172940" y="7969566"/>
                </a:cubicBezTo>
                <a:cubicBezTo>
                  <a:pt x="8194092" y="8013628"/>
                  <a:pt x="8248730" y="7992479"/>
                  <a:pt x="8248730" y="7992479"/>
                </a:cubicBezTo>
                <a:cubicBezTo>
                  <a:pt x="8269880" y="8013628"/>
                  <a:pt x="8204666" y="8003054"/>
                  <a:pt x="8204666" y="8003054"/>
                </a:cubicBezTo>
                <a:cubicBezTo>
                  <a:pt x="8204666" y="8036541"/>
                  <a:pt x="8368584" y="8003054"/>
                  <a:pt x="8336858" y="8003054"/>
                </a:cubicBezTo>
                <a:cubicBezTo>
                  <a:pt x="8521924" y="8003054"/>
                  <a:pt x="8610052" y="8078840"/>
                  <a:pt x="8740480" y="8089415"/>
                </a:cubicBezTo>
                <a:cubicBezTo>
                  <a:pt x="8849760" y="8101752"/>
                  <a:pt x="8992526" y="8133477"/>
                  <a:pt x="9013676" y="8177539"/>
                </a:cubicBezTo>
                <a:cubicBezTo>
                  <a:pt x="9036590" y="8200451"/>
                  <a:pt x="8980188" y="8166964"/>
                  <a:pt x="8969612" y="8188114"/>
                </a:cubicBezTo>
                <a:cubicBezTo>
                  <a:pt x="8948462" y="8242750"/>
                  <a:pt x="9003100" y="8221601"/>
                  <a:pt x="8992526" y="8276238"/>
                </a:cubicBezTo>
                <a:cubicBezTo>
                  <a:pt x="8992526" y="8286812"/>
                  <a:pt x="8937888" y="8276238"/>
                  <a:pt x="8925548" y="8276238"/>
                </a:cubicBezTo>
                <a:cubicBezTo>
                  <a:pt x="8914974" y="8307962"/>
                  <a:pt x="9003100" y="8418999"/>
                  <a:pt x="9003100" y="8418999"/>
                </a:cubicBezTo>
                <a:cubicBezTo>
                  <a:pt x="9013676" y="8450723"/>
                  <a:pt x="8969612" y="8494785"/>
                  <a:pt x="8969612" y="8538847"/>
                </a:cubicBezTo>
                <a:cubicBezTo>
                  <a:pt x="8969612" y="8559997"/>
                  <a:pt x="9024252" y="8723908"/>
                  <a:pt x="9024252" y="8757395"/>
                </a:cubicBezTo>
                <a:cubicBezTo>
                  <a:pt x="9036590" y="8767970"/>
                  <a:pt x="9013676" y="8799694"/>
                  <a:pt x="9013676" y="8799694"/>
                </a:cubicBezTo>
                <a:cubicBezTo>
                  <a:pt x="9024252" y="8822606"/>
                  <a:pt x="9057740" y="8833181"/>
                  <a:pt x="9068316" y="8856094"/>
                </a:cubicBezTo>
                <a:cubicBezTo>
                  <a:pt x="9101804" y="8942455"/>
                  <a:pt x="9078892" y="9106366"/>
                  <a:pt x="9068316" y="9171577"/>
                </a:cubicBezTo>
                <a:cubicBezTo>
                  <a:pt x="9057740" y="9182152"/>
                  <a:pt x="9078892" y="9215639"/>
                  <a:pt x="9078892" y="9215639"/>
                </a:cubicBezTo>
                <a:cubicBezTo>
                  <a:pt x="9078892" y="9226214"/>
                  <a:pt x="9057740" y="9226214"/>
                  <a:pt x="9057740" y="9236789"/>
                </a:cubicBezTo>
                <a:cubicBezTo>
                  <a:pt x="9057740" y="9270276"/>
                  <a:pt x="9101804" y="9303763"/>
                  <a:pt x="9101804" y="9335488"/>
                </a:cubicBezTo>
                <a:cubicBezTo>
                  <a:pt x="9122956" y="9434187"/>
                  <a:pt x="9089466" y="9631585"/>
                  <a:pt x="9101804" y="9707371"/>
                </a:cubicBezTo>
                <a:cubicBezTo>
                  <a:pt x="9112380" y="9762008"/>
                  <a:pt x="9133530" y="9806070"/>
                  <a:pt x="9144104" y="9860707"/>
                </a:cubicBezTo>
                <a:cubicBezTo>
                  <a:pt x="9156444" y="10014043"/>
                  <a:pt x="9144104" y="10110979"/>
                  <a:pt x="9156444" y="10220253"/>
                </a:cubicBezTo>
                <a:cubicBezTo>
                  <a:pt x="9156444" y="10253740"/>
                  <a:pt x="9177594" y="10297802"/>
                  <a:pt x="9177594" y="10329527"/>
                </a:cubicBezTo>
                <a:cubicBezTo>
                  <a:pt x="9177594" y="10341864"/>
                  <a:pt x="9156444" y="10341864"/>
                  <a:pt x="9156444" y="10352439"/>
                </a:cubicBezTo>
                <a:cubicBezTo>
                  <a:pt x="9156444" y="10428226"/>
                  <a:pt x="9177594" y="10537499"/>
                  <a:pt x="9198744" y="10636198"/>
                </a:cubicBezTo>
                <a:cubicBezTo>
                  <a:pt x="9221656" y="10722560"/>
                  <a:pt x="9276296" y="10844171"/>
                  <a:pt x="9265720" y="10898808"/>
                </a:cubicBezTo>
                <a:cubicBezTo>
                  <a:pt x="9265720" y="10909383"/>
                  <a:pt x="9232232" y="10930532"/>
                  <a:pt x="9232232" y="10941107"/>
                </a:cubicBezTo>
                <a:cubicBezTo>
                  <a:pt x="9221656" y="11008081"/>
                  <a:pt x="9242808" y="11073293"/>
                  <a:pt x="9255146" y="11127930"/>
                </a:cubicBezTo>
                <a:cubicBezTo>
                  <a:pt x="9265720" y="11216054"/>
                  <a:pt x="9276296" y="11302416"/>
                  <a:pt x="9286872" y="11390540"/>
                </a:cubicBezTo>
                <a:cubicBezTo>
                  <a:pt x="9308022" y="11520963"/>
                  <a:pt x="9341512" y="11630237"/>
                  <a:pt x="9341512" y="11739511"/>
                </a:cubicBezTo>
                <a:cubicBezTo>
                  <a:pt x="9341512" y="11772998"/>
                  <a:pt x="9375000" y="11815297"/>
                  <a:pt x="9375000" y="11838209"/>
                </a:cubicBezTo>
                <a:cubicBezTo>
                  <a:pt x="9375000" y="11859359"/>
                  <a:pt x="9341512" y="11859359"/>
                  <a:pt x="9341512" y="11882271"/>
                </a:cubicBezTo>
                <a:cubicBezTo>
                  <a:pt x="9320360" y="11936908"/>
                  <a:pt x="9375000" y="12023270"/>
                  <a:pt x="9385574" y="12100819"/>
                </a:cubicBezTo>
                <a:cubicBezTo>
                  <a:pt x="9396150" y="12111394"/>
                  <a:pt x="9375000" y="12143119"/>
                  <a:pt x="9375000" y="12143119"/>
                </a:cubicBezTo>
                <a:cubicBezTo>
                  <a:pt x="9385574" y="12176606"/>
                  <a:pt x="9417300" y="12208330"/>
                  <a:pt x="9429638" y="12241817"/>
                </a:cubicBezTo>
                <a:cubicBezTo>
                  <a:pt x="9440212" y="12329941"/>
                  <a:pt x="9406724" y="12416303"/>
                  <a:pt x="9362660" y="12426878"/>
                </a:cubicBezTo>
                <a:cubicBezTo>
                  <a:pt x="9330936" y="12439215"/>
                  <a:pt x="9320360" y="12426878"/>
                  <a:pt x="9320360" y="12426878"/>
                </a:cubicBezTo>
                <a:cubicBezTo>
                  <a:pt x="9320360" y="12426878"/>
                  <a:pt x="9320360" y="12449790"/>
                  <a:pt x="9330936" y="12483277"/>
                </a:cubicBezTo>
                <a:cubicBezTo>
                  <a:pt x="9330936" y="12483277"/>
                  <a:pt x="9297448" y="12470940"/>
                  <a:pt x="9308022" y="12504427"/>
                </a:cubicBezTo>
                <a:cubicBezTo>
                  <a:pt x="9362660" y="12580214"/>
                  <a:pt x="9188168" y="12416303"/>
                  <a:pt x="9198744" y="12416303"/>
                </a:cubicBezTo>
                <a:cubicBezTo>
                  <a:pt x="9112380" y="12426878"/>
                  <a:pt x="9221656" y="12525577"/>
                  <a:pt x="9211082" y="12537914"/>
                </a:cubicBezTo>
                <a:cubicBezTo>
                  <a:pt x="9211082" y="12548489"/>
                  <a:pt x="9144104" y="12504427"/>
                  <a:pt x="9133530" y="12493852"/>
                </a:cubicBezTo>
                <a:lnTo>
                  <a:pt x="9133530" y="12504427"/>
                </a:lnTo>
                <a:cubicBezTo>
                  <a:pt x="9122956" y="12504427"/>
                  <a:pt x="9101804" y="12460365"/>
                  <a:pt x="9068316" y="12416303"/>
                </a:cubicBezTo>
                <a:cubicBezTo>
                  <a:pt x="9063028" y="12416303"/>
                  <a:pt x="9060384" y="12413659"/>
                  <a:pt x="9057740" y="12411015"/>
                </a:cubicBezTo>
                <a:lnTo>
                  <a:pt x="9053386" y="12408838"/>
                </a:lnTo>
                <a:lnTo>
                  <a:pt x="9047164" y="12395153"/>
                </a:lnTo>
                <a:lnTo>
                  <a:pt x="9047164" y="12405728"/>
                </a:lnTo>
                <a:cubicBezTo>
                  <a:pt x="9024252" y="12374003"/>
                  <a:pt x="9003100" y="12351091"/>
                  <a:pt x="8992526" y="12351091"/>
                </a:cubicBezTo>
                <a:cubicBezTo>
                  <a:pt x="8948462" y="12384578"/>
                  <a:pt x="9003100" y="12416303"/>
                  <a:pt x="9003100" y="12416303"/>
                </a:cubicBezTo>
                <a:cubicBezTo>
                  <a:pt x="9047164" y="12504427"/>
                  <a:pt x="8883248" y="12351091"/>
                  <a:pt x="8893824" y="12361666"/>
                </a:cubicBezTo>
                <a:cubicBezTo>
                  <a:pt x="8883248" y="12361666"/>
                  <a:pt x="8893824" y="12329941"/>
                  <a:pt x="8893824" y="12319367"/>
                </a:cubicBezTo>
                <a:cubicBezTo>
                  <a:pt x="8870910" y="12264730"/>
                  <a:pt x="8839184" y="12166031"/>
                  <a:pt x="8828608" y="12155456"/>
                </a:cubicBezTo>
                <a:cubicBezTo>
                  <a:pt x="8828608" y="12155456"/>
                  <a:pt x="8818034" y="12187181"/>
                  <a:pt x="8818034" y="12197755"/>
                </a:cubicBezTo>
                <a:cubicBezTo>
                  <a:pt x="8773970" y="12111394"/>
                  <a:pt x="8761632" y="12023270"/>
                  <a:pt x="8740480" y="11913996"/>
                </a:cubicBezTo>
                <a:cubicBezTo>
                  <a:pt x="8729906" y="11815297"/>
                  <a:pt x="8675268" y="11827635"/>
                  <a:pt x="8587140" y="11838209"/>
                </a:cubicBezTo>
                <a:cubicBezTo>
                  <a:pt x="8051324" y="11913996"/>
                  <a:pt x="7668852" y="12002120"/>
                  <a:pt x="7189438" y="12100819"/>
                </a:cubicBezTo>
                <a:cubicBezTo>
                  <a:pt x="6960308" y="12143119"/>
                  <a:pt x="6729412" y="12220668"/>
                  <a:pt x="6523194" y="12264730"/>
                </a:cubicBezTo>
                <a:cubicBezTo>
                  <a:pt x="6008530" y="12395153"/>
                  <a:pt x="5495628" y="12537914"/>
                  <a:pt x="5003878" y="12668338"/>
                </a:cubicBezTo>
                <a:cubicBezTo>
                  <a:pt x="4829384" y="12712400"/>
                  <a:pt x="4653130" y="12767036"/>
                  <a:pt x="4490976" y="12798761"/>
                </a:cubicBezTo>
                <a:cubicBezTo>
                  <a:pt x="4358784" y="12832248"/>
                  <a:pt x="4238932" y="12832248"/>
                  <a:pt x="4108502" y="12876310"/>
                </a:cubicBezTo>
                <a:cubicBezTo>
                  <a:pt x="4085590" y="12876310"/>
                  <a:pt x="4075014" y="12908035"/>
                  <a:pt x="4053864" y="12908035"/>
                </a:cubicBezTo>
                <a:cubicBezTo>
                  <a:pt x="3911096" y="12952097"/>
                  <a:pt x="3703116" y="12941522"/>
                  <a:pt x="3583262" y="12930947"/>
                </a:cubicBezTo>
                <a:cubicBezTo>
                  <a:pt x="3419346" y="12920372"/>
                  <a:pt x="3234278" y="12832248"/>
                  <a:pt x="3102086" y="12767036"/>
                </a:cubicBezTo>
                <a:cubicBezTo>
                  <a:pt x="3047448" y="12733549"/>
                  <a:pt x="2982234" y="12613701"/>
                  <a:pt x="2971658" y="12580214"/>
                </a:cubicBezTo>
                <a:cubicBezTo>
                  <a:pt x="2971658" y="12537914"/>
                  <a:pt x="3005147" y="12504427"/>
                  <a:pt x="3005147" y="12483277"/>
                </a:cubicBezTo>
                <a:cubicBezTo>
                  <a:pt x="2992809" y="12416303"/>
                  <a:pt x="2917019" y="12384578"/>
                  <a:pt x="2906444" y="12307029"/>
                </a:cubicBezTo>
                <a:cubicBezTo>
                  <a:pt x="2883531" y="12241817"/>
                  <a:pt x="2906444" y="12176606"/>
                  <a:pt x="2917019" y="12132544"/>
                </a:cubicBezTo>
                <a:cubicBezTo>
                  <a:pt x="2938170" y="12023270"/>
                  <a:pt x="2894106" y="12012695"/>
                  <a:pt x="2872956" y="11924571"/>
                </a:cubicBezTo>
                <a:cubicBezTo>
                  <a:pt x="2872956" y="11903421"/>
                  <a:pt x="2906444" y="11913996"/>
                  <a:pt x="2906444" y="11913996"/>
                </a:cubicBezTo>
                <a:cubicBezTo>
                  <a:pt x="2906444" y="11869934"/>
                  <a:pt x="2872956" y="11783573"/>
                  <a:pt x="2851805" y="11739511"/>
                </a:cubicBezTo>
                <a:cubicBezTo>
                  <a:pt x="2797166" y="11651387"/>
                  <a:pt x="2698463" y="11619662"/>
                  <a:pt x="2687888" y="11510388"/>
                </a:cubicBezTo>
                <a:cubicBezTo>
                  <a:pt x="2675550" y="11390540"/>
                  <a:pt x="2763678" y="11312990"/>
                  <a:pt x="2763678" y="11226629"/>
                </a:cubicBezTo>
                <a:cubicBezTo>
                  <a:pt x="2763678" y="11159655"/>
                  <a:pt x="2730189" y="11193142"/>
                  <a:pt x="2719614" y="11127930"/>
                </a:cubicBezTo>
                <a:cubicBezTo>
                  <a:pt x="2709038" y="11094443"/>
                  <a:pt x="2742527" y="10898808"/>
                  <a:pt x="2719614" y="10886470"/>
                </a:cubicBezTo>
                <a:cubicBezTo>
                  <a:pt x="2675550" y="10854746"/>
                  <a:pt x="2687888" y="10964019"/>
                  <a:pt x="2664975" y="10941107"/>
                </a:cubicBezTo>
                <a:cubicBezTo>
                  <a:pt x="2633249" y="10919957"/>
                  <a:pt x="2654400" y="10844171"/>
                  <a:pt x="2643824" y="10821259"/>
                </a:cubicBezTo>
                <a:cubicBezTo>
                  <a:pt x="2578610" y="10734897"/>
                  <a:pt x="2568034" y="10844171"/>
                  <a:pt x="2523971" y="10789534"/>
                </a:cubicBezTo>
                <a:cubicBezTo>
                  <a:pt x="2490482" y="10756047"/>
                  <a:pt x="2523971" y="10711985"/>
                  <a:pt x="2534546" y="10667923"/>
                </a:cubicBezTo>
                <a:cubicBezTo>
                  <a:pt x="2534546" y="10636198"/>
                  <a:pt x="2523971" y="10570986"/>
                  <a:pt x="2534546" y="10526924"/>
                </a:cubicBezTo>
                <a:cubicBezTo>
                  <a:pt x="2534546" y="10493437"/>
                  <a:pt x="2555697" y="10472288"/>
                  <a:pt x="2555697" y="10449375"/>
                </a:cubicBezTo>
                <a:cubicBezTo>
                  <a:pt x="2555697" y="10428226"/>
                  <a:pt x="2523971" y="10461713"/>
                  <a:pt x="2523971" y="10449375"/>
                </a:cubicBezTo>
                <a:cubicBezTo>
                  <a:pt x="2511633" y="10438800"/>
                  <a:pt x="2545121" y="10417651"/>
                  <a:pt x="2545121" y="10407076"/>
                </a:cubicBezTo>
                <a:cubicBezTo>
                  <a:pt x="2545121" y="10363014"/>
                  <a:pt x="2414693" y="10243165"/>
                  <a:pt x="2402355" y="10089829"/>
                </a:cubicBezTo>
                <a:cubicBezTo>
                  <a:pt x="2402355" y="10045767"/>
                  <a:pt x="2425268" y="10014043"/>
                  <a:pt x="2402355" y="9991131"/>
                </a:cubicBezTo>
                <a:cubicBezTo>
                  <a:pt x="2370629" y="9959406"/>
                  <a:pt x="2381204" y="9991131"/>
                  <a:pt x="2381204" y="9936494"/>
                </a:cubicBezTo>
                <a:cubicBezTo>
                  <a:pt x="2381204" y="9881857"/>
                  <a:pt x="2326565" y="9827220"/>
                  <a:pt x="2337140" y="9860707"/>
                </a:cubicBezTo>
                <a:cubicBezTo>
                  <a:pt x="2326565" y="9806070"/>
                  <a:pt x="2370629" y="9806070"/>
                  <a:pt x="2370629" y="9772583"/>
                </a:cubicBezTo>
                <a:cubicBezTo>
                  <a:pt x="2370629" y="9762008"/>
                  <a:pt x="2349478" y="9696796"/>
                  <a:pt x="2360054" y="9707371"/>
                </a:cubicBezTo>
                <a:cubicBezTo>
                  <a:pt x="2349478" y="9707371"/>
                  <a:pt x="2315990" y="9696796"/>
                  <a:pt x="2315990" y="9707371"/>
                </a:cubicBezTo>
                <a:cubicBezTo>
                  <a:pt x="2315990" y="9696796"/>
                  <a:pt x="2326565" y="9642160"/>
                  <a:pt x="2315990" y="9631585"/>
                </a:cubicBezTo>
                <a:cubicBezTo>
                  <a:pt x="2305415" y="9619247"/>
                  <a:pt x="2261351" y="9652734"/>
                  <a:pt x="2250776" y="9631585"/>
                </a:cubicBezTo>
                <a:cubicBezTo>
                  <a:pt x="2217287" y="9598098"/>
                  <a:pt x="2261351" y="9576948"/>
                  <a:pt x="2261351" y="9532886"/>
                </a:cubicBezTo>
                <a:lnTo>
                  <a:pt x="2217287" y="9522311"/>
                </a:lnTo>
                <a:cubicBezTo>
                  <a:pt x="2217287" y="9522311"/>
                  <a:pt x="2238438" y="9478249"/>
                  <a:pt x="2238438" y="9488824"/>
                </a:cubicBezTo>
                <a:cubicBezTo>
                  <a:pt x="2261351" y="9434187"/>
                  <a:pt x="2238438" y="9400700"/>
                  <a:pt x="2238438" y="9423612"/>
                </a:cubicBezTo>
                <a:cubicBezTo>
                  <a:pt x="2238438" y="9390125"/>
                  <a:pt x="2238438" y="9413037"/>
                  <a:pt x="2261351" y="9379550"/>
                </a:cubicBezTo>
                <a:cubicBezTo>
                  <a:pt x="2271926" y="9358400"/>
                  <a:pt x="2305415" y="9335488"/>
                  <a:pt x="2282502" y="9303763"/>
                </a:cubicBezTo>
                <a:cubicBezTo>
                  <a:pt x="2282502" y="9291426"/>
                  <a:pt x="2206712" y="9303763"/>
                  <a:pt x="2206712" y="9291426"/>
                </a:cubicBezTo>
                <a:cubicBezTo>
                  <a:pt x="2206712" y="9249127"/>
                  <a:pt x="2293077" y="9215639"/>
                  <a:pt x="2315990" y="9150428"/>
                </a:cubicBezTo>
                <a:cubicBezTo>
                  <a:pt x="2326565" y="9127515"/>
                  <a:pt x="2326565" y="9041154"/>
                  <a:pt x="2337140" y="9041154"/>
                </a:cubicBezTo>
                <a:cubicBezTo>
                  <a:pt x="2315990" y="9018242"/>
                  <a:pt x="2271926" y="9085216"/>
                  <a:pt x="2271926" y="9062304"/>
                </a:cubicBezTo>
                <a:cubicBezTo>
                  <a:pt x="2271926" y="9030579"/>
                  <a:pt x="2349478" y="8953030"/>
                  <a:pt x="2349478" y="8931880"/>
                </a:cubicBezTo>
                <a:cubicBezTo>
                  <a:pt x="2337140" y="8921305"/>
                  <a:pt x="2293077" y="8942455"/>
                  <a:pt x="2293077" y="8942455"/>
                </a:cubicBezTo>
                <a:lnTo>
                  <a:pt x="2293077" y="8921305"/>
                </a:lnTo>
                <a:cubicBezTo>
                  <a:pt x="2217287" y="8921305"/>
                  <a:pt x="2217287" y="8975942"/>
                  <a:pt x="2162648" y="8942455"/>
                </a:cubicBezTo>
                <a:cubicBezTo>
                  <a:pt x="2152073" y="8942455"/>
                  <a:pt x="2162648" y="8921305"/>
                  <a:pt x="2173224" y="8908968"/>
                </a:cubicBezTo>
                <a:cubicBezTo>
                  <a:pt x="2162648" y="8908968"/>
                  <a:pt x="2130922" y="8843756"/>
                  <a:pt x="2130922" y="8833181"/>
                </a:cubicBezTo>
                <a:cubicBezTo>
                  <a:pt x="2141498" y="8799694"/>
                  <a:pt x="2196136" y="8778544"/>
                  <a:pt x="2206712" y="8745057"/>
                </a:cubicBezTo>
                <a:cubicBezTo>
                  <a:pt x="2217287" y="8723908"/>
                  <a:pt x="2173224" y="8734482"/>
                  <a:pt x="2173224" y="8734482"/>
                </a:cubicBezTo>
                <a:cubicBezTo>
                  <a:pt x="2162648" y="8702758"/>
                  <a:pt x="2227862" y="8637546"/>
                  <a:pt x="2238438" y="8637546"/>
                </a:cubicBezTo>
                <a:cubicBezTo>
                  <a:pt x="2196136" y="8581147"/>
                  <a:pt x="1878878" y="8648121"/>
                  <a:pt x="1769600" y="8658696"/>
                </a:cubicBezTo>
                <a:cubicBezTo>
                  <a:pt x="1649746" y="8669271"/>
                  <a:pt x="1462916" y="8637546"/>
                  <a:pt x="1418852" y="8669271"/>
                </a:cubicBezTo>
                <a:cubicBezTo>
                  <a:pt x="1387127" y="8625209"/>
                  <a:pt x="1311337" y="8625209"/>
                  <a:pt x="1244360" y="8604059"/>
                </a:cubicBezTo>
                <a:cubicBezTo>
                  <a:pt x="1189721" y="8570572"/>
                  <a:pt x="1200296" y="8526510"/>
                  <a:pt x="1168570" y="8515935"/>
                </a:cubicBezTo>
                <a:cubicBezTo>
                  <a:pt x="1168570" y="8505360"/>
                  <a:pt x="950014" y="8429573"/>
                  <a:pt x="981740" y="8385511"/>
                </a:cubicBezTo>
                <a:cubicBezTo>
                  <a:pt x="981740" y="8385511"/>
                  <a:pt x="1124507" y="8418999"/>
                  <a:pt x="1135082" y="8418999"/>
                </a:cubicBezTo>
                <a:cubicBezTo>
                  <a:pt x="1135082" y="8406661"/>
                  <a:pt x="1113932" y="8385511"/>
                  <a:pt x="1113932" y="8385511"/>
                </a:cubicBezTo>
                <a:cubicBezTo>
                  <a:pt x="1059292" y="8362599"/>
                  <a:pt x="939439" y="8276238"/>
                  <a:pt x="939439" y="8255088"/>
                </a:cubicBezTo>
                <a:cubicBezTo>
                  <a:pt x="939439" y="8255088"/>
                  <a:pt x="971165" y="8200451"/>
                  <a:pt x="960590" y="8188114"/>
                </a:cubicBezTo>
                <a:cubicBezTo>
                  <a:pt x="916526" y="8122902"/>
                  <a:pt x="763184" y="8144052"/>
                  <a:pt x="752609" y="8036541"/>
                </a:cubicBezTo>
                <a:cubicBezTo>
                  <a:pt x="807248" y="8068265"/>
                  <a:pt x="916526" y="8101752"/>
                  <a:pt x="950014" y="8101752"/>
                </a:cubicBezTo>
                <a:cubicBezTo>
                  <a:pt x="960590" y="8101752"/>
                  <a:pt x="1015229" y="8078840"/>
                  <a:pt x="1015229" y="8078840"/>
                </a:cubicBezTo>
                <a:cubicBezTo>
                  <a:pt x="1015229" y="8036541"/>
                  <a:pt x="994078" y="8078840"/>
                  <a:pt x="960590" y="8057690"/>
                </a:cubicBezTo>
                <a:cubicBezTo>
                  <a:pt x="950014" y="8047116"/>
                  <a:pt x="960590" y="8024203"/>
                  <a:pt x="960590" y="8013628"/>
                </a:cubicBezTo>
                <a:cubicBezTo>
                  <a:pt x="950014" y="8003054"/>
                  <a:pt x="861887" y="7992479"/>
                  <a:pt x="884800" y="7969566"/>
                </a:cubicBezTo>
                <a:cubicBezTo>
                  <a:pt x="905951" y="7958992"/>
                  <a:pt x="960590" y="7981904"/>
                  <a:pt x="971165" y="7969566"/>
                </a:cubicBezTo>
                <a:cubicBezTo>
                  <a:pt x="960590" y="7981904"/>
                  <a:pt x="916526" y="7784506"/>
                  <a:pt x="928864" y="7795081"/>
                </a:cubicBezTo>
                <a:cubicBezTo>
                  <a:pt x="895375" y="7751019"/>
                  <a:pt x="687395" y="7740444"/>
                  <a:pt x="666244" y="7675232"/>
                </a:cubicBezTo>
                <a:cubicBezTo>
                  <a:pt x="632756" y="7587108"/>
                  <a:pt x="655669" y="7555384"/>
                  <a:pt x="710308" y="7532471"/>
                </a:cubicBezTo>
                <a:cubicBezTo>
                  <a:pt x="687395" y="7544809"/>
                  <a:pt x="655669" y="7664657"/>
                  <a:pt x="697970" y="7641745"/>
                </a:cubicBezTo>
                <a:cubicBezTo>
                  <a:pt x="731458" y="7641745"/>
                  <a:pt x="840736" y="7423198"/>
                  <a:pt x="710308" y="7477835"/>
                </a:cubicBezTo>
                <a:cubicBezTo>
                  <a:pt x="720883" y="7456685"/>
                  <a:pt x="720883" y="7446110"/>
                  <a:pt x="742034" y="7446110"/>
                </a:cubicBezTo>
                <a:cubicBezTo>
                  <a:pt x="742034" y="7488409"/>
                  <a:pt x="786097" y="7435535"/>
                  <a:pt x="742034" y="7446110"/>
                </a:cubicBezTo>
                <a:cubicBezTo>
                  <a:pt x="819586" y="7292774"/>
                  <a:pt x="666244" y="7347411"/>
                  <a:pt x="578117" y="7303349"/>
                </a:cubicBezTo>
                <a:cubicBezTo>
                  <a:pt x="546391" y="7292774"/>
                  <a:pt x="491752" y="7248712"/>
                  <a:pt x="479414" y="7227562"/>
                </a:cubicBezTo>
                <a:cubicBezTo>
                  <a:pt x="447688" y="7162351"/>
                  <a:pt x="502327" y="7095376"/>
                  <a:pt x="491752" y="7053077"/>
                </a:cubicBezTo>
                <a:cubicBezTo>
                  <a:pt x="479414" y="6910316"/>
                  <a:pt x="283771" y="6866254"/>
                  <a:pt x="260858" y="6725256"/>
                </a:cubicBezTo>
                <a:cubicBezTo>
                  <a:pt x="250282" y="6681194"/>
                  <a:pt x="304921" y="6615982"/>
                  <a:pt x="283771" y="6571920"/>
                </a:cubicBezTo>
                <a:cubicBezTo>
                  <a:pt x="260858" y="6538433"/>
                  <a:pt x="130429" y="6527858"/>
                  <a:pt x="141004" y="6483796"/>
                </a:cubicBezTo>
                <a:cubicBezTo>
                  <a:pt x="162155" y="6462646"/>
                  <a:pt x="250282" y="6561345"/>
                  <a:pt x="283771" y="6538433"/>
                </a:cubicBezTo>
                <a:cubicBezTo>
                  <a:pt x="283771" y="6527858"/>
                  <a:pt x="185068" y="6462646"/>
                  <a:pt x="195643" y="6473221"/>
                </a:cubicBezTo>
                <a:cubicBezTo>
                  <a:pt x="162155" y="6429159"/>
                  <a:pt x="195643" y="6298736"/>
                  <a:pt x="185068" y="6254674"/>
                </a:cubicBezTo>
                <a:cubicBezTo>
                  <a:pt x="162155" y="6178887"/>
                  <a:pt x="75790" y="6155975"/>
                  <a:pt x="75790" y="6090763"/>
                </a:cubicBezTo>
                <a:cubicBezTo>
                  <a:pt x="65215" y="6059038"/>
                  <a:pt x="96941" y="6014976"/>
                  <a:pt x="96941" y="6002639"/>
                </a:cubicBezTo>
                <a:cubicBezTo>
                  <a:pt x="86365" y="5970914"/>
                  <a:pt x="21151" y="5960339"/>
                  <a:pt x="10576" y="5926852"/>
                </a:cubicBezTo>
                <a:cubicBezTo>
                  <a:pt x="0" y="5882790"/>
                  <a:pt x="75790" y="5807004"/>
                  <a:pt x="31726" y="5796429"/>
                </a:cubicBezTo>
                <a:cubicBezTo>
                  <a:pt x="75790" y="5773517"/>
                  <a:pt x="65215" y="5773517"/>
                  <a:pt x="86365" y="5741792"/>
                </a:cubicBezTo>
                <a:cubicBezTo>
                  <a:pt x="96941" y="5718880"/>
                  <a:pt x="206219" y="5544394"/>
                  <a:pt x="195643" y="5533819"/>
                </a:cubicBezTo>
                <a:cubicBezTo>
                  <a:pt x="195643" y="5533819"/>
                  <a:pt x="109278" y="5588456"/>
                  <a:pt x="109278" y="5599031"/>
                </a:cubicBezTo>
                <a:cubicBezTo>
                  <a:pt x="42302" y="5697730"/>
                  <a:pt x="130429" y="5523245"/>
                  <a:pt x="130429" y="5523245"/>
                </a:cubicBezTo>
                <a:cubicBezTo>
                  <a:pt x="141004" y="5500332"/>
                  <a:pt x="109278" y="5468607"/>
                  <a:pt x="109278" y="5458033"/>
                </a:cubicBezTo>
                <a:cubicBezTo>
                  <a:pt x="119854" y="5403396"/>
                  <a:pt x="206219" y="5325847"/>
                  <a:pt x="195643" y="5260635"/>
                </a:cubicBezTo>
                <a:cubicBezTo>
                  <a:pt x="195643" y="5250060"/>
                  <a:pt x="174493" y="5250060"/>
                  <a:pt x="174493" y="5260635"/>
                </a:cubicBezTo>
                <a:cubicBezTo>
                  <a:pt x="174493" y="5250060"/>
                  <a:pt x="151580" y="5216573"/>
                  <a:pt x="174493" y="5172511"/>
                </a:cubicBezTo>
                <a:cubicBezTo>
                  <a:pt x="195643" y="5107300"/>
                  <a:pt x="260858" y="5063238"/>
                  <a:pt x="239707" y="5042087"/>
                </a:cubicBezTo>
                <a:cubicBezTo>
                  <a:pt x="229132" y="5020938"/>
                  <a:pt x="174493" y="5096724"/>
                  <a:pt x="185068" y="5086149"/>
                </a:cubicBezTo>
                <a:cubicBezTo>
                  <a:pt x="174493" y="5096724"/>
                  <a:pt x="141004" y="5063238"/>
                  <a:pt x="130429" y="5075574"/>
                </a:cubicBezTo>
                <a:cubicBezTo>
                  <a:pt x="141004" y="5063238"/>
                  <a:pt x="109278" y="5250060"/>
                  <a:pt x="75790" y="5216573"/>
                </a:cubicBezTo>
                <a:cubicBezTo>
                  <a:pt x="31726" y="5151362"/>
                  <a:pt x="109278" y="5042087"/>
                  <a:pt x="130429" y="4998025"/>
                </a:cubicBezTo>
                <a:cubicBezTo>
                  <a:pt x="162155" y="4953963"/>
                  <a:pt x="185068" y="4899326"/>
                  <a:pt x="206219" y="4867602"/>
                </a:cubicBezTo>
                <a:cubicBezTo>
                  <a:pt x="283771" y="4758328"/>
                  <a:pt x="414199" y="4670204"/>
                  <a:pt x="491752" y="4583843"/>
                </a:cubicBezTo>
                <a:cubicBezTo>
                  <a:pt x="482499" y="4599705"/>
                  <a:pt x="480185" y="4603671"/>
                  <a:pt x="493735" y="4581612"/>
                </a:cubicBezTo>
                <a:lnTo>
                  <a:pt x="494062" y="4581078"/>
                </a:lnTo>
                <a:lnTo>
                  <a:pt x="506293" y="4566438"/>
                </a:lnTo>
                <a:cubicBezTo>
                  <a:pt x="510258" y="4560930"/>
                  <a:pt x="512902" y="4555643"/>
                  <a:pt x="512902" y="4550355"/>
                </a:cubicBezTo>
                <a:lnTo>
                  <a:pt x="494062" y="4581078"/>
                </a:lnTo>
                <a:lnTo>
                  <a:pt x="491752" y="4583843"/>
                </a:lnTo>
                <a:cubicBezTo>
                  <a:pt x="502327" y="4550355"/>
                  <a:pt x="534053" y="4485144"/>
                  <a:pt x="523478" y="4485144"/>
                </a:cubicBezTo>
                <a:cubicBezTo>
                  <a:pt x="523478" y="4485144"/>
                  <a:pt x="414199" y="4550355"/>
                  <a:pt x="382474" y="4583843"/>
                </a:cubicBezTo>
                <a:cubicBezTo>
                  <a:pt x="283771" y="4670204"/>
                  <a:pt x="273196" y="4724841"/>
                  <a:pt x="174493" y="4758328"/>
                </a:cubicBezTo>
                <a:cubicBezTo>
                  <a:pt x="250282" y="4638479"/>
                  <a:pt x="359560" y="4604993"/>
                  <a:pt x="447688" y="4495719"/>
                </a:cubicBezTo>
                <a:cubicBezTo>
                  <a:pt x="447688" y="4495719"/>
                  <a:pt x="447688" y="4430507"/>
                  <a:pt x="458263" y="4419932"/>
                </a:cubicBezTo>
                <a:cubicBezTo>
                  <a:pt x="479414" y="4375870"/>
                  <a:pt x="546391" y="4342383"/>
                  <a:pt x="611605" y="4287746"/>
                </a:cubicBezTo>
                <a:cubicBezTo>
                  <a:pt x="632756" y="4266596"/>
                  <a:pt x="775522" y="4146748"/>
                  <a:pt x="775522" y="4134411"/>
                </a:cubicBezTo>
                <a:cubicBezTo>
                  <a:pt x="763184" y="4123835"/>
                  <a:pt x="447688" y="4386445"/>
                  <a:pt x="601030" y="4243684"/>
                </a:cubicBezTo>
                <a:cubicBezTo>
                  <a:pt x="632756" y="4222534"/>
                  <a:pt x="752609" y="4113260"/>
                  <a:pt x="752609" y="4113260"/>
                </a:cubicBezTo>
                <a:cubicBezTo>
                  <a:pt x="763184" y="4092111"/>
                  <a:pt x="752609" y="4069198"/>
                  <a:pt x="763184" y="4069198"/>
                </a:cubicBezTo>
                <a:cubicBezTo>
                  <a:pt x="796673" y="4025136"/>
                  <a:pt x="851312" y="3993412"/>
                  <a:pt x="895375" y="3949350"/>
                </a:cubicBezTo>
                <a:cubicBezTo>
                  <a:pt x="1189721" y="3709653"/>
                  <a:pt x="1496405" y="3480530"/>
                  <a:pt x="1801326" y="3249645"/>
                </a:cubicBezTo>
                <a:cubicBezTo>
                  <a:pt x="1944092" y="3129797"/>
                  <a:pt x="1769600" y="3228496"/>
                  <a:pt x="1714961" y="3249645"/>
                </a:cubicBezTo>
                <a:cubicBezTo>
                  <a:pt x="1670897" y="3272558"/>
                  <a:pt x="1626833" y="3327195"/>
                  <a:pt x="1540468" y="3381831"/>
                </a:cubicBezTo>
                <a:cubicBezTo>
                  <a:pt x="1496405" y="3413556"/>
                  <a:pt x="1288424" y="3545742"/>
                  <a:pt x="1353638" y="3468193"/>
                </a:cubicBezTo>
                <a:cubicBezTo>
                  <a:pt x="1452341" y="3369494"/>
                  <a:pt x="1582770" y="3293707"/>
                  <a:pt x="1693810" y="3228496"/>
                </a:cubicBezTo>
                <a:cubicBezTo>
                  <a:pt x="1780175" y="3163284"/>
                  <a:pt x="1725536" y="3173859"/>
                  <a:pt x="1660322" y="3195009"/>
                </a:cubicBezTo>
                <a:cubicBezTo>
                  <a:pt x="1605683" y="3228496"/>
                  <a:pt x="1452341" y="3369494"/>
                  <a:pt x="1418852" y="3358919"/>
                </a:cubicBezTo>
                <a:cubicBezTo>
                  <a:pt x="1343063" y="3348344"/>
                  <a:pt x="1452341" y="3283132"/>
                  <a:pt x="1441766" y="3272558"/>
                </a:cubicBezTo>
                <a:cubicBezTo>
                  <a:pt x="1387127" y="3228496"/>
                  <a:pt x="1332488" y="3381831"/>
                  <a:pt x="1256698" y="3348344"/>
                </a:cubicBezTo>
                <a:cubicBezTo>
                  <a:pt x="1288424" y="3358919"/>
                  <a:pt x="1288424" y="3261983"/>
                  <a:pt x="1277848" y="3283132"/>
                </a:cubicBezTo>
                <a:cubicBezTo>
                  <a:pt x="1288424" y="3249645"/>
                  <a:pt x="1376551" y="3163284"/>
                  <a:pt x="1267273" y="3217921"/>
                </a:cubicBezTo>
                <a:cubicBezTo>
                  <a:pt x="1157995" y="3261983"/>
                  <a:pt x="1256698" y="3150947"/>
                  <a:pt x="1277848" y="3129797"/>
                </a:cubicBezTo>
                <a:cubicBezTo>
                  <a:pt x="1529893" y="2867187"/>
                  <a:pt x="1922942" y="2726189"/>
                  <a:pt x="2130922" y="2507641"/>
                </a:cubicBezTo>
                <a:cubicBezTo>
                  <a:pt x="2152073" y="2497066"/>
                  <a:pt x="2130922" y="2497066"/>
                  <a:pt x="2130922" y="2507641"/>
                </a:cubicBezTo>
                <a:cubicBezTo>
                  <a:pt x="1988156" y="2583428"/>
                  <a:pt x="1878878" y="2638065"/>
                  <a:pt x="1714961" y="2747339"/>
                </a:cubicBezTo>
                <a:cubicBezTo>
                  <a:pt x="1670897" y="2769370"/>
                  <a:pt x="1624630" y="2802416"/>
                  <a:pt x="1578363" y="2839428"/>
                </a:cubicBezTo>
                <a:lnTo>
                  <a:pt x="1483898" y="2919569"/>
                </a:lnTo>
                <a:lnTo>
                  <a:pt x="1473987" y="2925322"/>
                </a:lnTo>
                <a:cubicBezTo>
                  <a:pt x="1464045" y="2931339"/>
                  <a:pt x="1451253" y="2939277"/>
                  <a:pt x="1435163" y="2949456"/>
                </a:cubicBezTo>
                <a:lnTo>
                  <a:pt x="1380698" y="2984377"/>
                </a:lnTo>
                <a:lnTo>
                  <a:pt x="1361349" y="2994526"/>
                </a:lnTo>
                <a:cubicBezTo>
                  <a:pt x="1338216" y="3006864"/>
                  <a:pt x="1321912" y="3015236"/>
                  <a:pt x="1321912" y="3009948"/>
                </a:cubicBezTo>
                <a:lnTo>
                  <a:pt x="1376551" y="2944736"/>
                </a:lnTo>
                <a:cubicBezTo>
                  <a:pt x="1551044" y="2780826"/>
                  <a:pt x="1801326" y="2648640"/>
                  <a:pt x="1988156" y="2539366"/>
                </a:cubicBezTo>
                <a:cubicBezTo>
                  <a:pt x="2162648" y="2442430"/>
                  <a:pt x="2326565" y="2333156"/>
                  <a:pt x="2523971" y="2223882"/>
                </a:cubicBezTo>
                <a:cubicBezTo>
                  <a:pt x="2578610" y="2190395"/>
                  <a:pt x="2818316" y="2091696"/>
                  <a:pt x="2643824" y="2146333"/>
                </a:cubicBezTo>
                <a:cubicBezTo>
                  <a:pt x="2414693" y="2234457"/>
                  <a:pt x="2162648" y="2375455"/>
                  <a:pt x="2009306" y="2463579"/>
                </a:cubicBezTo>
                <a:cubicBezTo>
                  <a:pt x="1824239" y="2562278"/>
                  <a:pt x="1626833" y="2682127"/>
                  <a:pt x="1462916" y="2791401"/>
                </a:cubicBezTo>
                <a:cubicBezTo>
                  <a:pt x="1353638" y="2801976"/>
                  <a:pt x="1332488" y="2867187"/>
                  <a:pt x="1277848" y="2890100"/>
                </a:cubicBezTo>
                <a:cubicBezTo>
                  <a:pt x="1212634" y="2921824"/>
                  <a:pt x="1147420" y="2944736"/>
                  <a:pt x="1179146" y="2879525"/>
                </a:cubicBezTo>
                <a:cubicBezTo>
                  <a:pt x="1212634" y="2846038"/>
                  <a:pt x="1277848" y="2768488"/>
                  <a:pt x="1311337" y="2747339"/>
                </a:cubicBezTo>
                <a:cubicBezTo>
                  <a:pt x="1506980" y="2572853"/>
                  <a:pt x="1605683" y="2518216"/>
                  <a:pt x="1813664" y="2398368"/>
                </a:cubicBezTo>
                <a:cubicBezTo>
                  <a:pt x="1845389" y="2375455"/>
                  <a:pt x="1967005" y="2289094"/>
                  <a:pt x="1868302" y="2333156"/>
                </a:cubicBezTo>
                <a:cubicBezTo>
                  <a:pt x="1681472" y="2419517"/>
                  <a:pt x="1572194" y="2497066"/>
                  <a:pt x="1418852" y="2606340"/>
                </a:cubicBezTo>
                <a:cubicBezTo>
                  <a:pt x="1397702" y="2627490"/>
                  <a:pt x="1267273" y="2726189"/>
                  <a:pt x="1244360" y="2703277"/>
                </a:cubicBezTo>
                <a:cubicBezTo>
                  <a:pt x="1244360" y="2703277"/>
                  <a:pt x="1332488" y="2616915"/>
                  <a:pt x="1332488" y="2606340"/>
                </a:cubicBezTo>
                <a:cubicBezTo>
                  <a:pt x="1332488" y="2616915"/>
                  <a:pt x="1298999" y="2572853"/>
                  <a:pt x="1311337" y="2562278"/>
                </a:cubicBezTo>
                <a:cubicBezTo>
                  <a:pt x="1376551" y="2419517"/>
                  <a:pt x="1748449" y="2266181"/>
                  <a:pt x="1912366" y="2135758"/>
                </a:cubicBezTo>
                <a:cubicBezTo>
                  <a:pt x="1933517" y="2125183"/>
                  <a:pt x="1944092" y="2081121"/>
                  <a:pt x="1967005" y="2070546"/>
                </a:cubicBezTo>
                <a:cubicBezTo>
                  <a:pt x="2042795" y="2015909"/>
                  <a:pt x="2162648" y="1992997"/>
                  <a:pt x="2009306" y="2026484"/>
                </a:cubicBezTo>
                <a:cubicBezTo>
                  <a:pt x="2456994" y="1763875"/>
                  <a:pt x="2961083" y="1568240"/>
                  <a:pt x="3419346" y="1339117"/>
                </a:cubicBezTo>
                <a:cubicBezTo>
                  <a:pt x="3452834" y="1316205"/>
                  <a:pt x="3473984" y="1295055"/>
                  <a:pt x="3507474" y="1272143"/>
                </a:cubicBezTo>
                <a:cubicBezTo>
                  <a:pt x="3726030" y="1162869"/>
                  <a:pt x="3976312" y="1097657"/>
                  <a:pt x="4249506" y="977809"/>
                </a:cubicBezTo>
                <a:cubicBezTo>
                  <a:pt x="4314720" y="944322"/>
                  <a:pt x="4423998" y="889685"/>
                  <a:pt x="4522702" y="857960"/>
                </a:cubicBezTo>
                <a:cubicBezTo>
                  <a:pt x="4610828" y="813898"/>
                  <a:pt x="4697194" y="780411"/>
                  <a:pt x="4795896" y="748686"/>
                </a:cubicBezTo>
                <a:cubicBezTo>
                  <a:pt x="5342288" y="561863"/>
                  <a:pt x="5888676" y="343316"/>
                  <a:pt x="6380428" y="147681"/>
                </a:cubicBezTo>
                <a:cubicBezTo>
                  <a:pt x="6476046" y="109127"/>
                  <a:pt x="6772732" y="4452"/>
                  <a:pt x="6874930" y="138"/>
                </a:cubicBezTo>
                <a:close/>
              </a:path>
            </a:pathLst>
          </a:custGeom>
          <a:effectLst/>
        </p:spPr>
        <p:txBody>
          <a:bodyPr wrap="square">
            <a:no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Tree>
    <p:extLst>
      <p:ext uri="{BB962C8B-B14F-4D97-AF65-F5344CB8AC3E}">
        <p14:creationId xmlns:p14="http://schemas.microsoft.com/office/powerpoint/2010/main" val="3787497972"/>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3000" y="1097280"/>
            <a:ext cx="3931920" cy="1737360"/>
          </a:xfrm>
        </p:spPr>
        <p:txBody>
          <a:bodyPr anchor="b">
            <a:noAutofit/>
          </a:bodyPr>
          <a:lstStyle>
            <a:lvl1pPr>
              <a:lnSpc>
                <a:spcPct val="90000"/>
              </a:lnSpc>
              <a:defRPr sz="4000" b="0"/>
            </a:lvl1pPr>
          </a:lstStyle>
          <a:p>
            <a:r>
              <a:rPr lang="en-US"/>
              <a:t>Click to edit Master title style</a:t>
            </a:r>
          </a:p>
        </p:txBody>
      </p:sp>
      <p:sp>
        <p:nvSpPr>
          <p:cNvPr id="3" name="Content Placeholder 2"/>
          <p:cNvSpPr>
            <a:spLocks noGrp="1"/>
          </p:cNvSpPr>
          <p:nvPr>
            <p:ph idx="1"/>
          </p:nvPr>
        </p:nvSpPr>
        <p:spPr>
          <a:xfrm>
            <a:off x="5852159" y="1097280"/>
            <a:ext cx="5212080" cy="466344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143000" y="2834640"/>
            <a:ext cx="3931920" cy="3017520"/>
          </a:xfrm>
        </p:spPr>
        <p:txBody>
          <a:bodyPr>
            <a:normAutofit/>
          </a:bodyPr>
          <a:lstStyle>
            <a:lvl1pPr marL="0" indent="0">
              <a:lnSpc>
                <a:spcPct val="100000"/>
              </a:lnSpc>
              <a:spcBef>
                <a:spcPts val="1000"/>
              </a:spcBef>
              <a:buNone/>
              <a:defRPr sz="17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6F744A62-F330-4F18-9801-48445C14E341}" type="datetime1">
              <a:rPr lang="en-US" smtClean="0"/>
              <a:t>7/26/2021</a:t>
            </a:fld>
            <a:endParaRPr lang="en-US" dirty="0"/>
          </a:p>
        </p:txBody>
      </p:sp>
      <p:sp>
        <p:nvSpPr>
          <p:cNvPr id="6" name="Footer Placeholder 5"/>
          <p:cNvSpPr>
            <a:spLocks noGrp="1"/>
          </p:cNvSpPr>
          <p:nvPr>
            <p:ph type="ftr" sz="quarter" idx="11"/>
          </p:nvPr>
        </p:nvSpPr>
        <p:spPr/>
        <p:txBody>
          <a:bodyPr/>
          <a:lstStyle/>
          <a:p>
            <a:r>
              <a:rPr lang="en-US" dirty="0"/>
              <a:t>IE Semi-Annual Report: Public Workshop</a:t>
            </a:r>
          </a:p>
        </p:txBody>
      </p:sp>
      <p:sp>
        <p:nvSpPr>
          <p:cNvPr id="7" name="Slide Number Placeholder 6"/>
          <p:cNvSpPr>
            <a:spLocks noGrp="1"/>
          </p:cNvSpPr>
          <p:nvPr>
            <p:ph type="sldNum" sz="quarter" idx="12"/>
          </p:nvPr>
        </p:nvSpPr>
        <p:spPr/>
        <p:txBody>
          <a:bodyPr/>
          <a:lstStyle/>
          <a:p>
            <a:fld id="{4FAB73BC-B049-4115-A692-8D63A059BFB8}" type="slidenum">
              <a:rPr lang="en-US"/>
              <a:t>‹#›</a:t>
            </a:fld>
            <a:endParaRPr lang="en-US" dirty="0"/>
          </a:p>
        </p:txBody>
      </p:sp>
    </p:spTree>
    <p:extLst>
      <p:ext uri="{BB962C8B-B14F-4D97-AF65-F5344CB8AC3E}">
        <p14:creationId xmlns:p14="http://schemas.microsoft.com/office/powerpoint/2010/main" val="77154439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rush 2">
    <p:spTree>
      <p:nvGrpSpPr>
        <p:cNvPr id="1" name=""/>
        <p:cNvGrpSpPr/>
        <p:nvPr/>
      </p:nvGrpSpPr>
      <p:grpSpPr>
        <a:xfrm>
          <a:off x="0" y="0"/>
          <a:ext cx="0" cy="0"/>
          <a:chOff x="0" y="0"/>
          <a:chExt cx="0" cy="0"/>
        </a:xfrm>
      </p:grpSpPr>
      <p:sp>
        <p:nvSpPr>
          <p:cNvPr id="1128" name="Picture Placeholder 1127"/>
          <p:cNvSpPr>
            <a:spLocks noGrp="1"/>
          </p:cNvSpPr>
          <p:nvPr>
            <p:ph type="pic" sz="quarter" idx="16"/>
          </p:nvPr>
        </p:nvSpPr>
        <p:spPr>
          <a:xfrm>
            <a:off x="894156" y="2391"/>
            <a:ext cx="10529028" cy="4201006"/>
          </a:xfrm>
          <a:custGeom>
            <a:avLst/>
            <a:gdLst>
              <a:gd name="connsiteX0" fmla="*/ 4359536 w 21052572"/>
              <a:gd name="connsiteY0" fmla="*/ 8270801 h 8402012"/>
              <a:gd name="connsiteX1" fmla="*/ 4346407 w 21052572"/>
              <a:gd name="connsiteY1" fmla="*/ 8302874 h 8402012"/>
              <a:gd name="connsiteX2" fmla="*/ 4359536 w 21052572"/>
              <a:gd name="connsiteY2" fmla="*/ 8270801 h 8402012"/>
              <a:gd name="connsiteX3" fmla="*/ 4550215 w 21052572"/>
              <a:gd name="connsiteY3" fmla="*/ 8202009 h 8402012"/>
              <a:gd name="connsiteX4" fmla="*/ 4672395 w 21052572"/>
              <a:gd name="connsiteY4" fmla="*/ 8237067 h 8402012"/>
              <a:gd name="connsiteX5" fmla="*/ 4493316 w 21052572"/>
              <a:gd name="connsiteY5" fmla="*/ 8256305 h 8402012"/>
              <a:gd name="connsiteX6" fmla="*/ 4417182 w 21052572"/>
              <a:gd name="connsiteY6" fmla="*/ 8269130 h 8402012"/>
              <a:gd name="connsiteX7" fmla="*/ 4346407 w 21052572"/>
              <a:gd name="connsiteY7" fmla="*/ 8224241 h 8402012"/>
              <a:gd name="connsiteX8" fmla="*/ 4550215 w 21052572"/>
              <a:gd name="connsiteY8" fmla="*/ 8202009 h 8402012"/>
              <a:gd name="connsiteX9" fmla="*/ 5056320 w 21052572"/>
              <a:gd name="connsiteY9" fmla="*/ 8161791 h 8402012"/>
              <a:gd name="connsiteX10" fmla="*/ 4791963 w 21052572"/>
              <a:gd name="connsiteY10" fmla="*/ 8241261 h 8402012"/>
              <a:gd name="connsiteX11" fmla="*/ 5056320 w 21052572"/>
              <a:gd name="connsiteY11" fmla="*/ 8161791 h 8402012"/>
              <a:gd name="connsiteX12" fmla="*/ 3625921 w 21052572"/>
              <a:gd name="connsiteY12" fmla="*/ 8024337 h 8402012"/>
              <a:gd name="connsiteX13" fmla="*/ 3643884 w 21052572"/>
              <a:gd name="connsiteY13" fmla="*/ 8051637 h 8402012"/>
              <a:gd name="connsiteX14" fmla="*/ 3625921 w 21052572"/>
              <a:gd name="connsiteY14" fmla="*/ 8024337 h 8402012"/>
              <a:gd name="connsiteX15" fmla="*/ 2886695 w 21052572"/>
              <a:gd name="connsiteY15" fmla="*/ 7992782 h 8402012"/>
              <a:gd name="connsiteX16" fmla="*/ 2906043 w 21052572"/>
              <a:gd name="connsiteY16" fmla="*/ 8025022 h 8402012"/>
              <a:gd name="connsiteX17" fmla="*/ 2886695 w 21052572"/>
              <a:gd name="connsiteY17" fmla="*/ 7992782 h 8402012"/>
              <a:gd name="connsiteX18" fmla="*/ 5678745 w 21052572"/>
              <a:gd name="connsiteY18" fmla="*/ 7989786 h 8402012"/>
              <a:gd name="connsiteX19" fmla="*/ 5679590 w 21052572"/>
              <a:gd name="connsiteY19" fmla="*/ 8008981 h 8402012"/>
              <a:gd name="connsiteX20" fmla="*/ 5673597 w 21052572"/>
              <a:gd name="connsiteY20" fmla="*/ 7995331 h 8402012"/>
              <a:gd name="connsiteX21" fmla="*/ 5678745 w 21052572"/>
              <a:gd name="connsiteY21" fmla="*/ 7989786 h 8402012"/>
              <a:gd name="connsiteX22" fmla="*/ 3008685 w 21052572"/>
              <a:gd name="connsiteY22" fmla="*/ 7984722 h 8402012"/>
              <a:gd name="connsiteX23" fmla="*/ 2925388 w 21052572"/>
              <a:gd name="connsiteY23" fmla="*/ 7992782 h 8402012"/>
              <a:gd name="connsiteX24" fmla="*/ 3072635 w 21052572"/>
              <a:gd name="connsiteY24" fmla="*/ 8025022 h 8402012"/>
              <a:gd name="connsiteX25" fmla="*/ 3008685 w 21052572"/>
              <a:gd name="connsiteY25" fmla="*/ 7984722 h 8402012"/>
              <a:gd name="connsiteX26" fmla="*/ 5645057 w 21052572"/>
              <a:gd name="connsiteY26" fmla="*/ 7982520 h 8402012"/>
              <a:gd name="connsiteX27" fmla="*/ 5677279 w 21052572"/>
              <a:gd name="connsiteY27" fmla="*/ 8008698 h 8402012"/>
              <a:gd name="connsiteX28" fmla="*/ 5582516 w 21052572"/>
              <a:gd name="connsiteY28" fmla="*/ 8060648 h 8402012"/>
              <a:gd name="connsiteX29" fmla="*/ 5544183 w 21052572"/>
              <a:gd name="connsiteY29" fmla="*/ 8080129 h 8402012"/>
              <a:gd name="connsiteX30" fmla="*/ 5531404 w 21052572"/>
              <a:gd name="connsiteY30" fmla="*/ 8028179 h 8402012"/>
              <a:gd name="connsiteX31" fmla="*/ 5645057 w 21052572"/>
              <a:gd name="connsiteY31" fmla="*/ 7982520 h 8402012"/>
              <a:gd name="connsiteX32" fmla="*/ 5813583 w 21052572"/>
              <a:gd name="connsiteY32" fmla="*/ 7956299 h 8402012"/>
              <a:gd name="connsiteX33" fmla="*/ 5857391 w 21052572"/>
              <a:gd name="connsiteY33" fmla="*/ 7963331 h 8402012"/>
              <a:gd name="connsiteX34" fmla="*/ 5678343 w 21052572"/>
              <a:gd name="connsiteY34" fmla="*/ 7982898 h 8402012"/>
              <a:gd name="connsiteX35" fmla="*/ 5813583 w 21052572"/>
              <a:gd name="connsiteY35" fmla="*/ 7956299 h 8402012"/>
              <a:gd name="connsiteX36" fmla="*/ 2780829 w 21052572"/>
              <a:gd name="connsiteY36" fmla="*/ 7954901 h 8402012"/>
              <a:gd name="connsiteX37" fmla="*/ 2733002 w 21052572"/>
              <a:gd name="connsiteY37" fmla="*/ 7960543 h 8402012"/>
              <a:gd name="connsiteX38" fmla="*/ 2809310 w 21052572"/>
              <a:gd name="connsiteY38" fmla="*/ 7992782 h 8402012"/>
              <a:gd name="connsiteX39" fmla="*/ 2780829 w 21052572"/>
              <a:gd name="connsiteY39" fmla="*/ 7954901 h 8402012"/>
              <a:gd name="connsiteX40" fmla="*/ 2659646 w 21052572"/>
              <a:gd name="connsiteY40" fmla="*/ 7930721 h 8402012"/>
              <a:gd name="connsiteX41" fmla="*/ 2623371 w 21052572"/>
              <a:gd name="connsiteY41" fmla="*/ 7934751 h 8402012"/>
              <a:gd name="connsiteX42" fmla="*/ 2681410 w 21052572"/>
              <a:gd name="connsiteY42" fmla="*/ 7960543 h 8402012"/>
              <a:gd name="connsiteX43" fmla="*/ 2659646 w 21052572"/>
              <a:gd name="connsiteY43" fmla="*/ 7930721 h 8402012"/>
              <a:gd name="connsiteX44" fmla="*/ 2508367 w 21052572"/>
              <a:gd name="connsiteY44" fmla="*/ 7902511 h 8402012"/>
              <a:gd name="connsiteX45" fmla="*/ 2547061 w 21052572"/>
              <a:gd name="connsiteY45" fmla="*/ 7934751 h 8402012"/>
              <a:gd name="connsiteX46" fmla="*/ 2508367 w 21052572"/>
              <a:gd name="connsiteY46" fmla="*/ 7902511 h 8402012"/>
              <a:gd name="connsiteX47" fmla="*/ 2421443 w 21052572"/>
              <a:gd name="connsiteY47" fmla="*/ 7863152 h 8402012"/>
              <a:gd name="connsiteX48" fmla="*/ 2374056 w 21052572"/>
              <a:gd name="connsiteY48" fmla="*/ 7871346 h 8402012"/>
              <a:gd name="connsiteX49" fmla="*/ 2450330 w 21052572"/>
              <a:gd name="connsiteY49" fmla="*/ 7902511 h 8402012"/>
              <a:gd name="connsiteX50" fmla="*/ 2421443 w 21052572"/>
              <a:gd name="connsiteY50" fmla="*/ 7863152 h 8402012"/>
              <a:gd name="connsiteX51" fmla="*/ 2320053 w 21052572"/>
              <a:gd name="connsiteY51" fmla="*/ 7835883 h 8402012"/>
              <a:gd name="connsiteX52" fmla="*/ 2283782 w 21052572"/>
              <a:gd name="connsiteY52" fmla="*/ 7839107 h 8402012"/>
              <a:gd name="connsiteX53" fmla="*/ 2341814 w 21052572"/>
              <a:gd name="connsiteY53" fmla="*/ 7871346 h 8402012"/>
              <a:gd name="connsiteX54" fmla="*/ 2320053 w 21052572"/>
              <a:gd name="connsiteY54" fmla="*/ 7835883 h 8402012"/>
              <a:gd name="connsiteX55" fmla="*/ 6285585 w 21052572"/>
              <a:gd name="connsiteY55" fmla="*/ 7782608 h 8402012"/>
              <a:gd name="connsiteX56" fmla="*/ 6298222 w 21052572"/>
              <a:gd name="connsiteY56" fmla="*/ 7839818 h 8402012"/>
              <a:gd name="connsiteX57" fmla="*/ 6223440 w 21052572"/>
              <a:gd name="connsiteY57" fmla="*/ 7871602 h 8402012"/>
              <a:gd name="connsiteX58" fmla="*/ 6285585 w 21052572"/>
              <a:gd name="connsiteY58" fmla="*/ 7782608 h 8402012"/>
              <a:gd name="connsiteX59" fmla="*/ 6359901 w 21052572"/>
              <a:gd name="connsiteY59" fmla="*/ 7773131 h 8402012"/>
              <a:gd name="connsiteX60" fmla="*/ 6341937 w 21052572"/>
              <a:gd name="connsiteY60" fmla="*/ 7805237 h 8402012"/>
              <a:gd name="connsiteX61" fmla="*/ 6359901 w 21052572"/>
              <a:gd name="connsiteY61" fmla="*/ 7773131 h 8402012"/>
              <a:gd name="connsiteX62" fmla="*/ 6492564 w 21052572"/>
              <a:gd name="connsiteY62" fmla="*/ 7716253 h 8402012"/>
              <a:gd name="connsiteX63" fmla="*/ 6474654 w 21052572"/>
              <a:gd name="connsiteY63" fmla="*/ 7748359 h 8402012"/>
              <a:gd name="connsiteX64" fmla="*/ 6492564 w 21052572"/>
              <a:gd name="connsiteY64" fmla="*/ 7716253 h 8402012"/>
              <a:gd name="connsiteX65" fmla="*/ 6023014 w 21052572"/>
              <a:gd name="connsiteY65" fmla="*/ 7713609 h 8402012"/>
              <a:gd name="connsiteX66" fmla="*/ 6060266 w 21052572"/>
              <a:gd name="connsiteY66" fmla="*/ 7728489 h 8402012"/>
              <a:gd name="connsiteX67" fmla="*/ 6000663 w 21052572"/>
              <a:gd name="connsiteY67" fmla="*/ 7748330 h 8402012"/>
              <a:gd name="connsiteX68" fmla="*/ 6023014 w 21052572"/>
              <a:gd name="connsiteY68" fmla="*/ 7713609 h 8402012"/>
              <a:gd name="connsiteX69" fmla="*/ 6132353 w 21052572"/>
              <a:gd name="connsiteY69" fmla="*/ 7684485 h 8402012"/>
              <a:gd name="connsiteX70" fmla="*/ 6095461 w 21052572"/>
              <a:gd name="connsiteY70" fmla="*/ 7715228 h 8402012"/>
              <a:gd name="connsiteX71" fmla="*/ 6132353 w 21052572"/>
              <a:gd name="connsiteY71" fmla="*/ 7684485 h 8402012"/>
              <a:gd name="connsiteX72" fmla="*/ 6611612 w 21052572"/>
              <a:gd name="connsiteY72" fmla="*/ 7659376 h 8402012"/>
              <a:gd name="connsiteX73" fmla="*/ 6662687 w 21052572"/>
              <a:gd name="connsiteY73" fmla="*/ 7671786 h 8402012"/>
              <a:gd name="connsiteX74" fmla="*/ 6611612 w 21052572"/>
              <a:gd name="connsiteY74" fmla="*/ 7715220 h 8402012"/>
              <a:gd name="connsiteX75" fmla="*/ 6611612 w 21052572"/>
              <a:gd name="connsiteY75" fmla="*/ 7659376 h 8402012"/>
              <a:gd name="connsiteX76" fmla="*/ 6656227 w 21052572"/>
              <a:gd name="connsiteY76" fmla="*/ 7650005 h 8402012"/>
              <a:gd name="connsiteX77" fmla="*/ 6655396 w 21052572"/>
              <a:gd name="connsiteY77" fmla="*/ 7653539 h 8402012"/>
              <a:gd name="connsiteX78" fmla="*/ 6654271 w 21052572"/>
              <a:gd name="connsiteY78" fmla="*/ 7658323 h 8402012"/>
              <a:gd name="connsiteX79" fmla="*/ 6659809 w 21052572"/>
              <a:gd name="connsiteY79" fmla="*/ 7634772 h 8402012"/>
              <a:gd name="connsiteX80" fmla="*/ 6658040 w 21052572"/>
              <a:gd name="connsiteY80" fmla="*/ 7642295 h 8402012"/>
              <a:gd name="connsiteX81" fmla="*/ 6656227 w 21052572"/>
              <a:gd name="connsiteY81" fmla="*/ 7650005 h 8402012"/>
              <a:gd name="connsiteX82" fmla="*/ 6657732 w 21052572"/>
              <a:gd name="connsiteY82" fmla="*/ 7643603 h 8402012"/>
              <a:gd name="connsiteX83" fmla="*/ 6659809 w 21052572"/>
              <a:gd name="connsiteY83" fmla="*/ 7634772 h 8402012"/>
              <a:gd name="connsiteX84" fmla="*/ 6695874 w 21052572"/>
              <a:gd name="connsiteY84" fmla="*/ 7626197 h 8402012"/>
              <a:gd name="connsiteX85" fmla="*/ 6671649 w 21052572"/>
              <a:gd name="connsiteY85" fmla="*/ 7658270 h 8402012"/>
              <a:gd name="connsiteX86" fmla="*/ 6659010 w 21052572"/>
              <a:gd name="connsiteY86" fmla="*/ 7639469 h 8402012"/>
              <a:gd name="connsiteX87" fmla="*/ 6695874 w 21052572"/>
              <a:gd name="connsiteY87" fmla="*/ 7626197 h 8402012"/>
              <a:gd name="connsiteX88" fmla="*/ 4731846 w 21052572"/>
              <a:gd name="connsiteY88" fmla="*/ 7624042 h 8402012"/>
              <a:gd name="connsiteX89" fmla="*/ 4695573 w 21052572"/>
              <a:gd name="connsiteY89" fmla="*/ 7627400 h 8402012"/>
              <a:gd name="connsiteX90" fmla="*/ 4753611 w 21052572"/>
              <a:gd name="connsiteY90" fmla="*/ 7658565 h 8402012"/>
              <a:gd name="connsiteX91" fmla="*/ 4731846 w 21052572"/>
              <a:gd name="connsiteY91" fmla="*/ 7624042 h 8402012"/>
              <a:gd name="connsiteX92" fmla="*/ 6736842 w 21052572"/>
              <a:gd name="connsiteY92" fmla="*/ 7622692 h 8402012"/>
              <a:gd name="connsiteX93" fmla="*/ 6748068 w 21052572"/>
              <a:gd name="connsiteY93" fmla="*/ 7630370 h 8402012"/>
              <a:gd name="connsiteX94" fmla="*/ 6730106 w 21052572"/>
              <a:gd name="connsiteY94" fmla="*/ 7630370 h 8402012"/>
              <a:gd name="connsiteX95" fmla="*/ 6736842 w 21052572"/>
              <a:gd name="connsiteY95" fmla="*/ 7622692 h 8402012"/>
              <a:gd name="connsiteX96" fmla="*/ 4772957 w 21052572"/>
              <a:gd name="connsiteY96" fmla="*/ 7595161 h 8402012"/>
              <a:gd name="connsiteX97" fmla="*/ 4811648 w 21052572"/>
              <a:gd name="connsiteY97" fmla="*/ 7627400 h 8402012"/>
              <a:gd name="connsiteX98" fmla="*/ 4772957 w 21052572"/>
              <a:gd name="connsiteY98" fmla="*/ 7595161 h 8402012"/>
              <a:gd name="connsiteX99" fmla="*/ 6362876 w 21052572"/>
              <a:gd name="connsiteY99" fmla="*/ 7580021 h 8402012"/>
              <a:gd name="connsiteX100" fmla="*/ 6416690 w 21052572"/>
              <a:gd name="connsiteY100" fmla="*/ 7608077 h 8402012"/>
              <a:gd name="connsiteX101" fmla="*/ 6299277 w 21052572"/>
              <a:gd name="connsiteY101" fmla="*/ 7658310 h 8402012"/>
              <a:gd name="connsiteX102" fmla="*/ 6299277 w 21052572"/>
              <a:gd name="connsiteY102" fmla="*/ 7595252 h 8402012"/>
              <a:gd name="connsiteX103" fmla="*/ 6362876 w 21052572"/>
              <a:gd name="connsiteY103" fmla="*/ 7580021 h 8402012"/>
              <a:gd name="connsiteX104" fmla="*/ 6923436 w 21052572"/>
              <a:gd name="connsiteY104" fmla="*/ 7564581 h 8402012"/>
              <a:gd name="connsiteX105" fmla="*/ 6905474 w 21052572"/>
              <a:gd name="connsiteY105" fmla="*/ 7596687 h 8402012"/>
              <a:gd name="connsiteX106" fmla="*/ 6923436 w 21052572"/>
              <a:gd name="connsiteY106" fmla="*/ 7564581 h 8402012"/>
              <a:gd name="connsiteX107" fmla="*/ 6961258 w 21052572"/>
              <a:gd name="connsiteY107" fmla="*/ 7531402 h 8402012"/>
              <a:gd name="connsiteX108" fmla="*/ 6948133 w 21052572"/>
              <a:gd name="connsiteY108" fmla="*/ 7563511 h 8402012"/>
              <a:gd name="connsiteX109" fmla="*/ 6961258 w 21052572"/>
              <a:gd name="connsiteY109" fmla="*/ 7531402 h 8402012"/>
              <a:gd name="connsiteX110" fmla="*/ 6519027 w 21052572"/>
              <a:gd name="connsiteY110" fmla="*/ 7531284 h 8402012"/>
              <a:gd name="connsiteX111" fmla="*/ 6554142 w 21052572"/>
              <a:gd name="connsiteY111" fmla="*/ 7544174 h 8402012"/>
              <a:gd name="connsiteX112" fmla="*/ 6433301 w 21052572"/>
              <a:gd name="connsiteY112" fmla="*/ 7594061 h 8402012"/>
              <a:gd name="connsiteX113" fmla="*/ 6421498 w 21052572"/>
              <a:gd name="connsiteY113" fmla="*/ 7580258 h 8402012"/>
              <a:gd name="connsiteX114" fmla="*/ 6424521 w 21052572"/>
              <a:gd name="connsiteY114" fmla="*/ 7590114 h 8402012"/>
              <a:gd name="connsiteX115" fmla="*/ 6419598 w 21052572"/>
              <a:gd name="connsiteY115" fmla="*/ 7606167 h 8402012"/>
              <a:gd name="connsiteX116" fmla="*/ 6413034 w 21052572"/>
              <a:gd name="connsiteY116" fmla="*/ 7593325 h 8402012"/>
              <a:gd name="connsiteX117" fmla="*/ 6418630 w 21052572"/>
              <a:gd name="connsiteY117" fmla="*/ 7576903 h 8402012"/>
              <a:gd name="connsiteX118" fmla="*/ 6417775 w 21052572"/>
              <a:gd name="connsiteY118" fmla="*/ 7575903 h 8402012"/>
              <a:gd name="connsiteX119" fmla="*/ 6419363 w 21052572"/>
              <a:gd name="connsiteY119" fmla="*/ 7574751 h 8402012"/>
              <a:gd name="connsiteX120" fmla="*/ 6419598 w 21052572"/>
              <a:gd name="connsiteY120" fmla="*/ 7574061 h 8402012"/>
              <a:gd name="connsiteX121" fmla="*/ 6419730 w 21052572"/>
              <a:gd name="connsiteY121" fmla="*/ 7574486 h 8402012"/>
              <a:gd name="connsiteX122" fmla="*/ 6449207 w 21052572"/>
              <a:gd name="connsiteY122" fmla="*/ 7553098 h 8402012"/>
              <a:gd name="connsiteX123" fmla="*/ 6519027 w 21052572"/>
              <a:gd name="connsiteY123" fmla="*/ 7531284 h 8402012"/>
              <a:gd name="connsiteX124" fmla="*/ 5068792 w 21052572"/>
              <a:gd name="connsiteY124" fmla="*/ 7529070 h 8402012"/>
              <a:gd name="connsiteX125" fmla="*/ 5010484 w 21052572"/>
              <a:gd name="connsiteY125" fmla="*/ 7556473 h 8402012"/>
              <a:gd name="connsiteX126" fmla="*/ 4939551 w 21052572"/>
              <a:gd name="connsiteY126" fmla="*/ 7582265 h 8402012"/>
              <a:gd name="connsiteX127" fmla="*/ 4868615 w 21052572"/>
              <a:gd name="connsiteY127" fmla="*/ 7595161 h 8402012"/>
              <a:gd name="connsiteX128" fmla="*/ 4900856 w 21052572"/>
              <a:gd name="connsiteY128" fmla="*/ 7620952 h 8402012"/>
              <a:gd name="connsiteX129" fmla="*/ 4965344 w 21052572"/>
              <a:gd name="connsiteY129" fmla="*/ 7588713 h 8402012"/>
              <a:gd name="connsiteX130" fmla="*/ 5023383 w 21052572"/>
              <a:gd name="connsiteY130" fmla="*/ 7575817 h 8402012"/>
              <a:gd name="connsiteX131" fmla="*/ 5042727 w 21052572"/>
              <a:gd name="connsiteY131" fmla="*/ 7562921 h 8402012"/>
              <a:gd name="connsiteX132" fmla="*/ 5131933 w 21052572"/>
              <a:gd name="connsiteY132" fmla="*/ 7562921 h 8402012"/>
              <a:gd name="connsiteX133" fmla="*/ 5131933 w 21052572"/>
              <a:gd name="connsiteY133" fmla="*/ 7530682 h 8402012"/>
              <a:gd name="connsiteX134" fmla="*/ 5068792 w 21052572"/>
              <a:gd name="connsiteY134" fmla="*/ 7529070 h 8402012"/>
              <a:gd name="connsiteX135" fmla="*/ 6549994 w 21052572"/>
              <a:gd name="connsiteY135" fmla="*/ 7520599 h 8402012"/>
              <a:gd name="connsiteX136" fmla="*/ 6558975 w 21052572"/>
              <a:gd name="connsiteY136" fmla="*/ 7530836 h 8402012"/>
              <a:gd name="connsiteX137" fmla="*/ 6541013 w 21052572"/>
              <a:gd name="connsiteY137" fmla="*/ 7530836 h 8402012"/>
              <a:gd name="connsiteX138" fmla="*/ 6549994 w 21052572"/>
              <a:gd name="connsiteY138" fmla="*/ 7520599 h 8402012"/>
              <a:gd name="connsiteX139" fmla="*/ 7037161 w 21052572"/>
              <a:gd name="connsiteY139" fmla="*/ 7498226 h 8402012"/>
              <a:gd name="connsiteX140" fmla="*/ 7000269 w 21052572"/>
              <a:gd name="connsiteY140" fmla="*/ 7528970 h 8402012"/>
              <a:gd name="connsiteX141" fmla="*/ 7037161 w 21052572"/>
              <a:gd name="connsiteY141" fmla="*/ 7498226 h 8402012"/>
              <a:gd name="connsiteX142" fmla="*/ 6675160 w 21052572"/>
              <a:gd name="connsiteY142" fmla="*/ 7469436 h 8402012"/>
              <a:gd name="connsiteX143" fmla="*/ 6714821 w 21052572"/>
              <a:gd name="connsiteY143" fmla="*/ 7485882 h 8402012"/>
              <a:gd name="connsiteX144" fmla="*/ 6550492 w 21052572"/>
              <a:gd name="connsiteY144" fmla="*/ 7518468 h 8402012"/>
              <a:gd name="connsiteX145" fmla="*/ 6675160 w 21052572"/>
              <a:gd name="connsiteY145" fmla="*/ 7469436 h 8402012"/>
              <a:gd name="connsiteX146" fmla="*/ 6708736 w 21052572"/>
              <a:gd name="connsiteY146" fmla="*/ 7466812 h 8402012"/>
              <a:gd name="connsiteX147" fmla="*/ 6707944 w 21052572"/>
              <a:gd name="connsiteY147" fmla="*/ 7469064 h 8402012"/>
              <a:gd name="connsiteX148" fmla="*/ 6706404 w 21052572"/>
              <a:gd name="connsiteY148" fmla="*/ 7473438 h 8402012"/>
              <a:gd name="connsiteX149" fmla="*/ 6713340 w 21052572"/>
              <a:gd name="connsiteY149" fmla="*/ 7453728 h 8402012"/>
              <a:gd name="connsiteX150" fmla="*/ 6711562 w 21052572"/>
              <a:gd name="connsiteY150" fmla="*/ 7458781 h 8402012"/>
              <a:gd name="connsiteX151" fmla="*/ 6708736 w 21052572"/>
              <a:gd name="connsiteY151" fmla="*/ 7466812 h 8402012"/>
              <a:gd name="connsiteX152" fmla="*/ 6711140 w 21052572"/>
              <a:gd name="connsiteY152" fmla="*/ 7459978 h 8402012"/>
              <a:gd name="connsiteX153" fmla="*/ 6713982 w 21052572"/>
              <a:gd name="connsiteY153" fmla="*/ 7451902 h 8402012"/>
              <a:gd name="connsiteX154" fmla="*/ 6713864 w 21052572"/>
              <a:gd name="connsiteY154" fmla="*/ 7452238 h 8402012"/>
              <a:gd name="connsiteX155" fmla="*/ 6713340 w 21052572"/>
              <a:gd name="connsiteY155" fmla="*/ 7453728 h 8402012"/>
              <a:gd name="connsiteX156" fmla="*/ 7157576 w 21052572"/>
              <a:gd name="connsiteY156" fmla="*/ 7408170 h 8402012"/>
              <a:gd name="connsiteX157" fmla="*/ 7169873 w 21052572"/>
              <a:gd name="connsiteY157" fmla="*/ 7473422 h 8402012"/>
              <a:gd name="connsiteX158" fmla="*/ 7132981 w 21052572"/>
              <a:gd name="connsiteY158" fmla="*/ 7473422 h 8402012"/>
              <a:gd name="connsiteX159" fmla="*/ 7157576 w 21052572"/>
              <a:gd name="connsiteY159" fmla="*/ 7408170 h 8402012"/>
              <a:gd name="connsiteX160" fmla="*/ 6859755 w 21052572"/>
              <a:gd name="connsiteY160" fmla="*/ 7367654 h 8402012"/>
              <a:gd name="connsiteX161" fmla="*/ 6899676 w 21052572"/>
              <a:gd name="connsiteY161" fmla="*/ 7397813 h 8402012"/>
              <a:gd name="connsiteX162" fmla="*/ 6792377 w 21052572"/>
              <a:gd name="connsiteY162" fmla="*/ 7443280 h 8402012"/>
              <a:gd name="connsiteX163" fmla="*/ 6715887 w 21052572"/>
              <a:gd name="connsiteY163" fmla="*/ 7455188 h 8402012"/>
              <a:gd name="connsiteX164" fmla="*/ 6859755 w 21052572"/>
              <a:gd name="connsiteY164" fmla="*/ 7367654 h 8402012"/>
              <a:gd name="connsiteX165" fmla="*/ 6906002 w 21052572"/>
              <a:gd name="connsiteY165" fmla="*/ 7365514 h 8402012"/>
              <a:gd name="connsiteX166" fmla="*/ 6918642 w 21052572"/>
              <a:gd name="connsiteY166" fmla="*/ 7384778 h 8402012"/>
              <a:gd name="connsiteX167" fmla="*/ 6900735 w 21052572"/>
              <a:gd name="connsiteY167" fmla="*/ 7384778 h 8402012"/>
              <a:gd name="connsiteX168" fmla="*/ 6906002 w 21052572"/>
              <a:gd name="connsiteY168" fmla="*/ 7365514 h 8402012"/>
              <a:gd name="connsiteX169" fmla="*/ 6951772 w 21052572"/>
              <a:gd name="connsiteY169" fmla="*/ 7346553 h 8402012"/>
              <a:gd name="connsiteX170" fmla="*/ 6905477 w 21052572"/>
              <a:gd name="connsiteY170" fmla="*/ 7364999 h 8402012"/>
              <a:gd name="connsiteX171" fmla="*/ 6951772 w 21052572"/>
              <a:gd name="connsiteY171" fmla="*/ 7346553 h 8402012"/>
              <a:gd name="connsiteX172" fmla="*/ 7174557 w 21052572"/>
              <a:gd name="connsiteY172" fmla="*/ 7199619 h 8402012"/>
              <a:gd name="connsiteX173" fmla="*/ 7128936 w 21052572"/>
              <a:gd name="connsiteY173" fmla="*/ 7287993 h 8402012"/>
              <a:gd name="connsiteX174" fmla="*/ 7019229 w 21052572"/>
              <a:gd name="connsiteY174" fmla="*/ 7345489 h 8402012"/>
              <a:gd name="connsiteX175" fmla="*/ 7174557 w 21052572"/>
              <a:gd name="connsiteY175" fmla="*/ 7199619 h 8402012"/>
              <a:gd name="connsiteX176" fmla="*/ 7300454 w 21052572"/>
              <a:gd name="connsiteY176" fmla="*/ 7180662 h 8402012"/>
              <a:gd name="connsiteX177" fmla="*/ 7312041 w 21052572"/>
              <a:gd name="connsiteY177" fmla="*/ 7199927 h 8402012"/>
              <a:gd name="connsiteX178" fmla="*/ 7294134 w 21052572"/>
              <a:gd name="connsiteY178" fmla="*/ 7199927 h 8402012"/>
              <a:gd name="connsiteX179" fmla="*/ 7300454 w 21052572"/>
              <a:gd name="connsiteY179" fmla="*/ 7180662 h 8402012"/>
              <a:gd name="connsiteX180" fmla="*/ 7393171 w 21052572"/>
              <a:gd name="connsiteY180" fmla="*/ 7122257 h 8402012"/>
              <a:gd name="connsiteX181" fmla="*/ 7402152 w 21052572"/>
              <a:gd name="connsiteY181" fmla="*/ 7131889 h 8402012"/>
              <a:gd name="connsiteX182" fmla="*/ 7399159 w 21052572"/>
              <a:gd name="connsiteY182" fmla="*/ 7139112 h 8402012"/>
              <a:gd name="connsiteX183" fmla="*/ 7396276 w 21052572"/>
              <a:gd name="connsiteY183" fmla="*/ 7150706 h 8402012"/>
              <a:gd name="connsiteX184" fmla="*/ 7397356 w 21052572"/>
              <a:gd name="connsiteY184" fmla="*/ 7152336 h 8402012"/>
              <a:gd name="connsiteX185" fmla="*/ 7303614 w 21052572"/>
              <a:gd name="connsiteY185" fmla="*/ 7177764 h 8402012"/>
              <a:gd name="connsiteX186" fmla="*/ 7384716 w 21052572"/>
              <a:gd name="connsiteY186" fmla="*/ 7133265 h 8402012"/>
              <a:gd name="connsiteX187" fmla="*/ 7390024 w 21052572"/>
              <a:gd name="connsiteY187" fmla="*/ 7141273 h 8402012"/>
              <a:gd name="connsiteX188" fmla="*/ 7384190 w 21052572"/>
              <a:gd name="connsiteY188" fmla="*/ 7131889 h 8402012"/>
              <a:gd name="connsiteX189" fmla="*/ 7393171 w 21052572"/>
              <a:gd name="connsiteY189" fmla="*/ 7122257 h 8402012"/>
              <a:gd name="connsiteX190" fmla="*/ 5888582 w 21052572"/>
              <a:gd name="connsiteY190" fmla="*/ 7100821 h 8402012"/>
              <a:gd name="connsiteX191" fmla="*/ 5907925 w 21052572"/>
              <a:gd name="connsiteY191" fmla="*/ 7133060 h 8402012"/>
              <a:gd name="connsiteX192" fmla="*/ 5888582 w 21052572"/>
              <a:gd name="connsiteY192" fmla="*/ 7100821 h 8402012"/>
              <a:gd name="connsiteX193" fmla="*/ 7447974 w 21052572"/>
              <a:gd name="connsiteY193" fmla="*/ 7098071 h 8402012"/>
              <a:gd name="connsiteX194" fmla="*/ 7463679 w 21052572"/>
              <a:gd name="connsiteY194" fmla="*/ 7103016 h 8402012"/>
              <a:gd name="connsiteX195" fmla="*/ 7398409 w 21052572"/>
              <a:gd name="connsiteY195" fmla="*/ 7121631 h 8402012"/>
              <a:gd name="connsiteX196" fmla="*/ 7447974 w 21052572"/>
              <a:gd name="connsiteY196" fmla="*/ 7098071 h 8402012"/>
              <a:gd name="connsiteX197" fmla="*/ 6649030 w 21052572"/>
              <a:gd name="connsiteY197" fmla="*/ 7074116 h 8402012"/>
              <a:gd name="connsiteX198" fmla="*/ 6658011 w 21052572"/>
              <a:gd name="connsiteY198" fmla="*/ 7089472 h 8402012"/>
              <a:gd name="connsiteX199" fmla="*/ 6640049 w 21052572"/>
              <a:gd name="connsiteY199" fmla="*/ 7089472 h 8402012"/>
              <a:gd name="connsiteX200" fmla="*/ 6649030 w 21052572"/>
              <a:gd name="connsiteY200" fmla="*/ 7074116 h 8402012"/>
              <a:gd name="connsiteX201" fmla="*/ 6017554 w 21052572"/>
              <a:gd name="connsiteY201" fmla="*/ 7068581 h 8402012"/>
              <a:gd name="connsiteX202" fmla="*/ 6036901 w 21052572"/>
              <a:gd name="connsiteY202" fmla="*/ 7100821 h 8402012"/>
              <a:gd name="connsiteX203" fmla="*/ 6017554 w 21052572"/>
              <a:gd name="connsiteY203" fmla="*/ 7068581 h 8402012"/>
              <a:gd name="connsiteX204" fmla="*/ 7572643 w 21052572"/>
              <a:gd name="connsiteY204" fmla="*/ 7066910 h 8402012"/>
              <a:gd name="connsiteX205" fmla="*/ 7545343 w 21052572"/>
              <a:gd name="connsiteY205" fmla="*/ 7099019 h 8402012"/>
              <a:gd name="connsiteX206" fmla="*/ 7572643 w 21052572"/>
              <a:gd name="connsiteY206" fmla="*/ 7066910 h 8402012"/>
              <a:gd name="connsiteX207" fmla="*/ 7601219 w 21052572"/>
              <a:gd name="connsiteY207" fmla="*/ 7038470 h 8402012"/>
              <a:gd name="connsiteX208" fmla="*/ 7583257 w 21052572"/>
              <a:gd name="connsiteY208" fmla="*/ 7070543 h 8402012"/>
              <a:gd name="connsiteX209" fmla="*/ 7601219 w 21052572"/>
              <a:gd name="connsiteY209" fmla="*/ 7038470 h 8402012"/>
              <a:gd name="connsiteX210" fmla="*/ 5831616 w 21052572"/>
              <a:gd name="connsiteY210" fmla="*/ 6979385 h 8402012"/>
              <a:gd name="connsiteX211" fmla="*/ 5870309 w 21052572"/>
              <a:gd name="connsiteY211" fmla="*/ 7011624 h 8402012"/>
              <a:gd name="connsiteX212" fmla="*/ 5831616 w 21052572"/>
              <a:gd name="connsiteY212" fmla="*/ 6979385 h 8402012"/>
              <a:gd name="connsiteX213" fmla="*/ 7684776 w 21052572"/>
              <a:gd name="connsiteY213" fmla="*/ 6978552 h 8402012"/>
              <a:gd name="connsiteX214" fmla="*/ 7719678 w 21052572"/>
              <a:gd name="connsiteY214" fmla="*/ 6981736 h 8402012"/>
              <a:gd name="connsiteX215" fmla="*/ 7663834 w 21052572"/>
              <a:gd name="connsiteY215" fmla="*/ 7013570 h 8402012"/>
              <a:gd name="connsiteX216" fmla="*/ 7684776 w 21052572"/>
              <a:gd name="connsiteY216" fmla="*/ 6978552 h 8402012"/>
              <a:gd name="connsiteX217" fmla="*/ 5959517 w 21052572"/>
              <a:gd name="connsiteY217" fmla="*/ 6947145 h 8402012"/>
              <a:gd name="connsiteX218" fmla="*/ 5907925 w 21052572"/>
              <a:gd name="connsiteY218" fmla="*/ 6979385 h 8402012"/>
              <a:gd name="connsiteX219" fmla="*/ 5888582 w 21052572"/>
              <a:gd name="connsiteY219" fmla="*/ 7011624 h 8402012"/>
              <a:gd name="connsiteX220" fmla="*/ 5933720 w 21052572"/>
              <a:gd name="connsiteY220" fmla="*/ 6979385 h 8402012"/>
              <a:gd name="connsiteX221" fmla="*/ 5959517 w 21052572"/>
              <a:gd name="connsiteY221" fmla="*/ 6947145 h 8402012"/>
              <a:gd name="connsiteX222" fmla="*/ 6863995 w 21052572"/>
              <a:gd name="connsiteY222" fmla="*/ 6945961 h 8402012"/>
              <a:gd name="connsiteX223" fmla="*/ 6894929 w 21052572"/>
              <a:gd name="connsiteY223" fmla="*/ 6948945 h 8402012"/>
              <a:gd name="connsiteX224" fmla="*/ 6766828 w 21052572"/>
              <a:gd name="connsiteY224" fmla="*/ 7033381 h 8402012"/>
              <a:gd name="connsiteX225" fmla="*/ 6684864 w 21052572"/>
              <a:gd name="connsiteY225" fmla="*/ 7075244 h 8402012"/>
              <a:gd name="connsiteX226" fmla="*/ 6671792 w 21052572"/>
              <a:gd name="connsiteY226" fmla="*/ 7070841 h 8402012"/>
              <a:gd name="connsiteX227" fmla="*/ 6661007 w 21052572"/>
              <a:gd name="connsiteY227" fmla="*/ 7084722 h 8402012"/>
              <a:gd name="connsiteX228" fmla="*/ 6654271 w 21052572"/>
              <a:gd name="connsiteY228" fmla="*/ 7070274 h 8402012"/>
              <a:gd name="connsiteX229" fmla="*/ 6661007 w 21052572"/>
              <a:gd name="connsiteY229" fmla="*/ 7060641 h 8402012"/>
              <a:gd name="connsiteX230" fmla="*/ 6663692 w 21052572"/>
              <a:gd name="connsiteY230" fmla="*/ 7062945 h 8402012"/>
              <a:gd name="connsiteX231" fmla="*/ 6659010 w 21052572"/>
              <a:gd name="connsiteY231" fmla="*/ 7058279 h 8402012"/>
              <a:gd name="connsiteX232" fmla="*/ 6863995 w 21052572"/>
              <a:gd name="connsiteY232" fmla="*/ 6945961 h 8402012"/>
              <a:gd name="connsiteX233" fmla="*/ 6951737 w 21052572"/>
              <a:gd name="connsiteY233" fmla="*/ 6919979 h 8402012"/>
              <a:gd name="connsiteX234" fmla="*/ 6924437 w 21052572"/>
              <a:gd name="connsiteY234" fmla="*/ 6947279 h 8402012"/>
              <a:gd name="connsiteX235" fmla="*/ 6951737 w 21052572"/>
              <a:gd name="connsiteY235" fmla="*/ 6919979 h 8402012"/>
              <a:gd name="connsiteX236" fmla="*/ 6999271 w 21052572"/>
              <a:gd name="connsiteY236" fmla="*/ 6891539 h 8402012"/>
              <a:gd name="connsiteX237" fmla="*/ 6981309 w 21052572"/>
              <a:gd name="connsiteY237" fmla="*/ 6923645 h 8402012"/>
              <a:gd name="connsiteX238" fmla="*/ 6999271 w 21052572"/>
              <a:gd name="connsiteY238" fmla="*/ 6891539 h 8402012"/>
              <a:gd name="connsiteX239" fmla="*/ 6056250 w 21052572"/>
              <a:gd name="connsiteY239" fmla="*/ 6889114 h 8402012"/>
              <a:gd name="connsiteX240" fmla="*/ 6093865 w 21052572"/>
              <a:gd name="connsiteY240" fmla="*/ 6921354 h 8402012"/>
              <a:gd name="connsiteX241" fmla="*/ 6056250 w 21052572"/>
              <a:gd name="connsiteY241" fmla="*/ 6889114 h 8402012"/>
              <a:gd name="connsiteX242" fmla="*/ 7913961 w 21052572"/>
              <a:gd name="connsiteY242" fmla="*/ 6858360 h 8402012"/>
              <a:gd name="connsiteX243" fmla="*/ 7868655 w 21052572"/>
              <a:gd name="connsiteY243" fmla="*/ 6935760 h 8402012"/>
              <a:gd name="connsiteX244" fmla="*/ 7758626 w 21052572"/>
              <a:gd name="connsiteY244" fmla="*/ 6948660 h 8402012"/>
              <a:gd name="connsiteX245" fmla="*/ 7913961 w 21052572"/>
              <a:gd name="connsiteY245" fmla="*/ 6858360 h 8402012"/>
              <a:gd name="connsiteX246" fmla="*/ 7040171 w 21052572"/>
              <a:gd name="connsiteY246" fmla="*/ 6855718 h 8402012"/>
              <a:gd name="connsiteX247" fmla="*/ 7075073 w 21052572"/>
              <a:gd name="connsiteY247" fmla="*/ 6858981 h 8402012"/>
              <a:gd name="connsiteX248" fmla="*/ 7019229 w 21052572"/>
              <a:gd name="connsiteY248" fmla="*/ 6891616 h 8402012"/>
              <a:gd name="connsiteX249" fmla="*/ 7040171 w 21052572"/>
              <a:gd name="connsiteY249" fmla="*/ 6855718 h 8402012"/>
              <a:gd name="connsiteX250" fmla="*/ 8302674 w 21052572"/>
              <a:gd name="connsiteY250" fmla="*/ 6855494 h 8402012"/>
              <a:gd name="connsiteX251" fmla="*/ 8265782 w 21052572"/>
              <a:gd name="connsiteY251" fmla="*/ 6888561 h 8402012"/>
              <a:gd name="connsiteX252" fmla="*/ 8302674 w 21052572"/>
              <a:gd name="connsiteY252" fmla="*/ 6855494 h 8402012"/>
              <a:gd name="connsiteX253" fmla="*/ 7151945 w 21052572"/>
              <a:gd name="connsiteY253" fmla="*/ 6792002 h 8402012"/>
              <a:gd name="connsiteX254" fmla="*/ 7179245 w 21052572"/>
              <a:gd name="connsiteY254" fmla="*/ 6825181 h 8402012"/>
              <a:gd name="connsiteX255" fmla="*/ 7151945 w 21052572"/>
              <a:gd name="connsiteY255" fmla="*/ 6857254 h 8402012"/>
              <a:gd name="connsiteX256" fmla="*/ 7151945 w 21052572"/>
              <a:gd name="connsiteY256" fmla="*/ 6792002 h 8402012"/>
              <a:gd name="connsiteX257" fmla="*/ 7321499 w 21052572"/>
              <a:gd name="connsiteY257" fmla="*/ 6749346 h 8402012"/>
              <a:gd name="connsiteX258" fmla="*/ 7232518 w 21052572"/>
              <a:gd name="connsiteY258" fmla="*/ 6828816 h 8402012"/>
              <a:gd name="connsiteX259" fmla="*/ 7232518 w 21052572"/>
              <a:gd name="connsiteY259" fmla="*/ 6762591 h 8402012"/>
              <a:gd name="connsiteX260" fmla="*/ 7321499 w 21052572"/>
              <a:gd name="connsiteY260" fmla="*/ 6749346 h 8402012"/>
              <a:gd name="connsiteX261" fmla="*/ 6793031 w 21052572"/>
              <a:gd name="connsiteY261" fmla="*/ 6735439 h 8402012"/>
              <a:gd name="connsiteX262" fmla="*/ 6812376 w 21052572"/>
              <a:gd name="connsiteY262" fmla="*/ 6761230 h 8402012"/>
              <a:gd name="connsiteX263" fmla="*/ 6793031 w 21052572"/>
              <a:gd name="connsiteY263" fmla="*/ 6735439 h 8402012"/>
              <a:gd name="connsiteX264" fmla="*/ 8137805 w 21052572"/>
              <a:gd name="connsiteY264" fmla="*/ 6735125 h 8402012"/>
              <a:gd name="connsiteX265" fmla="*/ 8174697 w 21052572"/>
              <a:gd name="connsiteY265" fmla="*/ 6735125 h 8402012"/>
              <a:gd name="connsiteX266" fmla="*/ 8174697 w 21052572"/>
              <a:gd name="connsiteY266" fmla="*/ 6790969 h 8402012"/>
              <a:gd name="connsiteX267" fmla="*/ 8137805 w 21052572"/>
              <a:gd name="connsiteY267" fmla="*/ 6790969 h 8402012"/>
              <a:gd name="connsiteX268" fmla="*/ 8137805 w 21052572"/>
              <a:gd name="connsiteY268" fmla="*/ 6735125 h 8402012"/>
              <a:gd name="connsiteX269" fmla="*/ 7184054 w 21052572"/>
              <a:gd name="connsiteY269" fmla="*/ 6703356 h 8402012"/>
              <a:gd name="connsiteX270" fmla="*/ 7151945 w 21052572"/>
              <a:gd name="connsiteY270" fmla="*/ 6734099 h 8402012"/>
              <a:gd name="connsiteX271" fmla="*/ 7184054 w 21052572"/>
              <a:gd name="connsiteY271" fmla="*/ 6703356 h 8402012"/>
              <a:gd name="connsiteX272" fmla="*/ 6831721 w 21052572"/>
              <a:gd name="connsiteY272" fmla="*/ 6703199 h 8402012"/>
              <a:gd name="connsiteX273" fmla="*/ 6870411 w 21052572"/>
              <a:gd name="connsiteY273" fmla="*/ 6735439 h 8402012"/>
              <a:gd name="connsiteX274" fmla="*/ 6831721 w 21052572"/>
              <a:gd name="connsiteY274" fmla="*/ 6703199 h 8402012"/>
              <a:gd name="connsiteX275" fmla="*/ 6434573 w 21052572"/>
              <a:gd name="connsiteY275" fmla="*/ 6703199 h 8402012"/>
              <a:gd name="connsiteX276" fmla="*/ 6473264 w 21052572"/>
              <a:gd name="connsiteY276" fmla="*/ 6735439 h 8402012"/>
              <a:gd name="connsiteX277" fmla="*/ 6434573 w 21052572"/>
              <a:gd name="connsiteY277" fmla="*/ 6703199 h 8402012"/>
              <a:gd name="connsiteX278" fmla="*/ 8265779 w 21052572"/>
              <a:gd name="connsiteY278" fmla="*/ 6701949 h 8402012"/>
              <a:gd name="connsiteX279" fmla="*/ 8283741 w 21052572"/>
              <a:gd name="connsiteY279" fmla="*/ 6734055 h 8402012"/>
              <a:gd name="connsiteX280" fmla="*/ 8265779 w 21052572"/>
              <a:gd name="connsiteY280" fmla="*/ 6701949 h 8402012"/>
              <a:gd name="connsiteX281" fmla="*/ 7378379 w 21052572"/>
              <a:gd name="connsiteY281" fmla="*/ 6701949 h 8402012"/>
              <a:gd name="connsiteX282" fmla="*/ 7359115 w 21052572"/>
              <a:gd name="connsiteY282" fmla="*/ 6757793 h 8402012"/>
              <a:gd name="connsiteX283" fmla="*/ 7346273 w 21052572"/>
              <a:gd name="connsiteY283" fmla="*/ 6720564 h 8402012"/>
              <a:gd name="connsiteX284" fmla="*/ 7378379 w 21052572"/>
              <a:gd name="connsiteY284" fmla="*/ 6701949 h 8402012"/>
              <a:gd name="connsiteX285" fmla="*/ 8227862 w 21052572"/>
              <a:gd name="connsiteY285" fmla="*/ 6673512 h 8402012"/>
              <a:gd name="connsiteX286" fmla="*/ 8245824 w 21052572"/>
              <a:gd name="connsiteY286" fmla="*/ 6673512 h 8402012"/>
              <a:gd name="connsiteX287" fmla="*/ 8245824 w 21052572"/>
              <a:gd name="connsiteY287" fmla="*/ 6738782 h 8402012"/>
              <a:gd name="connsiteX288" fmla="*/ 8227862 w 21052572"/>
              <a:gd name="connsiteY288" fmla="*/ 6738782 h 8402012"/>
              <a:gd name="connsiteX289" fmla="*/ 8227862 w 21052572"/>
              <a:gd name="connsiteY289" fmla="*/ 6673512 h 8402012"/>
              <a:gd name="connsiteX290" fmla="*/ 7417366 w 21052572"/>
              <a:gd name="connsiteY290" fmla="*/ 6673512 h 8402012"/>
              <a:gd name="connsiteX291" fmla="*/ 7435328 w 21052572"/>
              <a:gd name="connsiteY291" fmla="*/ 6705618 h 8402012"/>
              <a:gd name="connsiteX292" fmla="*/ 7417366 w 21052572"/>
              <a:gd name="connsiteY292" fmla="*/ 6673512 h 8402012"/>
              <a:gd name="connsiteX293" fmla="*/ 6901578 w 21052572"/>
              <a:gd name="connsiteY293" fmla="*/ 6670960 h 8402012"/>
              <a:gd name="connsiteX294" fmla="*/ 6920924 w 21052572"/>
              <a:gd name="connsiteY294" fmla="*/ 6703199 h 8402012"/>
              <a:gd name="connsiteX295" fmla="*/ 6901578 w 21052572"/>
              <a:gd name="connsiteY295" fmla="*/ 6670960 h 8402012"/>
              <a:gd name="connsiteX296" fmla="*/ 6530226 w 21052572"/>
              <a:gd name="connsiteY296" fmla="*/ 6670960 h 8402012"/>
              <a:gd name="connsiteX297" fmla="*/ 6562471 w 21052572"/>
              <a:gd name="connsiteY297" fmla="*/ 6703199 h 8402012"/>
              <a:gd name="connsiteX298" fmla="*/ 6530226 w 21052572"/>
              <a:gd name="connsiteY298" fmla="*/ 6670960 h 8402012"/>
              <a:gd name="connsiteX299" fmla="*/ 7473745 w 21052572"/>
              <a:gd name="connsiteY299" fmla="*/ 6664909 h 8402012"/>
              <a:gd name="connsiteX300" fmla="*/ 7482726 w 21052572"/>
              <a:gd name="connsiteY300" fmla="*/ 6672134 h 8402012"/>
              <a:gd name="connsiteX301" fmla="*/ 7476739 w 21052572"/>
              <a:gd name="connsiteY301" fmla="*/ 6691399 h 8402012"/>
              <a:gd name="connsiteX302" fmla="*/ 7464764 w 21052572"/>
              <a:gd name="connsiteY302" fmla="*/ 6672134 h 8402012"/>
              <a:gd name="connsiteX303" fmla="*/ 7473745 w 21052572"/>
              <a:gd name="connsiteY303" fmla="*/ 6664909 h 8402012"/>
              <a:gd name="connsiteX304" fmla="*/ 7492690 w 21052572"/>
              <a:gd name="connsiteY304" fmla="*/ 6650186 h 8402012"/>
              <a:gd name="connsiteX305" fmla="*/ 7511136 w 21052572"/>
              <a:gd name="connsiteY305" fmla="*/ 6657236 h 8402012"/>
              <a:gd name="connsiteX306" fmla="*/ 7474244 w 21052572"/>
              <a:gd name="connsiteY306" fmla="*/ 6657236 h 8402012"/>
              <a:gd name="connsiteX307" fmla="*/ 7492690 w 21052572"/>
              <a:gd name="connsiteY307" fmla="*/ 6650186 h 8402012"/>
              <a:gd name="connsiteX308" fmla="*/ 6959614 w 21052572"/>
              <a:gd name="connsiteY308" fmla="*/ 6638720 h 8402012"/>
              <a:gd name="connsiteX309" fmla="*/ 6998304 w 21052572"/>
              <a:gd name="connsiteY309" fmla="*/ 6670960 h 8402012"/>
              <a:gd name="connsiteX310" fmla="*/ 6959614 w 21052572"/>
              <a:gd name="connsiteY310" fmla="*/ 6638720 h 8402012"/>
              <a:gd name="connsiteX311" fmla="*/ 7507300 w 21052572"/>
              <a:gd name="connsiteY311" fmla="*/ 6626078 h 8402012"/>
              <a:gd name="connsiteX312" fmla="*/ 7504216 w 21052572"/>
              <a:gd name="connsiteY312" fmla="*/ 6634870 h 8402012"/>
              <a:gd name="connsiteX313" fmla="*/ 7502681 w 21052572"/>
              <a:gd name="connsiteY313" fmla="*/ 6639244 h 8402012"/>
              <a:gd name="connsiteX314" fmla="*/ 7507470 w 21052572"/>
              <a:gd name="connsiteY314" fmla="*/ 6625594 h 8402012"/>
              <a:gd name="connsiteX315" fmla="*/ 7507300 w 21052572"/>
              <a:gd name="connsiteY315" fmla="*/ 6626078 h 8402012"/>
              <a:gd name="connsiteX316" fmla="*/ 7507403 w 21052572"/>
              <a:gd name="connsiteY316" fmla="*/ 6625784 h 8402012"/>
              <a:gd name="connsiteX317" fmla="*/ 7509878 w 21052572"/>
              <a:gd name="connsiteY317" fmla="*/ 6618728 h 8402012"/>
              <a:gd name="connsiteX318" fmla="*/ 7507470 w 21052572"/>
              <a:gd name="connsiteY318" fmla="*/ 6625594 h 8402012"/>
              <a:gd name="connsiteX319" fmla="*/ 7507823 w 21052572"/>
              <a:gd name="connsiteY319" fmla="*/ 6624587 h 8402012"/>
              <a:gd name="connsiteX320" fmla="*/ 7510236 w 21052572"/>
              <a:gd name="connsiteY320" fmla="*/ 6617708 h 8402012"/>
              <a:gd name="connsiteX321" fmla="*/ 7509878 w 21052572"/>
              <a:gd name="connsiteY321" fmla="*/ 6618728 h 8402012"/>
              <a:gd name="connsiteX322" fmla="*/ 7510118 w 21052572"/>
              <a:gd name="connsiteY322" fmla="*/ 6618044 h 8402012"/>
              <a:gd name="connsiteX323" fmla="*/ 7510236 w 21052572"/>
              <a:gd name="connsiteY323" fmla="*/ 6617708 h 8402012"/>
              <a:gd name="connsiteX324" fmla="*/ 7601148 w 21052572"/>
              <a:gd name="connsiteY324" fmla="*/ 6592935 h 8402012"/>
              <a:gd name="connsiteX325" fmla="*/ 7517524 w 21052572"/>
              <a:gd name="connsiteY325" fmla="*/ 6639204 h 8402012"/>
              <a:gd name="connsiteX326" fmla="*/ 7512164 w 21052572"/>
              <a:gd name="connsiteY326" fmla="*/ 6626790 h 8402012"/>
              <a:gd name="connsiteX327" fmla="*/ 7601148 w 21052572"/>
              <a:gd name="connsiteY327" fmla="*/ 6592935 h 8402012"/>
              <a:gd name="connsiteX328" fmla="*/ 6171250 w 21052572"/>
              <a:gd name="connsiteY328" fmla="*/ 6517284 h 8402012"/>
              <a:gd name="connsiteX329" fmla="*/ 6209943 w 21052572"/>
              <a:gd name="connsiteY329" fmla="*/ 6549524 h 8402012"/>
              <a:gd name="connsiteX330" fmla="*/ 6171250 w 21052572"/>
              <a:gd name="connsiteY330" fmla="*/ 6517284 h 8402012"/>
              <a:gd name="connsiteX331" fmla="*/ 7718890 w 21052572"/>
              <a:gd name="connsiteY331" fmla="*/ 6517098 h 8402012"/>
              <a:gd name="connsiteX332" fmla="*/ 7705765 w 21052572"/>
              <a:gd name="connsiteY332" fmla="*/ 6618706 h 8402012"/>
              <a:gd name="connsiteX333" fmla="*/ 7640138 w 21052572"/>
              <a:gd name="connsiteY333" fmla="*/ 6606005 h 8402012"/>
              <a:gd name="connsiteX334" fmla="*/ 7718890 w 21052572"/>
              <a:gd name="connsiteY334" fmla="*/ 6517098 h 8402012"/>
              <a:gd name="connsiteX335" fmla="*/ 7804924 w 21052572"/>
              <a:gd name="connsiteY335" fmla="*/ 6512359 h 8402012"/>
              <a:gd name="connsiteX336" fmla="*/ 7758629 w 21052572"/>
              <a:gd name="connsiteY336" fmla="*/ 6549251 h 8402012"/>
              <a:gd name="connsiteX337" fmla="*/ 7804924 w 21052572"/>
              <a:gd name="connsiteY337" fmla="*/ 6512359 h 8402012"/>
              <a:gd name="connsiteX338" fmla="*/ 8643876 w 21052572"/>
              <a:gd name="connsiteY338" fmla="*/ 6498140 h 8402012"/>
              <a:gd name="connsiteX339" fmla="*/ 8417452 w 21052572"/>
              <a:gd name="connsiteY339" fmla="*/ 6639255 h 8402012"/>
              <a:gd name="connsiteX340" fmla="*/ 8643876 w 21052572"/>
              <a:gd name="connsiteY340" fmla="*/ 6498140 h 8402012"/>
              <a:gd name="connsiteX341" fmla="*/ 6998304 w 21052572"/>
              <a:gd name="connsiteY341" fmla="*/ 6497941 h 8402012"/>
              <a:gd name="connsiteX342" fmla="*/ 6678035 w 21052572"/>
              <a:gd name="connsiteY342" fmla="*/ 6638720 h 8402012"/>
              <a:gd name="connsiteX343" fmla="*/ 6998304 w 21052572"/>
              <a:gd name="connsiteY343" fmla="*/ 6497941 h 8402012"/>
              <a:gd name="connsiteX344" fmla="*/ 6434573 w 21052572"/>
              <a:gd name="connsiteY344" fmla="*/ 6485045 h 8402012"/>
              <a:gd name="connsiteX345" fmla="*/ 6473264 w 21052572"/>
              <a:gd name="connsiteY345" fmla="*/ 6517284 h 8402012"/>
              <a:gd name="connsiteX346" fmla="*/ 6434573 w 21052572"/>
              <a:gd name="connsiteY346" fmla="*/ 6485045 h 8402012"/>
              <a:gd name="connsiteX347" fmla="*/ 7834466 w 21052572"/>
              <a:gd name="connsiteY347" fmla="*/ 6461630 h 8402012"/>
              <a:gd name="connsiteX348" fmla="*/ 7866575 w 21052572"/>
              <a:gd name="connsiteY348" fmla="*/ 6486225 h 8402012"/>
              <a:gd name="connsiteX349" fmla="*/ 7834466 w 21052572"/>
              <a:gd name="connsiteY349" fmla="*/ 6461630 h 8402012"/>
              <a:gd name="connsiteX350" fmla="*/ 6527810 w 21052572"/>
              <a:gd name="connsiteY350" fmla="*/ 6455626 h 8402012"/>
              <a:gd name="connsiteX351" fmla="*/ 6491536 w 21052572"/>
              <a:gd name="connsiteY351" fmla="*/ 6459253 h 8402012"/>
              <a:gd name="connsiteX352" fmla="*/ 6549574 w 21052572"/>
              <a:gd name="connsiteY352" fmla="*/ 6485045 h 8402012"/>
              <a:gd name="connsiteX353" fmla="*/ 6527810 w 21052572"/>
              <a:gd name="connsiteY353" fmla="*/ 6455626 h 8402012"/>
              <a:gd name="connsiteX354" fmla="*/ 8689650 w 21052572"/>
              <a:gd name="connsiteY354" fmla="*/ 6452844 h 8402012"/>
              <a:gd name="connsiteX355" fmla="*/ 8689155 w 21052572"/>
              <a:gd name="connsiteY355" fmla="*/ 6454383 h 8402012"/>
              <a:gd name="connsiteX356" fmla="*/ 8687615 w 21052572"/>
              <a:gd name="connsiteY356" fmla="*/ 6459167 h 8402012"/>
              <a:gd name="connsiteX357" fmla="*/ 8694544 w 21052572"/>
              <a:gd name="connsiteY357" fmla="*/ 6437633 h 8402012"/>
              <a:gd name="connsiteX358" fmla="*/ 8692773 w 21052572"/>
              <a:gd name="connsiteY358" fmla="*/ 6443139 h 8402012"/>
              <a:gd name="connsiteX359" fmla="*/ 8689650 w 21052572"/>
              <a:gd name="connsiteY359" fmla="*/ 6452844 h 8402012"/>
              <a:gd name="connsiteX360" fmla="*/ 8692351 w 21052572"/>
              <a:gd name="connsiteY360" fmla="*/ 6444447 h 8402012"/>
              <a:gd name="connsiteX361" fmla="*/ 8695193 w 21052572"/>
              <a:gd name="connsiteY361" fmla="*/ 6435616 h 8402012"/>
              <a:gd name="connsiteX362" fmla="*/ 8695075 w 21052572"/>
              <a:gd name="connsiteY362" fmla="*/ 6435984 h 8402012"/>
              <a:gd name="connsiteX363" fmla="*/ 8694544 w 21052572"/>
              <a:gd name="connsiteY363" fmla="*/ 6437633 h 8402012"/>
              <a:gd name="connsiteX364" fmla="*/ 8738701 w 21052572"/>
              <a:gd name="connsiteY364" fmla="*/ 6427044 h 8402012"/>
              <a:gd name="connsiteX365" fmla="*/ 8708156 w 21052572"/>
              <a:gd name="connsiteY365" fmla="*/ 6459150 h 8402012"/>
              <a:gd name="connsiteX366" fmla="*/ 8701837 w 21052572"/>
              <a:gd name="connsiteY366" fmla="*/ 6440957 h 8402012"/>
              <a:gd name="connsiteX367" fmla="*/ 8738701 w 21052572"/>
              <a:gd name="connsiteY367" fmla="*/ 6427044 h 8402012"/>
              <a:gd name="connsiteX368" fmla="*/ 6562471 w 21052572"/>
              <a:gd name="connsiteY368" fmla="*/ 6427013 h 8402012"/>
              <a:gd name="connsiteX369" fmla="*/ 6581817 w 21052572"/>
              <a:gd name="connsiteY369" fmla="*/ 6459253 h 8402012"/>
              <a:gd name="connsiteX370" fmla="*/ 6562471 w 21052572"/>
              <a:gd name="connsiteY370" fmla="*/ 6427013 h 8402012"/>
              <a:gd name="connsiteX371" fmla="*/ 8829238 w 21052572"/>
              <a:gd name="connsiteY371" fmla="*/ 6396940 h 8402012"/>
              <a:gd name="connsiteX372" fmla="*/ 8847698 w 21052572"/>
              <a:gd name="connsiteY372" fmla="*/ 6418240 h 8402012"/>
              <a:gd name="connsiteX373" fmla="*/ 8815592 w 21052572"/>
              <a:gd name="connsiteY373" fmla="*/ 6430654 h 8402012"/>
              <a:gd name="connsiteX374" fmla="*/ 8829238 w 21052572"/>
              <a:gd name="connsiteY374" fmla="*/ 6396940 h 8402012"/>
              <a:gd name="connsiteX375" fmla="*/ 6620000 w 21052572"/>
              <a:gd name="connsiteY375" fmla="*/ 6395849 h 8402012"/>
              <a:gd name="connsiteX376" fmla="*/ 6639344 w 21052572"/>
              <a:gd name="connsiteY376" fmla="*/ 6427013 h 8402012"/>
              <a:gd name="connsiteX377" fmla="*/ 6620000 w 21052572"/>
              <a:gd name="connsiteY377" fmla="*/ 6395849 h 8402012"/>
              <a:gd name="connsiteX378" fmla="*/ 7943480 w 21052572"/>
              <a:gd name="connsiteY378" fmla="*/ 6393865 h 8402012"/>
              <a:gd name="connsiteX379" fmla="*/ 7975550 w 21052572"/>
              <a:gd name="connsiteY379" fmla="*/ 6420408 h 8402012"/>
              <a:gd name="connsiteX380" fmla="*/ 7943480 w 21052572"/>
              <a:gd name="connsiteY380" fmla="*/ 6459117 h 8402012"/>
              <a:gd name="connsiteX381" fmla="*/ 7943480 w 21052572"/>
              <a:gd name="connsiteY381" fmla="*/ 6393865 h 8402012"/>
              <a:gd name="connsiteX382" fmla="*/ 8879017 w 21052572"/>
              <a:gd name="connsiteY382" fmla="*/ 6369515 h 8402012"/>
              <a:gd name="connsiteX383" fmla="*/ 8904612 w 21052572"/>
              <a:gd name="connsiteY383" fmla="*/ 6381486 h 8402012"/>
              <a:gd name="connsiteX384" fmla="*/ 8862729 w 21052572"/>
              <a:gd name="connsiteY384" fmla="*/ 6392259 h 8402012"/>
              <a:gd name="connsiteX385" fmla="*/ 8853277 w 21052572"/>
              <a:gd name="connsiteY385" fmla="*/ 6384965 h 8402012"/>
              <a:gd name="connsiteX386" fmla="*/ 8853053 w 21052572"/>
              <a:gd name="connsiteY386" fmla="*/ 6391814 h 8402012"/>
              <a:gd name="connsiteX387" fmla="*/ 8850592 w 21052572"/>
              <a:gd name="connsiteY387" fmla="*/ 6411797 h 8402012"/>
              <a:gd name="connsiteX388" fmla="*/ 8844029 w 21052572"/>
              <a:gd name="connsiteY388" fmla="*/ 6393351 h 8402012"/>
              <a:gd name="connsiteX389" fmla="*/ 8847311 w 21052572"/>
              <a:gd name="connsiteY389" fmla="*/ 6384897 h 8402012"/>
              <a:gd name="connsiteX390" fmla="*/ 8849645 w 21052572"/>
              <a:gd name="connsiteY390" fmla="*/ 6382163 h 8402012"/>
              <a:gd name="connsiteX391" fmla="*/ 8848768 w 21052572"/>
              <a:gd name="connsiteY391" fmla="*/ 6381486 h 8402012"/>
              <a:gd name="connsiteX392" fmla="*/ 8879017 w 21052572"/>
              <a:gd name="connsiteY392" fmla="*/ 6369515 h 8402012"/>
              <a:gd name="connsiteX393" fmla="*/ 8056234 w 21052572"/>
              <a:gd name="connsiteY393" fmla="*/ 6365428 h 8402012"/>
              <a:gd name="connsiteX394" fmla="*/ 8038272 w 21052572"/>
              <a:gd name="connsiteY394" fmla="*/ 6397537 h 8402012"/>
              <a:gd name="connsiteX395" fmla="*/ 8056234 w 21052572"/>
              <a:gd name="connsiteY395" fmla="*/ 6365428 h 8402012"/>
              <a:gd name="connsiteX396" fmla="*/ 622265 w 21052572"/>
              <a:gd name="connsiteY396" fmla="*/ 6344265 h 8402012"/>
              <a:gd name="connsiteX397" fmla="*/ 686749 w 21052572"/>
              <a:gd name="connsiteY397" fmla="*/ 6472149 h 8402012"/>
              <a:gd name="connsiteX398" fmla="*/ 737259 w 21052572"/>
              <a:gd name="connsiteY398" fmla="*/ 6440984 h 8402012"/>
              <a:gd name="connsiteX399" fmla="*/ 622265 w 21052572"/>
              <a:gd name="connsiteY399" fmla="*/ 6344265 h 8402012"/>
              <a:gd name="connsiteX400" fmla="*/ 8999387 w 21052572"/>
              <a:gd name="connsiteY400" fmla="*/ 6313289 h 8402012"/>
              <a:gd name="connsiteX401" fmla="*/ 8918284 w 21052572"/>
              <a:gd name="connsiteY401" fmla="*/ 6364361 h 8402012"/>
              <a:gd name="connsiteX402" fmla="*/ 8907470 w 21052572"/>
              <a:gd name="connsiteY402" fmla="*/ 6347975 h 8402012"/>
              <a:gd name="connsiteX403" fmla="*/ 8907470 w 21052572"/>
              <a:gd name="connsiteY403" fmla="*/ 6383360 h 8402012"/>
              <a:gd name="connsiteX404" fmla="*/ 8900907 w 21052572"/>
              <a:gd name="connsiteY404" fmla="*/ 6364914 h 8402012"/>
              <a:gd name="connsiteX405" fmla="*/ 8907122 w 21052572"/>
              <a:gd name="connsiteY405" fmla="*/ 6347447 h 8402012"/>
              <a:gd name="connsiteX406" fmla="*/ 8905645 w 21052572"/>
              <a:gd name="connsiteY406" fmla="*/ 6345209 h 8402012"/>
              <a:gd name="connsiteX407" fmla="*/ 8999387 w 21052572"/>
              <a:gd name="connsiteY407" fmla="*/ 6313289 h 8402012"/>
              <a:gd name="connsiteX408" fmla="*/ 7415298 w 21052572"/>
              <a:gd name="connsiteY408" fmla="*/ 6299130 h 8402012"/>
              <a:gd name="connsiteX409" fmla="*/ 7357262 w 21052572"/>
              <a:gd name="connsiteY409" fmla="*/ 6344265 h 8402012"/>
              <a:gd name="connsiteX410" fmla="*/ 7415298 w 21052572"/>
              <a:gd name="connsiteY410" fmla="*/ 6331369 h 8402012"/>
              <a:gd name="connsiteX411" fmla="*/ 7415298 w 21052572"/>
              <a:gd name="connsiteY411" fmla="*/ 6299130 h 8402012"/>
              <a:gd name="connsiteX412" fmla="*/ 564229 w 21052572"/>
              <a:gd name="connsiteY412" fmla="*/ 6299130 h 8402012"/>
              <a:gd name="connsiteX413" fmla="*/ 583570 w 21052572"/>
              <a:gd name="connsiteY413" fmla="*/ 6331369 h 8402012"/>
              <a:gd name="connsiteX414" fmla="*/ 564229 w 21052572"/>
              <a:gd name="connsiteY414" fmla="*/ 6299130 h 8402012"/>
              <a:gd name="connsiteX415" fmla="*/ 6879379 w 21052572"/>
              <a:gd name="connsiteY415" fmla="*/ 6282003 h 8402012"/>
              <a:gd name="connsiteX416" fmla="*/ 6747892 w 21052572"/>
              <a:gd name="connsiteY416" fmla="*/ 6363609 h 8402012"/>
              <a:gd name="connsiteX417" fmla="*/ 6696306 w 21052572"/>
              <a:gd name="connsiteY417" fmla="*/ 6363609 h 8402012"/>
              <a:gd name="connsiteX418" fmla="*/ 6767238 w 21052572"/>
              <a:gd name="connsiteY418" fmla="*/ 6363609 h 8402012"/>
              <a:gd name="connsiteX419" fmla="*/ 6901578 w 21052572"/>
              <a:gd name="connsiteY419" fmla="*/ 6299130 h 8402012"/>
              <a:gd name="connsiteX420" fmla="*/ 6879379 w 21052572"/>
              <a:gd name="connsiteY420" fmla="*/ 6282003 h 8402012"/>
              <a:gd name="connsiteX421" fmla="*/ 8154840 w 21052572"/>
              <a:gd name="connsiteY421" fmla="*/ 6281133 h 8402012"/>
              <a:gd name="connsiteX422" fmla="*/ 8168351 w 21052572"/>
              <a:gd name="connsiteY422" fmla="*/ 6281729 h 8402012"/>
              <a:gd name="connsiteX423" fmla="*/ 8193630 w 21052572"/>
              <a:gd name="connsiteY423" fmla="*/ 6332582 h 8402012"/>
              <a:gd name="connsiteX424" fmla="*/ 8136753 w 21052572"/>
              <a:gd name="connsiteY424" fmla="*/ 6364366 h 8402012"/>
              <a:gd name="connsiteX425" fmla="*/ 8118848 w 21052572"/>
              <a:gd name="connsiteY425" fmla="*/ 6300799 h 8402012"/>
              <a:gd name="connsiteX426" fmla="*/ 8154840 w 21052572"/>
              <a:gd name="connsiteY426" fmla="*/ 6281133 h 8402012"/>
              <a:gd name="connsiteX427" fmla="*/ 7504366 w 21052572"/>
              <a:gd name="connsiteY427" fmla="*/ 6265278 h 8402012"/>
              <a:gd name="connsiteX428" fmla="*/ 7473333 w 21052572"/>
              <a:gd name="connsiteY428" fmla="*/ 6273338 h 8402012"/>
              <a:gd name="connsiteX429" fmla="*/ 7512024 w 21052572"/>
              <a:gd name="connsiteY429" fmla="*/ 6286234 h 8402012"/>
              <a:gd name="connsiteX430" fmla="*/ 7504366 w 21052572"/>
              <a:gd name="connsiteY430" fmla="*/ 6265278 h 8402012"/>
              <a:gd name="connsiteX431" fmla="*/ 9126779 w 21052572"/>
              <a:gd name="connsiteY431" fmla="*/ 6248991 h 8402012"/>
              <a:gd name="connsiteX432" fmla="*/ 9136866 w 21052572"/>
              <a:gd name="connsiteY432" fmla="*/ 6255359 h 8402012"/>
              <a:gd name="connsiteX433" fmla="*/ 9099974 w 21052572"/>
              <a:gd name="connsiteY433" fmla="*/ 6274318 h 8402012"/>
              <a:gd name="connsiteX434" fmla="*/ 9126779 w 21052572"/>
              <a:gd name="connsiteY434" fmla="*/ 6248991 h 8402012"/>
              <a:gd name="connsiteX435" fmla="*/ 6715650 w 21052572"/>
              <a:gd name="connsiteY435" fmla="*/ 6241099 h 8402012"/>
              <a:gd name="connsiteX436" fmla="*/ 6734996 w 21052572"/>
              <a:gd name="connsiteY436" fmla="*/ 6273338 h 8402012"/>
              <a:gd name="connsiteX437" fmla="*/ 6715650 w 21052572"/>
              <a:gd name="connsiteY437" fmla="*/ 6241099 h 8402012"/>
              <a:gd name="connsiteX438" fmla="*/ 9126317 w 21052572"/>
              <a:gd name="connsiteY438" fmla="*/ 6233591 h 8402012"/>
              <a:gd name="connsiteX439" fmla="*/ 9125212 w 21052572"/>
              <a:gd name="connsiteY439" fmla="*/ 6236733 h 8402012"/>
              <a:gd name="connsiteX440" fmla="*/ 9123672 w 21052572"/>
              <a:gd name="connsiteY440" fmla="*/ 6241107 h 8402012"/>
              <a:gd name="connsiteX441" fmla="*/ 9130440 w 21052572"/>
              <a:gd name="connsiteY441" fmla="*/ 6221873 h 8402012"/>
              <a:gd name="connsiteX442" fmla="*/ 9128830 w 21052572"/>
              <a:gd name="connsiteY442" fmla="*/ 6226450 h 8402012"/>
              <a:gd name="connsiteX443" fmla="*/ 9126317 w 21052572"/>
              <a:gd name="connsiteY443" fmla="*/ 6233591 h 8402012"/>
              <a:gd name="connsiteX444" fmla="*/ 9128408 w 21052572"/>
              <a:gd name="connsiteY444" fmla="*/ 6227647 h 8402012"/>
              <a:gd name="connsiteX445" fmla="*/ 9131250 w 21052572"/>
              <a:gd name="connsiteY445" fmla="*/ 6219571 h 8402012"/>
              <a:gd name="connsiteX446" fmla="*/ 9131132 w 21052572"/>
              <a:gd name="connsiteY446" fmla="*/ 6219907 h 8402012"/>
              <a:gd name="connsiteX447" fmla="*/ 9130440 w 21052572"/>
              <a:gd name="connsiteY447" fmla="*/ 6221873 h 8402012"/>
              <a:gd name="connsiteX448" fmla="*/ 7581880 w 21052572"/>
              <a:gd name="connsiteY448" fmla="*/ 6209934 h 8402012"/>
              <a:gd name="connsiteX449" fmla="*/ 7601226 w 21052572"/>
              <a:gd name="connsiteY449" fmla="*/ 6241099 h 8402012"/>
              <a:gd name="connsiteX450" fmla="*/ 7581880 w 21052572"/>
              <a:gd name="connsiteY450" fmla="*/ 6209934 h 8402012"/>
              <a:gd name="connsiteX451" fmla="*/ 9226875 w 21052572"/>
              <a:gd name="connsiteY451" fmla="*/ 6209017 h 8402012"/>
              <a:gd name="connsiteX452" fmla="*/ 9226875 w 21052572"/>
              <a:gd name="connsiteY452" fmla="*/ 6274269 h 8402012"/>
              <a:gd name="connsiteX453" fmla="*/ 9144326 w 21052572"/>
              <a:gd name="connsiteY453" fmla="*/ 6241090 h 8402012"/>
              <a:gd name="connsiteX454" fmla="*/ 9137894 w 21052572"/>
              <a:gd name="connsiteY454" fmla="*/ 6228925 h 8402012"/>
              <a:gd name="connsiteX455" fmla="*/ 9226875 w 21052572"/>
              <a:gd name="connsiteY455" fmla="*/ 6209017 h 8402012"/>
              <a:gd name="connsiteX456" fmla="*/ 8340564 w 21052572"/>
              <a:gd name="connsiteY456" fmla="*/ 6209017 h 8402012"/>
              <a:gd name="connsiteX457" fmla="*/ 8322657 w 21052572"/>
              <a:gd name="connsiteY457" fmla="*/ 6241087 h 8402012"/>
              <a:gd name="connsiteX458" fmla="*/ 8340564 w 21052572"/>
              <a:gd name="connsiteY458" fmla="*/ 6209017 h 8402012"/>
              <a:gd name="connsiteX459" fmla="*/ 6920924 w 21052572"/>
              <a:gd name="connsiteY459" fmla="*/ 6164798 h 8402012"/>
              <a:gd name="connsiteX460" fmla="*/ 6793031 w 21052572"/>
              <a:gd name="connsiteY460" fmla="*/ 6241099 h 8402012"/>
              <a:gd name="connsiteX461" fmla="*/ 6920924 w 21052572"/>
              <a:gd name="connsiteY461" fmla="*/ 6164798 h 8402012"/>
              <a:gd name="connsiteX462" fmla="*/ 7774257 w 21052572"/>
              <a:gd name="connsiteY462" fmla="*/ 6119663 h 8402012"/>
              <a:gd name="connsiteX463" fmla="*/ 7678606 w 21052572"/>
              <a:gd name="connsiteY463" fmla="*/ 6184142 h 8402012"/>
              <a:gd name="connsiteX464" fmla="*/ 7774257 w 21052572"/>
              <a:gd name="connsiteY464" fmla="*/ 6151902 h 8402012"/>
              <a:gd name="connsiteX465" fmla="*/ 7774257 w 21052572"/>
              <a:gd name="connsiteY465" fmla="*/ 6119663 h 8402012"/>
              <a:gd name="connsiteX466" fmla="*/ 8455372 w 21052572"/>
              <a:gd name="connsiteY466" fmla="*/ 6118961 h 8402012"/>
              <a:gd name="connsiteX467" fmla="*/ 8482672 w 21052572"/>
              <a:gd name="connsiteY467" fmla="*/ 6145069 h 8402012"/>
              <a:gd name="connsiteX468" fmla="*/ 8455372 w 21052572"/>
              <a:gd name="connsiteY468" fmla="*/ 6184231 h 8402012"/>
              <a:gd name="connsiteX469" fmla="*/ 8455372 w 21052572"/>
              <a:gd name="connsiteY469" fmla="*/ 6118961 h 8402012"/>
              <a:gd name="connsiteX470" fmla="*/ 8545423 w 21052572"/>
              <a:gd name="connsiteY470" fmla="*/ 6085782 h 8402012"/>
              <a:gd name="connsiteX471" fmla="*/ 8563385 w 21052572"/>
              <a:gd name="connsiteY471" fmla="*/ 6117888 h 8402012"/>
              <a:gd name="connsiteX472" fmla="*/ 8545423 w 21052572"/>
              <a:gd name="connsiteY472" fmla="*/ 6085782 h 8402012"/>
              <a:gd name="connsiteX473" fmla="*/ 7033386 w 21052572"/>
              <a:gd name="connsiteY473" fmla="*/ 6084385 h 8402012"/>
              <a:gd name="connsiteX474" fmla="*/ 7023695 w 21052572"/>
              <a:gd name="connsiteY474" fmla="*/ 6085207 h 8402012"/>
              <a:gd name="connsiteX475" fmla="*/ 7017649 w 21052572"/>
              <a:gd name="connsiteY475" fmla="*/ 6100319 h 8402012"/>
              <a:gd name="connsiteX476" fmla="*/ 6966062 w 21052572"/>
              <a:gd name="connsiteY476" fmla="*/ 6119663 h 8402012"/>
              <a:gd name="connsiteX477" fmla="*/ 6972510 w 21052572"/>
              <a:gd name="connsiteY477" fmla="*/ 6151902 h 8402012"/>
              <a:gd name="connsiteX478" fmla="*/ 7011200 w 21052572"/>
              <a:gd name="connsiteY478" fmla="*/ 6126111 h 8402012"/>
              <a:gd name="connsiteX479" fmla="*/ 7056339 w 21052572"/>
              <a:gd name="connsiteY479" fmla="*/ 6119663 h 8402012"/>
              <a:gd name="connsiteX480" fmla="*/ 7033386 w 21052572"/>
              <a:gd name="connsiteY480" fmla="*/ 6084385 h 8402012"/>
              <a:gd name="connsiteX481" fmla="*/ 9496976 w 21052572"/>
              <a:gd name="connsiteY481" fmla="*/ 6057344 h 8402012"/>
              <a:gd name="connsiteX482" fmla="*/ 9469676 w 21052572"/>
              <a:gd name="connsiteY482" fmla="*/ 6089450 h 8402012"/>
              <a:gd name="connsiteX483" fmla="*/ 9496976 w 21052572"/>
              <a:gd name="connsiteY483" fmla="*/ 6057344 h 8402012"/>
              <a:gd name="connsiteX484" fmla="*/ 8602300 w 21052572"/>
              <a:gd name="connsiteY484" fmla="*/ 6057344 h 8402012"/>
              <a:gd name="connsiteX485" fmla="*/ 8620262 w 21052572"/>
              <a:gd name="connsiteY485" fmla="*/ 6089450 h 8402012"/>
              <a:gd name="connsiteX486" fmla="*/ 8602300 w 21052572"/>
              <a:gd name="connsiteY486" fmla="*/ 6057344 h 8402012"/>
              <a:gd name="connsiteX487" fmla="*/ 7909672 w 21052572"/>
              <a:gd name="connsiteY487" fmla="*/ 6035840 h 8402012"/>
              <a:gd name="connsiteX488" fmla="*/ 7800050 w 21052572"/>
              <a:gd name="connsiteY488" fmla="*/ 6087423 h 8402012"/>
              <a:gd name="connsiteX489" fmla="*/ 7870982 w 21052572"/>
              <a:gd name="connsiteY489" fmla="*/ 6087423 h 8402012"/>
              <a:gd name="connsiteX490" fmla="*/ 7909672 w 21052572"/>
              <a:gd name="connsiteY490" fmla="*/ 6055184 h 8402012"/>
              <a:gd name="connsiteX491" fmla="*/ 7909672 w 21052572"/>
              <a:gd name="connsiteY491" fmla="*/ 6035840 h 8402012"/>
              <a:gd name="connsiteX492" fmla="*/ 564229 w 21052572"/>
              <a:gd name="connsiteY492" fmla="*/ 6024019 h 8402012"/>
              <a:gd name="connsiteX493" fmla="*/ 557782 w 21052572"/>
              <a:gd name="connsiteY493" fmla="*/ 6087423 h 8402012"/>
              <a:gd name="connsiteX494" fmla="*/ 544887 w 21052572"/>
              <a:gd name="connsiteY494" fmla="*/ 6184142 h 8402012"/>
              <a:gd name="connsiteX495" fmla="*/ 775945 w 21052572"/>
              <a:gd name="connsiteY495" fmla="*/ 6382953 h 8402012"/>
              <a:gd name="connsiteX496" fmla="*/ 743708 w 21052572"/>
              <a:gd name="connsiteY496" fmla="*/ 6331369 h 8402012"/>
              <a:gd name="connsiteX497" fmla="*/ 667405 w 21052572"/>
              <a:gd name="connsiteY497" fmla="*/ 6235725 h 8402012"/>
              <a:gd name="connsiteX498" fmla="*/ 564229 w 21052572"/>
              <a:gd name="connsiteY498" fmla="*/ 6024019 h 8402012"/>
              <a:gd name="connsiteX499" fmla="*/ 8696596 w 21052572"/>
              <a:gd name="connsiteY499" fmla="*/ 6013265 h 8402012"/>
              <a:gd name="connsiteX500" fmla="*/ 8705577 w 21052572"/>
              <a:gd name="connsiteY500" fmla="*/ 6023218 h 8402012"/>
              <a:gd name="connsiteX501" fmla="*/ 8699590 w 21052572"/>
              <a:gd name="connsiteY501" fmla="*/ 6042017 h 8402012"/>
              <a:gd name="connsiteX502" fmla="*/ 8687615 w 21052572"/>
              <a:gd name="connsiteY502" fmla="*/ 6023218 h 8402012"/>
              <a:gd name="connsiteX503" fmla="*/ 8696596 w 21052572"/>
              <a:gd name="connsiteY503" fmla="*/ 6013265 h 8402012"/>
              <a:gd name="connsiteX504" fmla="*/ 7232998 w 21052572"/>
              <a:gd name="connsiteY504" fmla="*/ 6003264 h 8402012"/>
              <a:gd name="connsiteX505" fmla="*/ 7171335 w 21052572"/>
              <a:gd name="connsiteY505" fmla="*/ 6030467 h 8402012"/>
              <a:gd name="connsiteX506" fmla="*/ 7095029 w 21052572"/>
              <a:gd name="connsiteY506" fmla="*/ 6087423 h 8402012"/>
              <a:gd name="connsiteX507" fmla="*/ 7164886 w 21052572"/>
              <a:gd name="connsiteY507" fmla="*/ 6048736 h 8402012"/>
              <a:gd name="connsiteX508" fmla="*/ 7216474 w 21052572"/>
              <a:gd name="connsiteY508" fmla="*/ 6024019 h 8402012"/>
              <a:gd name="connsiteX509" fmla="*/ 7242267 w 21052572"/>
              <a:gd name="connsiteY509" fmla="*/ 6024019 h 8402012"/>
              <a:gd name="connsiteX510" fmla="*/ 7232998 w 21052572"/>
              <a:gd name="connsiteY510" fmla="*/ 6003264 h 8402012"/>
              <a:gd name="connsiteX511" fmla="*/ 8725009 w 21052572"/>
              <a:gd name="connsiteY511" fmla="*/ 6001748 h 8402012"/>
              <a:gd name="connsiteX512" fmla="*/ 8738701 w 21052572"/>
              <a:gd name="connsiteY512" fmla="*/ 6021731 h 8402012"/>
              <a:gd name="connsiteX513" fmla="*/ 8701837 w 21052572"/>
              <a:gd name="connsiteY513" fmla="*/ 6009433 h 8402012"/>
              <a:gd name="connsiteX514" fmla="*/ 8725009 w 21052572"/>
              <a:gd name="connsiteY514" fmla="*/ 6001748 h 8402012"/>
              <a:gd name="connsiteX515" fmla="*/ 9696114 w 21052572"/>
              <a:gd name="connsiteY515" fmla="*/ 5963957 h 8402012"/>
              <a:gd name="connsiteX516" fmla="*/ 9664005 w 21052572"/>
              <a:gd name="connsiteY516" fmla="*/ 5994700 h 8402012"/>
              <a:gd name="connsiteX517" fmla="*/ 9696114 w 21052572"/>
              <a:gd name="connsiteY517" fmla="*/ 5963957 h 8402012"/>
              <a:gd name="connsiteX518" fmla="*/ 19597496 w 21052572"/>
              <a:gd name="connsiteY518" fmla="*/ 5934112 h 8402012"/>
              <a:gd name="connsiteX519" fmla="*/ 19579536 w 21052572"/>
              <a:gd name="connsiteY519" fmla="*/ 5966218 h 8402012"/>
              <a:gd name="connsiteX520" fmla="*/ 19597496 w 21052572"/>
              <a:gd name="connsiteY520" fmla="*/ 5934112 h 8402012"/>
              <a:gd name="connsiteX521" fmla="*/ 19488484 w 21052572"/>
              <a:gd name="connsiteY521" fmla="*/ 5934112 h 8402012"/>
              <a:gd name="connsiteX522" fmla="*/ 19470520 w 21052572"/>
              <a:gd name="connsiteY522" fmla="*/ 5966218 h 8402012"/>
              <a:gd name="connsiteX523" fmla="*/ 19488484 w 21052572"/>
              <a:gd name="connsiteY523" fmla="*/ 5934112 h 8402012"/>
              <a:gd name="connsiteX524" fmla="*/ 9753060 w 21052572"/>
              <a:gd name="connsiteY524" fmla="*/ 5934112 h 8402012"/>
              <a:gd name="connsiteX525" fmla="*/ 9735098 w 21052572"/>
              <a:gd name="connsiteY525" fmla="*/ 5966218 h 8402012"/>
              <a:gd name="connsiteX526" fmla="*/ 9753060 w 21052572"/>
              <a:gd name="connsiteY526" fmla="*/ 5934112 h 8402012"/>
              <a:gd name="connsiteX527" fmla="*/ 19450568 w 21052572"/>
              <a:gd name="connsiteY527" fmla="*/ 5900933 h 8402012"/>
              <a:gd name="connsiteX528" fmla="*/ 19432604 w 21052572"/>
              <a:gd name="connsiteY528" fmla="*/ 5933042 h 8402012"/>
              <a:gd name="connsiteX529" fmla="*/ 19450568 w 21052572"/>
              <a:gd name="connsiteY529" fmla="*/ 5900933 h 8402012"/>
              <a:gd name="connsiteX530" fmla="*/ 7661679 w 21052572"/>
              <a:gd name="connsiteY530" fmla="*/ 5898284 h 8402012"/>
              <a:gd name="connsiteX531" fmla="*/ 7639916 w 21052572"/>
              <a:gd name="connsiteY531" fmla="*/ 5933748 h 8402012"/>
              <a:gd name="connsiteX532" fmla="*/ 7697951 w 21052572"/>
              <a:gd name="connsiteY532" fmla="*/ 5901508 h 8402012"/>
              <a:gd name="connsiteX533" fmla="*/ 7661679 w 21052572"/>
              <a:gd name="connsiteY533" fmla="*/ 5898284 h 8402012"/>
              <a:gd name="connsiteX534" fmla="*/ 7492678 w 21052572"/>
              <a:gd name="connsiteY534" fmla="*/ 5869269 h 8402012"/>
              <a:gd name="connsiteX535" fmla="*/ 7473333 w 21052572"/>
              <a:gd name="connsiteY535" fmla="*/ 5901508 h 8402012"/>
              <a:gd name="connsiteX536" fmla="*/ 7492678 w 21052572"/>
              <a:gd name="connsiteY536" fmla="*/ 5869269 h 8402012"/>
              <a:gd name="connsiteX537" fmla="*/ 7434643 w 21052572"/>
              <a:gd name="connsiteY537" fmla="*/ 5869269 h 8402012"/>
              <a:gd name="connsiteX538" fmla="*/ 7331469 w 21052572"/>
              <a:gd name="connsiteY538" fmla="*/ 5927300 h 8402012"/>
              <a:gd name="connsiteX539" fmla="*/ 7280957 w 21052572"/>
              <a:gd name="connsiteY539" fmla="*/ 5959540 h 8402012"/>
              <a:gd name="connsiteX540" fmla="*/ 7268060 w 21052572"/>
              <a:gd name="connsiteY540" fmla="*/ 5991779 h 8402012"/>
              <a:gd name="connsiteX541" fmla="*/ 7325021 w 21052572"/>
              <a:gd name="connsiteY541" fmla="*/ 5959540 h 8402012"/>
              <a:gd name="connsiteX542" fmla="*/ 7434643 w 21052572"/>
              <a:gd name="connsiteY542" fmla="*/ 5933748 h 8402012"/>
              <a:gd name="connsiteX543" fmla="*/ 7434643 w 21052572"/>
              <a:gd name="connsiteY543" fmla="*/ 5869269 h 8402012"/>
              <a:gd name="connsiteX544" fmla="*/ 19526400 w 21052572"/>
              <a:gd name="connsiteY544" fmla="*/ 5867755 h 8402012"/>
              <a:gd name="connsiteX545" fmla="*/ 19508440 w 21052572"/>
              <a:gd name="connsiteY545" fmla="*/ 5899861 h 8402012"/>
              <a:gd name="connsiteX546" fmla="*/ 19526400 w 21052572"/>
              <a:gd name="connsiteY546" fmla="*/ 5867755 h 8402012"/>
              <a:gd name="connsiteX547" fmla="*/ 19412648 w 21052572"/>
              <a:gd name="connsiteY547" fmla="*/ 5867755 h 8402012"/>
              <a:gd name="connsiteX548" fmla="*/ 19394688 w 21052572"/>
              <a:gd name="connsiteY548" fmla="*/ 5899861 h 8402012"/>
              <a:gd name="connsiteX549" fmla="*/ 19412648 w 21052572"/>
              <a:gd name="connsiteY549" fmla="*/ 5867755 h 8402012"/>
              <a:gd name="connsiteX550" fmla="*/ 9847855 w 21052572"/>
              <a:gd name="connsiteY550" fmla="*/ 5867755 h 8402012"/>
              <a:gd name="connsiteX551" fmla="*/ 9829893 w 21052572"/>
              <a:gd name="connsiteY551" fmla="*/ 5899861 h 8402012"/>
              <a:gd name="connsiteX552" fmla="*/ 9847855 w 21052572"/>
              <a:gd name="connsiteY552" fmla="*/ 5867755 h 8402012"/>
              <a:gd name="connsiteX553" fmla="*/ 7753417 w 21052572"/>
              <a:gd name="connsiteY553" fmla="*/ 5863425 h 8402012"/>
              <a:gd name="connsiteX554" fmla="*/ 7717296 w 21052572"/>
              <a:gd name="connsiteY554" fmla="*/ 5901508 h 8402012"/>
              <a:gd name="connsiteX555" fmla="*/ 7767808 w 21052572"/>
              <a:gd name="connsiteY555" fmla="*/ 5875717 h 8402012"/>
              <a:gd name="connsiteX556" fmla="*/ 7753417 w 21052572"/>
              <a:gd name="connsiteY556" fmla="*/ 5863425 h 8402012"/>
              <a:gd name="connsiteX557" fmla="*/ 9904733 w 21052572"/>
              <a:gd name="connsiteY557" fmla="*/ 5839317 h 8402012"/>
              <a:gd name="connsiteX558" fmla="*/ 9886771 w 21052572"/>
              <a:gd name="connsiteY558" fmla="*/ 5871423 h 8402012"/>
              <a:gd name="connsiteX559" fmla="*/ 9904733 w 21052572"/>
              <a:gd name="connsiteY559" fmla="*/ 5839317 h 8402012"/>
              <a:gd name="connsiteX560" fmla="*/ 7512024 w 21052572"/>
              <a:gd name="connsiteY560" fmla="*/ 5837029 h 8402012"/>
              <a:gd name="connsiteX561" fmla="*/ 7543190 w 21052572"/>
              <a:gd name="connsiteY561" fmla="*/ 5869269 h 8402012"/>
              <a:gd name="connsiteX562" fmla="*/ 7512024 w 21052572"/>
              <a:gd name="connsiteY562" fmla="*/ 5837029 h 8402012"/>
              <a:gd name="connsiteX563" fmla="*/ 7568984 w 21052572"/>
              <a:gd name="connsiteY563" fmla="*/ 5811238 h 8402012"/>
              <a:gd name="connsiteX564" fmla="*/ 7601226 w 21052572"/>
              <a:gd name="connsiteY564" fmla="*/ 5837029 h 8402012"/>
              <a:gd name="connsiteX565" fmla="*/ 7568984 w 21052572"/>
              <a:gd name="connsiteY565" fmla="*/ 5811238 h 8402012"/>
              <a:gd name="connsiteX566" fmla="*/ 7318572 w 21052572"/>
              <a:gd name="connsiteY566" fmla="*/ 5811238 h 8402012"/>
              <a:gd name="connsiteX567" fmla="*/ 7337918 w 21052572"/>
              <a:gd name="connsiteY567" fmla="*/ 5837029 h 8402012"/>
              <a:gd name="connsiteX568" fmla="*/ 7318572 w 21052572"/>
              <a:gd name="connsiteY568" fmla="*/ 5811238 h 8402012"/>
              <a:gd name="connsiteX569" fmla="*/ 507270 w 21052572"/>
              <a:gd name="connsiteY569" fmla="*/ 5811238 h 8402012"/>
              <a:gd name="connsiteX570" fmla="*/ 526613 w 21052572"/>
              <a:gd name="connsiteY570" fmla="*/ 5837029 h 8402012"/>
              <a:gd name="connsiteX571" fmla="*/ 507270 w 21052572"/>
              <a:gd name="connsiteY571" fmla="*/ 5811238 h 8402012"/>
              <a:gd name="connsiteX572" fmla="*/ 9975826 w 21052572"/>
              <a:gd name="connsiteY572" fmla="*/ 5810880 h 8402012"/>
              <a:gd name="connsiteX573" fmla="*/ 9957864 w 21052572"/>
              <a:gd name="connsiteY573" fmla="*/ 5838180 h 8402012"/>
              <a:gd name="connsiteX574" fmla="*/ 9975826 w 21052572"/>
              <a:gd name="connsiteY574" fmla="*/ 5810880 h 8402012"/>
              <a:gd name="connsiteX575" fmla="*/ 19331148 w 21052572"/>
              <a:gd name="connsiteY575" fmla="*/ 5810877 h 8402012"/>
              <a:gd name="connsiteX576" fmla="*/ 19355744 w 21052572"/>
              <a:gd name="connsiteY576" fmla="*/ 5824790 h 8402012"/>
              <a:gd name="connsiteX577" fmla="*/ 19318852 w 21052572"/>
              <a:gd name="connsiteY577" fmla="*/ 5824790 h 8402012"/>
              <a:gd name="connsiteX578" fmla="*/ 19331148 w 21052572"/>
              <a:gd name="connsiteY578" fmla="*/ 5810877 h 8402012"/>
              <a:gd name="connsiteX579" fmla="*/ 19412648 w 21052572"/>
              <a:gd name="connsiteY579" fmla="*/ 5782440 h 8402012"/>
              <a:gd name="connsiteX580" fmla="*/ 19394688 w 21052572"/>
              <a:gd name="connsiteY580" fmla="*/ 5814510 h 8402012"/>
              <a:gd name="connsiteX581" fmla="*/ 19412648 w 21052572"/>
              <a:gd name="connsiteY581" fmla="*/ 5782440 h 8402012"/>
              <a:gd name="connsiteX582" fmla="*/ 19285672 w 21052572"/>
              <a:gd name="connsiteY582" fmla="*/ 5782440 h 8402012"/>
              <a:gd name="connsiteX583" fmla="*/ 19317780 w 21052572"/>
              <a:gd name="connsiteY583" fmla="*/ 5794738 h 8402012"/>
              <a:gd name="connsiteX584" fmla="*/ 19285672 w 21052572"/>
              <a:gd name="connsiteY584" fmla="*/ 5782440 h 8402012"/>
              <a:gd name="connsiteX585" fmla="*/ 7922569 w 21052572"/>
              <a:gd name="connsiteY585" fmla="*/ 5780073 h 8402012"/>
              <a:gd name="connsiteX586" fmla="*/ 7941914 w 21052572"/>
              <a:gd name="connsiteY586" fmla="*/ 5811238 h 8402012"/>
              <a:gd name="connsiteX587" fmla="*/ 7922569 w 21052572"/>
              <a:gd name="connsiteY587" fmla="*/ 5780073 h 8402012"/>
              <a:gd name="connsiteX588" fmla="*/ 7639916 w 21052572"/>
              <a:gd name="connsiteY588" fmla="*/ 5780073 h 8402012"/>
              <a:gd name="connsiteX589" fmla="*/ 7639916 w 21052572"/>
              <a:gd name="connsiteY589" fmla="*/ 5811238 h 8402012"/>
              <a:gd name="connsiteX590" fmla="*/ 7678606 w 21052572"/>
              <a:gd name="connsiteY590" fmla="*/ 5811238 h 8402012"/>
              <a:gd name="connsiteX591" fmla="*/ 7678606 w 21052572"/>
              <a:gd name="connsiteY591" fmla="*/ 5780073 h 8402012"/>
              <a:gd name="connsiteX592" fmla="*/ 7639916 w 21052572"/>
              <a:gd name="connsiteY592" fmla="*/ 5780073 h 8402012"/>
              <a:gd name="connsiteX593" fmla="*/ 7376608 w 21052572"/>
              <a:gd name="connsiteY593" fmla="*/ 5780073 h 8402012"/>
              <a:gd name="connsiteX594" fmla="*/ 7357262 w 21052572"/>
              <a:gd name="connsiteY594" fmla="*/ 5811238 h 8402012"/>
              <a:gd name="connsiteX595" fmla="*/ 7376608 w 21052572"/>
              <a:gd name="connsiteY595" fmla="*/ 5780073 h 8402012"/>
              <a:gd name="connsiteX596" fmla="*/ 833981 w 21052572"/>
              <a:gd name="connsiteY596" fmla="*/ 5780073 h 8402012"/>
              <a:gd name="connsiteX597" fmla="*/ 846885 w 21052572"/>
              <a:gd name="connsiteY597" fmla="*/ 5811238 h 8402012"/>
              <a:gd name="connsiteX598" fmla="*/ 833981 w 21052572"/>
              <a:gd name="connsiteY598" fmla="*/ 5780073 h 8402012"/>
              <a:gd name="connsiteX599" fmla="*/ 9258384 w 21052572"/>
              <a:gd name="connsiteY599" fmla="*/ 5749261 h 8402012"/>
              <a:gd name="connsiteX600" fmla="*/ 9264796 w 21052572"/>
              <a:gd name="connsiteY600" fmla="*/ 5768559 h 8402012"/>
              <a:gd name="connsiteX601" fmla="*/ 9156851 w 21052572"/>
              <a:gd name="connsiteY601" fmla="*/ 5838245 h 8402012"/>
              <a:gd name="connsiteX602" fmla="*/ 9156851 w 21052572"/>
              <a:gd name="connsiteY602" fmla="*/ 5781424 h 8402012"/>
              <a:gd name="connsiteX603" fmla="*/ 9181433 w 21052572"/>
              <a:gd name="connsiteY603" fmla="*/ 5768559 h 8402012"/>
              <a:gd name="connsiteX604" fmla="*/ 9258384 w 21052572"/>
              <a:gd name="connsiteY604" fmla="*/ 5749261 h 8402012"/>
              <a:gd name="connsiteX605" fmla="*/ 19232894 w 21052572"/>
              <a:gd name="connsiteY605" fmla="*/ 5722699 h 8402012"/>
              <a:gd name="connsiteX606" fmla="*/ 19240580 w 21052572"/>
              <a:gd name="connsiteY606" fmla="*/ 5742539 h 8402012"/>
              <a:gd name="connsiteX607" fmla="*/ 19209836 w 21052572"/>
              <a:gd name="connsiteY607" fmla="*/ 5735926 h 8402012"/>
              <a:gd name="connsiteX608" fmla="*/ 19215984 w 21052572"/>
              <a:gd name="connsiteY608" fmla="*/ 5722699 h 8402012"/>
              <a:gd name="connsiteX609" fmla="*/ 19232894 w 21052572"/>
              <a:gd name="connsiteY609" fmla="*/ 5722699 h 8402012"/>
              <a:gd name="connsiteX610" fmla="*/ 7979530 w 21052572"/>
              <a:gd name="connsiteY610" fmla="*/ 5722041 h 8402012"/>
              <a:gd name="connsiteX611" fmla="*/ 7979530 w 21052572"/>
              <a:gd name="connsiteY611" fmla="*/ 5780073 h 8402012"/>
              <a:gd name="connsiteX612" fmla="*/ 8024668 w 21052572"/>
              <a:gd name="connsiteY612" fmla="*/ 5747833 h 8402012"/>
              <a:gd name="connsiteX613" fmla="*/ 7979530 w 21052572"/>
              <a:gd name="connsiteY613" fmla="*/ 5722041 h 8402012"/>
              <a:gd name="connsiteX614" fmla="*/ 19322948 w 21052572"/>
              <a:gd name="connsiteY614" fmla="*/ 5721336 h 8402012"/>
              <a:gd name="connsiteX615" fmla="*/ 19336784 w 21052572"/>
              <a:gd name="connsiteY615" fmla="*/ 5748236 h 8402012"/>
              <a:gd name="connsiteX616" fmla="*/ 19299892 w 21052572"/>
              <a:gd name="connsiteY616" fmla="*/ 5735939 h 8402012"/>
              <a:gd name="connsiteX617" fmla="*/ 19322948 w 21052572"/>
              <a:gd name="connsiteY617" fmla="*/ 5721336 h 8402012"/>
              <a:gd name="connsiteX618" fmla="*/ 20507472 w 21052572"/>
              <a:gd name="connsiteY618" fmla="*/ 5720824 h 8402012"/>
              <a:gd name="connsiteX619" fmla="*/ 20489564 w 21052572"/>
              <a:gd name="connsiteY619" fmla="*/ 5748124 h 8402012"/>
              <a:gd name="connsiteX620" fmla="*/ 20507472 w 21052572"/>
              <a:gd name="connsiteY620" fmla="*/ 5720824 h 8402012"/>
              <a:gd name="connsiteX621" fmla="*/ 18929052 w 21052572"/>
              <a:gd name="connsiteY621" fmla="*/ 5720821 h 8402012"/>
              <a:gd name="connsiteX622" fmla="*/ 18908580 w 21052572"/>
              <a:gd name="connsiteY622" fmla="*/ 5776665 h 8402012"/>
              <a:gd name="connsiteX623" fmla="*/ 18929052 w 21052572"/>
              <a:gd name="connsiteY623" fmla="*/ 5720821 h 8402012"/>
              <a:gd name="connsiteX624" fmla="*/ 9383272 w 21052572"/>
              <a:gd name="connsiteY624" fmla="*/ 5701863 h 8402012"/>
              <a:gd name="connsiteX625" fmla="*/ 9328645 w 21052572"/>
              <a:gd name="connsiteY625" fmla="*/ 5722530 h 8402012"/>
              <a:gd name="connsiteX626" fmla="*/ 9278922 w 21052572"/>
              <a:gd name="connsiteY626" fmla="*/ 5748152 h 8402012"/>
              <a:gd name="connsiteX627" fmla="*/ 9267113 w 21052572"/>
              <a:gd name="connsiteY627" fmla="*/ 5767148 h 8402012"/>
              <a:gd name="connsiteX628" fmla="*/ 9261126 w 21052572"/>
              <a:gd name="connsiteY628" fmla="*/ 5747885 h 8402012"/>
              <a:gd name="connsiteX629" fmla="*/ 9269638 w 21052572"/>
              <a:gd name="connsiteY629" fmla="*/ 5738756 h 8402012"/>
              <a:gd name="connsiteX630" fmla="*/ 9265865 w 21052572"/>
              <a:gd name="connsiteY630" fmla="*/ 5734931 h 8402012"/>
              <a:gd name="connsiteX631" fmla="*/ 9383272 w 21052572"/>
              <a:gd name="connsiteY631" fmla="*/ 5701863 h 8402012"/>
              <a:gd name="connsiteX632" fmla="*/ 19197256 w 21052572"/>
              <a:gd name="connsiteY632" fmla="*/ 5701391 h 8402012"/>
              <a:gd name="connsiteX633" fmla="*/ 19208740 w 21052572"/>
              <a:gd name="connsiteY633" fmla="*/ 5703950 h 8402012"/>
              <a:gd name="connsiteX634" fmla="*/ 19195616 w 21052572"/>
              <a:gd name="connsiteY634" fmla="*/ 5724425 h 8402012"/>
              <a:gd name="connsiteX635" fmla="*/ 19197256 w 21052572"/>
              <a:gd name="connsiteY635" fmla="*/ 5701391 h 8402012"/>
              <a:gd name="connsiteX636" fmla="*/ 19886620 w 21052572"/>
              <a:gd name="connsiteY636" fmla="*/ 5692386 h 8402012"/>
              <a:gd name="connsiteX637" fmla="*/ 19868660 w 21052572"/>
              <a:gd name="connsiteY637" fmla="*/ 5724495 h 8402012"/>
              <a:gd name="connsiteX638" fmla="*/ 19886620 w 21052572"/>
              <a:gd name="connsiteY638" fmla="*/ 5692386 h 8402012"/>
              <a:gd name="connsiteX639" fmla="*/ 8056910 w 21052572"/>
              <a:gd name="connsiteY639" fmla="*/ 5689802 h 8402012"/>
              <a:gd name="connsiteX640" fmla="*/ 8056910 w 21052572"/>
              <a:gd name="connsiteY640" fmla="*/ 5747833 h 8402012"/>
              <a:gd name="connsiteX641" fmla="*/ 8114946 w 21052572"/>
              <a:gd name="connsiteY641" fmla="*/ 5734937 h 8402012"/>
              <a:gd name="connsiteX642" fmla="*/ 8056910 w 21052572"/>
              <a:gd name="connsiteY642" fmla="*/ 5689802 h 8402012"/>
              <a:gd name="connsiteX643" fmla="*/ 321342 w 21052572"/>
              <a:gd name="connsiteY643" fmla="*/ 5689802 h 8402012"/>
              <a:gd name="connsiteX644" fmla="*/ 358957 w 21052572"/>
              <a:gd name="connsiteY644" fmla="*/ 5734937 h 8402012"/>
              <a:gd name="connsiteX645" fmla="*/ 397648 w 21052572"/>
              <a:gd name="connsiteY645" fmla="*/ 5747833 h 8402012"/>
              <a:gd name="connsiteX646" fmla="*/ 321342 w 21052572"/>
              <a:gd name="connsiteY646" fmla="*/ 5689802 h 8402012"/>
              <a:gd name="connsiteX647" fmla="*/ 10273257 w 21052572"/>
              <a:gd name="connsiteY647" fmla="*/ 5681344 h 8402012"/>
              <a:gd name="connsiteX648" fmla="*/ 10272228 w 21052572"/>
              <a:gd name="connsiteY648" fmla="*/ 5683458 h 8402012"/>
              <a:gd name="connsiteX649" fmla="*/ 10270689 w 21052572"/>
              <a:gd name="connsiteY649" fmla="*/ 5686619 h 8402012"/>
              <a:gd name="connsiteX650" fmla="*/ 19249732 w 21052572"/>
              <a:gd name="connsiteY650" fmla="*/ 5676443 h 8402012"/>
              <a:gd name="connsiteX651" fmla="*/ 19298812 w 21052572"/>
              <a:gd name="connsiteY651" fmla="*/ 5704896 h 8402012"/>
              <a:gd name="connsiteX652" fmla="*/ 19292352 w 21052572"/>
              <a:gd name="connsiteY652" fmla="*/ 5724477 h 8402012"/>
              <a:gd name="connsiteX653" fmla="*/ 19256532 w 21052572"/>
              <a:gd name="connsiteY653" fmla="*/ 5717134 h 8402012"/>
              <a:gd name="connsiteX654" fmla="*/ 19244084 w 21052572"/>
              <a:gd name="connsiteY654" fmla="*/ 5708343 h 8402012"/>
              <a:gd name="connsiteX655" fmla="*/ 19251508 w 21052572"/>
              <a:gd name="connsiteY655" fmla="*/ 5722338 h 8402012"/>
              <a:gd name="connsiteX656" fmla="*/ 19239780 w 21052572"/>
              <a:gd name="connsiteY656" fmla="*/ 5722338 h 8402012"/>
              <a:gd name="connsiteX657" fmla="*/ 19240480 w 21052572"/>
              <a:gd name="connsiteY657" fmla="*/ 5705798 h 8402012"/>
              <a:gd name="connsiteX658" fmla="*/ 19239636 w 21052572"/>
              <a:gd name="connsiteY658" fmla="*/ 5705202 h 8402012"/>
              <a:gd name="connsiteX659" fmla="*/ 19235260 w 21052572"/>
              <a:gd name="connsiteY659" fmla="*/ 5685315 h 8402012"/>
              <a:gd name="connsiteX660" fmla="*/ 19249732 w 21052572"/>
              <a:gd name="connsiteY660" fmla="*/ 5676443 h 8402012"/>
              <a:gd name="connsiteX661" fmla="*/ 10275971 w 21052572"/>
              <a:gd name="connsiteY661" fmla="*/ 5675771 h 8402012"/>
              <a:gd name="connsiteX662" fmla="*/ 10273257 w 21052572"/>
              <a:gd name="connsiteY662" fmla="*/ 5681344 h 8402012"/>
              <a:gd name="connsiteX663" fmla="*/ 10275425 w 21052572"/>
              <a:gd name="connsiteY663" fmla="*/ 5676892 h 8402012"/>
              <a:gd name="connsiteX664" fmla="*/ 10278267 w 21052572"/>
              <a:gd name="connsiteY664" fmla="*/ 5671055 h 8402012"/>
              <a:gd name="connsiteX665" fmla="*/ 10275971 w 21052572"/>
              <a:gd name="connsiteY665" fmla="*/ 5675771 h 8402012"/>
              <a:gd name="connsiteX666" fmla="*/ 10278148 w 21052572"/>
              <a:gd name="connsiteY666" fmla="*/ 5671298 h 8402012"/>
              <a:gd name="connsiteX667" fmla="*/ 10278267 w 21052572"/>
              <a:gd name="connsiteY667" fmla="*/ 5671055 h 8402012"/>
              <a:gd name="connsiteX668" fmla="*/ 8415869 w 21052572"/>
              <a:gd name="connsiteY668" fmla="*/ 5657562 h 8402012"/>
              <a:gd name="connsiteX669" fmla="*/ 8435214 w 21052572"/>
              <a:gd name="connsiteY669" fmla="*/ 5689802 h 8402012"/>
              <a:gd name="connsiteX670" fmla="*/ 8415869 w 21052572"/>
              <a:gd name="connsiteY670" fmla="*/ 5657562 h 8402012"/>
              <a:gd name="connsiteX671" fmla="*/ 7581880 w 21052572"/>
              <a:gd name="connsiteY671" fmla="*/ 5657562 h 8402012"/>
              <a:gd name="connsiteX672" fmla="*/ 7601226 w 21052572"/>
              <a:gd name="connsiteY672" fmla="*/ 5689802 h 8402012"/>
              <a:gd name="connsiteX673" fmla="*/ 7581880 w 21052572"/>
              <a:gd name="connsiteY673" fmla="*/ 5657562 h 8402012"/>
              <a:gd name="connsiteX674" fmla="*/ 9454956 w 21052572"/>
              <a:gd name="connsiteY674" fmla="*/ 5650608 h 8402012"/>
              <a:gd name="connsiteX675" fmla="*/ 9463937 w 21052572"/>
              <a:gd name="connsiteY675" fmla="*/ 5657833 h 8402012"/>
              <a:gd name="connsiteX676" fmla="*/ 9451962 w 21052572"/>
              <a:gd name="connsiteY676" fmla="*/ 5677098 h 8402012"/>
              <a:gd name="connsiteX677" fmla="*/ 9445975 w 21052572"/>
              <a:gd name="connsiteY677" fmla="*/ 5657833 h 8402012"/>
              <a:gd name="connsiteX678" fmla="*/ 9454956 w 21052572"/>
              <a:gd name="connsiteY678" fmla="*/ 5650608 h 8402012"/>
              <a:gd name="connsiteX679" fmla="*/ 10297753 w 21052572"/>
              <a:gd name="connsiteY679" fmla="*/ 5644986 h 8402012"/>
              <a:gd name="connsiteX680" fmla="*/ 10317017 w 21052572"/>
              <a:gd name="connsiteY680" fmla="*/ 5691281 h 8402012"/>
              <a:gd name="connsiteX681" fmla="*/ 10284911 w 21052572"/>
              <a:gd name="connsiteY681" fmla="*/ 5678054 h 8402012"/>
              <a:gd name="connsiteX682" fmla="*/ 10297753 w 21052572"/>
              <a:gd name="connsiteY682" fmla="*/ 5644986 h 8402012"/>
              <a:gd name="connsiteX683" fmla="*/ 9473864 w 21052572"/>
              <a:gd name="connsiteY683" fmla="*/ 5634183 h 8402012"/>
              <a:gd name="connsiteX684" fmla="*/ 9497011 w 21052572"/>
              <a:gd name="connsiteY684" fmla="*/ 5644420 h 8402012"/>
              <a:gd name="connsiteX685" fmla="*/ 9450716 w 21052572"/>
              <a:gd name="connsiteY685" fmla="*/ 5644420 h 8402012"/>
              <a:gd name="connsiteX686" fmla="*/ 9473864 w 21052572"/>
              <a:gd name="connsiteY686" fmla="*/ 5634183 h 8402012"/>
              <a:gd name="connsiteX687" fmla="*/ 7261612 w 21052572"/>
              <a:gd name="connsiteY687" fmla="*/ 5625323 h 8402012"/>
              <a:gd name="connsiteX688" fmla="*/ 7242267 w 21052572"/>
              <a:gd name="connsiteY688" fmla="*/ 5657562 h 8402012"/>
              <a:gd name="connsiteX689" fmla="*/ 7261612 w 21052572"/>
              <a:gd name="connsiteY689" fmla="*/ 5625323 h 8402012"/>
              <a:gd name="connsiteX690" fmla="*/ 9486616 w 21052572"/>
              <a:gd name="connsiteY690" fmla="*/ 5614347 h 8402012"/>
              <a:gd name="connsiteX691" fmla="*/ 9483892 w 21052572"/>
              <a:gd name="connsiteY691" fmla="*/ 5624940 h 8402012"/>
              <a:gd name="connsiteX692" fmla="*/ 9485738 w 21052572"/>
              <a:gd name="connsiteY692" fmla="*/ 5617761 h 8402012"/>
              <a:gd name="connsiteX693" fmla="*/ 9488543 w 21052572"/>
              <a:gd name="connsiteY693" fmla="*/ 5606855 h 8402012"/>
              <a:gd name="connsiteX694" fmla="*/ 9486616 w 21052572"/>
              <a:gd name="connsiteY694" fmla="*/ 5614347 h 8402012"/>
              <a:gd name="connsiteX695" fmla="*/ 9487661 w 21052572"/>
              <a:gd name="connsiteY695" fmla="*/ 5610283 h 8402012"/>
              <a:gd name="connsiteX696" fmla="*/ 9489431 w 21052572"/>
              <a:gd name="connsiteY696" fmla="*/ 5603404 h 8402012"/>
              <a:gd name="connsiteX697" fmla="*/ 9488543 w 21052572"/>
              <a:gd name="connsiteY697" fmla="*/ 5606855 h 8402012"/>
              <a:gd name="connsiteX698" fmla="*/ 9488815 w 21052572"/>
              <a:gd name="connsiteY698" fmla="*/ 5605797 h 8402012"/>
              <a:gd name="connsiteX699" fmla="*/ 9489431 w 21052572"/>
              <a:gd name="connsiteY699" fmla="*/ 5603404 h 8402012"/>
              <a:gd name="connsiteX700" fmla="*/ 7678606 w 21052572"/>
              <a:gd name="connsiteY700" fmla="*/ 5594158 h 8402012"/>
              <a:gd name="connsiteX701" fmla="*/ 7659261 w 21052572"/>
              <a:gd name="connsiteY701" fmla="*/ 5625323 h 8402012"/>
              <a:gd name="connsiteX702" fmla="*/ 7678606 w 21052572"/>
              <a:gd name="connsiteY702" fmla="*/ 5594158 h 8402012"/>
              <a:gd name="connsiteX703" fmla="*/ 19090348 w 21052572"/>
              <a:gd name="connsiteY703" fmla="*/ 5592850 h 8402012"/>
              <a:gd name="connsiteX704" fmla="*/ 19072384 w 21052572"/>
              <a:gd name="connsiteY704" fmla="*/ 5624920 h 8402012"/>
              <a:gd name="connsiteX705" fmla="*/ 19090348 w 21052572"/>
              <a:gd name="connsiteY705" fmla="*/ 5592850 h 8402012"/>
              <a:gd name="connsiteX706" fmla="*/ 20374812 w 21052572"/>
              <a:gd name="connsiteY706" fmla="*/ 5564413 h 8402012"/>
              <a:gd name="connsiteX707" fmla="*/ 20356852 w 21052572"/>
              <a:gd name="connsiteY707" fmla="*/ 5596519 h 8402012"/>
              <a:gd name="connsiteX708" fmla="*/ 20374812 w 21052572"/>
              <a:gd name="connsiteY708" fmla="*/ 5564413 h 8402012"/>
              <a:gd name="connsiteX709" fmla="*/ 19810784 w 21052572"/>
              <a:gd name="connsiteY709" fmla="*/ 5564413 h 8402012"/>
              <a:gd name="connsiteX710" fmla="*/ 19792824 w 21052572"/>
              <a:gd name="connsiteY710" fmla="*/ 5596519 h 8402012"/>
              <a:gd name="connsiteX711" fmla="*/ 19810784 w 21052572"/>
              <a:gd name="connsiteY711" fmla="*/ 5564413 h 8402012"/>
              <a:gd name="connsiteX712" fmla="*/ 10828980 w 21052572"/>
              <a:gd name="connsiteY712" fmla="*/ 5564413 h 8402012"/>
              <a:gd name="connsiteX713" fmla="*/ 10811018 w 21052572"/>
              <a:gd name="connsiteY713" fmla="*/ 5596519 h 8402012"/>
              <a:gd name="connsiteX714" fmla="*/ 10828980 w 21052572"/>
              <a:gd name="connsiteY714" fmla="*/ 5564413 h 8402012"/>
              <a:gd name="connsiteX715" fmla="*/ 7774257 w 21052572"/>
              <a:gd name="connsiteY715" fmla="*/ 5561918 h 8402012"/>
              <a:gd name="connsiteX716" fmla="*/ 7754912 w 21052572"/>
              <a:gd name="connsiteY716" fmla="*/ 5594158 h 8402012"/>
              <a:gd name="connsiteX717" fmla="*/ 7774257 w 21052572"/>
              <a:gd name="connsiteY717" fmla="*/ 5561918 h 8402012"/>
              <a:gd name="connsiteX718" fmla="*/ 9600691 w 21052572"/>
              <a:gd name="connsiteY718" fmla="*/ 5555468 h 8402012"/>
              <a:gd name="connsiteX719" fmla="*/ 9615105 w 21052572"/>
              <a:gd name="connsiteY719" fmla="*/ 5563402 h 8402012"/>
              <a:gd name="connsiteX720" fmla="*/ 9619348 w 21052572"/>
              <a:gd name="connsiteY720" fmla="*/ 5571868 h 8402012"/>
              <a:gd name="connsiteX721" fmla="*/ 9616604 w 21052572"/>
              <a:gd name="connsiteY721" fmla="*/ 5563038 h 8402012"/>
              <a:gd name="connsiteX722" fmla="*/ 9634566 w 21052572"/>
              <a:gd name="connsiteY722" fmla="*/ 5563038 h 8402012"/>
              <a:gd name="connsiteX723" fmla="*/ 9623691 w 21052572"/>
              <a:gd name="connsiteY723" fmla="*/ 5580533 h 8402012"/>
              <a:gd name="connsiteX724" fmla="*/ 9625019 w 21052572"/>
              <a:gd name="connsiteY724" fmla="*/ 5583182 h 8402012"/>
              <a:gd name="connsiteX725" fmla="*/ 9498114 w 21052572"/>
              <a:gd name="connsiteY725" fmla="*/ 5607892 h 8402012"/>
              <a:gd name="connsiteX726" fmla="*/ 9600691 w 21052572"/>
              <a:gd name="connsiteY726" fmla="*/ 5555468 h 8402012"/>
              <a:gd name="connsiteX727" fmla="*/ 9649142 w 21052572"/>
              <a:gd name="connsiteY727" fmla="*/ 5541994 h 8402012"/>
              <a:gd name="connsiteX728" fmla="*/ 9662976 w 21052572"/>
              <a:gd name="connsiteY728" fmla="*/ 5561978 h 8402012"/>
              <a:gd name="connsiteX729" fmla="*/ 9626084 w 21052572"/>
              <a:gd name="connsiteY729" fmla="*/ 5549680 h 8402012"/>
              <a:gd name="connsiteX730" fmla="*/ 9649142 w 21052572"/>
              <a:gd name="connsiteY730" fmla="*/ 5541994 h 8402012"/>
              <a:gd name="connsiteX731" fmla="*/ 904916 w 21052572"/>
              <a:gd name="connsiteY731" fmla="*/ 5536127 h 8402012"/>
              <a:gd name="connsiteX732" fmla="*/ 924259 w 21052572"/>
              <a:gd name="connsiteY732" fmla="*/ 5561918 h 8402012"/>
              <a:gd name="connsiteX733" fmla="*/ 904916 w 21052572"/>
              <a:gd name="connsiteY733" fmla="*/ 5536127 h 8402012"/>
              <a:gd name="connsiteX734" fmla="*/ 20336892 w 21052572"/>
              <a:gd name="connsiteY734" fmla="*/ 5535975 h 8402012"/>
              <a:gd name="connsiteX735" fmla="*/ 20318932 w 21052572"/>
              <a:gd name="connsiteY735" fmla="*/ 5563275 h 8402012"/>
              <a:gd name="connsiteX736" fmla="*/ 20336892 w 21052572"/>
              <a:gd name="connsiteY736" fmla="*/ 5535975 h 8402012"/>
              <a:gd name="connsiteX737" fmla="*/ 20298976 w 21052572"/>
              <a:gd name="connsiteY737" fmla="*/ 5502796 h 8402012"/>
              <a:gd name="connsiteX738" fmla="*/ 20281016 w 21052572"/>
              <a:gd name="connsiteY738" fmla="*/ 5534905 h 8402012"/>
              <a:gd name="connsiteX739" fmla="*/ 20298976 w 21052572"/>
              <a:gd name="connsiteY739" fmla="*/ 5502796 h 8402012"/>
              <a:gd name="connsiteX740" fmla="*/ 18451480 w 21052572"/>
              <a:gd name="connsiteY740" fmla="*/ 5502793 h 8402012"/>
              <a:gd name="connsiteX741" fmla="*/ 18471348 w 21052572"/>
              <a:gd name="connsiteY741" fmla="*/ 5502793 h 8402012"/>
              <a:gd name="connsiteX742" fmla="*/ 18530952 w 21052572"/>
              <a:gd name="connsiteY742" fmla="*/ 5515562 h 8402012"/>
              <a:gd name="connsiteX743" fmla="*/ 18451480 w 21052572"/>
              <a:gd name="connsiteY743" fmla="*/ 5502793 h 8402012"/>
              <a:gd name="connsiteX744" fmla="*/ 8200538 w 21052572"/>
              <a:gd name="connsiteY744" fmla="*/ 5493610 h 8402012"/>
              <a:gd name="connsiteX745" fmla="*/ 8147187 w 21052572"/>
              <a:gd name="connsiteY745" fmla="*/ 5542574 h 8402012"/>
              <a:gd name="connsiteX746" fmla="*/ 8056910 w 21052572"/>
              <a:gd name="connsiteY746" fmla="*/ 5587710 h 8402012"/>
              <a:gd name="connsiteX747" fmla="*/ 7960184 w 21052572"/>
              <a:gd name="connsiteY747" fmla="*/ 5631771 h 8402012"/>
              <a:gd name="connsiteX748" fmla="*/ 7864534 w 21052572"/>
              <a:gd name="connsiteY748" fmla="*/ 5676906 h 8402012"/>
              <a:gd name="connsiteX749" fmla="*/ 7832292 w 21052572"/>
              <a:gd name="connsiteY749" fmla="*/ 5689802 h 8402012"/>
              <a:gd name="connsiteX750" fmla="*/ 7793602 w 21052572"/>
              <a:gd name="connsiteY750" fmla="*/ 5728489 h 8402012"/>
              <a:gd name="connsiteX751" fmla="*/ 7697951 w 21052572"/>
              <a:gd name="connsiteY751" fmla="*/ 5760729 h 8402012"/>
              <a:gd name="connsiteX752" fmla="*/ 7966633 w 21052572"/>
              <a:gd name="connsiteY752" fmla="*/ 5644666 h 8402012"/>
              <a:gd name="connsiteX753" fmla="*/ 8217044 w 21052572"/>
              <a:gd name="connsiteY753" fmla="*/ 5510335 h 8402012"/>
              <a:gd name="connsiteX754" fmla="*/ 8200538 w 21052572"/>
              <a:gd name="connsiteY754" fmla="*/ 5493610 h 8402012"/>
              <a:gd name="connsiteX755" fmla="*/ 7531368 w 21052572"/>
              <a:gd name="connsiteY755" fmla="*/ 5478095 h 8402012"/>
              <a:gd name="connsiteX756" fmla="*/ 7486230 w 21052572"/>
              <a:gd name="connsiteY756" fmla="*/ 5503887 h 8402012"/>
              <a:gd name="connsiteX757" fmla="*/ 7428194 w 21052572"/>
              <a:gd name="connsiteY757" fmla="*/ 5555470 h 8402012"/>
              <a:gd name="connsiteX758" fmla="*/ 7318572 w 21052572"/>
              <a:gd name="connsiteY758" fmla="*/ 5625323 h 8402012"/>
              <a:gd name="connsiteX759" fmla="*/ 7370160 w 21052572"/>
              <a:gd name="connsiteY759" fmla="*/ 5625323 h 8402012"/>
              <a:gd name="connsiteX760" fmla="*/ 7543190 w 21052572"/>
              <a:gd name="connsiteY760" fmla="*/ 5536127 h 8402012"/>
              <a:gd name="connsiteX761" fmla="*/ 7531368 w 21052572"/>
              <a:gd name="connsiteY761" fmla="*/ 5478095 h 8402012"/>
              <a:gd name="connsiteX762" fmla="*/ 10653612 w 21052572"/>
              <a:gd name="connsiteY762" fmla="*/ 5469618 h 8402012"/>
              <a:gd name="connsiteX763" fmla="*/ 10635650 w 21052572"/>
              <a:gd name="connsiteY763" fmla="*/ 5501724 h 8402012"/>
              <a:gd name="connsiteX764" fmla="*/ 10653612 w 21052572"/>
              <a:gd name="connsiteY764" fmla="*/ 5469618 h 8402012"/>
              <a:gd name="connsiteX765" fmla="*/ 8890927 w 21052572"/>
              <a:gd name="connsiteY765" fmla="*/ 5465756 h 8402012"/>
              <a:gd name="connsiteX766" fmla="*/ 8899908 w 21052572"/>
              <a:gd name="connsiteY766" fmla="*/ 5472980 h 8402012"/>
              <a:gd name="connsiteX767" fmla="*/ 8887933 w 21052572"/>
              <a:gd name="connsiteY767" fmla="*/ 5492243 h 8402012"/>
              <a:gd name="connsiteX768" fmla="*/ 8881946 w 21052572"/>
              <a:gd name="connsiteY768" fmla="*/ 5472980 h 8402012"/>
              <a:gd name="connsiteX769" fmla="*/ 8890927 w 21052572"/>
              <a:gd name="connsiteY769" fmla="*/ 5465756 h 8402012"/>
              <a:gd name="connsiteX770" fmla="*/ 8594024 w 21052572"/>
              <a:gd name="connsiteY770" fmla="*/ 5442358 h 8402012"/>
              <a:gd name="connsiteX771" fmla="*/ 8596889 w 21052572"/>
              <a:gd name="connsiteY771" fmla="*/ 5446490 h 8402012"/>
              <a:gd name="connsiteX772" fmla="*/ 8595384 w 21052572"/>
              <a:gd name="connsiteY772" fmla="*/ 5444320 h 8402012"/>
              <a:gd name="connsiteX773" fmla="*/ 8583343 w 21052572"/>
              <a:gd name="connsiteY773" fmla="*/ 5426959 h 8402012"/>
              <a:gd name="connsiteX774" fmla="*/ 8587859 w 21052572"/>
              <a:gd name="connsiteY774" fmla="*/ 5433469 h 8402012"/>
              <a:gd name="connsiteX775" fmla="*/ 8594024 w 21052572"/>
              <a:gd name="connsiteY775" fmla="*/ 5442358 h 8402012"/>
              <a:gd name="connsiteX776" fmla="*/ 8592562 w 21052572"/>
              <a:gd name="connsiteY776" fmla="*/ 5440251 h 8402012"/>
              <a:gd name="connsiteX777" fmla="*/ 8583343 w 21052572"/>
              <a:gd name="connsiteY777" fmla="*/ 5426959 h 8402012"/>
              <a:gd name="connsiteX778" fmla="*/ 18830936 w 21052572"/>
              <a:gd name="connsiteY778" fmla="*/ 5411343 h 8402012"/>
              <a:gd name="connsiteX779" fmla="*/ 18886480 w 21052572"/>
              <a:gd name="connsiteY779" fmla="*/ 5459060 h 8402012"/>
              <a:gd name="connsiteX780" fmla="*/ 18811700 w 21052572"/>
              <a:gd name="connsiteY780" fmla="*/ 5426744 h 8402012"/>
              <a:gd name="connsiteX781" fmla="*/ 18830936 w 21052572"/>
              <a:gd name="connsiteY781" fmla="*/ 5411343 h 8402012"/>
              <a:gd name="connsiteX782" fmla="*/ 18799940 w 21052572"/>
              <a:gd name="connsiteY782" fmla="*/ 5393307 h 8402012"/>
              <a:gd name="connsiteX783" fmla="*/ 18810604 w 21052572"/>
              <a:gd name="connsiteY783" fmla="*/ 5395866 h 8402012"/>
              <a:gd name="connsiteX784" fmla="*/ 18804040 w 21052572"/>
              <a:gd name="connsiteY784" fmla="*/ 5416341 h 8402012"/>
              <a:gd name="connsiteX785" fmla="*/ 18799940 w 21052572"/>
              <a:gd name="connsiteY785" fmla="*/ 5393307 h 8402012"/>
              <a:gd name="connsiteX786" fmla="*/ 8700838 w 21052572"/>
              <a:gd name="connsiteY786" fmla="*/ 5384303 h 8402012"/>
              <a:gd name="connsiteX787" fmla="*/ 8682876 w 21052572"/>
              <a:gd name="connsiteY787" fmla="*/ 5416409 h 8402012"/>
              <a:gd name="connsiteX788" fmla="*/ 8700838 w 21052572"/>
              <a:gd name="connsiteY788" fmla="*/ 5384303 h 8402012"/>
              <a:gd name="connsiteX789" fmla="*/ 18245036 w 21052572"/>
              <a:gd name="connsiteY789" fmla="*/ 5365343 h 8402012"/>
              <a:gd name="connsiteX790" fmla="*/ 18247404 w 21052572"/>
              <a:gd name="connsiteY790" fmla="*/ 5381396 h 8402012"/>
              <a:gd name="connsiteX791" fmla="*/ 18245400 w 21052572"/>
              <a:gd name="connsiteY791" fmla="*/ 5394978 h 8402012"/>
              <a:gd name="connsiteX792" fmla="*/ 18246616 w 21052572"/>
              <a:gd name="connsiteY792" fmla="*/ 5396535 h 8402012"/>
              <a:gd name="connsiteX793" fmla="*/ 18245044 w 21052572"/>
              <a:gd name="connsiteY793" fmla="*/ 5397380 h 8402012"/>
              <a:gd name="connsiteX794" fmla="*/ 18245036 w 21052572"/>
              <a:gd name="connsiteY794" fmla="*/ 5397449 h 8402012"/>
              <a:gd name="connsiteX795" fmla="*/ 18245004 w 21052572"/>
              <a:gd name="connsiteY795" fmla="*/ 5397403 h 8402012"/>
              <a:gd name="connsiteX796" fmla="*/ 18209752 w 21052572"/>
              <a:gd name="connsiteY796" fmla="*/ 5416376 h 8402012"/>
              <a:gd name="connsiteX797" fmla="*/ 18223840 w 21052572"/>
              <a:gd name="connsiteY797" fmla="*/ 5381655 h 8402012"/>
              <a:gd name="connsiteX798" fmla="*/ 18234564 w 21052572"/>
              <a:gd name="connsiteY798" fmla="*/ 5382751 h 8402012"/>
              <a:gd name="connsiteX799" fmla="*/ 9586345 w 21052572"/>
              <a:gd name="connsiteY799" fmla="*/ 5365343 h 8402012"/>
              <a:gd name="connsiteX800" fmla="*/ 9591815 w 21052572"/>
              <a:gd name="connsiteY800" fmla="*/ 5384607 h 8402012"/>
              <a:gd name="connsiteX801" fmla="*/ 9586345 w 21052572"/>
              <a:gd name="connsiteY801" fmla="*/ 5397449 h 8402012"/>
              <a:gd name="connsiteX802" fmla="*/ 9586345 w 21052572"/>
              <a:gd name="connsiteY802" fmla="*/ 5365343 h 8402012"/>
              <a:gd name="connsiteX803" fmla="*/ 8002180 w 21052572"/>
              <a:gd name="connsiteY803" fmla="*/ 5365343 h 8402012"/>
              <a:gd name="connsiteX804" fmla="*/ 8008744 w 21052572"/>
              <a:gd name="connsiteY804" fmla="*/ 5384607 h 8402012"/>
              <a:gd name="connsiteX805" fmla="*/ 8002180 w 21052572"/>
              <a:gd name="connsiteY805" fmla="*/ 5397449 h 8402012"/>
              <a:gd name="connsiteX806" fmla="*/ 8002180 w 21052572"/>
              <a:gd name="connsiteY806" fmla="*/ 5365343 h 8402012"/>
              <a:gd name="connsiteX807" fmla="*/ 9618055 w 21052572"/>
              <a:gd name="connsiteY807" fmla="*/ 5351565 h 8402012"/>
              <a:gd name="connsiteX808" fmla="*/ 9643992 w 21052572"/>
              <a:gd name="connsiteY808" fmla="*/ 5361485 h 8402012"/>
              <a:gd name="connsiteX809" fmla="*/ 9588167 w 21052572"/>
              <a:gd name="connsiteY809" fmla="*/ 5361485 h 8402012"/>
              <a:gd name="connsiteX810" fmla="*/ 9618055 w 21052572"/>
              <a:gd name="connsiteY810" fmla="*/ 5351565 h 8402012"/>
              <a:gd name="connsiteX811" fmla="*/ 20116532 w 21052572"/>
              <a:gd name="connsiteY811" fmla="*/ 5351124 h 8402012"/>
              <a:gd name="connsiteX812" fmla="*/ 20147276 w 21052572"/>
              <a:gd name="connsiteY812" fmla="*/ 5363968 h 8402012"/>
              <a:gd name="connsiteX813" fmla="*/ 20110384 w 21052572"/>
              <a:gd name="connsiteY813" fmla="*/ 5363968 h 8402012"/>
              <a:gd name="connsiteX814" fmla="*/ 20116532 w 21052572"/>
              <a:gd name="connsiteY814" fmla="*/ 5351124 h 8402012"/>
              <a:gd name="connsiteX815" fmla="*/ 18772784 w 21052572"/>
              <a:gd name="connsiteY815" fmla="*/ 5351124 h 8402012"/>
              <a:gd name="connsiteX816" fmla="*/ 18754820 w 21052572"/>
              <a:gd name="connsiteY816" fmla="*/ 5383233 h 8402012"/>
              <a:gd name="connsiteX817" fmla="*/ 18772784 w 21052572"/>
              <a:gd name="connsiteY817" fmla="*/ 5351124 h 8402012"/>
              <a:gd name="connsiteX818" fmla="*/ 9642129 w 21052572"/>
              <a:gd name="connsiteY818" fmla="*/ 5332164 h 8402012"/>
              <a:gd name="connsiteX819" fmla="*/ 9648693 w 21052572"/>
              <a:gd name="connsiteY819" fmla="*/ 5350610 h 8402012"/>
              <a:gd name="connsiteX820" fmla="*/ 9642129 w 21052572"/>
              <a:gd name="connsiteY820" fmla="*/ 5332164 h 8402012"/>
              <a:gd name="connsiteX821" fmla="*/ 7806498 w 21052572"/>
              <a:gd name="connsiteY821" fmla="*/ 5330868 h 8402012"/>
              <a:gd name="connsiteX822" fmla="*/ 7742015 w 21052572"/>
              <a:gd name="connsiteY822" fmla="*/ 5382451 h 8402012"/>
              <a:gd name="connsiteX823" fmla="*/ 7581880 w 21052572"/>
              <a:gd name="connsiteY823" fmla="*/ 5445856 h 8402012"/>
              <a:gd name="connsiteX824" fmla="*/ 7601226 w 21052572"/>
              <a:gd name="connsiteY824" fmla="*/ 5536127 h 8402012"/>
              <a:gd name="connsiteX825" fmla="*/ 7845189 w 21052572"/>
              <a:gd name="connsiteY825" fmla="*/ 5382451 h 8402012"/>
              <a:gd name="connsiteX826" fmla="*/ 7806498 w 21052572"/>
              <a:gd name="connsiteY826" fmla="*/ 5330868 h 8402012"/>
              <a:gd name="connsiteX827" fmla="*/ 7922569 w 21052572"/>
              <a:gd name="connsiteY827" fmla="*/ 5317972 h 8402012"/>
              <a:gd name="connsiteX828" fmla="*/ 7941914 w 21052572"/>
              <a:gd name="connsiteY828" fmla="*/ 5350212 h 8402012"/>
              <a:gd name="connsiteX829" fmla="*/ 7922569 w 21052572"/>
              <a:gd name="connsiteY829" fmla="*/ 5317972 h 8402012"/>
              <a:gd name="connsiteX830" fmla="*/ 7864534 w 21052572"/>
              <a:gd name="connsiteY830" fmla="*/ 5317972 h 8402012"/>
              <a:gd name="connsiteX831" fmla="*/ 7883879 w 21052572"/>
              <a:gd name="connsiteY831" fmla="*/ 5350212 h 8402012"/>
              <a:gd name="connsiteX832" fmla="*/ 7864534 w 21052572"/>
              <a:gd name="connsiteY832" fmla="*/ 5317972 h 8402012"/>
              <a:gd name="connsiteX833" fmla="*/ 20848784 w 21052572"/>
              <a:gd name="connsiteY833" fmla="*/ 5317945 h 8402012"/>
              <a:gd name="connsiteX834" fmla="*/ 20830824 w 21052572"/>
              <a:gd name="connsiteY834" fmla="*/ 5350051 h 8402012"/>
              <a:gd name="connsiteX835" fmla="*/ 20848784 w 21052572"/>
              <a:gd name="connsiteY835" fmla="*/ 5317945 h 8402012"/>
              <a:gd name="connsiteX836" fmla="*/ 20079640 w 21052572"/>
              <a:gd name="connsiteY836" fmla="*/ 5317945 h 8402012"/>
              <a:gd name="connsiteX837" fmla="*/ 20109360 w 21052572"/>
              <a:gd name="connsiteY837" fmla="*/ 5330788 h 8402012"/>
              <a:gd name="connsiteX838" fmla="*/ 20072468 w 21052572"/>
              <a:gd name="connsiteY838" fmla="*/ 5330788 h 8402012"/>
              <a:gd name="connsiteX839" fmla="*/ 20079640 w 21052572"/>
              <a:gd name="connsiteY839" fmla="*/ 5317945 h 8402012"/>
              <a:gd name="connsiteX840" fmla="*/ 18692208 w 21052572"/>
              <a:gd name="connsiteY840" fmla="*/ 5317945 h 8402012"/>
              <a:gd name="connsiteX841" fmla="*/ 18674244 w 21052572"/>
              <a:gd name="connsiteY841" fmla="*/ 5350051 h 8402012"/>
              <a:gd name="connsiteX842" fmla="*/ 18692208 w 21052572"/>
              <a:gd name="connsiteY842" fmla="*/ 5317945 h 8402012"/>
              <a:gd name="connsiteX843" fmla="*/ 9706095 w 21052572"/>
              <a:gd name="connsiteY843" fmla="*/ 5307543 h 8402012"/>
              <a:gd name="connsiteX844" fmla="*/ 9729280 w 21052572"/>
              <a:gd name="connsiteY844" fmla="*/ 5311721 h 8402012"/>
              <a:gd name="connsiteX845" fmla="*/ 9645045 w 21052572"/>
              <a:gd name="connsiteY845" fmla="*/ 5330821 h 8402012"/>
              <a:gd name="connsiteX846" fmla="*/ 9706095 w 21052572"/>
              <a:gd name="connsiteY846" fmla="*/ 5307543 h 8402012"/>
              <a:gd name="connsiteX847" fmla="*/ 20810868 w 21052572"/>
              <a:gd name="connsiteY847" fmla="*/ 5284766 h 8402012"/>
              <a:gd name="connsiteX848" fmla="*/ 20792908 w 21052572"/>
              <a:gd name="connsiteY848" fmla="*/ 5316875 h 8402012"/>
              <a:gd name="connsiteX849" fmla="*/ 20810868 w 21052572"/>
              <a:gd name="connsiteY849" fmla="*/ 5284766 h 8402012"/>
              <a:gd name="connsiteX850" fmla="*/ 8102340 w 21052572"/>
              <a:gd name="connsiteY850" fmla="*/ 5284766 h 8402012"/>
              <a:gd name="connsiteX851" fmla="*/ 8165018 w 21052572"/>
              <a:gd name="connsiteY851" fmla="*/ 5348224 h 8402012"/>
              <a:gd name="connsiteX852" fmla="*/ 8051348 w 21052572"/>
              <a:gd name="connsiteY852" fmla="*/ 5411683 h 8402012"/>
              <a:gd name="connsiteX853" fmla="*/ 8000355 w 21052572"/>
              <a:gd name="connsiteY853" fmla="*/ 5360916 h 8402012"/>
              <a:gd name="connsiteX854" fmla="*/ 8076844 w 21052572"/>
              <a:gd name="connsiteY854" fmla="*/ 5354570 h 8402012"/>
              <a:gd name="connsiteX855" fmla="*/ 8102340 w 21052572"/>
              <a:gd name="connsiteY855" fmla="*/ 5284766 h 8402012"/>
              <a:gd name="connsiteX856" fmla="*/ 8584081 w 21052572"/>
              <a:gd name="connsiteY856" fmla="*/ 5279889 h 8402012"/>
              <a:gd name="connsiteX857" fmla="*/ 8512595 w 21052572"/>
              <a:gd name="connsiteY857" fmla="*/ 5317972 h 8402012"/>
              <a:gd name="connsiteX858" fmla="*/ 8428766 w 21052572"/>
              <a:gd name="connsiteY858" fmla="*/ 5369555 h 8402012"/>
              <a:gd name="connsiteX859" fmla="*/ 8390076 w 21052572"/>
              <a:gd name="connsiteY859" fmla="*/ 5414691 h 8402012"/>
              <a:gd name="connsiteX860" fmla="*/ 8333115 w 21052572"/>
              <a:gd name="connsiteY860" fmla="*/ 5408243 h 8402012"/>
              <a:gd name="connsiteX861" fmla="*/ 8242838 w 21052572"/>
              <a:gd name="connsiteY861" fmla="*/ 5445856 h 8402012"/>
              <a:gd name="connsiteX862" fmla="*/ 8242838 w 21052572"/>
              <a:gd name="connsiteY862" fmla="*/ 5503887 h 8402012"/>
              <a:gd name="connsiteX863" fmla="*/ 8435214 w 21052572"/>
              <a:gd name="connsiteY863" fmla="*/ 5388899 h 8402012"/>
              <a:gd name="connsiteX864" fmla="*/ 8608245 w 21052572"/>
              <a:gd name="connsiteY864" fmla="*/ 5285733 h 8402012"/>
              <a:gd name="connsiteX865" fmla="*/ 8584081 w 21052572"/>
              <a:gd name="connsiteY865" fmla="*/ 5279889 h 8402012"/>
              <a:gd name="connsiteX866" fmla="*/ 9449896 w 21052572"/>
              <a:gd name="connsiteY866" fmla="*/ 5275286 h 8402012"/>
              <a:gd name="connsiteX867" fmla="*/ 9521091 w 21052572"/>
              <a:gd name="connsiteY867" fmla="*/ 5287987 h 8402012"/>
              <a:gd name="connsiteX868" fmla="*/ 9566397 w 21052572"/>
              <a:gd name="connsiteY868" fmla="*/ 5294338 h 8402012"/>
              <a:gd name="connsiteX869" fmla="*/ 9546980 w 21052572"/>
              <a:gd name="connsiteY869" fmla="*/ 5332441 h 8402012"/>
              <a:gd name="connsiteX870" fmla="*/ 9417534 w 21052572"/>
              <a:gd name="connsiteY870" fmla="*/ 5383245 h 8402012"/>
              <a:gd name="connsiteX871" fmla="*/ 9449896 w 21052572"/>
              <a:gd name="connsiteY871" fmla="*/ 5275286 h 8402012"/>
              <a:gd name="connsiteX872" fmla="*/ 9629789 w 21052572"/>
              <a:gd name="connsiteY872" fmla="*/ 5262125 h 8402012"/>
              <a:gd name="connsiteX873" fmla="*/ 9643992 w 21052572"/>
              <a:gd name="connsiteY873" fmla="*/ 5271444 h 8402012"/>
              <a:gd name="connsiteX874" fmla="*/ 9588167 w 21052572"/>
              <a:gd name="connsiteY874" fmla="*/ 5283741 h 8402012"/>
              <a:gd name="connsiteX875" fmla="*/ 9629789 w 21052572"/>
              <a:gd name="connsiteY875" fmla="*/ 5262125 h 8402012"/>
              <a:gd name="connsiteX876" fmla="*/ 18583192 w 21052572"/>
              <a:gd name="connsiteY876" fmla="*/ 5261070 h 8402012"/>
              <a:gd name="connsiteX877" fmla="*/ 18565232 w 21052572"/>
              <a:gd name="connsiteY877" fmla="*/ 5288370 h 8402012"/>
              <a:gd name="connsiteX878" fmla="*/ 18583192 w 21052572"/>
              <a:gd name="connsiteY878" fmla="*/ 5261070 h 8402012"/>
              <a:gd name="connsiteX879" fmla="*/ 8365316 w 21052572"/>
              <a:gd name="connsiteY879" fmla="*/ 5261070 h 8402012"/>
              <a:gd name="connsiteX880" fmla="*/ 8365316 w 21052572"/>
              <a:gd name="connsiteY880" fmla="*/ 5288370 h 8402012"/>
              <a:gd name="connsiteX881" fmla="*/ 8365316 w 21052572"/>
              <a:gd name="connsiteY881" fmla="*/ 5261070 h 8402012"/>
              <a:gd name="connsiteX882" fmla="*/ 19977672 w 21052572"/>
              <a:gd name="connsiteY882" fmla="*/ 5242110 h 8402012"/>
              <a:gd name="connsiteX883" fmla="*/ 20071412 w 21052572"/>
              <a:gd name="connsiteY883" fmla="*/ 5305677 h 8402012"/>
              <a:gd name="connsiteX884" fmla="*/ 19977672 w 21052572"/>
              <a:gd name="connsiteY884" fmla="*/ 5242110 h 8402012"/>
              <a:gd name="connsiteX885" fmla="*/ 9642129 w 21052572"/>
              <a:gd name="connsiteY885" fmla="*/ 5242110 h 8402012"/>
              <a:gd name="connsiteX886" fmla="*/ 9635565 w 21052572"/>
              <a:gd name="connsiteY886" fmla="*/ 5260556 h 8402012"/>
              <a:gd name="connsiteX887" fmla="*/ 9642129 w 21052572"/>
              <a:gd name="connsiteY887" fmla="*/ 5242110 h 8402012"/>
              <a:gd name="connsiteX888" fmla="*/ 8718550 w 21052572"/>
              <a:gd name="connsiteY888" fmla="*/ 5242110 h 8402012"/>
              <a:gd name="connsiteX889" fmla="*/ 8724537 w 21052572"/>
              <a:gd name="connsiteY889" fmla="*/ 5262585 h 8402012"/>
              <a:gd name="connsiteX890" fmla="*/ 8718550 w 21052572"/>
              <a:gd name="connsiteY890" fmla="*/ 5242110 h 8402012"/>
              <a:gd name="connsiteX891" fmla="*/ 18905496 w 21052572"/>
              <a:gd name="connsiteY891" fmla="*/ 5227892 h 8402012"/>
              <a:gd name="connsiteX892" fmla="*/ 18887532 w 21052572"/>
              <a:gd name="connsiteY892" fmla="*/ 5260001 h 8402012"/>
              <a:gd name="connsiteX893" fmla="*/ 18905496 w 21052572"/>
              <a:gd name="connsiteY893" fmla="*/ 5227892 h 8402012"/>
              <a:gd name="connsiteX894" fmla="*/ 18507356 w 21052572"/>
              <a:gd name="connsiteY894" fmla="*/ 5227892 h 8402012"/>
              <a:gd name="connsiteX895" fmla="*/ 18489392 w 21052572"/>
              <a:gd name="connsiteY895" fmla="*/ 5260001 h 8402012"/>
              <a:gd name="connsiteX896" fmla="*/ 18507356 w 21052572"/>
              <a:gd name="connsiteY896" fmla="*/ 5227892 h 8402012"/>
              <a:gd name="connsiteX897" fmla="*/ 9262754 w 21052572"/>
              <a:gd name="connsiteY897" fmla="*/ 5227701 h 8402012"/>
              <a:gd name="connsiteX898" fmla="*/ 9301444 w 21052572"/>
              <a:gd name="connsiteY898" fmla="*/ 5259941 h 8402012"/>
              <a:gd name="connsiteX899" fmla="*/ 9262754 w 21052572"/>
              <a:gd name="connsiteY899" fmla="*/ 5227701 h 8402012"/>
              <a:gd name="connsiteX900" fmla="*/ 8640487 w 21052572"/>
              <a:gd name="connsiteY900" fmla="*/ 5227701 h 8402012"/>
              <a:gd name="connsiteX901" fmla="*/ 8679177 w 21052572"/>
              <a:gd name="connsiteY901" fmla="*/ 5259941 h 8402012"/>
              <a:gd name="connsiteX902" fmla="*/ 8640487 w 21052572"/>
              <a:gd name="connsiteY902" fmla="*/ 5227701 h 8402012"/>
              <a:gd name="connsiteX903" fmla="*/ 8444887 w 21052572"/>
              <a:gd name="connsiteY903" fmla="*/ 5213596 h 8402012"/>
              <a:gd name="connsiteX904" fmla="*/ 8422317 w 21052572"/>
              <a:gd name="connsiteY904" fmla="*/ 5221253 h 8402012"/>
              <a:gd name="connsiteX905" fmla="*/ 8390076 w 21052572"/>
              <a:gd name="connsiteY905" fmla="*/ 5253493 h 8402012"/>
              <a:gd name="connsiteX906" fmla="*/ 8387050 w 21052572"/>
              <a:gd name="connsiteY906" fmla="*/ 5252196 h 8402012"/>
              <a:gd name="connsiteX907" fmla="*/ 8392755 w 21052572"/>
              <a:gd name="connsiteY907" fmla="*/ 5261374 h 8402012"/>
              <a:gd name="connsiteX908" fmla="*/ 8380780 w 21052572"/>
              <a:gd name="connsiteY908" fmla="*/ 5274216 h 8402012"/>
              <a:gd name="connsiteX909" fmla="*/ 8376290 w 21052572"/>
              <a:gd name="connsiteY909" fmla="*/ 5258163 h 8402012"/>
              <a:gd name="connsiteX910" fmla="*/ 8378932 w 21052572"/>
              <a:gd name="connsiteY910" fmla="*/ 5248717 h 8402012"/>
              <a:gd name="connsiteX911" fmla="*/ 8367506 w 21052572"/>
              <a:gd name="connsiteY911" fmla="*/ 5243821 h 8402012"/>
              <a:gd name="connsiteX912" fmla="*/ 8344937 w 21052572"/>
              <a:gd name="connsiteY912" fmla="*/ 5234149 h 8402012"/>
              <a:gd name="connsiteX913" fmla="*/ 8300874 w 21052572"/>
              <a:gd name="connsiteY913" fmla="*/ 5227701 h 8402012"/>
              <a:gd name="connsiteX914" fmla="*/ 8300874 w 21052572"/>
              <a:gd name="connsiteY914" fmla="*/ 5285733 h 8402012"/>
              <a:gd name="connsiteX915" fmla="*/ 8333115 w 21052572"/>
              <a:gd name="connsiteY915" fmla="*/ 5292180 h 8402012"/>
              <a:gd name="connsiteX916" fmla="*/ 8370730 w 21052572"/>
              <a:gd name="connsiteY916" fmla="*/ 5298628 h 8402012"/>
              <a:gd name="connsiteX917" fmla="*/ 8467456 w 21052572"/>
              <a:gd name="connsiteY917" fmla="*/ 5214805 h 8402012"/>
              <a:gd name="connsiteX918" fmla="*/ 8444887 w 21052572"/>
              <a:gd name="connsiteY918" fmla="*/ 5213596 h 8402012"/>
              <a:gd name="connsiteX919" fmla="*/ 9340135 w 21052572"/>
              <a:gd name="connsiteY919" fmla="*/ 5195462 h 8402012"/>
              <a:gd name="connsiteX920" fmla="*/ 9359480 w 21052572"/>
              <a:gd name="connsiteY920" fmla="*/ 5227701 h 8402012"/>
              <a:gd name="connsiteX921" fmla="*/ 9340135 w 21052572"/>
              <a:gd name="connsiteY921" fmla="*/ 5195462 h 8402012"/>
              <a:gd name="connsiteX922" fmla="*/ 8768815 w 21052572"/>
              <a:gd name="connsiteY922" fmla="*/ 5195360 h 8402012"/>
              <a:gd name="connsiteX923" fmla="*/ 8814504 w 21052572"/>
              <a:gd name="connsiteY923" fmla="*/ 5259993 h 8402012"/>
              <a:gd name="connsiteX924" fmla="*/ 8755761 w 21052572"/>
              <a:gd name="connsiteY924" fmla="*/ 5259993 h 8402012"/>
              <a:gd name="connsiteX925" fmla="*/ 8768815 w 21052572"/>
              <a:gd name="connsiteY925" fmla="*/ 5195360 h 8402012"/>
              <a:gd name="connsiteX926" fmla="*/ 19166180 w 21052572"/>
              <a:gd name="connsiteY926" fmla="*/ 5194713 h 8402012"/>
              <a:gd name="connsiteX927" fmla="*/ 19148220 w 21052572"/>
              <a:gd name="connsiteY927" fmla="*/ 5226819 h 8402012"/>
              <a:gd name="connsiteX928" fmla="*/ 19166180 w 21052572"/>
              <a:gd name="connsiteY928" fmla="*/ 5194713 h 8402012"/>
              <a:gd name="connsiteX929" fmla="*/ 8876071 w 21052572"/>
              <a:gd name="connsiteY929" fmla="*/ 5194713 h 8402012"/>
              <a:gd name="connsiteX930" fmla="*/ 8848771 w 21052572"/>
              <a:gd name="connsiteY930" fmla="*/ 5226819 h 8402012"/>
              <a:gd name="connsiteX931" fmla="*/ 8876071 w 21052572"/>
              <a:gd name="connsiteY931" fmla="*/ 5194713 h 8402012"/>
              <a:gd name="connsiteX932" fmla="*/ 8175723 w 21052572"/>
              <a:gd name="connsiteY932" fmla="*/ 5194713 h 8402012"/>
              <a:gd name="connsiteX933" fmla="*/ 8193685 w 21052572"/>
              <a:gd name="connsiteY933" fmla="*/ 5226819 h 8402012"/>
              <a:gd name="connsiteX934" fmla="*/ 8175723 w 21052572"/>
              <a:gd name="connsiteY934" fmla="*/ 5194713 h 8402012"/>
              <a:gd name="connsiteX935" fmla="*/ 20714900 w 21052572"/>
              <a:gd name="connsiteY935" fmla="*/ 5166276 h 8402012"/>
              <a:gd name="connsiteX936" fmla="*/ 20698116 w 21052572"/>
              <a:gd name="connsiteY936" fmla="*/ 5231528 h 8402012"/>
              <a:gd name="connsiteX937" fmla="*/ 20714900 w 21052572"/>
              <a:gd name="connsiteY937" fmla="*/ 5166276 h 8402012"/>
              <a:gd name="connsiteX938" fmla="*/ 9875939 w 21052572"/>
              <a:gd name="connsiteY938" fmla="*/ 5166276 h 8402012"/>
              <a:gd name="connsiteX939" fmla="*/ 9875939 w 21052572"/>
              <a:gd name="connsiteY939" fmla="*/ 5198346 h 8402012"/>
              <a:gd name="connsiteX940" fmla="*/ 9875939 w 21052572"/>
              <a:gd name="connsiteY940" fmla="*/ 5166276 h 8402012"/>
              <a:gd name="connsiteX941" fmla="*/ 8486801 w 21052572"/>
              <a:gd name="connsiteY941" fmla="*/ 5164297 h 8402012"/>
              <a:gd name="connsiteX942" fmla="*/ 8506146 w 21052572"/>
              <a:gd name="connsiteY942" fmla="*/ 5195462 h 8402012"/>
              <a:gd name="connsiteX943" fmla="*/ 8486801 w 21052572"/>
              <a:gd name="connsiteY943" fmla="*/ 5164297 h 8402012"/>
              <a:gd name="connsiteX944" fmla="*/ 9707680 w 21052572"/>
              <a:gd name="connsiteY944" fmla="*/ 5150309 h 8402012"/>
              <a:gd name="connsiteX945" fmla="*/ 9714790 w 21052572"/>
              <a:gd name="connsiteY945" fmla="*/ 5153303 h 8402012"/>
              <a:gd name="connsiteX946" fmla="*/ 9706664 w 21052572"/>
              <a:gd name="connsiteY946" fmla="*/ 5165277 h 8402012"/>
              <a:gd name="connsiteX947" fmla="*/ 9707680 w 21052572"/>
              <a:gd name="connsiteY947" fmla="*/ 5150309 h 8402012"/>
              <a:gd name="connsiteX948" fmla="*/ 19071332 w 21052572"/>
              <a:gd name="connsiteY948" fmla="*/ 5133097 h 8402012"/>
              <a:gd name="connsiteX949" fmla="*/ 19053424 w 21052572"/>
              <a:gd name="connsiteY949" fmla="*/ 5165206 h 8402012"/>
              <a:gd name="connsiteX950" fmla="*/ 19071332 w 21052572"/>
              <a:gd name="connsiteY950" fmla="*/ 5133097 h 8402012"/>
              <a:gd name="connsiteX951" fmla="*/ 18355684 w 21052572"/>
              <a:gd name="connsiteY951" fmla="*/ 5133097 h 8402012"/>
              <a:gd name="connsiteX952" fmla="*/ 18337724 w 21052572"/>
              <a:gd name="connsiteY952" fmla="*/ 5165206 h 8402012"/>
              <a:gd name="connsiteX953" fmla="*/ 18355684 w 21052572"/>
              <a:gd name="connsiteY953" fmla="*/ 5133097 h 8402012"/>
              <a:gd name="connsiteX954" fmla="*/ 17848536 w 21052572"/>
              <a:gd name="connsiteY954" fmla="*/ 5133094 h 8402012"/>
              <a:gd name="connsiteX955" fmla="*/ 17830572 w 21052572"/>
              <a:gd name="connsiteY955" fmla="*/ 5198346 h 8402012"/>
              <a:gd name="connsiteX956" fmla="*/ 17848536 w 21052572"/>
              <a:gd name="connsiteY956" fmla="*/ 5133094 h 8402012"/>
              <a:gd name="connsiteX957" fmla="*/ 8530865 w 21052572"/>
              <a:gd name="connsiteY957" fmla="*/ 5132057 h 8402012"/>
              <a:gd name="connsiteX958" fmla="*/ 8563107 w 21052572"/>
              <a:gd name="connsiteY958" fmla="*/ 5164297 h 8402012"/>
              <a:gd name="connsiteX959" fmla="*/ 8530865 w 21052572"/>
              <a:gd name="connsiteY959" fmla="*/ 5132057 h 8402012"/>
              <a:gd name="connsiteX960" fmla="*/ 10132162 w 21052572"/>
              <a:gd name="connsiteY960" fmla="*/ 5118878 h 8402012"/>
              <a:gd name="connsiteX961" fmla="*/ 9803189 w 21052572"/>
              <a:gd name="connsiteY961" fmla="*/ 5312127 h 8402012"/>
              <a:gd name="connsiteX962" fmla="*/ 9832311 w 21052572"/>
              <a:gd name="connsiteY962" fmla="*/ 5205550 h 8402012"/>
              <a:gd name="connsiteX963" fmla="*/ 9854815 w 21052572"/>
              <a:gd name="connsiteY963" fmla="*/ 5195595 h 8402012"/>
              <a:gd name="connsiteX964" fmla="*/ 9853592 w 21052572"/>
              <a:gd name="connsiteY964" fmla="*/ 5193658 h 8402012"/>
              <a:gd name="connsiteX965" fmla="*/ 9859579 w 21052572"/>
              <a:gd name="connsiteY965" fmla="*/ 5182073 h 8402012"/>
              <a:gd name="connsiteX966" fmla="*/ 9867064 w 21052572"/>
              <a:gd name="connsiteY966" fmla="*/ 5194975 h 8402012"/>
              <a:gd name="connsiteX967" fmla="*/ 9866331 w 21052572"/>
              <a:gd name="connsiteY967" fmla="*/ 5206713 h 8402012"/>
              <a:gd name="connsiteX968" fmla="*/ 9867640 w 21052572"/>
              <a:gd name="connsiteY968" fmla="*/ 5208000 h 8402012"/>
              <a:gd name="connsiteX969" fmla="*/ 9958507 w 21052572"/>
              <a:gd name="connsiteY969" fmla="*/ 5164221 h 8402012"/>
              <a:gd name="connsiteX970" fmla="*/ 10132162 w 21052572"/>
              <a:gd name="connsiteY970" fmla="*/ 5118878 h 8402012"/>
              <a:gd name="connsiteX971" fmla="*/ 19597496 w 21052572"/>
              <a:gd name="connsiteY971" fmla="*/ 5099918 h 8402012"/>
              <a:gd name="connsiteX972" fmla="*/ 19579536 w 21052572"/>
              <a:gd name="connsiteY972" fmla="*/ 5132024 h 8402012"/>
              <a:gd name="connsiteX973" fmla="*/ 19597496 w 21052572"/>
              <a:gd name="connsiteY973" fmla="*/ 5099918 h 8402012"/>
              <a:gd name="connsiteX974" fmla="*/ 17810560 w 21052572"/>
              <a:gd name="connsiteY974" fmla="*/ 5099918 h 8402012"/>
              <a:gd name="connsiteX975" fmla="*/ 17792656 w 21052572"/>
              <a:gd name="connsiteY975" fmla="*/ 5132024 h 8402012"/>
              <a:gd name="connsiteX976" fmla="*/ 17810560 w 21052572"/>
              <a:gd name="connsiteY976" fmla="*/ 5099918 h 8402012"/>
              <a:gd name="connsiteX977" fmla="*/ 9894469 w 21052572"/>
              <a:gd name="connsiteY977" fmla="*/ 5094662 h 8402012"/>
              <a:gd name="connsiteX978" fmla="*/ 9933092 w 21052572"/>
              <a:gd name="connsiteY978" fmla="*/ 5100447 h 8402012"/>
              <a:gd name="connsiteX979" fmla="*/ 9855643 w 21052572"/>
              <a:gd name="connsiteY979" fmla="*/ 5165398 h 8402012"/>
              <a:gd name="connsiteX980" fmla="*/ 9682459 w 21052572"/>
              <a:gd name="connsiteY980" fmla="*/ 5248752 h 8402012"/>
              <a:gd name="connsiteX981" fmla="*/ 9643734 w 21052572"/>
              <a:gd name="connsiteY981" fmla="*/ 5242257 h 8402012"/>
              <a:gd name="connsiteX982" fmla="*/ 9656642 w 21052572"/>
              <a:gd name="connsiteY982" fmla="*/ 5184883 h 8402012"/>
              <a:gd name="connsiteX983" fmla="*/ 9714729 w 21052572"/>
              <a:gd name="connsiteY983" fmla="*/ 5178388 h 8402012"/>
              <a:gd name="connsiteX984" fmla="*/ 9784648 w 21052572"/>
              <a:gd name="connsiteY984" fmla="*/ 5139417 h 8402012"/>
              <a:gd name="connsiteX985" fmla="*/ 9894469 w 21052572"/>
              <a:gd name="connsiteY985" fmla="*/ 5094662 h 8402012"/>
              <a:gd name="connsiteX986" fmla="*/ 10170157 w 21052572"/>
              <a:gd name="connsiteY986" fmla="*/ 5076219 h 8402012"/>
              <a:gd name="connsiteX987" fmla="*/ 10152195 w 21052572"/>
              <a:gd name="connsiteY987" fmla="*/ 5103519 h 8402012"/>
              <a:gd name="connsiteX988" fmla="*/ 10170157 w 21052572"/>
              <a:gd name="connsiteY988" fmla="*/ 5076219 h 8402012"/>
              <a:gd name="connsiteX989" fmla="*/ 8640487 w 21052572"/>
              <a:gd name="connsiteY989" fmla="*/ 5074026 h 8402012"/>
              <a:gd name="connsiteX990" fmla="*/ 8621142 w 21052572"/>
              <a:gd name="connsiteY990" fmla="*/ 5164297 h 8402012"/>
              <a:gd name="connsiteX991" fmla="*/ 8717867 w 21052572"/>
              <a:gd name="connsiteY991" fmla="*/ 5119161 h 8402012"/>
              <a:gd name="connsiteX992" fmla="*/ 8640487 w 21052572"/>
              <a:gd name="connsiteY992" fmla="*/ 5074026 h 8402012"/>
              <a:gd name="connsiteX993" fmla="*/ 8454559 w 21052572"/>
              <a:gd name="connsiteY993" fmla="*/ 5074026 h 8402012"/>
              <a:gd name="connsiteX994" fmla="*/ 8473904 w 21052572"/>
              <a:gd name="connsiteY994" fmla="*/ 5099818 h 8402012"/>
              <a:gd name="connsiteX995" fmla="*/ 8454559 w 21052572"/>
              <a:gd name="connsiteY995" fmla="*/ 5074026 h 8402012"/>
              <a:gd name="connsiteX996" fmla="*/ 19004928 w 21052572"/>
              <a:gd name="connsiteY996" fmla="*/ 5073353 h 8402012"/>
              <a:gd name="connsiteX997" fmla="*/ 18958632 w 21052572"/>
              <a:gd name="connsiteY997" fmla="*/ 5099807 h 8402012"/>
              <a:gd name="connsiteX998" fmla="*/ 19004928 w 21052572"/>
              <a:gd name="connsiteY998" fmla="*/ 5073353 h 8402012"/>
              <a:gd name="connsiteX999" fmla="*/ 564229 w 21052572"/>
              <a:gd name="connsiteY999" fmla="*/ 5054682 h 8402012"/>
              <a:gd name="connsiteX1000" fmla="*/ 564229 w 21052572"/>
              <a:gd name="connsiteY1000" fmla="*/ 5086922 h 8402012"/>
              <a:gd name="connsiteX1001" fmla="*/ 660959 w 21052572"/>
              <a:gd name="connsiteY1001" fmla="*/ 5119161 h 8402012"/>
              <a:gd name="connsiteX1002" fmla="*/ 585688 w 21052572"/>
              <a:gd name="connsiteY1002" fmla="*/ 5081078 h 8402012"/>
              <a:gd name="connsiteX1003" fmla="*/ 579117 w 21052572"/>
              <a:gd name="connsiteY1003" fmla="*/ 5072998 h 8402012"/>
              <a:gd name="connsiteX1004" fmla="*/ 564733 w 21052572"/>
              <a:gd name="connsiteY1004" fmla="*/ 5072998 h 8402012"/>
              <a:gd name="connsiteX1005" fmla="*/ 567180 w 21052572"/>
              <a:gd name="connsiteY1005" fmla="*/ 5058312 h 8402012"/>
              <a:gd name="connsiteX1006" fmla="*/ 10246302 w 21052572"/>
              <a:gd name="connsiteY1006" fmla="*/ 5014603 h 8402012"/>
              <a:gd name="connsiteX1007" fmla="*/ 10264917 w 21052572"/>
              <a:gd name="connsiteY1007" fmla="*/ 5070447 h 8402012"/>
              <a:gd name="connsiteX1008" fmla="*/ 10209073 w 21052572"/>
              <a:gd name="connsiteY1008" fmla="*/ 5070447 h 8402012"/>
              <a:gd name="connsiteX1009" fmla="*/ 10246302 w 21052572"/>
              <a:gd name="connsiteY1009" fmla="*/ 5014603 h 8402012"/>
              <a:gd name="connsiteX1010" fmla="*/ 19470520 w 21052572"/>
              <a:gd name="connsiteY1010" fmla="*/ 5009861 h 8402012"/>
              <a:gd name="connsiteX1011" fmla="*/ 19507412 w 21052572"/>
              <a:gd name="connsiteY1011" fmla="*/ 5028307 h 8402012"/>
              <a:gd name="connsiteX1012" fmla="*/ 19470520 w 21052572"/>
              <a:gd name="connsiteY1012" fmla="*/ 5009861 h 8402012"/>
              <a:gd name="connsiteX1013" fmla="*/ 756601 w 21052572"/>
              <a:gd name="connsiteY1013" fmla="*/ 5009547 h 8402012"/>
              <a:gd name="connsiteX1014" fmla="*/ 775945 w 21052572"/>
              <a:gd name="connsiteY1014" fmla="*/ 5041786 h 8402012"/>
              <a:gd name="connsiteX1015" fmla="*/ 756601 w 21052572"/>
              <a:gd name="connsiteY1015" fmla="*/ 5009547 h 8402012"/>
              <a:gd name="connsiteX1016" fmla="*/ 20526484 w 21052572"/>
              <a:gd name="connsiteY1016" fmla="*/ 4986166 h 8402012"/>
              <a:gd name="connsiteX1017" fmla="*/ 20508520 w 21052572"/>
              <a:gd name="connsiteY1017" fmla="*/ 5008875 h 8402012"/>
              <a:gd name="connsiteX1018" fmla="*/ 20526484 w 21052572"/>
              <a:gd name="connsiteY1018" fmla="*/ 4986166 h 8402012"/>
              <a:gd name="connsiteX1019" fmla="*/ 10620430 w 21052572"/>
              <a:gd name="connsiteY1019" fmla="*/ 4986166 h 8402012"/>
              <a:gd name="connsiteX1020" fmla="*/ 10602468 w 21052572"/>
              <a:gd name="connsiteY1020" fmla="*/ 5008875 h 8402012"/>
              <a:gd name="connsiteX1021" fmla="*/ 10620430 w 21052572"/>
              <a:gd name="connsiteY1021" fmla="*/ 4986166 h 8402012"/>
              <a:gd name="connsiteX1022" fmla="*/ 18511956 w 21052572"/>
              <a:gd name="connsiteY1022" fmla="*/ 4986163 h 8402012"/>
              <a:gd name="connsiteX1023" fmla="*/ 18491480 w 21052572"/>
              <a:gd name="connsiteY1023" fmla="*/ 5041988 h 8402012"/>
              <a:gd name="connsiteX1024" fmla="*/ 18511956 w 21052572"/>
              <a:gd name="connsiteY1024" fmla="*/ 4986163 h 8402012"/>
              <a:gd name="connsiteX1025" fmla="*/ 10471575 w 21052572"/>
              <a:gd name="connsiteY1025" fmla="*/ 4953900 h 8402012"/>
              <a:gd name="connsiteX1026" fmla="*/ 10511311 w 21052572"/>
              <a:gd name="connsiteY1026" fmla="*/ 4967634 h 8402012"/>
              <a:gd name="connsiteX1027" fmla="*/ 10431839 w 21052572"/>
              <a:gd name="connsiteY1027" fmla="*/ 4954708 h 8402012"/>
              <a:gd name="connsiteX1028" fmla="*/ 10471575 w 21052572"/>
              <a:gd name="connsiteY1028" fmla="*/ 4953900 h 8402012"/>
              <a:gd name="connsiteX1029" fmla="*/ 20071412 w 21052572"/>
              <a:gd name="connsiteY1029" fmla="*/ 4952987 h 8402012"/>
              <a:gd name="connsiteX1030" fmla="*/ 20053508 w 21052572"/>
              <a:gd name="connsiteY1030" fmla="*/ 4985096 h 8402012"/>
              <a:gd name="connsiteX1031" fmla="*/ 20071412 w 21052572"/>
              <a:gd name="connsiteY1031" fmla="*/ 4952987 h 8402012"/>
              <a:gd name="connsiteX1032" fmla="*/ 10500786 w 21052572"/>
              <a:gd name="connsiteY1032" fmla="*/ 4948464 h 8402012"/>
              <a:gd name="connsiteX1033" fmla="*/ 10500539 w 21052572"/>
              <a:gd name="connsiteY1033" fmla="*/ 4948798 h 8402012"/>
              <a:gd name="connsiteX1034" fmla="*/ 10498199 w 21052572"/>
              <a:gd name="connsiteY1034" fmla="*/ 4951959 h 8402012"/>
              <a:gd name="connsiteX1035" fmla="*/ 10507348 w 21052572"/>
              <a:gd name="connsiteY1035" fmla="*/ 4939596 h 8402012"/>
              <a:gd name="connsiteX1036" fmla="*/ 10500786 w 21052572"/>
              <a:gd name="connsiteY1036" fmla="*/ 4948464 h 8402012"/>
              <a:gd name="connsiteX1037" fmla="*/ 10505397 w 21052572"/>
              <a:gd name="connsiteY1037" fmla="*/ 4942232 h 8402012"/>
              <a:gd name="connsiteX1038" fmla="*/ 9030624 w 21052572"/>
              <a:gd name="connsiteY1038" fmla="*/ 4938515 h 8402012"/>
              <a:gd name="connsiteX1039" fmla="*/ 9037359 w 21052572"/>
              <a:gd name="connsiteY1039" fmla="*/ 4951986 h 8402012"/>
              <a:gd name="connsiteX1040" fmla="*/ 9019397 w 21052572"/>
              <a:gd name="connsiteY1040" fmla="*/ 4951986 h 8402012"/>
              <a:gd name="connsiteX1041" fmla="*/ 9030624 w 21052572"/>
              <a:gd name="connsiteY1041" fmla="*/ 4938515 h 8402012"/>
              <a:gd name="connsiteX1042" fmla="*/ 10509716 w 21052572"/>
              <a:gd name="connsiteY1042" fmla="*/ 4936395 h 8402012"/>
              <a:gd name="connsiteX1043" fmla="*/ 10509536 w 21052572"/>
              <a:gd name="connsiteY1043" fmla="*/ 4936639 h 8402012"/>
              <a:gd name="connsiteX1044" fmla="*/ 10507348 w 21052572"/>
              <a:gd name="connsiteY1044" fmla="*/ 4939596 h 8402012"/>
              <a:gd name="connsiteX1045" fmla="*/ 20469608 w 21052572"/>
              <a:gd name="connsiteY1045" fmla="*/ 4919808 h 8402012"/>
              <a:gd name="connsiteX1046" fmla="*/ 20451648 w 21052572"/>
              <a:gd name="connsiteY1046" fmla="*/ 4951914 h 8402012"/>
              <a:gd name="connsiteX1047" fmla="*/ 20469608 w 21052572"/>
              <a:gd name="connsiteY1047" fmla="*/ 4919808 h 8402012"/>
              <a:gd name="connsiteX1048" fmla="*/ 20033552 w 21052572"/>
              <a:gd name="connsiteY1048" fmla="*/ 4919808 h 8402012"/>
              <a:gd name="connsiteX1049" fmla="*/ 20015588 w 21052572"/>
              <a:gd name="connsiteY1049" fmla="*/ 4951914 h 8402012"/>
              <a:gd name="connsiteX1050" fmla="*/ 20033552 w 21052572"/>
              <a:gd name="connsiteY1050" fmla="*/ 4919808 h 8402012"/>
              <a:gd name="connsiteX1051" fmla="*/ 19318852 w 21052572"/>
              <a:gd name="connsiteY1051" fmla="*/ 4919808 h 8402012"/>
              <a:gd name="connsiteX1052" fmla="*/ 19355744 w 21052572"/>
              <a:gd name="connsiteY1052" fmla="*/ 4938254 h 8402012"/>
              <a:gd name="connsiteX1053" fmla="*/ 19318852 w 21052572"/>
              <a:gd name="connsiteY1053" fmla="*/ 4919808 h 8402012"/>
              <a:gd name="connsiteX1054" fmla="*/ 18811700 w 21052572"/>
              <a:gd name="connsiteY1054" fmla="*/ 4919808 h 8402012"/>
              <a:gd name="connsiteX1055" fmla="*/ 18834408 w 21052572"/>
              <a:gd name="connsiteY1055" fmla="*/ 4945916 h 8402012"/>
              <a:gd name="connsiteX1056" fmla="*/ 18811700 w 21052572"/>
              <a:gd name="connsiteY1056" fmla="*/ 4985078 h 8402012"/>
              <a:gd name="connsiteX1057" fmla="*/ 18811700 w 21052572"/>
              <a:gd name="connsiteY1057" fmla="*/ 4919808 h 8402012"/>
              <a:gd name="connsiteX1058" fmla="*/ 10360246 w 21052572"/>
              <a:gd name="connsiteY1058" fmla="*/ 4911208 h 8402012"/>
              <a:gd name="connsiteX1059" fmla="*/ 10369227 w 21052572"/>
              <a:gd name="connsiteY1059" fmla="*/ 4918433 h 8402012"/>
              <a:gd name="connsiteX1060" fmla="*/ 10357252 w 21052572"/>
              <a:gd name="connsiteY1060" fmla="*/ 4937698 h 8402012"/>
              <a:gd name="connsiteX1061" fmla="*/ 10351265 w 21052572"/>
              <a:gd name="connsiteY1061" fmla="*/ 4918433 h 8402012"/>
              <a:gd name="connsiteX1062" fmla="*/ 10360246 w 21052572"/>
              <a:gd name="connsiteY1062" fmla="*/ 4911208 h 8402012"/>
              <a:gd name="connsiteX1063" fmla="*/ 8774828 w 21052572"/>
              <a:gd name="connsiteY1063" fmla="*/ 4907455 h 8402012"/>
              <a:gd name="connsiteX1064" fmla="*/ 8755483 w 21052572"/>
              <a:gd name="connsiteY1064" fmla="*/ 4952590 h 8402012"/>
              <a:gd name="connsiteX1065" fmla="*/ 8794173 w 21052572"/>
              <a:gd name="connsiteY1065" fmla="*/ 4952590 h 8402012"/>
              <a:gd name="connsiteX1066" fmla="*/ 8774828 w 21052572"/>
              <a:gd name="connsiteY1066" fmla="*/ 4907455 h 8402012"/>
              <a:gd name="connsiteX1067" fmla="*/ 10303105 w 21052572"/>
              <a:gd name="connsiteY1067" fmla="*/ 4893974 h 8402012"/>
              <a:gd name="connsiteX1068" fmla="*/ 10318280 w 21052572"/>
              <a:gd name="connsiteY1068" fmla="*/ 4916251 h 8402012"/>
              <a:gd name="connsiteX1069" fmla="*/ 10170446 w 21052572"/>
              <a:gd name="connsiteY1069" fmla="*/ 5011947 h 8402012"/>
              <a:gd name="connsiteX1070" fmla="*/ 9957867 w 21052572"/>
              <a:gd name="connsiteY1070" fmla="*/ 5089363 h 8402012"/>
              <a:gd name="connsiteX1071" fmla="*/ 10015058 w 21052572"/>
              <a:gd name="connsiteY1071" fmla="*/ 5044203 h 8402012"/>
              <a:gd name="connsiteX1072" fmla="*/ 10221163 w 21052572"/>
              <a:gd name="connsiteY1072" fmla="*/ 4942057 h 8402012"/>
              <a:gd name="connsiteX1073" fmla="*/ 10303105 w 21052572"/>
              <a:gd name="connsiteY1073" fmla="*/ 4893974 h 8402012"/>
              <a:gd name="connsiteX1074" fmla="*/ 18749056 w 21052572"/>
              <a:gd name="connsiteY1074" fmla="*/ 4888505 h 8402012"/>
              <a:gd name="connsiteX1075" fmla="*/ 18712164 w 21052572"/>
              <a:gd name="connsiteY1075" fmla="*/ 4921572 h 8402012"/>
              <a:gd name="connsiteX1076" fmla="*/ 18749056 w 21052572"/>
              <a:gd name="connsiteY1076" fmla="*/ 4888505 h 8402012"/>
              <a:gd name="connsiteX1077" fmla="*/ 18673220 w 21052572"/>
              <a:gd name="connsiteY1077" fmla="*/ 4888505 h 8402012"/>
              <a:gd name="connsiteX1078" fmla="*/ 18636328 w 21052572"/>
              <a:gd name="connsiteY1078" fmla="*/ 4921572 h 8402012"/>
              <a:gd name="connsiteX1079" fmla="*/ 18673220 w 21052572"/>
              <a:gd name="connsiteY1079" fmla="*/ 4888505 h 8402012"/>
              <a:gd name="connsiteX1080" fmla="*/ 10319911 w 21052572"/>
              <a:gd name="connsiteY1080" fmla="*/ 4867669 h 8402012"/>
              <a:gd name="connsiteX1081" fmla="*/ 10319911 w 21052572"/>
              <a:gd name="connsiteY1081" fmla="*/ 4904561 h 8402012"/>
              <a:gd name="connsiteX1082" fmla="*/ 10313348 w 21052572"/>
              <a:gd name="connsiteY1082" fmla="*/ 4886115 h 8402012"/>
              <a:gd name="connsiteX1083" fmla="*/ 10319911 w 21052572"/>
              <a:gd name="connsiteY1083" fmla="*/ 4867669 h 8402012"/>
              <a:gd name="connsiteX1084" fmla="*/ 17791656 w 21052572"/>
              <a:gd name="connsiteY1084" fmla="*/ 4858192 h 8402012"/>
              <a:gd name="connsiteX1085" fmla="*/ 17773696 w 21052572"/>
              <a:gd name="connsiteY1085" fmla="*/ 4890301 h 8402012"/>
              <a:gd name="connsiteX1086" fmla="*/ 17791656 w 21052572"/>
              <a:gd name="connsiteY1086" fmla="*/ 4858192 h 8402012"/>
              <a:gd name="connsiteX1087" fmla="*/ 10473929 w 21052572"/>
              <a:gd name="connsiteY1087" fmla="*/ 4849945 h 8402012"/>
              <a:gd name="connsiteX1088" fmla="*/ 10487579 w 21052572"/>
              <a:gd name="connsiteY1088" fmla="*/ 4857623 h 8402012"/>
              <a:gd name="connsiteX1089" fmla="*/ 10460279 w 21052572"/>
              <a:gd name="connsiteY1089" fmla="*/ 4857623 h 8402012"/>
              <a:gd name="connsiteX1090" fmla="*/ 10473929 w 21052572"/>
              <a:gd name="connsiteY1090" fmla="*/ 4849945 h 8402012"/>
              <a:gd name="connsiteX1091" fmla="*/ 10433287 w 21052572"/>
              <a:gd name="connsiteY1091" fmla="*/ 4848262 h 8402012"/>
              <a:gd name="connsiteX1092" fmla="*/ 10468703 w 21052572"/>
              <a:gd name="connsiteY1092" fmla="*/ 4866891 h 8402012"/>
              <a:gd name="connsiteX1093" fmla="*/ 10393921 w 21052572"/>
              <a:gd name="connsiteY1093" fmla="*/ 4918728 h 8402012"/>
              <a:gd name="connsiteX1094" fmla="*/ 10393921 w 21052572"/>
              <a:gd name="connsiteY1094" fmla="*/ 4853932 h 8402012"/>
              <a:gd name="connsiteX1095" fmla="*/ 10433287 w 21052572"/>
              <a:gd name="connsiteY1095" fmla="*/ 4848262 h 8402012"/>
              <a:gd name="connsiteX1096" fmla="*/ 18692208 w 21052572"/>
              <a:gd name="connsiteY1096" fmla="*/ 4825013 h 8402012"/>
              <a:gd name="connsiteX1097" fmla="*/ 18674244 w 21052572"/>
              <a:gd name="connsiteY1097" fmla="*/ 4857119 h 8402012"/>
              <a:gd name="connsiteX1098" fmla="*/ 18692208 w 21052572"/>
              <a:gd name="connsiteY1098" fmla="*/ 4825013 h 8402012"/>
              <a:gd name="connsiteX1099" fmla="*/ 17034300 w 21052572"/>
              <a:gd name="connsiteY1099" fmla="*/ 4825013 h 8402012"/>
              <a:gd name="connsiteX1100" fmla="*/ 17113768 w 21052572"/>
              <a:gd name="connsiteY1100" fmla="*/ 4825013 h 8402012"/>
              <a:gd name="connsiteX1101" fmla="*/ 17093900 w 21052572"/>
              <a:gd name="connsiteY1101" fmla="*/ 4890283 h 8402012"/>
              <a:gd name="connsiteX1102" fmla="*/ 17034300 w 21052572"/>
              <a:gd name="connsiteY1102" fmla="*/ 4825013 h 8402012"/>
              <a:gd name="connsiteX1103" fmla="*/ 18128180 w 21052572"/>
              <a:gd name="connsiteY1103" fmla="*/ 4801314 h 8402012"/>
              <a:gd name="connsiteX1104" fmla="*/ 18110216 w 21052572"/>
              <a:gd name="connsiteY1104" fmla="*/ 4824026 h 8402012"/>
              <a:gd name="connsiteX1105" fmla="*/ 18128180 w 21052572"/>
              <a:gd name="connsiteY1105" fmla="*/ 4801314 h 8402012"/>
              <a:gd name="connsiteX1106" fmla="*/ 10792058 w 21052572"/>
              <a:gd name="connsiteY1106" fmla="*/ 4801314 h 8402012"/>
              <a:gd name="connsiteX1107" fmla="*/ 10847883 w 21052572"/>
              <a:gd name="connsiteY1107" fmla="*/ 4813728 h 8402012"/>
              <a:gd name="connsiteX1108" fmla="*/ 10792058 w 21052572"/>
              <a:gd name="connsiteY1108" fmla="*/ 4801314 h 8402012"/>
              <a:gd name="connsiteX1109" fmla="*/ 16981132 w 21052572"/>
              <a:gd name="connsiteY1109" fmla="*/ 4798154 h 8402012"/>
              <a:gd name="connsiteX1110" fmla="*/ 16944240 w 21052572"/>
              <a:gd name="connsiteY1110" fmla="*/ 4822378 h 8402012"/>
              <a:gd name="connsiteX1111" fmla="*/ 16981132 w 21052572"/>
              <a:gd name="connsiteY1111" fmla="*/ 4798154 h 8402012"/>
              <a:gd name="connsiteX1112" fmla="*/ 10836717 w 21052572"/>
              <a:gd name="connsiteY1112" fmla="*/ 4794560 h 8402012"/>
              <a:gd name="connsiteX1113" fmla="*/ 10834717 w 21052572"/>
              <a:gd name="connsiteY1113" fmla="*/ 4800247 h 8402012"/>
              <a:gd name="connsiteX1114" fmla="*/ 10836256 w 21052572"/>
              <a:gd name="connsiteY1114" fmla="*/ 4795871 h 8402012"/>
              <a:gd name="connsiteX1115" fmla="*/ 10839455 w 21052572"/>
              <a:gd name="connsiteY1115" fmla="*/ 4786775 h 8402012"/>
              <a:gd name="connsiteX1116" fmla="*/ 10839453 w 21052572"/>
              <a:gd name="connsiteY1116" fmla="*/ 4786781 h 8402012"/>
              <a:gd name="connsiteX1117" fmla="*/ 10836717 w 21052572"/>
              <a:gd name="connsiteY1117" fmla="*/ 4794560 h 8402012"/>
              <a:gd name="connsiteX1118" fmla="*/ 10841932 w 21052572"/>
              <a:gd name="connsiteY1118" fmla="*/ 4779733 h 8402012"/>
              <a:gd name="connsiteX1119" fmla="*/ 10839455 w 21052572"/>
              <a:gd name="connsiteY1119" fmla="*/ 4786775 h 8402012"/>
              <a:gd name="connsiteX1120" fmla="*/ 10839874 w 21052572"/>
              <a:gd name="connsiteY1120" fmla="*/ 4785584 h 8402012"/>
              <a:gd name="connsiteX1121" fmla="*/ 18546272 w 21052572"/>
              <a:gd name="connsiteY1121" fmla="*/ 4779392 h 8402012"/>
              <a:gd name="connsiteX1122" fmla="*/ 18635256 w 21052572"/>
              <a:gd name="connsiteY1122" fmla="*/ 4810892 h 8402012"/>
              <a:gd name="connsiteX1123" fmla="*/ 18584868 w 21052572"/>
              <a:gd name="connsiteY1123" fmla="*/ 4823927 h 8402012"/>
              <a:gd name="connsiteX1124" fmla="*/ 18546272 w 21052572"/>
              <a:gd name="connsiteY1124" fmla="*/ 4779392 h 8402012"/>
              <a:gd name="connsiteX1125" fmla="*/ 10842295 w 21052572"/>
              <a:gd name="connsiteY1125" fmla="*/ 4778701 h 8402012"/>
              <a:gd name="connsiteX1126" fmla="*/ 10842177 w 21052572"/>
              <a:gd name="connsiteY1126" fmla="*/ 4779038 h 8402012"/>
              <a:gd name="connsiteX1127" fmla="*/ 10841932 w 21052572"/>
              <a:gd name="connsiteY1127" fmla="*/ 4779733 h 8402012"/>
              <a:gd name="connsiteX1128" fmla="*/ 10137816 w 21052572"/>
              <a:gd name="connsiteY1128" fmla="*/ 4777406 h 8402012"/>
              <a:gd name="connsiteX1129" fmla="*/ 10151170 w 21052572"/>
              <a:gd name="connsiteY1129" fmla="*/ 4779645 h 8402012"/>
              <a:gd name="connsiteX1130" fmla="*/ 10126575 w 21052572"/>
              <a:gd name="connsiteY1130" fmla="*/ 4819143 h 8402012"/>
              <a:gd name="connsiteX1131" fmla="*/ 10137816 w 21052572"/>
              <a:gd name="connsiteY1131" fmla="*/ 4777406 h 8402012"/>
              <a:gd name="connsiteX1132" fmla="*/ 9125313 w 21052572"/>
              <a:gd name="connsiteY1132" fmla="*/ 4777143 h 8402012"/>
              <a:gd name="connsiteX1133" fmla="*/ 9136800 w 21052572"/>
              <a:gd name="connsiteY1133" fmla="*/ 4779702 h 8402012"/>
              <a:gd name="connsiteX1134" fmla="*/ 9123672 w 21052572"/>
              <a:gd name="connsiteY1134" fmla="*/ 4800177 h 8402012"/>
              <a:gd name="connsiteX1135" fmla="*/ 9125313 w 21052572"/>
              <a:gd name="connsiteY1135" fmla="*/ 4777143 h 8402012"/>
              <a:gd name="connsiteX1136" fmla="*/ 10876858 w 21052572"/>
              <a:gd name="connsiteY1136" fmla="*/ 4773666 h 8402012"/>
              <a:gd name="connsiteX1137" fmla="*/ 10904780 w 21052572"/>
              <a:gd name="connsiteY1137" fmla="*/ 4780775 h 8402012"/>
              <a:gd name="connsiteX1138" fmla="*/ 10848936 w 21052572"/>
              <a:gd name="connsiteY1138" fmla="*/ 4780775 h 8402012"/>
              <a:gd name="connsiteX1139" fmla="*/ 10876858 w 21052572"/>
              <a:gd name="connsiteY1139" fmla="*/ 4773666 h 8402012"/>
              <a:gd name="connsiteX1140" fmla="*/ 10603896 w 21052572"/>
              <a:gd name="connsiteY1140" fmla="*/ 4772874 h 8402012"/>
              <a:gd name="connsiteX1141" fmla="*/ 10623303 w 21052572"/>
              <a:gd name="connsiteY1141" fmla="*/ 4823262 h 8402012"/>
              <a:gd name="connsiteX1142" fmla="*/ 10566161 w 21052572"/>
              <a:gd name="connsiteY1142" fmla="*/ 4823262 h 8402012"/>
              <a:gd name="connsiteX1143" fmla="*/ 10629772 w 21052572"/>
              <a:gd name="connsiteY1143" fmla="*/ 4861857 h 8402012"/>
              <a:gd name="connsiteX1144" fmla="*/ 10687992 w 21052572"/>
              <a:gd name="connsiteY1144" fmla="*/ 4855425 h 8402012"/>
              <a:gd name="connsiteX1145" fmla="*/ 10681523 w 21052572"/>
              <a:gd name="connsiteY1145" fmla="*/ 4894020 h 8402012"/>
              <a:gd name="connsiteX1146" fmla="*/ 10528426 w 21052572"/>
              <a:gd name="connsiteY1146" fmla="*/ 4945480 h 8402012"/>
              <a:gd name="connsiteX1147" fmla="*/ 10540285 w 21052572"/>
              <a:gd name="connsiteY1147" fmla="*/ 4881155 h 8402012"/>
              <a:gd name="connsiteX1148" fmla="*/ 10483144 w 21052572"/>
              <a:gd name="connsiteY1148" fmla="*/ 4816830 h 8402012"/>
              <a:gd name="connsiteX1149" fmla="*/ 10553223 w 21052572"/>
              <a:gd name="connsiteY1149" fmla="*/ 4785739 h 8402012"/>
              <a:gd name="connsiteX1150" fmla="*/ 10603896 w 21052572"/>
              <a:gd name="connsiteY1150" fmla="*/ 4772874 h 8402012"/>
              <a:gd name="connsiteX1151" fmla="*/ 18469436 w 21052572"/>
              <a:gd name="connsiteY1151" fmla="*/ 4768136 h 8402012"/>
              <a:gd name="connsiteX1152" fmla="*/ 18451476 w 21052572"/>
              <a:gd name="connsiteY1152" fmla="*/ 4800242 h 8402012"/>
              <a:gd name="connsiteX1153" fmla="*/ 18469436 w 21052572"/>
              <a:gd name="connsiteY1153" fmla="*/ 4768136 h 8402012"/>
              <a:gd name="connsiteX1154" fmla="*/ 18052244 w 21052572"/>
              <a:gd name="connsiteY1154" fmla="*/ 4768136 h 8402012"/>
              <a:gd name="connsiteX1155" fmla="*/ 18039120 w 21052572"/>
              <a:gd name="connsiteY1155" fmla="*/ 4800242 h 8402012"/>
              <a:gd name="connsiteX1156" fmla="*/ 18052244 w 21052572"/>
              <a:gd name="connsiteY1156" fmla="*/ 4768136 h 8402012"/>
              <a:gd name="connsiteX1157" fmla="*/ 17791656 w 21052572"/>
              <a:gd name="connsiteY1157" fmla="*/ 4768136 h 8402012"/>
              <a:gd name="connsiteX1158" fmla="*/ 17773696 w 21052572"/>
              <a:gd name="connsiteY1158" fmla="*/ 4800242 h 8402012"/>
              <a:gd name="connsiteX1159" fmla="*/ 17791656 w 21052572"/>
              <a:gd name="connsiteY1159" fmla="*/ 4768136 h 8402012"/>
              <a:gd name="connsiteX1160" fmla="*/ 10635650 w 21052572"/>
              <a:gd name="connsiteY1160" fmla="*/ 4768136 h 8402012"/>
              <a:gd name="connsiteX1161" fmla="*/ 10672542 w 21052572"/>
              <a:gd name="connsiteY1161" fmla="*/ 4768136 h 8402012"/>
              <a:gd name="connsiteX1162" fmla="*/ 10672542 w 21052572"/>
              <a:gd name="connsiteY1162" fmla="*/ 4800242 h 8402012"/>
              <a:gd name="connsiteX1163" fmla="*/ 10635650 w 21052572"/>
              <a:gd name="connsiteY1163" fmla="*/ 4800242 h 8402012"/>
              <a:gd name="connsiteX1164" fmla="*/ 10635650 w 21052572"/>
              <a:gd name="connsiteY1164" fmla="*/ 4768136 h 8402012"/>
              <a:gd name="connsiteX1165" fmla="*/ 10949944 w 21052572"/>
              <a:gd name="connsiteY1165" fmla="*/ 4767878 h 8402012"/>
              <a:gd name="connsiteX1166" fmla="*/ 10975884 w 21052572"/>
              <a:gd name="connsiteY1166" fmla="*/ 4795547 h 8402012"/>
              <a:gd name="connsiteX1167" fmla="*/ 10938992 w 21052572"/>
              <a:gd name="connsiteY1167" fmla="*/ 4777101 h 8402012"/>
              <a:gd name="connsiteX1168" fmla="*/ 10949944 w 21052572"/>
              <a:gd name="connsiteY1168" fmla="*/ 4767878 h 8402012"/>
              <a:gd name="connsiteX1169" fmla="*/ 10185638 w 21052572"/>
              <a:gd name="connsiteY1169" fmla="*/ 4763302 h 8402012"/>
              <a:gd name="connsiteX1170" fmla="*/ 10193801 w 21052572"/>
              <a:gd name="connsiteY1170" fmla="*/ 4767567 h 8402012"/>
              <a:gd name="connsiteX1171" fmla="*/ 10188534 w 21052572"/>
              <a:gd name="connsiteY1171" fmla="*/ 4781217 h 8402012"/>
              <a:gd name="connsiteX1172" fmla="*/ 10182214 w 21052572"/>
              <a:gd name="connsiteY1172" fmla="*/ 4774392 h 8402012"/>
              <a:gd name="connsiteX1173" fmla="*/ 10185638 w 21052572"/>
              <a:gd name="connsiteY1173" fmla="*/ 4763302 h 8402012"/>
              <a:gd name="connsiteX1174" fmla="*/ 10895156 w 21052572"/>
              <a:gd name="connsiteY1174" fmla="*/ 4759796 h 8402012"/>
              <a:gd name="connsiteX1175" fmla="*/ 10894121 w 21052572"/>
              <a:gd name="connsiteY1175" fmla="*/ 4761922 h 8402012"/>
              <a:gd name="connsiteX1176" fmla="*/ 10891595 w 21052572"/>
              <a:gd name="connsiteY1176" fmla="*/ 4767110 h 8402012"/>
              <a:gd name="connsiteX1177" fmla="*/ 10899173 w 21052572"/>
              <a:gd name="connsiteY1177" fmla="*/ 4751546 h 8402012"/>
              <a:gd name="connsiteX1178" fmla="*/ 10898331 w 21052572"/>
              <a:gd name="connsiteY1178" fmla="*/ 4753276 h 8402012"/>
              <a:gd name="connsiteX1179" fmla="*/ 10895156 w 21052572"/>
              <a:gd name="connsiteY1179" fmla="*/ 4759796 h 8402012"/>
              <a:gd name="connsiteX1180" fmla="*/ 16830588 w 21052572"/>
              <a:gd name="connsiteY1180" fmla="*/ 4734957 h 8402012"/>
              <a:gd name="connsiteX1181" fmla="*/ 16824072 w 21052572"/>
              <a:gd name="connsiteY1181" fmla="*/ 4798153 h 8402012"/>
              <a:gd name="connsiteX1182" fmla="*/ 16753468 w 21052572"/>
              <a:gd name="connsiteY1182" fmla="*/ 4798153 h 8402012"/>
              <a:gd name="connsiteX1183" fmla="*/ 16740434 w 21052572"/>
              <a:gd name="connsiteY1183" fmla="*/ 4760236 h 8402012"/>
              <a:gd name="connsiteX1184" fmla="*/ 16830588 w 21052572"/>
              <a:gd name="connsiteY1184" fmla="*/ 4734957 h 8402012"/>
              <a:gd name="connsiteX1185" fmla="*/ 10772103 w 21052572"/>
              <a:gd name="connsiteY1185" fmla="*/ 4734957 h 8402012"/>
              <a:gd name="connsiteX1186" fmla="*/ 10754141 w 21052572"/>
              <a:gd name="connsiteY1186" fmla="*/ 4767066 h 8402012"/>
              <a:gd name="connsiteX1187" fmla="*/ 10772103 w 21052572"/>
              <a:gd name="connsiteY1187" fmla="*/ 4734957 h 8402012"/>
              <a:gd name="connsiteX1188" fmla="*/ 17720956 w 21052572"/>
              <a:gd name="connsiteY1188" fmla="*/ 4731916 h 8402012"/>
              <a:gd name="connsiteX1189" fmla="*/ 17753672 w 21052572"/>
              <a:gd name="connsiteY1189" fmla="*/ 4735100 h 8402012"/>
              <a:gd name="connsiteX1190" fmla="*/ 17702600 w 21052572"/>
              <a:gd name="connsiteY1190" fmla="*/ 4766934 h 8402012"/>
              <a:gd name="connsiteX1191" fmla="*/ 17720956 w 21052572"/>
              <a:gd name="connsiteY1191" fmla="*/ 4731916 h 8402012"/>
              <a:gd name="connsiteX1192" fmla="*/ 10073497 w 21052572"/>
              <a:gd name="connsiteY1192" fmla="*/ 4706519 h 8402012"/>
              <a:gd name="connsiteX1193" fmla="*/ 10113178 w 21052572"/>
              <a:gd name="connsiteY1193" fmla="*/ 4706519 h 8402012"/>
              <a:gd name="connsiteX1194" fmla="*/ 10113178 w 21052572"/>
              <a:gd name="connsiteY1194" fmla="*/ 4751409 h 8402012"/>
              <a:gd name="connsiteX1195" fmla="*/ 10066883 w 21052572"/>
              <a:gd name="connsiteY1195" fmla="*/ 4814467 h 8402012"/>
              <a:gd name="connsiteX1196" fmla="*/ 10073497 w 21052572"/>
              <a:gd name="connsiteY1196" fmla="*/ 4706519 h 8402012"/>
              <a:gd name="connsiteX1197" fmla="*/ 11170162 w 21052572"/>
              <a:gd name="connsiteY1197" fmla="*/ 4687559 h 8402012"/>
              <a:gd name="connsiteX1198" fmla="*/ 11014830 w 21052572"/>
              <a:gd name="connsiteY1198" fmla="*/ 4767031 h 8402012"/>
              <a:gd name="connsiteX1199" fmla="*/ 11170162 w 21052572"/>
              <a:gd name="connsiteY1199" fmla="*/ 4687559 h 8402012"/>
              <a:gd name="connsiteX1200" fmla="*/ 18254092 w 21052572"/>
              <a:gd name="connsiteY1200" fmla="*/ 4678082 h 8402012"/>
              <a:gd name="connsiteX1201" fmla="*/ 18279776 w 21052572"/>
              <a:gd name="connsiteY1201" fmla="*/ 4710191 h 8402012"/>
              <a:gd name="connsiteX1202" fmla="*/ 18247672 w 21052572"/>
              <a:gd name="connsiteY1202" fmla="*/ 4690926 h 8402012"/>
              <a:gd name="connsiteX1203" fmla="*/ 18254092 w 21052572"/>
              <a:gd name="connsiteY1203" fmla="*/ 4678082 h 8402012"/>
              <a:gd name="connsiteX1204" fmla="*/ 15943158 w 21052572"/>
              <a:gd name="connsiteY1204" fmla="*/ 4678082 h 8402012"/>
              <a:gd name="connsiteX1205" fmla="*/ 15925194 w 21052572"/>
              <a:gd name="connsiteY1205" fmla="*/ 4710191 h 8402012"/>
              <a:gd name="connsiteX1206" fmla="*/ 15943158 w 21052572"/>
              <a:gd name="connsiteY1206" fmla="*/ 4678082 h 8402012"/>
              <a:gd name="connsiteX1207" fmla="*/ 9137891 w 21052572"/>
              <a:gd name="connsiteY1207" fmla="*/ 4678082 h 8402012"/>
              <a:gd name="connsiteX1208" fmla="*/ 9155853 w 21052572"/>
              <a:gd name="connsiteY1208" fmla="*/ 4710191 h 8402012"/>
              <a:gd name="connsiteX1209" fmla="*/ 9137891 w 21052572"/>
              <a:gd name="connsiteY1209" fmla="*/ 4678082 h 8402012"/>
              <a:gd name="connsiteX1210" fmla="*/ 10144541 w 21052572"/>
              <a:gd name="connsiteY1210" fmla="*/ 4678079 h 8402012"/>
              <a:gd name="connsiteX1211" fmla="*/ 10151105 w 21052572"/>
              <a:gd name="connsiteY1211" fmla="*/ 4691207 h 8402012"/>
              <a:gd name="connsiteX1212" fmla="*/ 10144541 w 21052572"/>
              <a:gd name="connsiteY1212" fmla="*/ 4678079 h 8402012"/>
              <a:gd name="connsiteX1213" fmla="*/ 18415404 w 21052572"/>
              <a:gd name="connsiteY1213" fmla="*/ 4675440 h 8402012"/>
              <a:gd name="connsiteX1214" fmla="*/ 18450424 w 21052572"/>
              <a:gd name="connsiteY1214" fmla="*/ 4678703 h 8402012"/>
              <a:gd name="connsiteX1215" fmla="*/ 18394600 w 21052572"/>
              <a:gd name="connsiteY1215" fmla="*/ 4711338 h 8402012"/>
              <a:gd name="connsiteX1216" fmla="*/ 18415404 w 21052572"/>
              <a:gd name="connsiteY1216" fmla="*/ 4675440 h 8402012"/>
              <a:gd name="connsiteX1217" fmla="*/ 17583080 w 21052572"/>
              <a:gd name="connsiteY1217" fmla="*/ 4675216 h 8402012"/>
              <a:gd name="connsiteX1218" fmla="*/ 17546188 w 21052572"/>
              <a:gd name="connsiteY1218" fmla="*/ 4708283 h 8402012"/>
              <a:gd name="connsiteX1219" fmla="*/ 17583080 w 21052572"/>
              <a:gd name="connsiteY1219" fmla="*/ 4675216 h 8402012"/>
              <a:gd name="connsiteX1220" fmla="*/ 10144937 w 21052572"/>
              <a:gd name="connsiteY1220" fmla="*/ 4662858 h 8402012"/>
              <a:gd name="connsiteX1221" fmla="*/ 10142715 w 21052572"/>
              <a:gd name="connsiteY1221" fmla="*/ 4672307 h 8402012"/>
              <a:gd name="connsiteX1222" fmla="*/ 10144561 w 21052572"/>
              <a:gd name="connsiteY1222" fmla="*/ 4664454 h 8402012"/>
              <a:gd name="connsiteX1223" fmla="*/ 11203470 w 21052572"/>
              <a:gd name="connsiteY1223" fmla="*/ 4659122 h 8402012"/>
              <a:gd name="connsiteX1224" fmla="*/ 11222271 w 21052572"/>
              <a:gd name="connsiteY1224" fmla="*/ 4678275 h 8402012"/>
              <a:gd name="connsiteX1225" fmla="*/ 11190198 w 21052572"/>
              <a:gd name="connsiteY1225" fmla="*/ 4710197 h 8402012"/>
              <a:gd name="connsiteX1226" fmla="*/ 11203470 w 21052572"/>
              <a:gd name="connsiteY1226" fmla="*/ 4659122 h 8402012"/>
              <a:gd name="connsiteX1227" fmla="*/ 10152195 w 21052572"/>
              <a:gd name="connsiteY1227" fmla="*/ 4659122 h 8402012"/>
              <a:gd name="connsiteX1228" fmla="*/ 10208020 w 21052572"/>
              <a:gd name="connsiteY1228" fmla="*/ 4659122 h 8402012"/>
              <a:gd name="connsiteX1229" fmla="*/ 10152195 w 21052572"/>
              <a:gd name="connsiteY1229" fmla="*/ 4659122 h 8402012"/>
              <a:gd name="connsiteX1230" fmla="*/ 10146747 w 21052572"/>
              <a:gd name="connsiteY1230" fmla="*/ 4655152 h 8402012"/>
              <a:gd name="connsiteX1231" fmla="*/ 10146484 w 21052572"/>
              <a:gd name="connsiteY1231" fmla="*/ 4656274 h 8402012"/>
              <a:gd name="connsiteX1232" fmla="*/ 10144937 w 21052572"/>
              <a:gd name="connsiteY1232" fmla="*/ 4662858 h 8402012"/>
              <a:gd name="connsiteX1233" fmla="*/ 10148253 w 21052572"/>
              <a:gd name="connsiteY1233" fmla="*/ 4648748 h 8402012"/>
              <a:gd name="connsiteX1234" fmla="*/ 10146747 w 21052572"/>
              <a:gd name="connsiteY1234" fmla="*/ 4655152 h 8402012"/>
              <a:gd name="connsiteX1235" fmla="*/ 10147637 w 21052572"/>
              <a:gd name="connsiteY1235" fmla="*/ 4651366 h 8402012"/>
              <a:gd name="connsiteX1236" fmla="*/ 10148253 w 21052572"/>
              <a:gd name="connsiteY1236" fmla="*/ 4648748 h 8402012"/>
              <a:gd name="connsiteX1237" fmla="*/ 11273693 w 21052572"/>
              <a:gd name="connsiteY1237" fmla="*/ 4647442 h 8402012"/>
              <a:gd name="connsiteX1238" fmla="*/ 11276244 w 21052572"/>
              <a:gd name="connsiteY1238" fmla="*/ 4651947 h 8402012"/>
              <a:gd name="connsiteX1239" fmla="*/ 11276013 w 21052572"/>
              <a:gd name="connsiteY1239" fmla="*/ 4649220 h 8402012"/>
              <a:gd name="connsiteX1240" fmla="*/ 18209752 w 21052572"/>
              <a:gd name="connsiteY1240" fmla="*/ 4644903 h 8402012"/>
              <a:gd name="connsiteX1241" fmla="*/ 18246616 w 21052572"/>
              <a:gd name="connsiteY1241" fmla="*/ 4657201 h 8402012"/>
              <a:gd name="connsiteX1242" fmla="*/ 18209752 w 21052572"/>
              <a:gd name="connsiteY1242" fmla="*/ 4644903 h 8402012"/>
              <a:gd name="connsiteX1243" fmla="*/ 17488316 w 21052572"/>
              <a:gd name="connsiteY1243" fmla="*/ 4644903 h 8402012"/>
              <a:gd name="connsiteX1244" fmla="*/ 17470352 w 21052572"/>
              <a:gd name="connsiteY1244" fmla="*/ 4677009 h 8402012"/>
              <a:gd name="connsiteX1245" fmla="*/ 17488316 w 21052572"/>
              <a:gd name="connsiteY1245" fmla="*/ 4644903 h 8402012"/>
              <a:gd name="connsiteX1246" fmla="*/ 9178628 w 21052572"/>
              <a:gd name="connsiteY1246" fmla="*/ 4644903 h 8402012"/>
              <a:gd name="connsiteX1247" fmla="*/ 9203223 w 21052572"/>
              <a:gd name="connsiteY1247" fmla="*/ 4677538 h 8402012"/>
              <a:gd name="connsiteX1248" fmla="*/ 9166331 w 21052572"/>
              <a:gd name="connsiteY1248" fmla="*/ 4710173 h 8402012"/>
              <a:gd name="connsiteX1249" fmla="*/ 9178628 w 21052572"/>
              <a:gd name="connsiteY1249" fmla="*/ 4644903 h 8402012"/>
              <a:gd name="connsiteX1250" fmla="*/ 8530865 w 21052572"/>
              <a:gd name="connsiteY1250" fmla="*/ 4644165 h 8402012"/>
              <a:gd name="connsiteX1251" fmla="*/ 8543762 w 21052572"/>
              <a:gd name="connsiteY1251" fmla="*/ 4676405 h 8402012"/>
              <a:gd name="connsiteX1252" fmla="*/ 8530865 w 21052572"/>
              <a:gd name="connsiteY1252" fmla="*/ 4644165 h 8402012"/>
              <a:gd name="connsiteX1253" fmla="*/ 10433502 w 21052572"/>
              <a:gd name="connsiteY1253" fmla="*/ 4642838 h 8402012"/>
              <a:gd name="connsiteX1254" fmla="*/ 10472107 w 21052572"/>
              <a:gd name="connsiteY1254" fmla="*/ 4674957 h 8402012"/>
              <a:gd name="connsiteX1255" fmla="*/ 10433502 w 21052572"/>
              <a:gd name="connsiteY1255" fmla="*/ 4642838 h 8402012"/>
              <a:gd name="connsiteX1256" fmla="*/ 10395969 w 21052572"/>
              <a:gd name="connsiteY1256" fmla="*/ 4642838 h 8402012"/>
              <a:gd name="connsiteX1257" fmla="*/ 10414199 w 21052572"/>
              <a:gd name="connsiteY1257" fmla="*/ 4674957 h 8402012"/>
              <a:gd name="connsiteX1258" fmla="*/ 10395969 w 21052572"/>
              <a:gd name="connsiteY1258" fmla="*/ 4642838 h 8402012"/>
              <a:gd name="connsiteX1259" fmla="*/ 18906392 w 21052572"/>
              <a:gd name="connsiteY1259" fmla="*/ 4640853 h 8402012"/>
              <a:gd name="connsiteX1260" fmla="*/ 18990800 w 21052572"/>
              <a:gd name="connsiteY1260" fmla="*/ 4696762 h 8402012"/>
              <a:gd name="connsiteX1261" fmla="*/ 19189800 w 21052572"/>
              <a:gd name="connsiteY1261" fmla="*/ 4823944 h 8402012"/>
              <a:gd name="connsiteX1262" fmla="*/ 18887532 w 21052572"/>
              <a:gd name="connsiteY1262" fmla="*/ 4658287 h 8402012"/>
              <a:gd name="connsiteX1263" fmla="*/ 18906392 w 21052572"/>
              <a:gd name="connsiteY1263" fmla="*/ 4640853 h 8402012"/>
              <a:gd name="connsiteX1264" fmla="*/ 17702600 w 21052572"/>
              <a:gd name="connsiteY1264" fmla="*/ 4625946 h 8402012"/>
              <a:gd name="connsiteX1265" fmla="*/ 17868580 w 21052572"/>
              <a:gd name="connsiteY1265" fmla="*/ 4645427 h 8402012"/>
              <a:gd name="connsiteX1266" fmla="*/ 17990656 w 21052572"/>
              <a:gd name="connsiteY1266" fmla="*/ 4736340 h 8402012"/>
              <a:gd name="connsiteX1267" fmla="*/ 17702600 w 21052572"/>
              <a:gd name="connsiteY1267" fmla="*/ 4625946 h 8402012"/>
              <a:gd name="connsiteX1268" fmla="*/ 11276761 w 21052572"/>
              <a:gd name="connsiteY1268" fmla="*/ 4625943 h 8402012"/>
              <a:gd name="connsiteX1269" fmla="*/ 11283497 w 21052572"/>
              <a:gd name="connsiteY1269" fmla="*/ 4641996 h 8402012"/>
              <a:gd name="connsiteX1270" fmla="*/ 11278012 w 21052572"/>
              <a:gd name="connsiteY1270" fmla="*/ 4655068 h 8402012"/>
              <a:gd name="connsiteX1271" fmla="*/ 11279185 w 21052572"/>
              <a:gd name="connsiteY1271" fmla="*/ 4657139 h 8402012"/>
              <a:gd name="connsiteX1272" fmla="*/ 11247076 w 21052572"/>
              <a:gd name="connsiteY1272" fmla="*/ 4676980 h 8402012"/>
              <a:gd name="connsiteX1273" fmla="*/ 11260722 w 21052572"/>
              <a:gd name="connsiteY1273" fmla="*/ 4642259 h 8402012"/>
              <a:gd name="connsiteX1274" fmla="*/ 11271310 w 21052572"/>
              <a:gd name="connsiteY1274" fmla="*/ 4643482 h 8402012"/>
              <a:gd name="connsiteX1275" fmla="*/ 9296740 w 21052572"/>
              <a:gd name="connsiteY1275" fmla="*/ 4618208 h 8402012"/>
              <a:gd name="connsiteX1276" fmla="*/ 9360790 w 21052572"/>
              <a:gd name="connsiteY1276" fmla="*/ 4639049 h 8402012"/>
              <a:gd name="connsiteX1277" fmla="*/ 9468608 w 21052572"/>
              <a:gd name="connsiteY1277" fmla="*/ 4645462 h 8402012"/>
              <a:gd name="connsiteX1278" fmla="*/ 9264714 w 21052572"/>
              <a:gd name="connsiteY1278" fmla="*/ 4767300 h 8402012"/>
              <a:gd name="connsiteX1279" fmla="*/ 9258309 w 21052572"/>
              <a:gd name="connsiteY1279" fmla="*/ 4823944 h 8402012"/>
              <a:gd name="connsiteX1280" fmla="*/ 9258309 w 21052572"/>
              <a:gd name="connsiteY1280" fmla="*/ 4709587 h 8402012"/>
              <a:gd name="connsiteX1281" fmla="*/ 9303145 w 21052572"/>
              <a:gd name="connsiteY1281" fmla="*/ 4735237 h 8402012"/>
              <a:gd name="connsiteX1282" fmla="*/ 9303145 w 21052572"/>
              <a:gd name="connsiteY1282" fmla="*/ 4658287 h 8402012"/>
              <a:gd name="connsiteX1283" fmla="*/ 9277524 w 21052572"/>
              <a:gd name="connsiteY1283" fmla="*/ 4671112 h 8402012"/>
              <a:gd name="connsiteX1284" fmla="*/ 9232689 w 21052572"/>
              <a:gd name="connsiteY1284" fmla="*/ 4645462 h 8402012"/>
              <a:gd name="connsiteX1285" fmla="*/ 9296740 w 21052572"/>
              <a:gd name="connsiteY1285" fmla="*/ 4618208 h 8402012"/>
              <a:gd name="connsiteX1286" fmla="*/ 17431380 w 21052572"/>
              <a:gd name="connsiteY1286" fmla="*/ 4613600 h 8402012"/>
              <a:gd name="connsiteX1287" fmla="*/ 17394520 w 21052572"/>
              <a:gd name="connsiteY1287" fmla="*/ 4646667 h 8402012"/>
              <a:gd name="connsiteX1288" fmla="*/ 17431380 w 21052572"/>
              <a:gd name="connsiteY1288" fmla="*/ 4613600 h 8402012"/>
              <a:gd name="connsiteX1289" fmla="*/ 11298217 w 21052572"/>
              <a:gd name="connsiteY1289" fmla="*/ 4611724 h 8402012"/>
              <a:gd name="connsiteX1290" fmla="*/ 11280255 w 21052572"/>
              <a:gd name="connsiteY1290" fmla="*/ 4624568 h 8402012"/>
              <a:gd name="connsiteX1291" fmla="*/ 11298217 w 21052572"/>
              <a:gd name="connsiteY1291" fmla="*/ 4611724 h 8402012"/>
              <a:gd name="connsiteX1292" fmla="*/ 8777674 w 21052572"/>
              <a:gd name="connsiteY1292" fmla="*/ 4578549 h 8402012"/>
              <a:gd name="connsiteX1293" fmla="*/ 8814566 w 21052572"/>
              <a:gd name="connsiteY1293" fmla="*/ 4592091 h 8402012"/>
              <a:gd name="connsiteX1294" fmla="*/ 8777674 w 21052572"/>
              <a:gd name="connsiteY1294" fmla="*/ 4578549 h 8402012"/>
              <a:gd name="connsiteX1295" fmla="*/ 17673164 w 21052572"/>
              <a:gd name="connsiteY1295" fmla="*/ 4578546 h 8402012"/>
              <a:gd name="connsiteX1296" fmla="*/ 17655200 w 21052572"/>
              <a:gd name="connsiteY1296" fmla="*/ 4610616 h 8402012"/>
              <a:gd name="connsiteX1297" fmla="*/ 17673164 w 21052572"/>
              <a:gd name="connsiteY1297" fmla="*/ 4578546 h 8402012"/>
              <a:gd name="connsiteX1298" fmla="*/ 8738767 w 21052572"/>
              <a:gd name="connsiteY1298" fmla="*/ 4578546 h 8402012"/>
              <a:gd name="connsiteX1299" fmla="*/ 8733706 w 21052572"/>
              <a:gd name="connsiteY1299" fmla="*/ 4608269 h 8402012"/>
              <a:gd name="connsiteX1300" fmla="*/ 8728037 w 21052572"/>
              <a:gd name="connsiteY1300" fmla="*/ 4642987 h 8402012"/>
              <a:gd name="connsiteX1301" fmla="*/ 8729183 w 21052572"/>
              <a:gd name="connsiteY1301" fmla="*/ 4644335 h 8402012"/>
              <a:gd name="connsiteX1302" fmla="*/ 8722619 w 21052572"/>
              <a:gd name="connsiteY1302" fmla="*/ 4657985 h 8402012"/>
              <a:gd name="connsiteX1303" fmla="*/ 8724465 w 21052572"/>
              <a:gd name="connsiteY1303" fmla="*/ 4638790 h 8402012"/>
              <a:gd name="connsiteX1304" fmla="*/ 8727446 w 21052572"/>
              <a:gd name="connsiteY1304" fmla="*/ 4642293 h 8402012"/>
              <a:gd name="connsiteX1305" fmla="*/ 8722242 w 21052572"/>
              <a:gd name="connsiteY1305" fmla="*/ 4625204 h 8402012"/>
              <a:gd name="connsiteX1306" fmla="*/ 8738767 w 21052572"/>
              <a:gd name="connsiteY1306" fmla="*/ 4578546 h 8402012"/>
              <a:gd name="connsiteX1307" fmla="*/ 18831844 w 21052572"/>
              <a:gd name="connsiteY1307" fmla="*/ 4554847 h 8402012"/>
              <a:gd name="connsiteX1308" fmla="*/ 18837272 w 21052572"/>
              <a:gd name="connsiteY1308" fmla="*/ 4610672 h 8402012"/>
              <a:gd name="connsiteX1309" fmla="*/ 18792740 w 21052572"/>
              <a:gd name="connsiteY1309" fmla="*/ 4610672 h 8402012"/>
              <a:gd name="connsiteX1310" fmla="*/ 18831844 w 21052572"/>
              <a:gd name="connsiteY1310" fmla="*/ 4554847 h 8402012"/>
              <a:gd name="connsiteX1311" fmla="*/ 18886480 w 21052572"/>
              <a:gd name="connsiteY1311" fmla="*/ 4550108 h 8402012"/>
              <a:gd name="connsiteX1312" fmla="*/ 18849616 w 21052572"/>
              <a:gd name="connsiteY1312" fmla="*/ 4624891 h 8402012"/>
              <a:gd name="connsiteX1313" fmla="*/ 18886480 w 21052572"/>
              <a:gd name="connsiteY1313" fmla="*/ 4550108 h 8402012"/>
              <a:gd name="connsiteX1314" fmla="*/ 17242848 w 21052572"/>
              <a:gd name="connsiteY1314" fmla="*/ 4550108 h 8402012"/>
              <a:gd name="connsiteX1315" fmla="*/ 17298688 w 21052572"/>
              <a:gd name="connsiteY1315" fmla="*/ 4569659 h 8402012"/>
              <a:gd name="connsiteX1316" fmla="*/ 17242848 w 21052572"/>
              <a:gd name="connsiteY1316" fmla="*/ 4550108 h 8402012"/>
              <a:gd name="connsiteX1317" fmla="*/ 9398577 w 21052572"/>
              <a:gd name="connsiteY1317" fmla="*/ 4550108 h 8402012"/>
              <a:gd name="connsiteX1318" fmla="*/ 9416539 w 21052572"/>
              <a:gd name="connsiteY1318" fmla="*/ 4582214 h 8402012"/>
              <a:gd name="connsiteX1319" fmla="*/ 9398577 w 21052572"/>
              <a:gd name="connsiteY1319" fmla="*/ 4550108 h 8402012"/>
              <a:gd name="connsiteX1320" fmla="*/ 18211596 w 21052572"/>
              <a:gd name="connsiteY1320" fmla="*/ 4547306 h 8402012"/>
              <a:gd name="connsiteX1321" fmla="*/ 18246616 w 21052572"/>
              <a:gd name="connsiteY1321" fmla="*/ 4550537 h 8402012"/>
              <a:gd name="connsiteX1322" fmla="*/ 18190792 w 21052572"/>
              <a:gd name="connsiteY1322" fmla="*/ 4582852 h 8402012"/>
              <a:gd name="connsiteX1323" fmla="*/ 18211596 w 21052572"/>
              <a:gd name="connsiteY1323" fmla="*/ 4547306 h 8402012"/>
              <a:gd name="connsiteX1324" fmla="*/ 17521596 w 21052572"/>
              <a:gd name="connsiteY1324" fmla="*/ 4541769 h 8402012"/>
              <a:gd name="connsiteX1325" fmla="*/ 17568784 w 21052572"/>
              <a:gd name="connsiteY1325" fmla="*/ 4547398 h 8402012"/>
              <a:gd name="connsiteX1326" fmla="*/ 17489312 w 21052572"/>
              <a:gd name="connsiteY1326" fmla="*/ 4579559 h 8402012"/>
              <a:gd name="connsiteX1327" fmla="*/ 17521596 w 21052572"/>
              <a:gd name="connsiteY1327" fmla="*/ 4541769 h 8402012"/>
              <a:gd name="connsiteX1328" fmla="*/ 10380437 w 21052572"/>
              <a:gd name="connsiteY1328" fmla="*/ 4534505 h 8402012"/>
              <a:gd name="connsiteX1329" fmla="*/ 10299456 w 21052572"/>
              <a:gd name="connsiteY1329" fmla="*/ 4579672 h 8402012"/>
              <a:gd name="connsiteX1330" fmla="*/ 10414199 w 21052572"/>
              <a:gd name="connsiteY1330" fmla="*/ 4534705 h 8402012"/>
              <a:gd name="connsiteX1331" fmla="*/ 10380437 w 21052572"/>
              <a:gd name="connsiteY1331" fmla="*/ 4534505 h 8402012"/>
              <a:gd name="connsiteX1332" fmla="*/ 10828389 w 21052572"/>
              <a:gd name="connsiteY1332" fmla="*/ 4522962 h 8402012"/>
              <a:gd name="connsiteX1333" fmla="*/ 10867104 w 21052572"/>
              <a:gd name="connsiteY1333" fmla="*/ 4548816 h 8402012"/>
              <a:gd name="connsiteX1334" fmla="*/ 10828389 w 21052572"/>
              <a:gd name="connsiteY1334" fmla="*/ 4522962 h 8402012"/>
              <a:gd name="connsiteX1335" fmla="*/ 10433502 w 21052572"/>
              <a:gd name="connsiteY1335" fmla="*/ 4521858 h 8402012"/>
              <a:gd name="connsiteX1336" fmla="*/ 10452805 w 21052572"/>
              <a:gd name="connsiteY1336" fmla="*/ 4547553 h 8402012"/>
              <a:gd name="connsiteX1337" fmla="*/ 10433502 w 21052572"/>
              <a:gd name="connsiteY1337" fmla="*/ 4521858 h 8402012"/>
              <a:gd name="connsiteX1338" fmla="*/ 17469356 w 21052572"/>
              <a:gd name="connsiteY1338" fmla="*/ 4521671 h 8402012"/>
              <a:gd name="connsiteX1339" fmla="*/ 17451392 w 21052572"/>
              <a:gd name="connsiteY1339" fmla="*/ 4548971 h 8402012"/>
              <a:gd name="connsiteX1340" fmla="*/ 17469356 w 21052572"/>
              <a:gd name="connsiteY1340" fmla="*/ 4521671 h 8402012"/>
              <a:gd name="connsiteX1341" fmla="*/ 12132408 w 21052572"/>
              <a:gd name="connsiteY1341" fmla="*/ 4521671 h 8402012"/>
              <a:gd name="connsiteX1342" fmla="*/ 12114446 w 21052572"/>
              <a:gd name="connsiteY1342" fmla="*/ 4548971 h 8402012"/>
              <a:gd name="connsiteX1343" fmla="*/ 12132408 w 21052572"/>
              <a:gd name="connsiteY1343" fmla="*/ 4521671 h 8402012"/>
              <a:gd name="connsiteX1344" fmla="*/ 15988222 w 21052572"/>
              <a:gd name="connsiteY1344" fmla="*/ 4521668 h 8402012"/>
              <a:gd name="connsiteX1345" fmla="*/ 16018966 w 21052572"/>
              <a:gd name="connsiteY1345" fmla="*/ 4521668 h 8402012"/>
              <a:gd name="connsiteX1346" fmla="*/ 16006668 w 21052572"/>
              <a:gd name="connsiteY1346" fmla="*/ 4577512 h 8402012"/>
              <a:gd name="connsiteX1347" fmla="*/ 15982074 w 21052572"/>
              <a:gd name="connsiteY1347" fmla="*/ 4534078 h 8402012"/>
              <a:gd name="connsiteX1348" fmla="*/ 15988222 w 21052572"/>
              <a:gd name="connsiteY1348" fmla="*/ 4521668 h 8402012"/>
              <a:gd name="connsiteX1349" fmla="*/ 11593073 w 21052572"/>
              <a:gd name="connsiteY1349" fmla="*/ 4513221 h 8402012"/>
              <a:gd name="connsiteX1350" fmla="*/ 11620436 w 21052572"/>
              <a:gd name="connsiteY1350" fmla="*/ 4534554 h 8402012"/>
              <a:gd name="connsiteX1351" fmla="*/ 11375050 w 21052572"/>
              <a:gd name="connsiteY1351" fmla="*/ 4591707 h 8402012"/>
              <a:gd name="connsiteX1352" fmla="*/ 11503688 w 21052572"/>
              <a:gd name="connsiteY1352" fmla="*/ 4540904 h 8402012"/>
              <a:gd name="connsiteX1353" fmla="*/ 11593073 w 21052572"/>
              <a:gd name="connsiteY1353" fmla="*/ 4513221 h 8402012"/>
              <a:gd name="connsiteX1354" fmla="*/ 15504608 w 21052572"/>
              <a:gd name="connsiteY1354" fmla="*/ 4502711 h 8402012"/>
              <a:gd name="connsiteX1355" fmla="*/ 15516584 w 21052572"/>
              <a:gd name="connsiteY1355" fmla="*/ 4521975 h 8402012"/>
              <a:gd name="connsiteX1356" fmla="*/ 15498622 w 21052572"/>
              <a:gd name="connsiteY1356" fmla="*/ 4521975 h 8402012"/>
              <a:gd name="connsiteX1357" fmla="*/ 15504608 w 21052572"/>
              <a:gd name="connsiteY1357" fmla="*/ 4502711 h 8402012"/>
              <a:gd name="connsiteX1358" fmla="*/ 15969496 w 21052572"/>
              <a:gd name="connsiteY1358" fmla="*/ 4502238 h 8402012"/>
              <a:gd name="connsiteX1359" fmla="*/ 15980982 w 21052572"/>
              <a:gd name="connsiteY1359" fmla="*/ 4504797 h 8402012"/>
              <a:gd name="connsiteX1360" fmla="*/ 15967854 w 21052572"/>
              <a:gd name="connsiteY1360" fmla="*/ 4525272 h 8402012"/>
              <a:gd name="connsiteX1361" fmla="*/ 15969496 w 21052572"/>
              <a:gd name="connsiteY1361" fmla="*/ 4502238 h 8402012"/>
              <a:gd name="connsiteX1362" fmla="*/ 18128484 w 21052572"/>
              <a:gd name="connsiteY1362" fmla="*/ 4497969 h 8402012"/>
              <a:gd name="connsiteX1363" fmla="*/ 18147100 w 21052572"/>
              <a:gd name="connsiteY1363" fmla="*/ 4549044 h 8402012"/>
              <a:gd name="connsiteX1364" fmla="*/ 18091256 w 21052572"/>
              <a:gd name="connsiteY1364" fmla="*/ 4549044 h 8402012"/>
              <a:gd name="connsiteX1365" fmla="*/ 18128484 w 21052572"/>
              <a:gd name="connsiteY1365" fmla="*/ 4497969 h 8402012"/>
              <a:gd name="connsiteX1366" fmla="*/ 10605081 w 21052572"/>
              <a:gd name="connsiteY1366" fmla="*/ 4496163 h 8402012"/>
              <a:gd name="connsiteX1367" fmla="*/ 10580417 w 21052572"/>
              <a:gd name="connsiteY1367" fmla="*/ 4509010 h 8402012"/>
              <a:gd name="connsiteX1368" fmla="*/ 10510713 w 21052572"/>
              <a:gd name="connsiteY1368" fmla="*/ 4547553 h 8402012"/>
              <a:gd name="connsiteX1369" fmla="*/ 10510713 w 21052572"/>
              <a:gd name="connsiteY1369" fmla="*/ 4610720 h 8402012"/>
              <a:gd name="connsiteX1370" fmla="*/ 10573983 w 21052572"/>
              <a:gd name="connsiteY1370" fmla="*/ 4586095 h 8402012"/>
              <a:gd name="connsiteX1371" fmla="*/ 10624384 w 21052572"/>
              <a:gd name="connsiteY1371" fmla="*/ 4547553 h 8402012"/>
              <a:gd name="connsiteX1372" fmla="*/ 10605081 w 21052572"/>
              <a:gd name="connsiteY1372" fmla="*/ 4496163 h 8402012"/>
              <a:gd name="connsiteX1373" fmla="*/ 11329787 w 21052572"/>
              <a:gd name="connsiteY1373" fmla="*/ 4494038 h 8402012"/>
              <a:gd name="connsiteX1374" fmla="*/ 11355020 w 21052572"/>
              <a:gd name="connsiteY1374" fmla="*/ 4504829 h 8402012"/>
              <a:gd name="connsiteX1375" fmla="*/ 11027968 w 21052572"/>
              <a:gd name="connsiteY1375" fmla="*/ 4639289 h 8402012"/>
              <a:gd name="connsiteX1376" fmla="*/ 10945400 w 21052572"/>
              <a:gd name="connsiteY1376" fmla="*/ 4729646 h 8402012"/>
              <a:gd name="connsiteX1377" fmla="*/ 10913231 w 21052572"/>
              <a:gd name="connsiteY1377" fmla="*/ 4723192 h 8402012"/>
              <a:gd name="connsiteX1378" fmla="*/ 10792061 w 21052572"/>
              <a:gd name="connsiteY1378" fmla="*/ 4723192 h 8402012"/>
              <a:gd name="connsiteX1379" fmla="*/ 10848893 w 21052572"/>
              <a:gd name="connsiteY1379" fmla="*/ 4678013 h 8402012"/>
              <a:gd name="connsiteX1380" fmla="*/ 10861761 w 21052572"/>
              <a:gd name="connsiteY1380" fmla="*/ 4632835 h 8402012"/>
              <a:gd name="connsiteX1381" fmla="*/ 10913231 w 21052572"/>
              <a:gd name="connsiteY1381" fmla="*/ 4613472 h 8402012"/>
              <a:gd name="connsiteX1382" fmla="*/ 11027968 w 21052572"/>
              <a:gd name="connsiteY1382" fmla="*/ 4582278 h 8402012"/>
              <a:gd name="connsiteX1383" fmla="*/ 11079438 w 21052572"/>
              <a:gd name="connsiteY1383" fmla="*/ 4569369 h 8402012"/>
              <a:gd name="connsiteX1384" fmla="*/ 11105173 w 21052572"/>
              <a:gd name="connsiteY1384" fmla="*/ 4550007 h 8402012"/>
              <a:gd name="connsiteX1385" fmla="*/ 11245645 w 21052572"/>
              <a:gd name="connsiteY1385" fmla="*/ 4511283 h 8402012"/>
              <a:gd name="connsiteX1386" fmla="*/ 11329787 w 21052572"/>
              <a:gd name="connsiteY1386" fmla="*/ 4494038 h 8402012"/>
              <a:gd name="connsiteX1387" fmla="*/ 10886462 w 21052572"/>
              <a:gd name="connsiteY1387" fmla="*/ 4490646 h 8402012"/>
              <a:gd name="connsiteX1388" fmla="*/ 10905820 w 21052572"/>
              <a:gd name="connsiteY1388" fmla="*/ 4522962 h 8402012"/>
              <a:gd name="connsiteX1389" fmla="*/ 10886462 w 21052572"/>
              <a:gd name="connsiteY1389" fmla="*/ 4490646 h 8402012"/>
              <a:gd name="connsiteX1390" fmla="*/ 19298800 w 21052572"/>
              <a:gd name="connsiteY1390" fmla="*/ 4488492 h 8402012"/>
              <a:gd name="connsiteX1391" fmla="*/ 19285672 w 21052572"/>
              <a:gd name="connsiteY1391" fmla="*/ 4520601 h 8402012"/>
              <a:gd name="connsiteX1392" fmla="*/ 19298800 w 21052572"/>
              <a:gd name="connsiteY1392" fmla="*/ 4488492 h 8402012"/>
              <a:gd name="connsiteX1393" fmla="*/ 18045544 w 21052572"/>
              <a:gd name="connsiteY1393" fmla="*/ 4488492 h 8402012"/>
              <a:gd name="connsiteX1394" fmla="*/ 18071228 w 21052572"/>
              <a:gd name="connsiteY1394" fmla="*/ 4520601 h 8402012"/>
              <a:gd name="connsiteX1395" fmla="*/ 18039124 w 21052572"/>
              <a:gd name="connsiteY1395" fmla="*/ 4501336 h 8402012"/>
              <a:gd name="connsiteX1396" fmla="*/ 18045544 w 21052572"/>
              <a:gd name="connsiteY1396" fmla="*/ 4488492 h 8402012"/>
              <a:gd name="connsiteX1397" fmla="*/ 16786776 w 21052572"/>
              <a:gd name="connsiteY1397" fmla="*/ 4488492 h 8402012"/>
              <a:gd name="connsiteX1398" fmla="*/ 16768870 w 21052572"/>
              <a:gd name="connsiteY1398" fmla="*/ 4520601 h 8402012"/>
              <a:gd name="connsiteX1399" fmla="*/ 16786776 w 21052572"/>
              <a:gd name="connsiteY1399" fmla="*/ 4488492 h 8402012"/>
              <a:gd name="connsiteX1400" fmla="*/ 15824664 w 21052572"/>
              <a:gd name="connsiteY1400" fmla="*/ 4488492 h 8402012"/>
              <a:gd name="connsiteX1401" fmla="*/ 15806702 w 21052572"/>
              <a:gd name="connsiteY1401" fmla="*/ 4520601 h 8402012"/>
              <a:gd name="connsiteX1402" fmla="*/ 15824664 w 21052572"/>
              <a:gd name="connsiteY1402" fmla="*/ 4488492 h 8402012"/>
              <a:gd name="connsiteX1403" fmla="*/ 15203758 w 21052572"/>
              <a:gd name="connsiteY1403" fmla="*/ 4488492 h 8402012"/>
              <a:gd name="connsiteX1404" fmla="*/ 15185796 w 21052572"/>
              <a:gd name="connsiteY1404" fmla="*/ 4520601 h 8402012"/>
              <a:gd name="connsiteX1405" fmla="*/ 15203758 w 21052572"/>
              <a:gd name="connsiteY1405" fmla="*/ 4488492 h 8402012"/>
              <a:gd name="connsiteX1406" fmla="*/ 21021828 w 21052572"/>
              <a:gd name="connsiteY1406" fmla="*/ 4488489 h 8402012"/>
              <a:gd name="connsiteX1407" fmla="*/ 21052572 w 21052572"/>
              <a:gd name="connsiteY1407" fmla="*/ 4531923 h 8402012"/>
              <a:gd name="connsiteX1408" fmla="*/ 21015680 w 21052572"/>
              <a:gd name="connsiteY1408" fmla="*/ 4544333 h 8402012"/>
              <a:gd name="connsiteX1409" fmla="*/ 21021828 w 21052572"/>
              <a:gd name="connsiteY1409" fmla="*/ 4488489 h 8402012"/>
              <a:gd name="connsiteX1410" fmla="*/ 11356548 w 21052572"/>
              <a:gd name="connsiteY1410" fmla="*/ 4476785 h 8402012"/>
              <a:gd name="connsiteX1411" fmla="*/ 11351348 w 21052572"/>
              <a:gd name="connsiteY1411" fmla="*/ 4487464 h 8402012"/>
              <a:gd name="connsiteX1412" fmla="*/ 11353874 w 21052572"/>
              <a:gd name="connsiteY1412" fmla="*/ 4482276 h 8402012"/>
              <a:gd name="connsiteX1413" fmla="*/ 11358926 w 21052572"/>
              <a:gd name="connsiteY1413" fmla="*/ 4471900 h 8402012"/>
              <a:gd name="connsiteX1414" fmla="*/ 11358084 w 21052572"/>
              <a:gd name="connsiteY1414" fmla="*/ 4473630 h 8402012"/>
              <a:gd name="connsiteX1415" fmla="*/ 11356548 w 21052572"/>
              <a:gd name="connsiteY1415" fmla="*/ 4476785 h 8402012"/>
              <a:gd name="connsiteX1416" fmla="*/ 8903997 w 21052572"/>
              <a:gd name="connsiteY1416" fmla="*/ 4461474 h 8402012"/>
              <a:gd name="connsiteX1417" fmla="*/ 8858657 w 21052572"/>
              <a:gd name="connsiteY1417" fmla="*/ 4490490 h 8402012"/>
              <a:gd name="connsiteX1418" fmla="*/ 8755483 w 21052572"/>
              <a:gd name="connsiteY1418" fmla="*/ 4542073 h 8402012"/>
              <a:gd name="connsiteX1419" fmla="*/ 8640487 w 21052572"/>
              <a:gd name="connsiteY1419" fmla="*/ 4593656 h 8402012"/>
              <a:gd name="connsiteX1420" fmla="*/ 8711419 w 21052572"/>
              <a:gd name="connsiteY1420" fmla="*/ 4657061 h 8402012"/>
              <a:gd name="connsiteX1421" fmla="*/ 8679177 w 21052572"/>
              <a:gd name="connsiteY1421" fmla="*/ 4708644 h 8402012"/>
              <a:gd name="connsiteX1422" fmla="*/ 8903795 w 21052572"/>
              <a:gd name="connsiteY1422" fmla="*/ 4580760 h 8402012"/>
              <a:gd name="connsiteX1423" fmla="*/ 8916692 w 21052572"/>
              <a:gd name="connsiteY1423" fmla="*/ 4477594 h 8402012"/>
              <a:gd name="connsiteX1424" fmla="*/ 8903997 w 21052572"/>
              <a:gd name="connsiteY1424" fmla="*/ 4461474 h 8402012"/>
              <a:gd name="connsiteX1425" fmla="*/ 9096172 w 21052572"/>
              <a:gd name="connsiteY1425" fmla="*/ 4458250 h 8402012"/>
              <a:gd name="connsiteX1426" fmla="*/ 9109068 w 21052572"/>
              <a:gd name="connsiteY1426" fmla="*/ 4490490 h 8402012"/>
              <a:gd name="connsiteX1427" fmla="*/ 9096172 w 21052572"/>
              <a:gd name="connsiteY1427" fmla="*/ 4458250 h 8402012"/>
              <a:gd name="connsiteX1428" fmla="*/ 9018791 w 21052572"/>
              <a:gd name="connsiteY1428" fmla="*/ 4458250 h 8402012"/>
              <a:gd name="connsiteX1429" fmla="*/ 9038136 w 21052572"/>
              <a:gd name="connsiteY1429" fmla="*/ 4490490 h 8402012"/>
              <a:gd name="connsiteX1430" fmla="*/ 9018791 w 21052572"/>
              <a:gd name="connsiteY1430" fmla="*/ 4458250 h 8402012"/>
              <a:gd name="connsiteX1431" fmla="*/ 15336444 w 21052572"/>
              <a:gd name="connsiteY1431" fmla="*/ 4456721 h 8402012"/>
              <a:gd name="connsiteX1432" fmla="*/ 15299550 w 21052572"/>
              <a:gd name="connsiteY1432" fmla="*/ 4487464 h 8402012"/>
              <a:gd name="connsiteX1433" fmla="*/ 15336444 w 21052572"/>
              <a:gd name="connsiteY1433" fmla="*/ 4456721 h 8402012"/>
              <a:gd name="connsiteX1434" fmla="*/ 10955021 w 21052572"/>
              <a:gd name="connsiteY1434" fmla="*/ 4455098 h 8402012"/>
              <a:gd name="connsiteX1435" fmla="*/ 10918725 w 21052572"/>
              <a:gd name="connsiteY1435" fmla="*/ 4458330 h 8402012"/>
              <a:gd name="connsiteX1436" fmla="*/ 10976799 w 21052572"/>
              <a:gd name="connsiteY1436" fmla="*/ 4490646 h 8402012"/>
              <a:gd name="connsiteX1437" fmla="*/ 10955021 w 21052572"/>
              <a:gd name="connsiteY1437" fmla="*/ 4455098 h 8402012"/>
              <a:gd name="connsiteX1438" fmla="*/ 17957796 w 21052572"/>
              <a:gd name="connsiteY1438" fmla="*/ 4453298 h 8402012"/>
              <a:gd name="connsiteX1439" fmla="*/ 18038056 w 21052572"/>
              <a:gd name="connsiteY1439" fmla="*/ 4476858 h 8402012"/>
              <a:gd name="connsiteX1440" fmla="*/ 17930108 w 21052572"/>
              <a:gd name="connsiteY1440" fmla="*/ 4458243 h 8402012"/>
              <a:gd name="connsiteX1441" fmla="*/ 17957796 w 21052572"/>
              <a:gd name="connsiteY1441" fmla="*/ 4453298 h 8402012"/>
              <a:gd name="connsiteX1442" fmla="*/ 11464578 w 21052572"/>
              <a:gd name="connsiteY1442" fmla="*/ 4452268 h 8402012"/>
              <a:gd name="connsiteX1443" fmla="*/ 11506709 w 21052572"/>
              <a:gd name="connsiteY1443" fmla="*/ 4479401 h 8402012"/>
              <a:gd name="connsiteX1444" fmla="*/ 11431927 w 21052572"/>
              <a:gd name="connsiteY1444" fmla="*/ 4492170 h 8402012"/>
              <a:gd name="connsiteX1445" fmla="*/ 11464578 w 21052572"/>
              <a:gd name="connsiteY1445" fmla="*/ 4452268 h 8402012"/>
              <a:gd name="connsiteX1446" fmla="*/ 9374754 w 21052572"/>
              <a:gd name="connsiteY1446" fmla="*/ 4449044 h 8402012"/>
              <a:gd name="connsiteX1447" fmla="*/ 9383360 w 21052572"/>
              <a:gd name="connsiteY1447" fmla="*/ 4458676 h 8402012"/>
              <a:gd name="connsiteX1448" fmla="*/ 9378423 w 21052572"/>
              <a:gd name="connsiteY1448" fmla="*/ 4477742 h 8402012"/>
              <a:gd name="connsiteX1449" fmla="*/ 9378619 w 21052572"/>
              <a:gd name="connsiteY1449" fmla="*/ 4478014 h 8402012"/>
              <a:gd name="connsiteX1450" fmla="*/ 9360657 w 21052572"/>
              <a:gd name="connsiteY1450" fmla="*/ 4478014 h 8402012"/>
              <a:gd name="connsiteX1451" fmla="*/ 9365646 w 21052572"/>
              <a:gd name="connsiteY1451" fmla="*/ 4460052 h 8402012"/>
              <a:gd name="connsiteX1452" fmla="*/ 9375695 w 21052572"/>
              <a:gd name="connsiteY1452" fmla="*/ 4473966 h 8402012"/>
              <a:gd name="connsiteX1453" fmla="*/ 9365398 w 21052572"/>
              <a:gd name="connsiteY1453" fmla="*/ 4458676 h 8402012"/>
              <a:gd name="connsiteX1454" fmla="*/ 9374754 w 21052572"/>
              <a:gd name="connsiteY1454" fmla="*/ 4449044 h 8402012"/>
              <a:gd name="connsiteX1455" fmla="*/ 17366080 w 21052572"/>
              <a:gd name="connsiteY1455" fmla="*/ 4445836 h 8402012"/>
              <a:gd name="connsiteX1456" fmla="*/ 17431332 w 21052572"/>
              <a:gd name="connsiteY1456" fmla="*/ 4525306 h 8402012"/>
              <a:gd name="connsiteX1457" fmla="*/ 17372712 w 21052572"/>
              <a:gd name="connsiteY1457" fmla="*/ 4525306 h 8402012"/>
              <a:gd name="connsiteX1458" fmla="*/ 17366080 w 21052572"/>
              <a:gd name="connsiteY1458" fmla="*/ 4445836 h 8402012"/>
              <a:gd name="connsiteX1459" fmla="*/ 18455576 w 21052572"/>
              <a:gd name="connsiteY1459" fmla="*/ 4433297 h 8402012"/>
              <a:gd name="connsiteX1460" fmla="*/ 18469412 w 21052572"/>
              <a:gd name="connsiteY1460" fmla="*/ 4458982 h 8402012"/>
              <a:gd name="connsiteX1461" fmla="*/ 18432520 w 21052572"/>
              <a:gd name="connsiteY1461" fmla="*/ 4446140 h 8402012"/>
              <a:gd name="connsiteX1462" fmla="*/ 18455576 w 21052572"/>
              <a:gd name="connsiteY1462" fmla="*/ 4433297 h 8402012"/>
              <a:gd name="connsiteX1463" fmla="*/ 11540338 w 21052572"/>
              <a:gd name="connsiteY1463" fmla="*/ 4431807 h 8402012"/>
              <a:gd name="connsiteX1464" fmla="*/ 11563606 w 21052572"/>
              <a:gd name="connsiteY1464" fmla="*/ 4457345 h 8402012"/>
              <a:gd name="connsiteX1465" fmla="*/ 11519105 w 21052572"/>
              <a:gd name="connsiteY1465" fmla="*/ 4454652 h 8402012"/>
              <a:gd name="connsiteX1466" fmla="*/ 11512377 w 21052572"/>
              <a:gd name="connsiteY1466" fmla="*/ 4448676 h 8402012"/>
              <a:gd name="connsiteX1467" fmla="*/ 11513251 w 21052572"/>
              <a:gd name="connsiteY1467" fmla="*/ 4449846 h 8402012"/>
              <a:gd name="connsiteX1468" fmla="*/ 11516244 w 21052572"/>
              <a:gd name="connsiteY1468" fmla="*/ 4458676 h 8402012"/>
              <a:gd name="connsiteX1469" fmla="*/ 11510257 w 21052572"/>
              <a:gd name="connsiteY1469" fmla="*/ 4477939 h 8402012"/>
              <a:gd name="connsiteX1470" fmla="*/ 11503521 w 21052572"/>
              <a:gd name="connsiteY1470" fmla="*/ 4459478 h 8402012"/>
              <a:gd name="connsiteX1471" fmla="*/ 11509928 w 21052572"/>
              <a:gd name="connsiteY1471" fmla="*/ 4446500 h 8402012"/>
              <a:gd name="connsiteX1472" fmla="*/ 11507762 w 21052572"/>
              <a:gd name="connsiteY1472" fmla="*/ 4444576 h 8402012"/>
              <a:gd name="connsiteX1473" fmla="*/ 11540338 w 21052572"/>
              <a:gd name="connsiteY1473" fmla="*/ 4431807 h 8402012"/>
              <a:gd name="connsiteX1474" fmla="*/ 10716226 w 21052572"/>
              <a:gd name="connsiteY1474" fmla="*/ 4426876 h 8402012"/>
              <a:gd name="connsiteX1475" fmla="*/ 10748335 w 21052572"/>
              <a:gd name="connsiteY1475" fmla="*/ 4459511 h 8402012"/>
              <a:gd name="connsiteX1476" fmla="*/ 10716226 w 21052572"/>
              <a:gd name="connsiteY1476" fmla="*/ 4492146 h 8402012"/>
              <a:gd name="connsiteX1477" fmla="*/ 10716226 w 21052572"/>
              <a:gd name="connsiteY1477" fmla="*/ 4426876 h 8402012"/>
              <a:gd name="connsiteX1478" fmla="*/ 10014741 w 21052572"/>
              <a:gd name="connsiteY1478" fmla="*/ 4426876 h 8402012"/>
              <a:gd name="connsiteX1479" fmla="*/ 10032703 w 21052572"/>
              <a:gd name="connsiteY1479" fmla="*/ 4458982 h 8402012"/>
              <a:gd name="connsiteX1480" fmla="*/ 10014741 w 21052572"/>
              <a:gd name="connsiteY1480" fmla="*/ 4426876 h 8402012"/>
              <a:gd name="connsiteX1481" fmla="*/ 15539128 w 21052572"/>
              <a:gd name="connsiteY1481" fmla="*/ 4421748 h 8402012"/>
              <a:gd name="connsiteX1482" fmla="*/ 15559156 w 21052572"/>
              <a:gd name="connsiteY1482" fmla="*/ 4425881 h 8402012"/>
              <a:gd name="connsiteX1483" fmla="*/ 15489142 w 21052572"/>
              <a:gd name="connsiteY1483" fmla="*/ 4458949 h 8402012"/>
              <a:gd name="connsiteX1484" fmla="*/ 15539128 w 21052572"/>
              <a:gd name="connsiteY1484" fmla="*/ 4421748 h 8402012"/>
              <a:gd name="connsiteX1485" fmla="*/ 9661633 w 21052572"/>
              <a:gd name="connsiteY1485" fmla="*/ 4419118 h 8402012"/>
              <a:gd name="connsiteX1486" fmla="*/ 9706876 w 21052572"/>
              <a:gd name="connsiteY1486" fmla="*/ 4444971 h 8402012"/>
              <a:gd name="connsiteX1487" fmla="*/ 9732729 w 21052572"/>
              <a:gd name="connsiteY1487" fmla="*/ 4483750 h 8402012"/>
              <a:gd name="connsiteX1488" fmla="*/ 9790899 w 21052572"/>
              <a:gd name="connsiteY1488" fmla="*/ 4522530 h 8402012"/>
              <a:gd name="connsiteX1489" fmla="*/ 9609927 w 21052572"/>
              <a:gd name="connsiteY1489" fmla="*/ 4611939 h 8402012"/>
              <a:gd name="connsiteX1490" fmla="*/ 9507591 w 21052572"/>
              <a:gd name="connsiteY1490" fmla="*/ 4611939 h 8402012"/>
              <a:gd name="connsiteX1491" fmla="*/ 9546371 w 21052572"/>
              <a:gd name="connsiteY1491" fmla="*/ 4611939 h 8402012"/>
              <a:gd name="connsiteX1492" fmla="*/ 9577610 w 21052572"/>
              <a:gd name="connsiteY1492" fmla="*/ 4464361 h 8402012"/>
              <a:gd name="connsiteX1493" fmla="*/ 9674559 w 21052572"/>
              <a:gd name="connsiteY1493" fmla="*/ 4477287 h 8402012"/>
              <a:gd name="connsiteX1494" fmla="*/ 9674697 w 21052572"/>
              <a:gd name="connsiteY1494" fmla="*/ 4476977 h 8402012"/>
              <a:gd name="connsiteX1495" fmla="*/ 9673982 w 21052572"/>
              <a:gd name="connsiteY1495" fmla="*/ 4456268 h 8402012"/>
              <a:gd name="connsiteX1496" fmla="*/ 9678940 w 21052572"/>
              <a:gd name="connsiteY1496" fmla="*/ 4453559 h 8402012"/>
              <a:gd name="connsiteX1497" fmla="*/ 9686569 w 21052572"/>
              <a:gd name="connsiteY1497" fmla="*/ 4458586 h 8402012"/>
              <a:gd name="connsiteX1498" fmla="*/ 9687486 w 21052572"/>
              <a:gd name="connsiteY1498" fmla="*/ 4457897 h 8402012"/>
              <a:gd name="connsiteX1499" fmla="*/ 9661633 w 21052572"/>
              <a:gd name="connsiteY1499" fmla="*/ 4419118 h 8402012"/>
              <a:gd name="connsiteX1500" fmla="*/ 383018 w 21052572"/>
              <a:gd name="connsiteY1500" fmla="*/ 4418305 h 8402012"/>
              <a:gd name="connsiteX1501" fmla="*/ 439616 w 21052572"/>
              <a:gd name="connsiteY1501" fmla="*/ 4426508 h 8402012"/>
              <a:gd name="connsiteX1502" fmla="*/ 341176 w 21052572"/>
              <a:gd name="connsiteY1502" fmla="*/ 4459322 h 8402012"/>
              <a:gd name="connsiteX1503" fmla="*/ 383018 w 21052572"/>
              <a:gd name="connsiteY1503" fmla="*/ 4418305 h 8402012"/>
              <a:gd name="connsiteX1504" fmla="*/ 17280144 w 21052572"/>
              <a:gd name="connsiteY1504" fmla="*/ 4416376 h 8402012"/>
              <a:gd name="connsiteX1505" fmla="*/ 17341292 w 21052572"/>
              <a:gd name="connsiteY1505" fmla="*/ 4426095 h 8402012"/>
              <a:gd name="connsiteX1506" fmla="*/ 17321724 w 21052572"/>
              <a:gd name="connsiteY1506" fmla="*/ 4477932 h 8402012"/>
              <a:gd name="connsiteX1507" fmla="*/ 17289112 w 21052572"/>
              <a:gd name="connsiteY1507" fmla="*/ 4471453 h 8402012"/>
              <a:gd name="connsiteX1508" fmla="*/ 17223888 w 21052572"/>
              <a:gd name="connsiteY1508" fmla="*/ 4445534 h 8402012"/>
              <a:gd name="connsiteX1509" fmla="*/ 17280144 w 21052572"/>
              <a:gd name="connsiteY1509" fmla="*/ 4416376 h 8402012"/>
              <a:gd name="connsiteX1510" fmla="*/ 11931121 w 21052572"/>
              <a:gd name="connsiteY1510" fmla="*/ 4412654 h 8402012"/>
              <a:gd name="connsiteX1511" fmla="*/ 11956957 w 21052572"/>
              <a:gd name="connsiteY1511" fmla="*/ 4445267 h 8402012"/>
              <a:gd name="connsiteX1512" fmla="*/ 11764257 w 21052572"/>
              <a:gd name="connsiteY1512" fmla="*/ 4490926 h 8402012"/>
              <a:gd name="connsiteX1513" fmla="*/ 11680288 w 21052572"/>
              <a:gd name="connsiteY1513" fmla="*/ 4510493 h 8402012"/>
              <a:gd name="connsiteX1514" fmla="*/ 11632146 w 21052572"/>
              <a:gd name="connsiteY1514" fmla="*/ 4516914 h 8402012"/>
              <a:gd name="connsiteX1515" fmla="*/ 11619328 w 21052572"/>
              <a:gd name="connsiteY1515" fmla="*/ 4506123 h 8402012"/>
              <a:gd name="connsiteX1516" fmla="*/ 11624279 w 21052572"/>
              <a:gd name="connsiteY1516" fmla="*/ 4523463 h 8402012"/>
              <a:gd name="connsiteX1517" fmla="*/ 11612034 w 21052572"/>
              <a:gd name="connsiteY1517" fmla="*/ 4521157 h 8402012"/>
              <a:gd name="connsiteX1518" fmla="*/ 11617665 w 21052572"/>
              <a:gd name="connsiteY1518" fmla="*/ 4504723 h 8402012"/>
              <a:gd name="connsiteX1519" fmla="*/ 11616772 w 21052572"/>
              <a:gd name="connsiteY1519" fmla="*/ 4503971 h 8402012"/>
              <a:gd name="connsiteX1520" fmla="*/ 11618067 w 21052572"/>
              <a:gd name="connsiteY1520" fmla="*/ 4503548 h 8402012"/>
              <a:gd name="connsiteX1521" fmla="*/ 11618354 w 21052572"/>
              <a:gd name="connsiteY1521" fmla="*/ 4502711 h 8402012"/>
              <a:gd name="connsiteX1522" fmla="*/ 11618548 w 21052572"/>
              <a:gd name="connsiteY1522" fmla="*/ 4503391 h 8402012"/>
              <a:gd name="connsiteX1523" fmla="*/ 11796554 w 21052572"/>
              <a:gd name="connsiteY1523" fmla="*/ 4445267 h 8402012"/>
              <a:gd name="connsiteX1524" fmla="*/ 11885906 w 21052572"/>
              <a:gd name="connsiteY1524" fmla="*/ 4425699 h 8402012"/>
              <a:gd name="connsiteX1525" fmla="*/ 11931121 w 21052572"/>
              <a:gd name="connsiteY1525" fmla="*/ 4412654 h 8402012"/>
              <a:gd name="connsiteX1526" fmla="*/ 10624384 w 21052572"/>
              <a:gd name="connsiteY1526" fmla="*/ 4412654 h 8402012"/>
              <a:gd name="connsiteX1527" fmla="*/ 10605081 w 21052572"/>
              <a:gd name="connsiteY1527" fmla="*/ 4444773 h 8402012"/>
              <a:gd name="connsiteX1528" fmla="*/ 10660275 w 21052572"/>
              <a:gd name="connsiteY1528" fmla="*/ 4459226 h 8402012"/>
              <a:gd name="connsiteX1529" fmla="*/ 10673742 w 21052572"/>
              <a:gd name="connsiteY1529" fmla="*/ 4474493 h 8402012"/>
              <a:gd name="connsiteX1530" fmla="*/ 10668826 w 21052572"/>
              <a:gd name="connsiteY1530" fmla="*/ 4458676 h 8402012"/>
              <a:gd name="connsiteX1531" fmla="*/ 10686788 w 21052572"/>
              <a:gd name="connsiteY1531" fmla="*/ 4458676 h 8402012"/>
              <a:gd name="connsiteX1532" fmla="*/ 10675627 w 21052572"/>
              <a:gd name="connsiteY1532" fmla="*/ 4476630 h 8402012"/>
              <a:gd name="connsiteX1533" fmla="*/ 10675858 w 21052572"/>
              <a:gd name="connsiteY1533" fmla="*/ 4476892 h 8402012"/>
              <a:gd name="connsiteX1534" fmla="*/ 10675464 w 21052572"/>
              <a:gd name="connsiteY1534" fmla="*/ 4476892 h 8402012"/>
              <a:gd name="connsiteX1535" fmla="*/ 10674813 w 21052572"/>
              <a:gd name="connsiteY1535" fmla="*/ 4477939 h 8402012"/>
              <a:gd name="connsiteX1536" fmla="*/ 10674487 w 21052572"/>
              <a:gd name="connsiteY1536" fmla="*/ 4476892 h 8402012"/>
              <a:gd name="connsiteX1537" fmla="*/ 10659772 w 21052572"/>
              <a:gd name="connsiteY1537" fmla="*/ 4476892 h 8402012"/>
              <a:gd name="connsiteX1538" fmla="*/ 10643687 w 21052572"/>
              <a:gd name="connsiteY1538" fmla="*/ 4496163 h 8402012"/>
              <a:gd name="connsiteX1539" fmla="*/ 10637253 w 21052572"/>
              <a:gd name="connsiteY1539" fmla="*/ 4579672 h 8402012"/>
              <a:gd name="connsiteX1540" fmla="*/ 10753069 w 21052572"/>
              <a:gd name="connsiteY1540" fmla="*/ 4592519 h 8402012"/>
              <a:gd name="connsiteX1541" fmla="*/ 10439936 w 21052572"/>
              <a:gd name="connsiteY1541" fmla="*/ 4758466 h 8402012"/>
              <a:gd name="connsiteX1542" fmla="*/ 10363798 w 21052572"/>
              <a:gd name="connsiteY1542" fmla="*/ 4784161 h 8402012"/>
              <a:gd name="connsiteX1543" fmla="*/ 10293021 w 21052572"/>
              <a:gd name="connsiteY1543" fmla="*/ 4834480 h 8402012"/>
              <a:gd name="connsiteX1544" fmla="*/ 10133238 w 21052572"/>
              <a:gd name="connsiteY1544" fmla="*/ 4866599 h 8402012"/>
              <a:gd name="connsiteX1545" fmla="*/ 10241548 w 21052572"/>
              <a:gd name="connsiteY1545" fmla="*/ 4784161 h 8402012"/>
              <a:gd name="connsiteX1546" fmla="*/ 10254416 w 21052572"/>
              <a:gd name="connsiteY1546" fmla="*/ 4674957 h 8402012"/>
              <a:gd name="connsiteX1547" fmla="*/ 10273719 w 21052572"/>
              <a:gd name="connsiteY1547" fmla="*/ 4707076 h 8402012"/>
              <a:gd name="connsiteX1548" fmla="*/ 10267284 w 21052572"/>
              <a:gd name="connsiteY1548" fmla="*/ 4597872 h 8402012"/>
              <a:gd name="connsiteX1549" fmla="*/ 10191146 w 21052572"/>
              <a:gd name="connsiteY1549" fmla="*/ 4560400 h 8402012"/>
              <a:gd name="connsiteX1550" fmla="*/ 10472107 w 21052572"/>
              <a:gd name="connsiteY1550" fmla="*/ 4457620 h 8402012"/>
              <a:gd name="connsiteX1551" fmla="*/ 10472107 w 21052572"/>
              <a:gd name="connsiteY1551" fmla="*/ 4521858 h 8402012"/>
              <a:gd name="connsiteX1552" fmla="*/ 10624384 w 21052572"/>
              <a:gd name="connsiteY1552" fmla="*/ 4412654 h 8402012"/>
              <a:gd name="connsiteX1553" fmla="*/ 20902204 w 21052572"/>
              <a:gd name="connsiteY1553" fmla="*/ 4396919 h 8402012"/>
              <a:gd name="connsiteX1554" fmla="*/ 20957748 w 21052572"/>
              <a:gd name="connsiteY1554" fmla="*/ 4425789 h 8402012"/>
              <a:gd name="connsiteX1555" fmla="*/ 20945108 w 21052572"/>
              <a:gd name="connsiteY1555" fmla="*/ 4477926 h 8402012"/>
              <a:gd name="connsiteX1556" fmla="*/ 20882964 w 21052572"/>
              <a:gd name="connsiteY1556" fmla="*/ 4412754 h 8402012"/>
              <a:gd name="connsiteX1557" fmla="*/ 20902204 w 21052572"/>
              <a:gd name="connsiteY1557" fmla="*/ 4396919 h 8402012"/>
              <a:gd name="connsiteX1558" fmla="*/ 17149400 w 21052572"/>
              <a:gd name="connsiteY1558" fmla="*/ 4395190 h 8402012"/>
              <a:gd name="connsiteX1559" fmla="*/ 17165976 w 21052572"/>
              <a:gd name="connsiteY1559" fmla="*/ 4396383 h 8402012"/>
              <a:gd name="connsiteX1560" fmla="*/ 17110132 w 21052572"/>
              <a:gd name="connsiteY1560" fmla="*/ 4429562 h 8402012"/>
              <a:gd name="connsiteX1561" fmla="*/ 17149400 w 21052572"/>
              <a:gd name="connsiteY1561" fmla="*/ 4395190 h 8402012"/>
              <a:gd name="connsiteX1562" fmla="*/ 11655876 w 21052572"/>
              <a:gd name="connsiteY1562" fmla="*/ 4395190 h 8402012"/>
              <a:gd name="connsiteX1563" fmla="*/ 11672597 w 21052572"/>
              <a:gd name="connsiteY1563" fmla="*/ 4396383 h 8402012"/>
              <a:gd name="connsiteX1564" fmla="*/ 11616772 w 21052572"/>
              <a:gd name="connsiteY1564" fmla="*/ 4429562 h 8402012"/>
              <a:gd name="connsiteX1565" fmla="*/ 11655876 w 21052572"/>
              <a:gd name="connsiteY1565" fmla="*/ 4395190 h 8402012"/>
              <a:gd name="connsiteX1566" fmla="*/ 19189880 w 21052572"/>
              <a:gd name="connsiteY1566" fmla="*/ 4393697 h 8402012"/>
              <a:gd name="connsiteX1567" fmla="*/ 19171920 w 21052572"/>
              <a:gd name="connsiteY1567" fmla="*/ 4425806 h 8402012"/>
              <a:gd name="connsiteX1568" fmla="*/ 19189880 w 21052572"/>
              <a:gd name="connsiteY1568" fmla="*/ 4393697 h 8402012"/>
              <a:gd name="connsiteX1569" fmla="*/ 17848536 w 21052572"/>
              <a:gd name="connsiteY1569" fmla="*/ 4393697 h 8402012"/>
              <a:gd name="connsiteX1570" fmla="*/ 17830572 w 21052572"/>
              <a:gd name="connsiteY1570" fmla="*/ 4425806 h 8402012"/>
              <a:gd name="connsiteX1571" fmla="*/ 17848536 w 21052572"/>
              <a:gd name="connsiteY1571" fmla="*/ 4393697 h 8402012"/>
              <a:gd name="connsiteX1572" fmla="*/ 17185968 w 21052572"/>
              <a:gd name="connsiteY1572" fmla="*/ 4393697 h 8402012"/>
              <a:gd name="connsiteX1573" fmla="*/ 17222832 w 21052572"/>
              <a:gd name="connsiteY1573" fmla="*/ 4412850 h 8402012"/>
              <a:gd name="connsiteX1574" fmla="*/ 17197552 w 21052572"/>
              <a:gd name="connsiteY1574" fmla="*/ 4444772 h 8402012"/>
              <a:gd name="connsiteX1575" fmla="*/ 17185968 w 21052572"/>
              <a:gd name="connsiteY1575" fmla="*/ 4393697 h 8402012"/>
              <a:gd name="connsiteX1576" fmla="*/ 10828980 w 21052572"/>
              <a:gd name="connsiteY1576" fmla="*/ 4393697 h 8402012"/>
              <a:gd name="connsiteX1577" fmla="*/ 10811018 w 21052572"/>
              <a:gd name="connsiteY1577" fmla="*/ 4425806 h 8402012"/>
              <a:gd name="connsiteX1578" fmla="*/ 10828980 w 21052572"/>
              <a:gd name="connsiteY1578" fmla="*/ 4393697 h 8402012"/>
              <a:gd name="connsiteX1579" fmla="*/ 10450799 w 21052572"/>
              <a:gd name="connsiteY1579" fmla="*/ 4393697 h 8402012"/>
              <a:gd name="connsiteX1580" fmla="*/ 10468761 w 21052572"/>
              <a:gd name="connsiteY1580" fmla="*/ 4425806 h 8402012"/>
              <a:gd name="connsiteX1581" fmla="*/ 10450799 w 21052572"/>
              <a:gd name="connsiteY1581" fmla="*/ 4393697 h 8402012"/>
              <a:gd name="connsiteX1582" fmla="*/ 16602978 w 21052572"/>
              <a:gd name="connsiteY1582" fmla="*/ 4393694 h 8402012"/>
              <a:gd name="connsiteX1583" fmla="*/ 16658822 w 21052572"/>
              <a:gd name="connsiteY1583" fmla="*/ 4492136 h 8402012"/>
              <a:gd name="connsiteX1584" fmla="*/ 16602978 w 21052572"/>
              <a:gd name="connsiteY1584" fmla="*/ 4393694 h 8402012"/>
              <a:gd name="connsiteX1585" fmla="*/ 9189528 w 21052572"/>
              <a:gd name="connsiteY1585" fmla="*/ 4387259 h 8402012"/>
              <a:gd name="connsiteX1586" fmla="*/ 9198509 w 21052572"/>
              <a:gd name="connsiteY1586" fmla="*/ 4396383 h 8402012"/>
              <a:gd name="connsiteX1587" fmla="*/ 9180547 w 21052572"/>
              <a:gd name="connsiteY1587" fmla="*/ 4396383 h 8402012"/>
              <a:gd name="connsiteX1588" fmla="*/ 9189528 w 21052572"/>
              <a:gd name="connsiteY1588" fmla="*/ 4387259 h 8402012"/>
              <a:gd name="connsiteX1589" fmla="*/ 17062408 w 21052572"/>
              <a:gd name="connsiteY1589" fmla="*/ 4365915 h 8402012"/>
              <a:gd name="connsiteX1590" fmla="*/ 17080592 w 21052572"/>
              <a:gd name="connsiteY1590" fmla="*/ 4392641 h 8402012"/>
              <a:gd name="connsiteX1591" fmla="*/ 17034300 w 21052572"/>
              <a:gd name="connsiteY1591" fmla="*/ 4381055 h 8402012"/>
              <a:gd name="connsiteX1592" fmla="*/ 17062408 w 21052572"/>
              <a:gd name="connsiteY1592" fmla="*/ 4365915 h 8402012"/>
              <a:gd name="connsiteX1593" fmla="*/ 17638076 w 21052572"/>
              <a:gd name="connsiteY1593" fmla="*/ 4362945 h 8402012"/>
              <a:gd name="connsiteX1594" fmla="*/ 17654136 w 21052572"/>
              <a:gd name="connsiteY1594" fmla="*/ 4364310 h 8402012"/>
              <a:gd name="connsiteX1595" fmla="*/ 17603064 w 21052572"/>
              <a:gd name="connsiteY1595" fmla="*/ 4396383 h 8402012"/>
              <a:gd name="connsiteX1596" fmla="*/ 17638076 w 21052572"/>
              <a:gd name="connsiteY1596" fmla="*/ 4362945 h 8402012"/>
              <a:gd name="connsiteX1597" fmla="*/ 17754896 w 21052572"/>
              <a:gd name="connsiteY1597" fmla="*/ 4361613 h 8402012"/>
              <a:gd name="connsiteX1598" fmla="*/ 17786880 w 21052572"/>
              <a:gd name="connsiteY1598" fmla="*/ 4392642 h 8402012"/>
              <a:gd name="connsiteX1599" fmla="*/ 17731036 w 21052572"/>
              <a:gd name="connsiteY1599" fmla="*/ 4381056 h 8402012"/>
              <a:gd name="connsiteX1600" fmla="*/ 17743252 w 21052572"/>
              <a:gd name="connsiteY1600" fmla="*/ 4361685 h 8402012"/>
              <a:gd name="connsiteX1601" fmla="*/ 17754896 w 21052572"/>
              <a:gd name="connsiteY1601" fmla="*/ 4361613 h 8402012"/>
              <a:gd name="connsiteX1602" fmla="*/ 20033552 w 21052572"/>
              <a:gd name="connsiteY1602" fmla="*/ 4360518 h 8402012"/>
              <a:gd name="connsiteX1603" fmla="*/ 20015588 w 21052572"/>
              <a:gd name="connsiteY1603" fmla="*/ 4392588 h 8402012"/>
              <a:gd name="connsiteX1604" fmla="*/ 20033552 w 21052572"/>
              <a:gd name="connsiteY1604" fmla="*/ 4360518 h 8402012"/>
              <a:gd name="connsiteX1605" fmla="*/ 12070792 w 21052572"/>
              <a:gd name="connsiteY1605" fmla="*/ 4360518 h 8402012"/>
              <a:gd name="connsiteX1606" fmla="*/ 12052830 w 21052572"/>
              <a:gd name="connsiteY1606" fmla="*/ 4392588 h 8402012"/>
              <a:gd name="connsiteX1607" fmla="*/ 12070792 w 21052572"/>
              <a:gd name="connsiteY1607" fmla="*/ 4360518 h 8402012"/>
              <a:gd name="connsiteX1608" fmla="*/ 11506764 w 21052572"/>
              <a:gd name="connsiteY1608" fmla="*/ 4360518 h 8402012"/>
              <a:gd name="connsiteX1609" fmla="*/ 11488802 w 21052572"/>
              <a:gd name="connsiteY1609" fmla="*/ 4392588 h 8402012"/>
              <a:gd name="connsiteX1610" fmla="*/ 11506764 w 21052572"/>
              <a:gd name="connsiteY1610" fmla="*/ 4360518 h 8402012"/>
              <a:gd name="connsiteX1611" fmla="*/ 10710459 w 21052572"/>
              <a:gd name="connsiteY1611" fmla="*/ 4360518 h 8402012"/>
              <a:gd name="connsiteX1612" fmla="*/ 10673567 w 21052572"/>
              <a:gd name="connsiteY1612" fmla="*/ 4391062 h 8402012"/>
              <a:gd name="connsiteX1613" fmla="*/ 10710459 w 21052572"/>
              <a:gd name="connsiteY1613" fmla="*/ 4360518 h 8402012"/>
              <a:gd name="connsiteX1614" fmla="*/ 16412890 w 21052572"/>
              <a:gd name="connsiteY1614" fmla="*/ 4356657 h 8402012"/>
              <a:gd name="connsiteX1615" fmla="*/ 16421872 w 21052572"/>
              <a:gd name="connsiteY1615" fmla="*/ 4363881 h 8402012"/>
              <a:gd name="connsiteX1616" fmla="*/ 16409896 w 21052572"/>
              <a:gd name="connsiteY1616" fmla="*/ 4383144 h 8402012"/>
              <a:gd name="connsiteX1617" fmla="*/ 16408446 w 21052572"/>
              <a:gd name="connsiteY1617" fmla="*/ 4378480 h 8402012"/>
              <a:gd name="connsiteX1618" fmla="*/ 16399170 w 21052572"/>
              <a:gd name="connsiteY1618" fmla="*/ 4378480 h 8402012"/>
              <a:gd name="connsiteX1619" fmla="*/ 16404182 w 21052572"/>
              <a:gd name="connsiteY1619" fmla="*/ 4364759 h 8402012"/>
              <a:gd name="connsiteX1620" fmla="*/ 16403910 w 21052572"/>
              <a:gd name="connsiteY1620" fmla="*/ 4363881 h 8402012"/>
              <a:gd name="connsiteX1621" fmla="*/ 16404750 w 21052572"/>
              <a:gd name="connsiteY1621" fmla="*/ 4363205 h 8402012"/>
              <a:gd name="connsiteX1622" fmla="*/ 16405732 w 21052572"/>
              <a:gd name="connsiteY1622" fmla="*/ 4360518 h 8402012"/>
              <a:gd name="connsiteX1623" fmla="*/ 16406268 w 21052572"/>
              <a:gd name="connsiteY1623" fmla="*/ 4361984 h 8402012"/>
              <a:gd name="connsiteX1624" fmla="*/ 11772498 w 21052572"/>
              <a:gd name="connsiteY1624" fmla="*/ 4341558 h 8402012"/>
              <a:gd name="connsiteX1625" fmla="*/ 11791113 w 21052572"/>
              <a:gd name="connsiteY1625" fmla="*/ 4392608 h 8402012"/>
              <a:gd name="connsiteX1626" fmla="*/ 11735269 w 21052572"/>
              <a:gd name="connsiteY1626" fmla="*/ 4392608 h 8402012"/>
              <a:gd name="connsiteX1627" fmla="*/ 11772498 w 21052572"/>
              <a:gd name="connsiteY1627" fmla="*/ 4341558 h 8402012"/>
              <a:gd name="connsiteX1628" fmla="*/ 17531328 w 21052572"/>
              <a:gd name="connsiteY1628" fmla="*/ 4338502 h 8402012"/>
              <a:gd name="connsiteX1629" fmla="*/ 17545164 w 21052572"/>
              <a:gd name="connsiteY1629" fmla="*/ 4364187 h 8402012"/>
              <a:gd name="connsiteX1630" fmla="*/ 17508272 w 21052572"/>
              <a:gd name="connsiteY1630" fmla="*/ 4351345 h 8402012"/>
              <a:gd name="connsiteX1631" fmla="*/ 17531328 w 21052572"/>
              <a:gd name="connsiteY1631" fmla="*/ 4338502 h 8402012"/>
              <a:gd name="connsiteX1632" fmla="*/ 12468874 w 21052572"/>
              <a:gd name="connsiteY1632" fmla="*/ 4338230 h 8402012"/>
              <a:gd name="connsiteX1633" fmla="*/ 12432010 w 21052572"/>
              <a:gd name="connsiteY1633" fmla="*/ 4362825 h 8402012"/>
              <a:gd name="connsiteX1634" fmla="*/ 12468874 w 21052572"/>
              <a:gd name="connsiteY1634" fmla="*/ 4338230 h 8402012"/>
              <a:gd name="connsiteX1635" fmla="*/ 20837212 w 21052572"/>
              <a:gd name="connsiteY1635" fmla="*/ 4336820 h 8402012"/>
              <a:gd name="connsiteX1636" fmla="*/ 20881900 w 21052572"/>
              <a:gd name="connsiteY1636" fmla="*/ 4381057 h 8402012"/>
              <a:gd name="connsiteX1637" fmla="*/ 20830828 w 21052572"/>
              <a:gd name="connsiteY1637" fmla="*/ 4349459 h 8402012"/>
              <a:gd name="connsiteX1638" fmla="*/ 20837212 w 21052572"/>
              <a:gd name="connsiteY1638" fmla="*/ 4336820 h 8402012"/>
              <a:gd name="connsiteX1639" fmla="*/ 19686628 w 21052572"/>
              <a:gd name="connsiteY1639" fmla="*/ 4336820 h 8402012"/>
              <a:gd name="connsiteX1640" fmla="*/ 19711224 w 21052572"/>
              <a:gd name="connsiteY1640" fmla="*/ 4364120 h 8402012"/>
              <a:gd name="connsiteX1641" fmla="*/ 19674332 w 21052572"/>
              <a:gd name="connsiteY1641" fmla="*/ 4350470 h 8402012"/>
              <a:gd name="connsiteX1642" fmla="*/ 19686628 w 21052572"/>
              <a:gd name="connsiteY1642" fmla="*/ 4336820 h 8402012"/>
              <a:gd name="connsiteX1643" fmla="*/ 9975299 w 21052572"/>
              <a:gd name="connsiteY1643" fmla="*/ 4336814 h 8402012"/>
              <a:gd name="connsiteX1644" fmla="*/ 10000017 w 21052572"/>
              <a:gd name="connsiteY1644" fmla="*/ 4362606 h 8402012"/>
              <a:gd name="connsiteX1645" fmla="*/ 9975299 w 21052572"/>
              <a:gd name="connsiteY1645" fmla="*/ 4336814 h 8402012"/>
              <a:gd name="connsiteX1646" fmla="*/ 12145384 w 21052572"/>
              <a:gd name="connsiteY1646" fmla="*/ 4332868 h 8402012"/>
              <a:gd name="connsiteX1647" fmla="*/ 12170219 w 21052572"/>
              <a:gd name="connsiteY1647" fmla="*/ 4362097 h 8402012"/>
              <a:gd name="connsiteX1648" fmla="*/ 12130483 w 21052572"/>
              <a:gd name="connsiteY1648" fmla="*/ 4398962 h 8402012"/>
              <a:gd name="connsiteX1649" fmla="*/ 12090747 w 21052572"/>
              <a:gd name="connsiteY1649" fmla="*/ 4424241 h 8402012"/>
              <a:gd name="connsiteX1650" fmla="*/ 12110615 w 21052572"/>
              <a:gd name="connsiteY1650" fmla="*/ 4336818 h 8402012"/>
              <a:gd name="connsiteX1651" fmla="*/ 12145384 w 21052572"/>
              <a:gd name="connsiteY1651" fmla="*/ 4332868 h 8402012"/>
              <a:gd name="connsiteX1652" fmla="*/ 11874848 w 21052572"/>
              <a:gd name="connsiteY1652" fmla="*/ 4313538 h 8402012"/>
              <a:gd name="connsiteX1653" fmla="*/ 11895870 w 21052572"/>
              <a:gd name="connsiteY1653" fmla="*/ 4315004 h 8402012"/>
              <a:gd name="connsiteX1654" fmla="*/ 11919049 w 21052572"/>
              <a:gd name="connsiteY1654" fmla="*/ 4343511 h 8402012"/>
              <a:gd name="connsiteX1655" fmla="*/ 11811104 w 21052572"/>
              <a:gd name="connsiteY1655" fmla="*/ 4349868 h 8402012"/>
              <a:gd name="connsiteX1656" fmla="*/ 11874848 w 21052572"/>
              <a:gd name="connsiteY1656" fmla="*/ 4313538 h 8402012"/>
              <a:gd name="connsiteX1657" fmla="*/ 16957108 w 21052572"/>
              <a:gd name="connsiteY1657" fmla="*/ 4313124 h 8402012"/>
              <a:gd name="connsiteX1658" fmla="*/ 17033224 w 21052572"/>
              <a:gd name="connsiteY1658" fmla="*/ 4352500 h 8402012"/>
              <a:gd name="connsiteX1659" fmla="*/ 16944244 w 21052572"/>
              <a:gd name="connsiteY1659" fmla="*/ 4365626 h 8402012"/>
              <a:gd name="connsiteX1660" fmla="*/ 16957108 w 21052572"/>
              <a:gd name="connsiteY1660" fmla="*/ 4313124 h 8402012"/>
              <a:gd name="connsiteX1661" fmla="*/ 19636412 w 21052572"/>
              <a:gd name="connsiteY1661" fmla="*/ 4303641 h 8402012"/>
              <a:gd name="connsiteX1662" fmla="*/ 19673276 w 21052572"/>
              <a:gd name="connsiteY1662" fmla="*/ 4316484 h 8402012"/>
              <a:gd name="connsiteX1663" fmla="*/ 19636412 w 21052572"/>
              <a:gd name="connsiteY1663" fmla="*/ 4303641 h 8402012"/>
              <a:gd name="connsiteX1664" fmla="*/ 16298638 w 21052572"/>
              <a:gd name="connsiteY1664" fmla="*/ 4303641 h 8402012"/>
              <a:gd name="connsiteX1665" fmla="*/ 16280676 w 21052572"/>
              <a:gd name="connsiteY1665" fmla="*/ 4335747 h 8402012"/>
              <a:gd name="connsiteX1666" fmla="*/ 16298638 w 21052572"/>
              <a:gd name="connsiteY1666" fmla="*/ 4303641 h 8402012"/>
              <a:gd name="connsiteX1667" fmla="*/ 11958035 w 21052572"/>
              <a:gd name="connsiteY1667" fmla="*/ 4303641 h 8402012"/>
              <a:gd name="connsiteX1668" fmla="*/ 11994927 w 21052572"/>
              <a:gd name="connsiteY1668" fmla="*/ 4335747 h 8402012"/>
              <a:gd name="connsiteX1669" fmla="*/ 11958035 w 21052572"/>
              <a:gd name="connsiteY1669" fmla="*/ 4303641 h 8402012"/>
              <a:gd name="connsiteX1670" fmla="*/ 10835613 w 21052572"/>
              <a:gd name="connsiteY1670" fmla="*/ 4303641 h 8402012"/>
              <a:gd name="connsiteX1671" fmla="*/ 10847910 w 21052572"/>
              <a:gd name="connsiteY1671" fmla="*/ 4359485 h 8402012"/>
              <a:gd name="connsiteX1672" fmla="*/ 10811018 w 21052572"/>
              <a:gd name="connsiteY1672" fmla="*/ 4359485 h 8402012"/>
              <a:gd name="connsiteX1673" fmla="*/ 10835613 w 21052572"/>
              <a:gd name="connsiteY1673" fmla="*/ 4303641 h 8402012"/>
              <a:gd name="connsiteX1674" fmla="*/ 16846688 w 21052572"/>
              <a:gd name="connsiteY1674" fmla="*/ 4300601 h 8402012"/>
              <a:gd name="connsiteX1675" fmla="*/ 16881592 w 21052572"/>
              <a:gd name="connsiteY1675" fmla="*/ 4303784 h 8402012"/>
              <a:gd name="connsiteX1676" fmla="*/ 16825748 w 21052572"/>
              <a:gd name="connsiteY1676" fmla="*/ 4335617 h 8402012"/>
              <a:gd name="connsiteX1677" fmla="*/ 16846688 w 21052572"/>
              <a:gd name="connsiteY1677" fmla="*/ 4300601 h 8402012"/>
              <a:gd name="connsiteX1678" fmla="*/ 15149724 w 21052572"/>
              <a:gd name="connsiteY1678" fmla="*/ 4300601 h 8402012"/>
              <a:gd name="connsiteX1679" fmla="*/ 15184746 w 21052572"/>
              <a:gd name="connsiteY1679" fmla="*/ 4303784 h 8402012"/>
              <a:gd name="connsiteX1680" fmla="*/ 15128922 w 21052572"/>
              <a:gd name="connsiteY1680" fmla="*/ 4335617 h 8402012"/>
              <a:gd name="connsiteX1681" fmla="*/ 15149724 w 21052572"/>
              <a:gd name="connsiteY1681" fmla="*/ 4300601 h 8402012"/>
              <a:gd name="connsiteX1682" fmla="*/ 11661276 w 21052572"/>
              <a:gd name="connsiteY1682" fmla="*/ 4300601 h 8402012"/>
              <a:gd name="connsiteX1683" fmla="*/ 11696299 w 21052572"/>
              <a:gd name="connsiteY1683" fmla="*/ 4303784 h 8402012"/>
              <a:gd name="connsiteX1684" fmla="*/ 11640474 w 21052572"/>
              <a:gd name="connsiteY1684" fmla="*/ 4335617 h 8402012"/>
              <a:gd name="connsiteX1685" fmla="*/ 11661276 w 21052572"/>
              <a:gd name="connsiteY1685" fmla="*/ 4300601 h 8402012"/>
              <a:gd name="connsiteX1686" fmla="*/ 19015508 w 21052572"/>
              <a:gd name="connsiteY1686" fmla="*/ 4284684 h 8402012"/>
              <a:gd name="connsiteX1687" fmla="*/ 19071328 w 21052572"/>
              <a:gd name="connsiteY1687" fmla="*/ 4284684 h 8402012"/>
              <a:gd name="connsiteX1688" fmla="*/ 19090288 w 21052572"/>
              <a:gd name="connsiteY1688" fmla="*/ 4364154 h 8402012"/>
              <a:gd name="connsiteX1689" fmla="*/ 19015508 w 21052572"/>
              <a:gd name="connsiteY1689" fmla="*/ 4284684 h 8402012"/>
              <a:gd name="connsiteX1690" fmla="*/ 17375560 w 21052572"/>
              <a:gd name="connsiteY1690" fmla="*/ 4284681 h 8402012"/>
              <a:gd name="connsiteX1691" fmla="*/ 17511920 w 21052572"/>
              <a:gd name="connsiteY1691" fmla="*/ 4315706 h 8402012"/>
              <a:gd name="connsiteX1692" fmla="*/ 17453012 w 21052572"/>
              <a:gd name="connsiteY1692" fmla="*/ 4315706 h 8402012"/>
              <a:gd name="connsiteX1693" fmla="*/ 17375560 w 21052572"/>
              <a:gd name="connsiteY1693" fmla="*/ 4284681 h 8402012"/>
              <a:gd name="connsiteX1694" fmla="*/ 10128997 w 21052572"/>
              <a:gd name="connsiteY1694" fmla="*/ 4272551 h 8402012"/>
              <a:gd name="connsiteX1695" fmla="*/ 10141720 w 21052572"/>
              <a:gd name="connsiteY1695" fmla="*/ 4272551 h 8402012"/>
              <a:gd name="connsiteX1696" fmla="*/ 10129745 w 21052572"/>
              <a:gd name="connsiteY1696" fmla="*/ 4293026 h 8402012"/>
              <a:gd name="connsiteX1697" fmla="*/ 10128997 w 21052572"/>
              <a:gd name="connsiteY1697" fmla="*/ 4272551 h 8402012"/>
              <a:gd name="connsiteX1698" fmla="*/ 16582964 w 21052572"/>
              <a:gd name="connsiteY1698" fmla="*/ 4270465 h 8402012"/>
              <a:gd name="connsiteX1699" fmla="*/ 16565058 w 21052572"/>
              <a:gd name="connsiteY1699" fmla="*/ 4302574 h 8402012"/>
              <a:gd name="connsiteX1700" fmla="*/ 16582964 w 21052572"/>
              <a:gd name="connsiteY1700" fmla="*/ 4270465 h 8402012"/>
              <a:gd name="connsiteX1701" fmla="*/ 16222802 w 21052572"/>
              <a:gd name="connsiteY1701" fmla="*/ 4270465 h 8402012"/>
              <a:gd name="connsiteX1702" fmla="*/ 16204838 w 21052572"/>
              <a:gd name="connsiteY1702" fmla="*/ 4302574 h 8402012"/>
              <a:gd name="connsiteX1703" fmla="*/ 16222802 w 21052572"/>
              <a:gd name="connsiteY1703" fmla="*/ 4270465 h 8402012"/>
              <a:gd name="connsiteX1704" fmla="*/ 12114446 w 21052572"/>
              <a:gd name="connsiteY1704" fmla="*/ 4270465 h 8402012"/>
              <a:gd name="connsiteX1705" fmla="*/ 12132408 w 21052572"/>
              <a:gd name="connsiteY1705" fmla="*/ 4302574 h 8402012"/>
              <a:gd name="connsiteX1706" fmla="*/ 12114446 w 21052572"/>
              <a:gd name="connsiteY1706" fmla="*/ 4270465 h 8402012"/>
              <a:gd name="connsiteX1707" fmla="*/ 19875044 w 21052572"/>
              <a:gd name="connsiteY1707" fmla="*/ 4270462 h 8402012"/>
              <a:gd name="connsiteX1708" fmla="*/ 19919732 w 21052572"/>
              <a:gd name="connsiteY1708" fmla="*/ 4290303 h 8402012"/>
              <a:gd name="connsiteX1709" fmla="*/ 19868660 w 21052572"/>
              <a:gd name="connsiteY1709" fmla="*/ 4290303 h 8402012"/>
              <a:gd name="connsiteX1710" fmla="*/ 19875044 w 21052572"/>
              <a:gd name="connsiteY1710" fmla="*/ 4270462 h 8402012"/>
              <a:gd name="connsiteX1711" fmla="*/ 17622024 w 21052572"/>
              <a:gd name="connsiteY1711" fmla="*/ 4270462 h 8402012"/>
              <a:gd name="connsiteX1712" fmla="*/ 17726776 w 21052572"/>
              <a:gd name="connsiteY1712" fmla="*/ 4359459 h 8402012"/>
              <a:gd name="connsiteX1713" fmla="*/ 17661304 w 21052572"/>
              <a:gd name="connsiteY1713" fmla="*/ 4334031 h 8402012"/>
              <a:gd name="connsiteX1714" fmla="*/ 17622024 w 21052572"/>
              <a:gd name="connsiteY1714" fmla="*/ 4334031 h 8402012"/>
              <a:gd name="connsiteX1715" fmla="*/ 17622024 w 21052572"/>
              <a:gd name="connsiteY1715" fmla="*/ 4270462 h 8402012"/>
              <a:gd name="connsiteX1716" fmla="*/ 10190116 w 21052572"/>
              <a:gd name="connsiteY1716" fmla="*/ 4270462 h 8402012"/>
              <a:gd name="connsiteX1717" fmla="*/ 10226980 w 21052572"/>
              <a:gd name="connsiteY1717" fmla="*/ 4270462 h 8402012"/>
              <a:gd name="connsiteX1718" fmla="*/ 10202755 w 21052572"/>
              <a:gd name="connsiteY1718" fmla="*/ 4349934 h 8402012"/>
              <a:gd name="connsiteX1719" fmla="*/ 10190116 w 21052572"/>
              <a:gd name="connsiteY1719" fmla="*/ 4270462 h 8402012"/>
              <a:gd name="connsiteX1720" fmla="*/ 10124654 w 21052572"/>
              <a:gd name="connsiteY1720" fmla="*/ 4270462 h 8402012"/>
              <a:gd name="connsiteX1721" fmla="*/ 10130803 w 21052572"/>
              <a:gd name="connsiteY1721" fmla="*/ 4359459 h 8402012"/>
              <a:gd name="connsiteX1722" fmla="*/ 10100059 w 21052572"/>
              <a:gd name="connsiteY1722" fmla="*/ 4340388 h 8402012"/>
              <a:gd name="connsiteX1723" fmla="*/ 10124654 w 21052572"/>
              <a:gd name="connsiteY1723" fmla="*/ 4270462 h 8402012"/>
              <a:gd name="connsiteX1724" fmla="*/ 10092404 w 21052572"/>
              <a:gd name="connsiteY1724" fmla="*/ 4257651 h 8402012"/>
              <a:gd name="connsiteX1725" fmla="*/ 10095172 w 21052572"/>
              <a:gd name="connsiteY1725" fmla="*/ 4259861 h 8402012"/>
              <a:gd name="connsiteX1726" fmla="*/ 10095141 w 21052572"/>
              <a:gd name="connsiteY1726" fmla="*/ 4260982 h 8402012"/>
              <a:gd name="connsiteX1727" fmla="*/ 10108541 w 21052572"/>
              <a:gd name="connsiteY1727" fmla="*/ 4260982 h 8402012"/>
              <a:gd name="connsiteX1728" fmla="*/ 10099560 w 21052572"/>
              <a:gd name="connsiteY1728" fmla="*/ 4268367 h 8402012"/>
              <a:gd name="connsiteX1729" fmla="*/ 10095037 w 21052572"/>
              <a:gd name="connsiteY1729" fmla="*/ 4264647 h 8402012"/>
              <a:gd name="connsiteX1730" fmla="*/ 10094865 w 21052572"/>
              <a:gd name="connsiteY1730" fmla="*/ 4270717 h 8402012"/>
              <a:gd name="connsiteX1731" fmla="*/ 10092404 w 21052572"/>
              <a:gd name="connsiteY1731" fmla="*/ 4288394 h 8402012"/>
              <a:gd name="connsiteX1732" fmla="*/ 10085841 w 21052572"/>
              <a:gd name="connsiteY1732" fmla="*/ 4269948 h 8402012"/>
              <a:gd name="connsiteX1733" fmla="*/ 10092404 w 21052572"/>
              <a:gd name="connsiteY1733" fmla="*/ 4257651 h 8402012"/>
              <a:gd name="connsiteX1734" fmla="*/ 19830740 w 21052572"/>
              <a:gd name="connsiteY1734" fmla="*/ 4246766 h 8402012"/>
              <a:gd name="connsiteX1735" fmla="*/ 19867604 w 21052572"/>
              <a:gd name="connsiteY1735" fmla="*/ 4259609 h 8402012"/>
              <a:gd name="connsiteX1736" fmla="*/ 19830740 w 21052572"/>
              <a:gd name="connsiteY1736" fmla="*/ 4246766 h 8402012"/>
              <a:gd name="connsiteX1737" fmla="*/ 16767872 w 21052572"/>
              <a:gd name="connsiteY1737" fmla="*/ 4246766 h 8402012"/>
              <a:gd name="connsiteX1738" fmla="*/ 16749910 w 21052572"/>
              <a:gd name="connsiteY1738" fmla="*/ 4274066 h 8402012"/>
              <a:gd name="connsiteX1739" fmla="*/ 16767872 w 21052572"/>
              <a:gd name="connsiteY1739" fmla="*/ 4246766 h 8402012"/>
              <a:gd name="connsiteX1740" fmla="*/ 15981076 w 21052572"/>
              <a:gd name="connsiteY1740" fmla="*/ 4246766 h 8402012"/>
              <a:gd name="connsiteX1741" fmla="*/ 15963114 w 21052572"/>
              <a:gd name="connsiteY1741" fmla="*/ 4274066 h 8402012"/>
              <a:gd name="connsiteX1742" fmla="*/ 15981076 w 21052572"/>
              <a:gd name="connsiteY1742" fmla="*/ 4246766 h 8402012"/>
              <a:gd name="connsiteX1743" fmla="*/ 14786664 w 21052572"/>
              <a:gd name="connsiteY1743" fmla="*/ 4246766 h 8402012"/>
              <a:gd name="connsiteX1744" fmla="*/ 14768702 w 21052572"/>
              <a:gd name="connsiteY1744" fmla="*/ 4274066 h 8402012"/>
              <a:gd name="connsiteX1745" fmla="*/ 14786664 w 21052572"/>
              <a:gd name="connsiteY1745" fmla="*/ 4246766 h 8402012"/>
              <a:gd name="connsiteX1746" fmla="*/ 13279425 w 21052572"/>
              <a:gd name="connsiteY1746" fmla="*/ 4246766 h 8402012"/>
              <a:gd name="connsiteX1747" fmla="*/ 13261463 w 21052572"/>
              <a:gd name="connsiteY1747" fmla="*/ 4274066 h 8402012"/>
              <a:gd name="connsiteX1748" fmla="*/ 13279425 w 21052572"/>
              <a:gd name="connsiteY1748" fmla="*/ 4246766 h 8402012"/>
              <a:gd name="connsiteX1749" fmla="*/ 9469676 w 21052572"/>
              <a:gd name="connsiteY1749" fmla="*/ 4246766 h 8402012"/>
              <a:gd name="connsiteX1750" fmla="*/ 9496976 w 21052572"/>
              <a:gd name="connsiteY1750" fmla="*/ 4274066 h 8402012"/>
              <a:gd name="connsiteX1751" fmla="*/ 9469676 w 21052572"/>
              <a:gd name="connsiteY1751" fmla="*/ 4246766 h 8402012"/>
              <a:gd name="connsiteX1752" fmla="*/ 18870020 w 21052572"/>
              <a:gd name="connsiteY1752" fmla="*/ 4242537 h 8402012"/>
              <a:gd name="connsiteX1753" fmla="*/ 18886480 w 21052572"/>
              <a:gd name="connsiteY1753" fmla="*/ 4269437 h 8402012"/>
              <a:gd name="connsiteX1754" fmla="*/ 18849616 w 21052572"/>
              <a:gd name="connsiteY1754" fmla="*/ 4257140 h 8402012"/>
              <a:gd name="connsiteX1755" fmla="*/ 18870020 w 21052572"/>
              <a:gd name="connsiteY1755" fmla="*/ 4242537 h 8402012"/>
              <a:gd name="connsiteX1756" fmla="*/ 17336000 w 21052572"/>
              <a:gd name="connsiteY1756" fmla="*/ 4242218 h 8402012"/>
              <a:gd name="connsiteX1757" fmla="*/ 17364976 w 21052572"/>
              <a:gd name="connsiteY1757" fmla="*/ 4274140 h 8402012"/>
              <a:gd name="connsiteX1758" fmla="*/ 17285504 w 21052572"/>
              <a:gd name="connsiteY1758" fmla="*/ 4261371 h 8402012"/>
              <a:gd name="connsiteX1759" fmla="*/ 17292124 w 21052572"/>
              <a:gd name="connsiteY1759" fmla="*/ 4248603 h 8402012"/>
              <a:gd name="connsiteX1760" fmla="*/ 17336000 w 21052572"/>
              <a:gd name="connsiteY1760" fmla="*/ 4242218 h 8402012"/>
              <a:gd name="connsiteX1761" fmla="*/ 14599314 w 21052572"/>
              <a:gd name="connsiteY1761" fmla="*/ 4227806 h 8402012"/>
              <a:gd name="connsiteX1762" fmla="*/ 14611289 w 21052572"/>
              <a:gd name="connsiteY1762" fmla="*/ 4247070 h 8402012"/>
              <a:gd name="connsiteX1763" fmla="*/ 14593327 w 21052572"/>
              <a:gd name="connsiteY1763" fmla="*/ 4247070 h 8402012"/>
              <a:gd name="connsiteX1764" fmla="*/ 14599314 w 21052572"/>
              <a:gd name="connsiteY1764" fmla="*/ 4227806 h 8402012"/>
              <a:gd name="connsiteX1765" fmla="*/ 12754312 w 21052572"/>
              <a:gd name="connsiteY1765" fmla="*/ 4214995 h 8402012"/>
              <a:gd name="connsiteX1766" fmla="*/ 12791204 w 21052572"/>
              <a:gd name="connsiteY1766" fmla="*/ 4245738 h 8402012"/>
              <a:gd name="connsiteX1767" fmla="*/ 12754312 w 21052572"/>
              <a:gd name="connsiteY1767" fmla="*/ 4214995 h 8402012"/>
              <a:gd name="connsiteX1768" fmla="*/ 9621713 w 21052572"/>
              <a:gd name="connsiteY1768" fmla="*/ 4214304 h 8402012"/>
              <a:gd name="connsiteX1769" fmla="*/ 9641058 w 21052572"/>
              <a:gd name="connsiteY1769" fmla="*/ 4246544 h 8402012"/>
              <a:gd name="connsiteX1770" fmla="*/ 9621713 w 21052572"/>
              <a:gd name="connsiteY1770" fmla="*/ 4214304 h 8402012"/>
              <a:gd name="connsiteX1771" fmla="*/ 20260964 w 21052572"/>
              <a:gd name="connsiteY1771" fmla="*/ 4213587 h 8402012"/>
              <a:gd name="connsiteX1772" fmla="*/ 20247840 w 21052572"/>
              <a:gd name="connsiteY1772" fmla="*/ 4245696 h 8402012"/>
              <a:gd name="connsiteX1773" fmla="*/ 20260964 w 21052572"/>
              <a:gd name="connsiteY1773" fmla="*/ 4213587 h 8402012"/>
              <a:gd name="connsiteX1774" fmla="*/ 17242848 w 21052572"/>
              <a:gd name="connsiteY1774" fmla="*/ 4213587 h 8402012"/>
              <a:gd name="connsiteX1775" fmla="*/ 17279740 w 21052572"/>
              <a:gd name="connsiteY1775" fmla="*/ 4226431 h 8402012"/>
              <a:gd name="connsiteX1776" fmla="*/ 17242848 w 21052572"/>
              <a:gd name="connsiteY1776" fmla="*/ 4213587 h 8402012"/>
              <a:gd name="connsiteX1777" fmla="*/ 16090088 w 21052572"/>
              <a:gd name="connsiteY1777" fmla="*/ 4213587 h 8402012"/>
              <a:gd name="connsiteX1778" fmla="*/ 16072126 w 21052572"/>
              <a:gd name="connsiteY1778" fmla="*/ 4245696 h 8402012"/>
              <a:gd name="connsiteX1779" fmla="*/ 16090088 w 21052572"/>
              <a:gd name="connsiteY1779" fmla="*/ 4213587 h 8402012"/>
              <a:gd name="connsiteX1780" fmla="*/ 14639700 w 21052572"/>
              <a:gd name="connsiteY1780" fmla="*/ 4213587 h 8402012"/>
              <a:gd name="connsiteX1781" fmla="*/ 14615105 w 21052572"/>
              <a:gd name="connsiteY1781" fmla="*/ 4245696 h 8402012"/>
              <a:gd name="connsiteX1782" fmla="*/ 14602808 w 21052572"/>
              <a:gd name="connsiteY1782" fmla="*/ 4226431 h 8402012"/>
              <a:gd name="connsiteX1783" fmla="*/ 14639700 w 21052572"/>
              <a:gd name="connsiteY1783" fmla="*/ 4213587 h 8402012"/>
              <a:gd name="connsiteX1784" fmla="*/ 10920032 w 21052572"/>
              <a:gd name="connsiteY1784" fmla="*/ 4213587 h 8402012"/>
              <a:gd name="connsiteX1785" fmla="*/ 10937994 w 21052572"/>
              <a:gd name="connsiteY1785" fmla="*/ 4245696 h 8402012"/>
              <a:gd name="connsiteX1786" fmla="*/ 10920032 w 21052572"/>
              <a:gd name="connsiteY1786" fmla="*/ 4213587 h 8402012"/>
              <a:gd name="connsiteX1787" fmla="*/ 13204588 w 21052572"/>
              <a:gd name="connsiteY1787" fmla="*/ 4213584 h 8402012"/>
              <a:gd name="connsiteX1788" fmla="*/ 13236694 w 21052572"/>
              <a:gd name="connsiteY1788" fmla="*/ 4238404 h 8402012"/>
              <a:gd name="connsiteX1789" fmla="*/ 13204588 w 21052572"/>
              <a:gd name="connsiteY1789" fmla="*/ 4269428 h 8402012"/>
              <a:gd name="connsiteX1790" fmla="*/ 13204588 w 21052572"/>
              <a:gd name="connsiteY1790" fmla="*/ 4213584 h 8402012"/>
              <a:gd name="connsiteX1791" fmla="*/ 18923704 w 21052572"/>
              <a:gd name="connsiteY1791" fmla="*/ 4212190 h 8402012"/>
              <a:gd name="connsiteX1792" fmla="*/ 18976528 w 21052572"/>
              <a:gd name="connsiteY1792" fmla="*/ 4259905 h 8402012"/>
              <a:gd name="connsiteX1793" fmla="*/ 18906492 w 21052572"/>
              <a:gd name="connsiteY1793" fmla="*/ 4227590 h 8402012"/>
              <a:gd name="connsiteX1794" fmla="*/ 18923704 w 21052572"/>
              <a:gd name="connsiteY1794" fmla="*/ 4212190 h 8402012"/>
              <a:gd name="connsiteX1795" fmla="*/ 9852780 w 21052572"/>
              <a:gd name="connsiteY1795" fmla="*/ 4202483 h 8402012"/>
              <a:gd name="connsiteX1796" fmla="*/ 9856906 w 21052572"/>
              <a:gd name="connsiteY1796" fmla="*/ 4210132 h 8402012"/>
              <a:gd name="connsiteX1797" fmla="*/ 9861159 w 21052572"/>
              <a:gd name="connsiteY1797" fmla="*/ 4205901 h 8402012"/>
              <a:gd name="connsiteX1798" fmla="*/ 10206818 w 21052572"/>
              <a:gd name="connsiteY1798" fmla="*/ 4198726 h 8402012"/>
              <a:gd name="connsiteX1799" fmla="*/ 10241183 w 21052572"/>
              <a:gd name="connsiteY1799" fmla="*/ 4248399 h 8402012"/>
              <a:gd name="connsiteX1800" fmla="*/ 10171714 w 21052572"/>
              <a:gd name="connsiteY1800" fmla="*/ 4307289 h 8402012"/>
              <a:gd name="connsiteX1801" fmla="*/ 10133238 w 21052572"/>
              <a:gd name="connsiteY1801" fmla="*/ 4235312 h 8402012"/>
              <a:gd name="connsiteX1802" fmla="*/ 10165301 w 21052572"/>
              <a:gd name="connsiteY1802" fmla="*/ 4203687 h 8402012"/>
              <a:gd name="connsiteX1803" fmla="*/ 10187979 w 21052572"/>
              <a:gd name="connsiteY1803" fmla="*/ 4199018 h 8402012"/>
              <a:gd name="connsiteX1804" fmla="*/ 10206818 w 21052572"/>
              <a:gd name="connsiteY1804" fmla="*/ 4198726 h 8402012"/>
              <a:gd name="connsiteX1805" fmla="*/ 13616354 w 21052572"/>
              <a:gd name="connsiteY1805" fmla="*/ 4185241 h 8402012"/>
              <a:gd name="connsiteX1806" fmla="*/ 13739093 w 21052572"/>
              <a:gd name="connsiteY1806" fmla="*/ 4185241 h 8402012"/>
              <a:gd name="connsiteX1807" fmla="*/ 13706507 w 21052572"/>
              <a:gd name="connsiteY1807" fmla="*/ 4245722 h 8402012"/>
              <a:gd name="connsiteX1808" fmla="*/ 13583768 w 21052572"/>
              <a:gd name="connsiteY1808" fmla="*/ 4245722 h 8402012"/>
              <a:gd name="connsiteX1809" fmla="*/ 13616354 w 21052572"/>
              <a:gd name="connsiteY1809" fmla="*/ 4185241 h 8402012"/>
              <a:gd name="connsiteX1810" fmla="*/ 10395818 w 21052572"/>
              <a:gd name="connsiteY1810" fmla="*/ 4185241 h 8402012"/>
              <a:gd name="connsiteX1811" fmla="*/ 10414618 w 21052572"/>
              <a:gd name="connsiteY1811" fmla="*/ 4245722 h 8402012"/>
              <a:gd name="connsiteX1812" fmla="*/ 10395818 w 21052572"/>
              <a:gd name="connsiteY1812" fmla="*/ 4185241 h 8402012"/>
              <a:gd name="connsiteX1813" fmla="*/ 14146699 w 21052572"/>
              <a:gd name="connsiteY1813" fmla="*/ 4185240 h 8402012"/>
              <a:gd name="connsiteX1814" fmla="*/ 14133574 w 21052572"/>
              <a:gd name="connsiteY1814" fmla="*/ 4217182 h 8402012"/>
              <a:gd name="connsiteX1815" fmla="*/ 14146699 w 21052572"/>
              <a:gd name="connsiteY1815" fmla="*/ 4185240 h 8402012"/>
              <a:gd name="connsiteX1816" fmla="*/ 12862275 w 21052572"/>
              <a:gd name="connsiteY1816" fmla="*/ 4185240 h 8402012"/>
              <a:gd name="connsiteX1817" fmla="*/ 12844368 w 21052572"/>
              <a:gd name="connsiteY1817" fmla="*/ 4217182 h 8402012"/>
              <a:gd name="connsiteX1818" fmla="*/ 12862275 w 21052572"/>
              <a:gd name="connsiteY1818" fmla="*/ 4185240 h 8402012"/>
              <a:gd name="connsiteX1819" fmla="*/ 10320813 w 21052572"/>
              <a:gd name="connsiteY1819" fmla="*/ 4184981 h 8402012"/>
              <a:gd name="connsiteX1820" fmla="*/ 10360096 w 21052572"/>
              <a:gd name="connsiteY1820" fmla="*/ 4215141 h 8402012"/>
              <a:gd name="connsiteX1821" fmla="*/ 10320813 w 21052572"/>
              <a:gd name="connsiteY1821" fmla="*/ 4184981 h 8402012"/>
              <a:gd name="connsiteX1822" fmla="*/ 14358325 w 21052572"/>
              <a:gd name="connsiteY1822" fmla="*/ 4182416 h 8402012"/>
              <a:gd name="connsiteX1823" fmla="*/ 14393227 w 21052572"/>
              <a:gd name="connsiteY1823" fmla="*/ 4185971 h 8402012"/>
              <a:gd name="connsiteX1824" fmla="*/ 14337383 w 21052572"/>
              <a:gd name="connsiteY1824" fmla="*/ 4216504 h 8402012"/>
              <a:gd name="connsiteX1825" fmla="*/ 14358325 w 21052572"/>
              <a:gd name="connsiteY1825" fmla="*/ 4182416 h 8402012"/>
              <a:gd name="connsiteX1826" fmla="*/ 10962691 w 21052572"/>
              <a:gd name="connsiteY1826" fmla="*/ 4182260 h 8402012"/>
              <a:gd name="connsiteX1827" fmla="*/ 10994800 w 21052572"/>
              <a:gd name="connsiteY1827" fmla="*/ 4212501 h 8402012"/>
              <a:gd name="connsiteX1828" fmla="*/ 10962691 w 21052572"/>
              <a:gd name="connsiteY1828" fmla="*/ 4182260 h 8402012"/>
              <a:gd name="connsiteX1829" fmla="*/ 19772840 w 21052572"/>
              <a:gd name="connsiteY1829" fmla="*/ 4182259 h 8402012"/>
              <a:gd name="connsiteX1830" fmla="*/ 19735948 w 21052572"/>
              <a:gd name="connsiteY1830" fmla="*/ 4212501 h 8402012"/>
              <a:gd name="connsiteX1831" fmla="*/ 19772840 w 21052572"/>
              <a:gd name="connsiteY1831" fmla="*/ 4182259 h 8402012"/>
              <a:gd name="connsiteX1832" fmla="*/ 15924684 w 21052572"/>
              <a:gd name="connsiteY1832" fmla="*/ 4171024 h 8402012"/>
              <a:gd name="connsiteX1833" fmla="*/ 15943130 w 21052572"/>
              <a:gd name="connsiteY1833" fmla="*/ 4212547 h 8402012"/>
              <a:gd name="connsiteX1834" fmla="*/ 15906238 w 21052572"/>
              <a:gd name="connsiteY1834" fmla="*/ 4212547 h 8402012"/>
              <a:gd name="connsiteX1835" fmla="*/ 15924684 w 21052572"/>
              <a:gd name="connsiteY1835" fmla="*/ 4171024 h 8402012"/>
              <a:gd name="connsiteX1836" fmla="*/ 16609386 w 21052572"/>
              <a:gd name="connsiteY1836" fmla="*/ 4161827 h 8402012"/>
              <a:gd name="connsiteX1837" fmla="*/ 16687922 w 21052572"/>
              <a:gd name="connsiteY1837" fmla="*/ 4211054 h 8402012"/>
              <a:gd name="connsiteX1838" fmla="*/ 16720390 w 21052572"/>
              <a:gd name="connsiteY1838" fmla="*/ 4302552 h 8402012"/>
              <a:gd name="connsiteX1839" fmla="*/ 16622982 w 21052572"/>
              <a:gd name="connsiteY1839" fmla="*/ 4243732 h 8402012"/>
              <a:gd name="connsiteX1840" fmla="*/ 16584018 w 21052572"/>
              <a:gd name="connsiteY1840" fmla="*/ 4187187 h 8402012"/>
              <a:gd name="connsiteX1841" fmla="*/ 16609386 w 21052572"/>
              <a:gd name="connsiteY1841" fmla="*/ 4161827 h 8402012"/>
              <a:gd name="connsiteX1842" fmla="*/ 15824664 w 21052572"/>
              <a:gd name="connsiteY1842" fmla="*/ 4152063 h 8402012"/>
              <a:gd name="connsiteX1843" fmla="*/ 15806702 w 21052572"/>
              <a:gd name="connsiteY1843" fmla="*/ 4184169 h 8402012"/>
              <a:gd name="connsiteX1844" fmla="*/ 15824664 w 21052572"/>
              <a:gd name="connsiteY1844" fmla="*/ 4152063 h 8402012"/>
              <a:gd name="connsiteX1845" fmla="*/ 10457627 w 21052572"/>
              <a:gd name="connsiteY1845" fmla="*/ 4152062 h 8402012"/>
              <a:gd name="connsiteX1846" fmla="*/ 10450802 w 21052572"/>
              <a:gd name="connsiteY1846" fmla="*/ 4245698 h 8402012"/>
              <a:gd name="connsiteX1847" fmla="*/ 10457627 w 21052572"/>
              <a:gd name="connsiteY1847" fmla="*/ 4152062 h 8402012"/>
              <a:gd name="connsiteX1848" fmla="*/ 10392831 w 21052572"/>
              <a:gd name="connsiteY1848" fmla="*/ 4146077 h 8402012"/>
              <a:gd name="connsiteX1849" fmla="*/ 10242249 w 21052572"/>
              <a:gd name="connsiteY1849" fmla="*/ 4247560 h 8402012"/>
              <a:gd name="connsiteX1850" fmla="*/ 10268437 w 21052572"/>
              <a:gd name="connsiteY1850" fmla="*/ 4247560 h 8402012"/>
              <a:gd name="connsiteX1851" fmla="*/ 10242249 w 21052572"/>
              <a:gd name="connsiteY1851" fmla="*/ 4215141 h 8402012"/>
              <a:gd name="connsiteX1852" fmla="*/ 10392831 w 21052572"/>
              <a:gd name="connsiteY1852" fmla="*/ 4146077 h 8402012"/>
              <a:gd name="connsiteX1853" fmla="*/ 17223884 w 21052572"/>
              <a:gd name="connsiteY1853" fmla="*/ 4133111 h 8402012"/>
              <a:gd name="connsiteX1854" fmla="*/ 17500408 w 21052572"/>
              <a:gd name="connsiteY1854" fmla="*/ 4209261 h 8402012"/>
              <a:gd name="connsiteX1855" fmla="*/ 17584336 w 21052572"/>
              <a:gd name="connsiteY1855" fmla="*/ 4255009 h 8402012"/>
              <a:gd name="connsiteX1856" fmla="*/ 17545600 w 21052572"/>
              <a:gd name="connsiteY1856" fmla="*/ 4307293 h 8402012"/>
              <a:gd name="connsiteX1857" fmla="*/ 17223884 w 21052572"/>
              <a:gd name="connsiteY1857" fmla="*/ 4133111 h 8402012"/>
              <a:gd name="connsiteX1858" fmla="*/ 10507545 w 21052572"/>
              <a:gd name="connsiteY1858" fmla="*/ 4123451 h 8402012"/>
              <a:gd name="connsiteX1859" fmla="*/ 10544541 w 21052572"/>
              <a:gd name="connsiteY1859" fmla="*/ 4132757 h 8402012"/>
              <a:gd name="connsiteX1860" fmla="*/ 10486036 w 21052572"/>
              <a:gd name="connsiteY1860" fmla="*/ 4153699 h 8402012"/>
              <a:gd name="connsiteX1861" fmla="*/ 10485752 w 21052572"/>
              <a:gd name="connsiteY1861" fmla="*/ 4153333 h 8402012"/>
              <a:gd name="connsiteX1862" fmla="*/ 10473929 w 21052572"/>
              <a:gd name="connsiteY1862" fmla="*/ 4159591 h 8402012"/>
              <a:gd name="connsiteX1863" fmla="*/ 10460279 w 21052572"/>
              <a:gd name="connsiteY1863" fmla="*/ 4152366 h 8402012"/>
              <a:gd name="connsiteX1864" fmla="*/ 10472069 w 21052572"/>
              <a:gd name="connsiteY1864" fmla="*/ 4135729 h 8402012"/>
              <a:gd name="connsiteX1865" fmla="*/ 10469759 w 21052572"/>
              <a:gd name="connsiteY1865" fmla="*/ 4132757 h 8402012"/>
              <a:gd name="connsiteX1866" fmla="*/ 10507545 w 21052572"/>
              <a:gd name="connsiteY1866" fmla="*/ 4123451 h 8402012"/>
              <a:gd name="connsiteX1867" fmla="*/ 16355418 w 21052572"/>
              <a:gd name="connsiteY1867" fmla="*/ 4118885 h 8402012"/>
              <a:gd name="connsiteX1868" fmla="*/ 16342294 w 21052572"/>
              <a:gd name="connsiteY1868" fmla="*/ 4150990 h 8402012"/>
              <a:gd name="connsiteX1869" fmla="*/ 16355418 w 21052572"/>
              <a:gd name="connsiteY1869" fmla="*/ 4118885 h 8402012"/>
              <a:gd name="connsiteX1870" fmla="*/ 16317568 w 21052572"/>
              <a:gd name="connsiteY1870" fmla="*/ 4118881 h 8402012"/>
              <a:gd name="connsiteX1871" fmla="*/ 16280676 w 21052572"/>
              <a:gd name="connsiteY1871" fmla="*/ 4149624 h 8402012"/>
              <a:gd name="connsiteX1872" fmla="*/ 16317568 w 21052572"/>
              <a:gd name="connsiteY1872" fmla="*/ 4118881 h 8402012"/>
              <a:gd name="connsiteX1873" fmla="*/ 17915124 w 21052572"/>
              <a:gd name="connsiteY1873" fmla="*/ 4113134 h 8402012"/>
              <a:gd name="connsiteX1874" fmla="*/ 17914988 w 21052572"/>
              <a:gd name="connsiteY1874" fmla="*/ 4113295 h 8402012"/>
              <a:gd name="connsiteX1875" fmla="*/ 17911148 w 21052572"/>
              <a:gd name="connsiteY1875" fmla="*/ 4117810 h 8402012"/>
              <a:gd name="connsiteX1876" fmla="*/ 9809865 w 21052572"/>
              <a:gd name="connsiteY1876" fmla="*/ 4112770 h 8402012"/>
              <a:gd name="connsiteX1877" fmla="*/ 9814581 w 21052572"/>
              <a:gd name="connsiteY1877" fmla="*/ 4118314 h 8402012"/>
              <a:gd name="connsiteX1878" fmla="*/ 9808019 w 21052572"/>
              <a:gd name="connsiteY1878" fmla="*/ 4131964 h 8402012"/>
              <a:gd name="connsiteX1879" fmla="*/ 9809865 w 21052572"/>
              <a:gd name="connsiteY1879" fmla="*/ 4112770 h 8402012"/>
              <a:gd name="connsiteX1880" fmla="*/ 9760697 w 21052572"/>
              <a:gd name="connsiteY1880" fmla="*/ 4109923 h 8402012"/>
              <a:gd name="connsiteX1881" fmla="*/ 9804785 w 21052572"/>
              <a:gd name="connsiteY1881" fmla="*/ 4120006 h 8402012"/>
              <a:gd name="connsiteX1882" fmla="*/ 9735101 w 21052572"/>
              <a:gd name="connsiteY1882" fmla="*/ 4151029 h 8402012"/>
              <a:gd name="connsiteX1883" fmla="*/ 9760697 w 21052572"/>
              <a:gd name="connsiteY1883" fmla="*/ 4109923 h 8402012"/>
              <a:gd name="connsiteX1884" fmla="*/ 17922024 w 21052572"/>
              <a:gd name="connsiteY1884" fmla="*/ 4105021 h 8402012"/>
              <a:gd name="connsiteX1885" fmla="*/ 17921388 w 21052572"/>
              <a:gd name="connsiteY1885" fmla="*/ 4105771 h 8402012"/>
              <a:gd name="connsiteX1886" fmla="*/ 17915124 w 21052572"/>
              <a:gd name="connsiteY1886" fmla="*/ 4113134 h 8402012"/>
              <a:gd name="connsiteX1887" fmla="*/ 9821601 w 21052572"/>
              <a:gd name="connsiteY1887" fmla="*/ 4102913 h 8402012"/>
              <a:gd name="connsiteX1888" fmla="*/ 9817499 w 21052572"/>
              <a:gd name="connsiteY1888" fmla="*/ 4117882 h 8402012"/>
              <a:gd name="connsiteX1889" fmla="*/ 9810936 w 21052572"/>
              <a:gd name="connsiteY1889" fmla="*/ 4105908 h 8402012"/>
              <a:gd name="connsiteX1890" fmla="*/ 9821601 w 21052572"/>
              <a:gd name="connsiteY1890" fmla="*/ 4102913 h 8402012"/>
              <a:gd name="connsiteX1891" fmla="*/ 9885021 w 21052572"/>
              <a:gd name="connsiteY1891" fmla="*/ 4087636 h 8402012"/>
              <a:gd name="connsiteX1892" fmla="*/ 9923712 w 21052572"/>
              <a:gd name="connsiteY1892" fmla="*/ 4119876 h 8402012"/>
              <a:gd name="connsiteX1893" fmla="*/ 9885021 w 21052572"/>
              <a:gd name="connsiteY1893" fmla="*/ 4087636 h 8402012"/>
              <a:gd name="connsiteX1894" fmla="*/ 10673567 w 21052572"/>
              <a:gd name="connsiteY1894" fmla="*/ 4085706 h 8402012"/>
              <a:gd name="connsiteX1895" fmla="*/ 10691529 w 21052572"/>
              <a:gd name="connsiteY1895" fmla="*/ 4117810 h 8402012"/>
              <a:gd name="connsiteX1896" fmla="*/ 10673567 w 21052572"/>
              <a:gd name="connsiteY1896" fmla="*/ 4085706 h 8402012"/>
              <a:gd name="connsiteX1897" fmla="*/ 10623518 w 21052572"/>
              <a:gd name="connsiteY1897" fmla="*/ 4085706 h 8402012"/>
              <a:gd name="connsiteX1898" fmla="*/ 10637168 w 21052572"/>
              <a:gd name="connsiteY1898" fmla="*/ 4150975 h 8402012"/>
              <a:gd name="connsiteX1899" fmla="*/ 10623518 w 21052572"/>
              <a:gd name="connsiteY1899" fmla="*/ 4085706 h 8402012"/>
              <a:gd name="connsiteX1900" fmla="*/ 10412881 w 21052572"/>
              <a:gd name="connsiteY1900" fmla="*/ 4085706 h 8402012"/>
              <a:gd name="connsiteX1901" fmla="*/ 10430843 w 21052572"/>
              <a:gd name="connsiteY1901" fmla="*/ 4117810 h 8402012"/>
              <a:gd name="connsiteX1902" fmla="*/ 10412881 w 21052572"/>
              <a:gd name="connsiteY1902" fmla="*/ 4085706 h 8402012"/>
              <a:gd name="connsiteX1903" fmla="*/ 17791656 w 21052572"/>
              <a:gd name="connsiteY1903" fmla="*/ 4085705 h 8402012"/>
              <a:gd name="connsiteX1904" fmla="*/ 17773696 w 21052572"/>
              <a:gd name="connsiteY1904" fmla="*/ 4117809 h 8402012"/>
              <a:gd name="connsiteX1905" fmla="*/ 17791656 w 21052572"/>
              <a:gd name="connsiteY1905" fmla="*/ 4085705 h 8402012"/>
              <a:gd name="connsiteX1906" fmla="*/ 17165984 w 21052572"/>
              <a:gd name="connsiteY1906" fmla="*/ 4085705 h 8402012"/>
              <a:gd name="connsiteX1907" fmla="*/ 17129092 w 21052572"/>
              <a:gd name="connsiteY1907" fmla="*/ 4116447 h 8402012"/>
              <a:gd name="connsiteX1908" fmla="*/ 17165984 w 21052572"/>
              <a:gd name="connsiteY1908" fmla="*/ 4085705 h 8402012"/>
              <a:gd name="connsiteX1909" fmla="*/ 15981076 w 21052572"/>
              <a:gd name="connsiteY1909" fmla="*/ 4085705 h 8402012"/>
              <a:gd name="connsiteX1910" fmla="*/ 15963114 w 21052572"/>
              <a:gd name="connsiteY1910" fmla="*/ 4117809 h 8402012"/>
              <a:gd name="connsiteX1911" fmla="*/ 15981076 w 21052572"/>
              <a:gd name="connsiteY1911" fmla="*/ 4085705 h 8402012"/>
              <a:gd name="connsiteX1912" fmla="*/ 13204588 w 21052572"/>
              <a:gd name="connsiteY1912" fmla="*/ 4085705 h 8402012"/>
              <a:gd name="connsiteX1913" fmla="*/ 13222550 w 21052572"/>
              <a:gd name="connsiteY1913" fmla="*/ 4117810 h 8402012"/>
              <a:gd name="connsiteX1914" fmla="*/ 13204588 w 21052572"/>
              <a:gd name="connsiteY1914" fmla="*/ 4085705 h 8402012"/>
              <a:gd name="connsiteX1915" fmla="*/ 11070709 w 21052572"/>
              <a:gd name="connsiteY1915" fmla="*/ 4085705 h 8402012"/>
              <a:gd name="connsiteX1916" fmla="*/ 11052747 w 21052572"/>
              <a:gd name="connsiteY1916" fmla="*/ 4117810 h 8402012"/>
              <a:gd name="connsiteX1917" fmla="*/ 11070709 w 21052572"/>
              <a:gd name="connsiteY1917" fmla="*/ 4085705 h 8402012"/>
              <a:gd name="connsiteX1918" fmla="*/ 17887452 w 21052572"/>
              <a:gd name="connsiteY1918" fmla="*/ 4076241 h 8402012"/>
              <a:gd name="connsiteX1919" fmla="*/ 18381860 w 21052572"/>
              <a:gd name="connsiteY1919" fmla="*/ 4255454 h 8402012"/>
              <a:gd name="connsiteX1920" fmla="*/ 18606496 w 21052572"/>
              <a:gd name="connsiteY1920" fmla="*/ 4372118 h 8402012"/>
              <a:gd name="connsiteX1921" fmla="*/ 18663460 w 21052572"/>
              <a:gd name="connsiteY1921" fmla="*/ 4461776 h 8402012"/>
              <a:gd name="connsiteX1922" fmla="*/ 18753744 w 21052572"/>
              <a:gd name="connsiteY1922" fmla="*/ 4539552 h 8402012"/>
              <a:gd name="connsiteX1923" fmla="*/ 18561356 w 21052572"/>
              <a:gd name="connsiteY1923" fmla="*/ 4455295 h 8402012"/>
              <a:gd name="connsiteX1924" fmla="*/ 18464620 w 21052572"/>
              <a:gd name="connsiteY1924" fmla="*/ 4416407 h 8402012"/>
              <a:gd name="connsiteX1925" fmla="*/ 18420556 w 21052572"/>
              <a:gd name="connsiteY1925" fmla="*/ 4429369 h 8402012"/>
              <a:gd name="connsiteX1926" fmla="*/ 18394760 w 21052572"/>
              <a:gd name="connsiteY1926" fmla="*/ 4416407 h 8402012"/>
              <a:gd name="connsiteX1927" fmla="*/ 18414104 w 21052572"/>
              <a:gd name="connsiteY1927" fmla="*/ 4385080 h 8402012"/>
              <a:gd name="connsiteX1928" fmla="*/ 18073392 w 21052572"/>
              <a:gd name="connsiteY1928" fmla="*/ 4248973 h 8402012"/>
              <a:gd name="connsiteX1929" fmla="*/ 18073392 w 21052572"/>
              <a:gd name="connsiteY1929" fmla="*/ 4186426 h 8402012"/>
              <a:gd name="connsiteX1930" fmla="*/ 18047596 w 21052572"/>
              <a:gd name="connsiteY1930" fmla="*/ 4173463 h 8402012"/>
              <a:gd name="connsiteX1931" fmla="*/ 17990632 w 21052572"/>
              <a:gd name="connsiteY1931" fmla="*/ 4147538 h 8402012"/>
              <a:gd name="connsiteX1932" fmla="*/ 17939040 w 21052572"/>
              <a:gd name="connsiteY1932" fmla="*/ 4119183 h 8402012"/>
              <a:gd name="connsiteX1933" fmla="*/ 17922024 w 21052572"/>
              <a:gd name="connsiteY1933" fmla="*/ 4105021 h 8402012"/>
              <a:gd name="connsiteX1934" fmla="*/ 10450799 w 21052572"/>
              <a:gd name="connsiteY1934" fmla="*/ 4062004 h 8402012"/>
              <a:gd name="connsiteX1935" fmla="*/ 10487691 w 21052572"/>
              <a:gd name="connsiteY1935" fmla="*/ 4089304 h 8402012"/>
              <a:gd name="connsiteX1936" fmla="*/ 10450799 w 21052572"/>
              <a:gd name="connsiteY1936" fmla="*/ 4062004 h 8402012"/>
              <a:gd name="connsiteX1937" fmla="*/ 16121250 w 21052572"/>
              <a:gd name="connsiteY1937" fmla="*/ 4062002 h 8402012"/>
              <a:gd name="connsiteX1938" fmla="*/ 16127714 w 21052572"/>
              <a:gd name="connsiteY1938" fmla="*/ 4074411 h 8402012"/>
              <a:gd name="connsiteX1939" fmla="*/ 16184804 w 21052572"/>
              <a:gd name="connsiteY1939" fmla="*/ 4117846 h 8402012"/>
              <a:gd name="connsiteX1940" fmla="*/ 16114788 w 21052572"/>
              <a:gd name="connsiteY1940" fmla="*/ 4117846 h 8402012"/>
              <a:gd name="connsiteX1941" fmla="*/ 16121250 w 21052572"/>
              <a:gd name="connsiteY1941" fmla="*/ 4062002 h 8402012"/>
              <a:gd name="connsiteX1942" fmla="*/ 10716226 w 21052572"/>
              <a:gd name="connsiteY1942" fmla="*/ 4062002 h 8402012"/>
              <a:gd name="connsiteX1943" fmla="*/ 10748335 w 21052572"/>
              <a:gd name="connsiteY1943" fmla="*/ 4086822 h 8402012"/>
              <a:gd name="connsiteX1944" fmla="*/ 10716226 w 21052572"/>
              <a:gd name="connsiteY1944" fmla="*/ 4117846 h 8402012"/>
              <a:gd name="connsiteX1945" fmla="*/ 10716226 w 21052572"/>
              <a:gd name="connsiteY1945" fmla="*/ 4062002 h 8402012"/>
              <a:gd name="connsiteX1946" fmla="*/ 10570538 w 21052572"/>
              <a:gd name="connsiteY1946" fmla="*/ 4062002 h 8402012"/>
              <a:gd name="connsiteX1947" fmla="*/ 10564551 w 21052572"/>
              <a:gd name="connsiteY1947" fmla="*/ 4117846 h 8402012"/>
              <a:gd name="connsiteX1948" fmla="*/ 10570538 w 21052572"/>
              <a:gd name="connsiteY1948" fmla="*/ 4062002 h 8402012"/>
              <a:gd name="connsiteX1949" fmla="*/ 17053256 w 21052572"/>
              <a:gd name="connsiteY1949" fmla="*/ 4062001 h 8402012"/>
              <a:gd name="connsiteX1950" fmla="*/ 17109100 w 21052572"/>
              <a:gd name="connsiteY1950" fmla="*/ 4062001 h 8402012"/>
              <a:gd name="connsiteX1951" fmla="*/ 17090484 w 21052572"/>
              <a:gd name="connsiteY1951" fmla="*/ 4117846 h 8402012"/>
              <a:gd name="connsiteX1952" fmla="*/ 17053256 w 21052572"/>
              <a:gd name="connsiteY1952" fmla="*/ 4062001 h 8402012"/>
              <a:gd name="connsiteX1953" fmla="*/ 11111606 w 21052572"/>
              <a:gd name="connsiteY1953" fmla="*/ 4058546 h 8402012"/>
              <a:gd name="connsiteX1954" fmla="*/ 11146509 w 21052572"/>
              <a:gd name="connsiteY1954" fmla="*/ 4062625 h 8402012"/>
              <a:gd name="connsiteX1955" fmla="*/ 11090665 w 21052572"/>
              <a:gd name="connsiteY1955" fmla="*/ 4088734 h 8402012"/>
              <a:gd name="connsiteX1956" fmla="*/ 11111606 w 21052572"/>
              <a:gd name="connsiteY1956" fmla="*/ 4058546 h 8402012"/>
              <a:gd name="connsiteX1957" fmla="*/ 16128438 w 21052572"/>
              <a:gd name="connsiteY1957" fmla="*/ 4043045 h 8402012"/>
              <a:gd name="connsiteX1958" fmla="*/ 16142088 w 21052572"/>
              <a:gd name="connsiteY1958" fmla="*/ 4063520 h 8402012"/>
              <a:gd name="connsiteX1959" fmla="*/ 16128438 w 21052572"/>
              <a:gd name="connsiteY1959" fmla="*/ 4043045 h 8402012"/>
              <a:gd name="connsiteX1960" fmla="*/ 11317603 w 21052572"/>
              <a:gd name="connsiteY1960" fmla="*/ 4043045 h 8402012"/>
              <a:gd name="connsiteX1961" fmla="*/ 11331253 w 21052572"/>
              <a:gd name="connsiteY1961" fmla="*/ 4063520 h 8402012"/>
              <a:gd name="connsiteX1962" fmla="*/ 11317603 w 21052572"/>
              <a:gd name="connsiteY1962" fmla="*/ 4043045 h 8402012"/>
              <a:gd name="connsiteX1963" fmla="*/ 20064620 w 21052572"/>
              <a:gd name="connsiteY1963" fmla="*/ 4042570 h 8402012"/>
              <a:gd name="connsiteX1964" fmla="*/ 20076028 w 21052572"/>
              <a:gd name="connsiteY1964" fmla="*/ 4045132 h 8402012"/>
              <a:gd name="connsiteX1965" fmla="*/ 20062992 w 21052572"/>
              <a:gd name="connsiteY1965" fmla="*/ 4065605 h 8402012"/>
              <a:gd name="connsiteX1966" fmla="*/ 20064620 w 21052572"/>
              <a:gd name="connsiteY1966" fmla="*/ 4042570 h 8402012"/>
              <a:gd name="connsiteX1967" fmla="*/ 19837124 w 21052572"/>
              <a:gd name="connsiteY1967" fmla="*/ 4042570 h 8402012"/>
              <a:gd name="connsiteX1968" fmla="*/ 19848612 w 21052572"/>
              <a:gd name="connsiteY1968" fmla="*/ 4045133 h 8402012"/>
              <a:gd name="connsiteX1969" fmla="*/ 19835484 w 21052572"/>
              <a:gd name="connsiteY1969" fmla="*/ 4065605 h 8402012"/>
              <a:gd name="connsiteX1970" fmla="*/ 19837124 w 21052572"/>
              <a:gd name="connsiteY1970" fmla="*/ 4042570 h 8402012"/>
              <a:gd name="connsiteX1971" fmla="*/ 10051604 w 21052572"/>
              <a:gd name="connsiteY1971" fmla="*/ 4029605 h 8402012"/>
              <a:gd name="connsiteX1972" fmla="*/ 9955953 w 21052572"/>
              <a:gd name="connsiteY1972" fmla="*/ 4074739 h 8402012"/>
              <a:gd name="connsiteX1973" fmla="*/ 10051604 w 21052572"/>
              <a:gd name="connsiteY1973" fmla="*/ 4029605 h 8402012"/>
              <a:gd name="connsiteX1974" fmla="*/ 15490658 w 21052572"/>
              <a:gd name="connsiteY1974" fmla="*/ 4028822 h 8402012"/>
              <a:gd name="connsiteX1975" fmla="*/ 15470184 w 21052572"/>
              <a:gd name="connsiteY1975" fmla="*/ 4084667 h 8402012"/>
              <a:gd name="connsiteX1976" fmla="*/ 15490658 w 21052572"/>
              <a:gd name="connsiteY1976" fmla="*/ 4028822 h 8402012"/>
              <a:gd name="connsiteX1977" fmla="*/ 10975819 w 21052572"/>
              <a:gd name="connsiteY1977" fmla="*/ 4028822 h 8402012"/>
              <a:gd name="connsiteX1978" fmla="*/ 10962691 w 21052572"/>
              <a:gd name="connsiteY1978" fmla="*/ 4060930 h 8402012"/>
              <a:gd name="connsiteX1979" fmla="*/ 10975819 w 21052572"/>
              <a:gd name="connsiteY1979" fmla="*/ 4028822 h 8402012"/>
              <a:gd name="connsiteX1980" fmla="*/ 19228796 w 21052572"/>
              <a:gd name="connsiteY1980" fmla="*/ 4028819 h 8402012"/>
              <a:gd name="connsiteX1981" fmla="*/ 19241924 w 21052572"/>
              <a:gd name="connsiteY1981" fmla="*/ 4060929 h 8402012"/>
              <a:gd name="connsiteX1982" fmla="*/ 19228796 w 21052572"/>
              <a:gd name="connsiteY1982" fmla="*/ 4028819 h 8402012"/>
              <a:gd name="connsiteX1983" fmla="*/ 15374392 w 21052572"/>
              <a:gd name="connsiteY1983" fmla="*/ 4028819 h 8402012"/>
              <a:gd name="connsiteX1984" fmla="*/ 15356430 w 21052572"/>
              <a:gd name="connsiteY1984" fmla="*/ 4060930 h 8402012"/>
              <a:gd name="connsiteX1985" fmla="*/ 15374392 w 21052572"/>
              <a:gd name="connsiteY1985" fmla="*/ 4028819 h 8402012"/>
              <a:gd name="connsiteX1986" fmla="*/ 9933170 w 21052572"/>
              <a:gd name="connsiteY1986" fmla="*/ 4028819 h 8402012"/>
              <a:gd name="connsiteX1987" fmla="*/ 9930340 w 21052572"/>
              <a:gd name="connsiteY1987" fmla="*/ 4033882 h 8402012"/>
              <a:gd name="connsiteX1988" fmla="*/ 9930644 w 21052572"/>
              <a:gd name="connsiteY1988" fmla="*/ 4033338 h 8402012"/>
              <a:gd name="connsiteX1989" fmla="*/ 9933170 w 21052572"/>
              <a:gd name="connsiteY1989" fmla="*/ 4028819 h 8402012"/>
              <a:gd name="connsiteX1990" fmla="*/ 11260567 w 21052572"/>
              <a:gd name="connsiteY1990" fmla="*/ 4025783 h 8402012"/>
              <a:gd name="connsiteX1991" fmla="*/ 11279169 w 21052572"/>
              <a:gd name="connsiteY1991" fmla="*/ 4060799 h 8402012"/>
              <a:gd name="connsiteX1992" fmla="*/ 11228116 w 21052572"/>
              <a:gd name="connsiteY1992" fmla="*/ 4028965 h 8402012"/>
              <a:gd name="connsiteX1993" fmla="*/ 11260567 w 21052572"/>
              <a:gd name="connsiteY1993" fmla="*/ 4025783 h 8402012"/>
              <a:gd name="connsiteX1994" fmla="*/ 17012168 w 21052572"/>
              <a:gd name="connsiteY1994" fmla="*/ 4025782 h 8402012"/>
              <a:gd name="connsiteX1995" fmla="*/ 17033212 w 21052572"/>
              <a:gd name="connsiteY1995" fmla="*/ 4060799 h 8402012"/>
              <a:gd name="connsiteX1996" fmla="*/ 16982160 w 21052572"/>
              <a:gd name="connsiteY1996" fmla="*/ 4028962 h 8402012"/>
              <a:gd name="connsiteX1997" fmla="*/ 17012168 w 21052572"/>
              <a:gd name="connsiteY1997" fmla="*/ 4025782 h 8402012"/>
              <a:gd name="connsiteX1998" fmla="*/ 9924688 w 21052572"/>
              <a:gd name="connsiteY1998" fmla="*/ 4014601 h 8402012"/>
              <a:gd name="connsiteX1999" fmla="*/ 9942650 w 21052572"/>
              <a:gd name="connsiteY1999" fmla="*/ 4014601 h 8402012"/>
              <a:gd name="connsiteX2000" fmla="*/ 9924688 w 21052572"/>
              <a:gd name="connsiteY2000" fmla="*/ 4014601 h 8402012"/>
              <a:gd name="connsiteX2001" fmla="*/ 10691475 w 21052572"/>
              <a:gd name="connsiteY2001" fmla="*/ 4009865 h 8402012"/>
              <a:gd name="connsiteX2002" fmla="*/ 10591392 w 21052572"/>
              <a:gd name="connsiteY2002" fmla="*/ 4056286 h 8402012"/>
              <a:gd name="connsiteX2003" fmla="*/ 10581228 w 21052572"/>
              <a:gd name="connsiteY2003" fmla="*/ 4044994 h 8402012"/>
              <a:gd name="connsiteX2004" fmla="*/ 10591993 w 21052572"/>
              <a:gd name="connsiteY2004" fmla="*/ 4062312 h 8402012"/>
              <a:gd name="connsiteX2005" fmla="*/ 10574031 w 21052572"/>
              <a:gd name="connsiteY2005" fmla="*/ 4062312 h 8402012"/>
              <a:gd name="connsiteX2006" fmla="*/ 10579879 w 21052572"/>
              <a:gd name="connsiteY2006" fmla="*/ 4043490 h 8402012"/>
              <a:gd name="connsiteX2007" fmla="*/ 10578773 w 21052572"/>
              <a:gd name="connsiteY2007" fmla="*/ 4042265 h 8402012"/>
              <a:gd name="connsiteX2008" fmla="*/ 10691475 w 21052572"/>
              <a:gd name="connsiteY2008" fmla="*/ 4009865 h 8402012"/>
              <a:gd name="connsiteX2009" fmla="*/ 19192672 w 21052572"/>
              <a:gd name="connsiteY2009" fmla="*/ 4001460 h 8402012"/>
              <a:gd name="connsiteX2010" fmla="*/ 19208812 w 21052572"/>
              <a:gd name="connsiteY2010" fmla="*/ 4032461 h 8402012"/>
              <a:gd name="connsiteX2011" fmla="*/ 19171920 w 21052572"/>
              <a:gd name="connsiteY2011" fmla="*/ 4019234 h 8402012"/>
              <a:gd name="connsiteX2012" fmla="*/ 19192672 w 21052572"/>
              <a:gd name="connsiteY2012" fmla="*/ 4001460 h 8402012"/>
              <a:gd name="connsiteX2013" fmla="*/ 15773526 w 21052572"/>
              <a:gd name="connsiteY2013" fmla="*/ 4000387 h 8402012"/>
              <a:gd name="connsiteX2014" fmla="*/ 15805632 w 21052572"/>
              <a:gd name="connsiteY2014" fmla="*/ 4011972 h 8402012"/>
              <a:gd name="connsiteX2015" fmla="*/ 15779948 w 21052572"/>
              <a:gd name="connsiteY2015" fmla="*/ 4056211 h 8402012"/>
              <a:gd name="connsiteX2016" fmla="*/ 15773526 w 21052572"/>
              <a:gd name="connsiteY2016" fmla="*/ 4000387 h 8402012"/>
              <a:gd name="connsiteX2017" fmla="*/ 16962200 w 21052572"/>
              <a:gd name="connsiteY2017" fmla="*/ 4000386 h 8402012"/>
              <a:gd name="connsiteX2018" fmla="*/ 16944240 w 21052572"/>
              <a:gd name="connsiteY2018" fmla="*/ 4032456 h 8402012"/>
              <a:gd name="connsiteX2019" fmla="*/ 16962200 w 21052572"/>
              <a:gd name="connsiteY2019" fmla="*/ 4000386 h 8402012"/>
              <a:gd name="connsiteX2020" fmla="*/ 15303196 w 21052572"/>
              <a:gd name="connsiteY2020" fmla="*/ 4000386 h 8402012"/>
              <a:gd name="connsiteX2021" fmla="*/ 15303196 w 21052572"/>
              <a:gd name="connsiteY2021" fmla="*/ 4032456 h 8402012"/>
              <a:gd name="connsiteX2022" fmla="*/ 15303196 w 21052572"/>
              <a:gd name="connsiteY2022" fmla="*/ 4000386 h 8402012"/>
              <a:gd name="connsiteX2023" fmla="*/ 13336302 w 21052572"/>
              <a:gd name="connsiteY2023" fmla="*/ 4000386 h 8402012"/>
              <a:gd name="connsiteX2024" fmla="*/ 13318340 w 21052572"/>
              <a:gd name="connsiteY2024" fmla="*/ 4032456 h 8402012"/>
              <a:gd name="connsiteX2025" fmla="*/ 13336302 w 21052572"/>
              <a:gd name="connsiteY2025" fmla="*/ 4000386 h 8402012"/>
              <a:gd name="connsiteX2026" fmla="*/ 13241507 w 21052572"/>
              <a:gd name="connsiteY2026" fmla="*/ 4000386 h 8402012"/>
              <a:gd name="connsiteX2027" fmla="*/ 13223545 w 21052572"/>
              <a:gd name="connsiteY2027" fmla="*/ 4032456 h 8402012"/>
              <a:gd name="connsiteX2028" fmla="*/ 13241507 w 21052572"/>
              <a:gd name="connsiteY2028" fmla="*/ 4000386 h 8402012"/>
              <a:gd name="connsiteX2029" fmla="*/ 20602224 w 21052572"/>
              <a:gd name="connsiteY2029" fmla="*/ 4000385 h 8402012"/>
              <a:gd name="connsiteX2030" fmla="*/ 20589100 w 21052572"/>
              <a:gd name="connsiteY2030" fmla="*/ 4032455 h 8402012"/>
              <a:gd name="connsiteX2031" fmla="*/ 20602224 w 21052572"/>
              <a:gd name="connsiteY2031" fmla="*/ 4000385 h 8402012"/>
              <a:gd name="connsiteX2032" fmla="*/ 20033552 w 21052572"/>
              <a:gd name="connsiteY2032" fmla="*/ 4000385 h 8402012"/>
              <a:gd name="connsiteX2033" fmla="*/ 20015588 w 21052572"/>
              <a:gd name="connsiteY2033" fmla="*/ 4032455 h 8402012"/>
              <a:gd name="connsiteX2034" fmla="*/ 20033552 w 21052572"/>
              <a:gd name="connsiteY2034" fmla="*/ 4000385 h 8402012"/>
              <a:gd name="connsiteX2035" fmla="*/ 19578440 w 21052572"/>
              <a:gd name="connsiteY2035" fmla="*/ 4000385 h 8402012"/>
              <a:gd name="connsiteX2036" fmla="*/ 19565316 w 21052572"/>
              <a:gd name="connsiteY2036" fmla="*/ 4032455 h 8402012"/>
              <a:gd name="connsiteX2037" fmla="*/ 19578440 w 21052572"/>
              <a:gd name="connsiteY2037" fmla="*/ 4000385 h 8402012"/>
              <a:gd name="connsiteX2038" fmla="*/ 17702600 w 21052572"/>
              <a:gd name="connsiteY2038" fmla="*/ 4000385 h 8402012"/>
              <a:gd name="connsiteX2039" fmla="*/ 17715728 w 21052572"/>
              <a:gd name="connsiteY2039" fmla="*/ 4032456 h 8402012"/>
              <a:gd name="connsiteX2040" fmla="*/ 17702600 w 21052572"/>
              <a:gd name="connsiteY2040" fmla="*/ 4000385 h 8402012"/>
              <a:gd name="connsiteX2041" fmla="*/ 18617096 w 21052572"/>
              <a:gd name="connsiteY2041" fmla="*/ 3982954 h 8402012"/>
              <a:gd name="connsiteX2042" fmla="*/ 18614008 w 21052572"/>
              <a:gd name="connsiteY2042" fmla="*/ 4005724 h 8402012"/>
              <a:gd name="connsiteX2043" fmla="*/ 18617896 w 21052572"/>
              <a:gd name="connsiteY2043" fmla="*/ 4011435 h 8402012"/>
              <a:gd name="connsiteX2044" fmla="*/ 18619000 w 21052572"/>
              <a:gd name="connsiteY2044" fmla="*/ 3997137 h 8402012"/>
              <a:gd name="connsiteX2045" fmla="*/ 18630404 w 21052572"/>
              <a:gd name="connsiteY2045" fmla="*/ 4000079 h 8402012"/>
              <a:gd name="connsiteX2046" fmla="*/ 18624332 w 21052572"/>
              <a:gd name="connsiteY2046" fmla="*/ 4006367 h 8402012"/>
              <a:gd name="connsiteX2047" fmla="*/ 18619764 w 21052572"/>
              <a:gd name="connsiteY2047" fmla="*/ 4014180 h 8402012"/>
              <a:gd name="connsiteX2048" fmla="*/ 18627040 w 21052572"/>
              <a:gd name="connsiteY2048" fmla="*/ 4024867 h 8402012"/>
              <a:gd name="connsiteX2049" fmla="*/ 18661160 w 21052572"/>
              <a:gd name="connsiteY2049" fmla="*/ 4047437 h 8402012"/>
              <a:gd name="connsiteX2050" fmla="*/ 18783684 w 21052572"/>
              <a:gd name="connsiteY2050" fmla="*/ 4086126 h 8402012"/>
              <a:gd name="connsiteX2051" fmla="*/ 18680508 w 21052572"/>
              <a:gd name="connsiteY2051" fmla="*/ 4028090 h 8402012"/>
              <a:gd name="connsiteX2052" fmla="*/ 18617096 w 21052572"/>
              <a:gd name="connsiteY2052" fmla="*/ 3982954 h 8402012"/>
              <a:gd name="connsiteX2053" fmla="*/ 15127852 w 21052572"/>
              <a:gd name="connsiteY2053" fmla="*/ 3973524 h 8402012"/>
              <a:gd name="connsiteX2054" fmla="*/ 15095742 w 21052572"/>
              <a:gd name="connsiteY2054" fmla="*/ 3998802 h 8402012"/>
              <a:gd name="connsiteX2055" fmla="*/ 15127852 w 21052572"/>
              <a:gd name="connsiteY2055" fmla="*/ 3973524 h 8402012"/>
              <a:gd name="connsiteX2056" fmla="*/ 16825748 w 21052572"/>
              <a:gd name="connsiteY2056" fmla="*/ 3973523 h 8402012"/>
              <a:gd name="connsiteX2057" fmla="*/ 16862640 w 21052572"/>
              <a:gd name="connsiteY2057" fmla="*/ 3998802 h 8402012"/>
              <a:gd name="connsiteX2058" fmla="*/ 16825748 w 21052572"/>
              <a:gd name="connsiteY2058" fmla="*/ 3973523 h 8402012"/>
              <a:gd name="connsiteX2059" fmla="*/ 17828948 w 21052572"/>
              <a:gd name="connsiteY2059" fmla="*/ 3971948 h 8402012"/>
              <a:gd name="connsiteX2060" fmla="*/ 17867424 w 21052572"/>
              <a:gd name="connsiteY2060" fmla="*/ 4117814 h 8402012"/>
              <a:gd name="connsiteX2061" fmla="*/ 17772300 w 21052572"/>
              <a:gd name="connsiteY2061" fmla="*/ 4047544 h 8402012"/>
              <a:gd name="connsiteX2062" fmla="*/ 17828948 w 21052572"/>
              <a:gd name="connsiteY2062" fmla="*/ 3971948 h 8402012"/>
              <a:gd name="connsiteX2063" fmla="*/ 15925198 w 21052572"/>
              <a:gd name="connsiteY2063" fmla="*/ 3971945 h 8402012"/>
              <a:gd name="connsiteX2064" fmla="*/ 15962062 w 21052572"/>
              <a:gd name="connsiteY2064" fmla="*/ 3984110 h 8402012"/>
              <a:gd name="connsiteX2065" fmla="*/ 15925198 w 21052572"/>
              <a:gd name="connsiteY2065" fmla="*/ 3971945 h 8402012"/>
              <a:gd name="connsiteX2066" fmla="*/ 13601727 w 21052572"/>
              <a:gd name="connsiteY2066" fmla="*/ 3971945 h 8402012"/>
              <a:gd name="connsiteX2067" fmla="*/ 13583765 w 21052572"/>
              <a:gd name="connsiteY2067" fmla="*/ 3999245 h 8402012"/>
              <a:gd name="connsiteX2068" fmla="*/ 13601727 w 21052572"/>
              <a:gd name="connsiteY2068" fmla="*/ 3971945 h 8402012"/>
              <a:gd name="connsiteX2069" fmla="*/ 10976910 w 21052572"/>
              <a:gd name="connsiteY2069" fmla="*/ 3971945 h 8402012"/>
              <a:gd name="connsiteX2070" fmla="*/ 10994872 w 21052572"/>
              <a:gd name="connsiteY2070" fmla="*/ 3999245 h 8402012"/>
              <a:gd name="connsiteX2071" fmla="*/ 10976910 w 21052572"/>
              <a:gd name="connsiteY2071" fmla="*/ 3971945 h 8402012"/>
              <a:gd name="connsiteX2072" fmla="*/ 20541704 w 21052572"/>
              <a:gd name="connsiteY2072" fmla="*/ 3971944 h 8402012"/>
              <a:gd name="connsiteX2073" fmla="*/ 20554828 w 21052572"/>
              <a:gd name="connsiteY2073" fmla="*/ 3999245 h 8402012"/>
              <a:gd name="connsiteX2074" fmla="*/ 20541704 w 21052572"/>
              <a:gd name="connsiteY2074" fmla="*/ 3971944 h 8402012"/>
              <a:gd name="connsiteX2075" fmla="*/ 18565508 w 21052572"/>
              <a:gd name="connsiteY2075" fmla="*/ 3971132 h 8402012"/>
              <a:gd name="connsiteX2076" fmla="*/ 18584852 w 21052572"/>
              <a:gd name="connsiteY2076" fmla="*/ 3996927 h 8402012"/>
              <a:gd name="connsiteX2077" fmla="*/ 18565508 w 21052572"/>
              <a:gd name="connsiteY2077" fmla="*/ 3971132 h 8402012"/>
              <a:gd name="connsiteX2078" fmla="*/ 16566904 w 21052572"/>
              <a:gd name="connsiteY2078" fmla="*/ 3967637 h 8402012"/>
              <a:gd name="connsiteX2079" fmla="*/ 16601926 w 21052572"/>
              <a:gd name="connsiteY2079" fmla="*/ 3974099 h 8402012"/>
              <a:gd name="connsiteX2080" fmla="*/ 16546102 w 21052572"/>
              <a:gd name="connsiteY2080" fmla="*/ 3999954 h 8402012"/>
              <a:gd name="connsiteX2081" fmla="*/ 16566904 w 21052572"/>
              <a:gd name="connsiteY2081" fmla="*/ 3967637 h 8402012"/>
              <a:gd name="connsiteX2082" fmla="*/ 12227107 w 21052572"/>
              <a:gd name="connsiteY2082" fmla="*/ 3941563 h 8402012"/>
              <a:gd name="connsiteX2083" fmla="*/ 12213982 w 21052572"/>
              <a:gd name="connsiteY2083" fmla="*/ 3947178 h 8402012"/>
              <a:gd name="connsiteX2084" fmla="*/ 12226912 w 21052572"/>
              <a:gd name="connsiteY2084" fmla="*/ 3941576 h 8402012"/>
              <a:gd name="connsiteX2085" fmla="*/ 16526116 w 21052572"/>
              <a:gd name="connsiteY2085" fmla="*/ 3940173 h 8402012"/>
              <a:gd name="connsiteX2086" fmla="*/ 16489224 w 21052572"/>
              <a:gd name="connsiteY2086" fmla="*/ 3970916 h 8402012"/>
              <a:gd name="connsiteX2087" fmla="*/ 16526116 w 21052572"/>
              <a:gd name="connsiteY2087" fmla="*/ 3940173 h 8402012"/>
              <a:gd name="connsiteX2088" fmla="*/ 19526372 w 21052572"/>
              <a:gd name="connsiteY2088" fmla="*/ 3940172 h 8402012"/>
              <a:gd name="connsiteX2089" fmla="*/ 19489480 w 21052572"/>
              <a:gd name="connsiteY2089" fmla="*/ 3970916 h 8402012"/>
              <a:gd name="connsiteX2090" fmla="*/ 19526372 w 21052572"/>
              <a:gd name="connsiteY2090" fmla="*/ 3940172 h 8402012"/>
              <a:gd name="connsiteX2091" fmla="*/ 13460727 w 21052572"/>
              <a:gd name="connsiteY2091" fmla="*/ 3938769 h 8402012"/>
              <a:gd name="connsiteX2092" fmla="*/ 13492647 w 21052572"/>
              <a:gd name="connsiteY2092" fmla="*/ 3985036 h 8402012"/>
              <a:gd name="connsiteX2093" fmla="*/ 13460727 w 21052572"/>
              <a:gd name="connsiteY2093" fmla="*/ 3938769 h 8402012"/>
              <a:gd name="connsiteX2094" fmla="*/ 19735948 w 21052572"/>
              <a:gd name="connsiteY2094" fmla="*/ 3938767 h 8402012"/>
              <a:gd name="connsiteX2095" fmla="*/ 19753908 w 21052572"/>
              <a:gd name="connsiteY2095" fmla="*/ 3970875 h 8402012"/>
              <a:gd name="connsiteX2096" fmla="*/ 19735948 w 21052572"/>
              <a:gd name="connsiteY2096" fmla="*/ 3938767 h 8402012"/>
              <a:gd name="connsiteX2097" fmla="*/ 14881456 w 21052572"/>
              <a:gd name="connsiteY2097" fmla="*/ 3938767 h 8402012"/>
              <a:gd name="connsiteX2098" fmla="*/ 14863494 w 21052572"/>
              <a:gd name="connsiteY2098" fmla="*/ 3970875 h 8402012"/>
              <a:gd name="connsiteX2099" fmla="*/ 14881456 w 21052572"/>
              <a:gd name="connsiteY2099" fmla="*/ 3938767 h 8402012"/>
              <a:gd name="connsiteX2100" fmla="*/ 10133238 w 21052572"/>
              <a:gd name="connsiteY2100" fmla="*/ 3938767 h 8402012"/>
              <a:gd name="connsiteX2101" fmla="*/ 10151200 w 21052572"/>
              <a:gd name="connsiteY2101" fmla="*/ 3970875 h 8402012"/>
              <a:gd name="connsiteX2102" fmla="*/ 10133238 w 21052572"/>
              <a:gd name="connsiteY2102" fmla="*/ 3938767 h 8402012"/>
              <a:gd name="connsiteX2103" fmla="*/ 15625454 w 21052572"/>
              <a:gd name="connsiteY2103" fmla="*/ 3938765 h 8402012"/>
              <a:gd name="connsiteX2104" fmla="*/ 15604980 w 21052572"/>
              <a:gd name="connsiteY2104" fmla="*/ 3994609 h 8402012"/>
              <a:gd name="connsiteX2105" fmla="*/ 15625454 w 21052572"/>
              <a:gd name="connsiteY2105" fmla="*/ 3938765 h 8402012"/>
              <a:gd name="connsiteX2106" fmla="*/ 14925110 w 21052572"/>
              <a:gd name="connsiteY2106" fmla="*/ 3938765 h 8402012"/>
              <a:gd name="connsiteX2107" fmla="*/ 14961974 w 21052572"/>
              <a:gd name="connsiteY2107" fmla="*/ 3951175 h 8402012"/>
              <a:gd name="connsiteX2108" fmla="*/ 14925110 w 21052572"/>
              <a:gd name="connsiteY2108" fmla="*/ 3994609 h 8402012"/>
              <a:gd name="connsiteX2109" fmla="*/ 14925110 w 21052572"/>
              <a:gd name="connsiteY2109" fmla="*/ 3938765 h 8402012"/>
              <a:gd name="connsiteX2110" fmla="*/ 13941227 w 21052572"/>
              <a:gd name="connsiteY2110" fmla="*/ 3936396 h 8402012"/>
              <a:gd name="connsiteX2111" fmla="*/ 13976130 w 21052572"/>
              <a:gd name="connsiteY2111" fmla="*/ 3939713 h 8402012"/>
              <a:gd name="connsiteX2112" fmla="*/ 13920286 w 21052572"/>
              <a:gd name="connsiteY2112" fmla="*/ 3972892 h 8402012"/>
              <a:gd name="connsiteX2113" fmla="*/ 13941227 w 21052572"/>
              <a:gd name="connsiteY2113" fmla="*/ 3936396 h 8402012"/>
              <a:gd name="connsiteX2114" fmla="*/ 12242336 w 21052572"/>
              <a:gd name="connsiteY2114" fmla="*/ 3936380 h 8402012"/>
              <a:gd name="connsiteX2115" fmla="*/ 12239842 w 21052572"/>
              <a:gd name="connsiteY2115" fmla="*/ 3940774 h 8402012"/>
              <a:gd name="connsiteX2116" fmla="*/ 12227107 w 21052572"/>
              <a:gd name="connsiteY2116" fmla="*/ 3941563 h 8402012"/>
              <a:gd name="connsiteX2117" fmla="*/ 12237603 w 21052572"/>
              <a:gd name="connsiteY2117" fmla="*/ 3937073 h 8402012"/>
              <a:gd name="connsiteX2118" fmla="*/ 10939187 w 21052572"/>
              <a:gd name="connsiteY2118" fmla="*/ 3929286 h 8402012"/>
              <a:gd name="connsiteX2119" fmla="*/ 10971107 w 21052572"/>
              <a:gd name="connsiteY2119" fmla="*/ 3929286 h 8402012"/>
              <a:gd name="connsiteX2120" fmla="*/ 10964723 w 21052572"/>
              <a:gd name="connsiteY2120" fmla="*/ 3999323 h 8402012"/>
              <a:gd name="connsiteX2121" fmla="*/ 10920035 w 21052572"/>
              <a:gd name="connsiteY2121" fmla="*/ 3999323 h 8402012"/>
              <a:gd name="connsiteX2122" fmla="*/ 10939187 w 21052572"/>
              <a:gd name="connsiteY2122" fmla="*/ 3929286 h 8402012"/>
              <a:gd name="connsiteX2123" fmla="*/ 13184670 w 21052572"/>
              <a:gd name="connsiteY2123" fmla="*/ 3919831 h 8402012"/>
              <a:gd name="connsiteX2124" fmla="*/ 13229838 w 21052572"/>
              <a:gd name="connsiteY2124" fmla="*/ 3952146 h 8402012"/>
              <a:gd name="connsiteX2125" fmla="*/ 13107238 w 21052572"/>
              <a:gd name="connsiteY2125" fmla="*/ 4009238 h 8402012"/>
              <a:gd name="connsiteX2126" fmla="*/ 12741590 w 21052572"/>
              <a:gd name="connsiteY2126" fmla="*/ 4060945 h 8402012"/>
              <a:gd name="connsiteX2127" fmla="*/ 12542634 w 21052572"/>
              <a:gd name="connsiteY2127" fmla="*/ 4060945 h 8402012"/>
              <a:gd name="connsiteX2128" fmla="*/ 12510371 w 21052572"/>
              <a:gd name="connsiteY2128" fmla="*/ 4106189 h 8402012"/>
              <a:gd name="connsiteX2129" fmla="*/ 12452298 w 21052572"/>
              <a:gd name="connsiteY2129" fmla="*/ 4112651 h 8402012"/>
              <a:gd name="connsiteX2130" fmla="*/ 12073744 w 21052572"/>
              <a:gd name="connsiteY2130" fmla="*/ 4164358 h 8402012"/>
              <a:gd name="connsiteX2131" fmla="*/ 11323089 w 21052572"/>
              <a:gd name="connsiteY2131" fmla="*/ 4393697 h 8402012"/>
              <a:gd name="connsiteX2132" fmla="*/ 10957441 w 21052572"/>
              <a:gd name="connsiteY2132" fmla="*/ 4535889 h 8402012"/>
              <a:gd name="connsiteX2133" fmla="*/ 10867104 w 21052572"/>
              <a:gd name="connsiteY2133" fmla="*/ 4581132 h 8402012"/>
              <a:gd name="connsiteX2134" fmla="*/ 10809031 w 21052572"/>
              <a:gd name="connsiteY2134" fmla="*/ 4587595 h 8402012"/>
              <a:gd name="connsiteX2135" fmla="*/ 10816559 w 21052572"/>
              <a:gd name="connsiteY2135" fmla="*/ 4458330 h 8402012"/>
              <a:gd name="connsiteX2136" fmla="*/ 10883555 w 21052572"/>
              <a:gd name="connsiteY2136" fmla="*/ 4435607 h 8402012"/>
              <a:gd name="connsiteX2137" fmla="*/ 10892077 w 21052572"/>
              <a:gd name="connsiteY2137" fmla="*/ 4397451 h 8402012"/>
              <a:gd name="connsiteX2138" fmla="*/ 10891595 w 21052572"/>
              <a:gd name="connsiteY2138" fmla="*/ 4396383 h 8402012"/>
              <a:gd name="connsiteX2139" fmla="*/ 10892628 w 21052572"/>
              <a:gd name="connsiteY2139" fmla="*/ 4394984 h 8402012"/>
              <a:gd name="connsiteX2140" fmla="*/ 10892915 w 21052572"/>
              <a:gd name="connsiteY2140" fmla="*/ 4393697 h 8402012"/>
              <a:gd name="connsiteX2141" fmla="*/ 10893270 w 21052572"/>
              <a:gd name="connsiteY2141" fmla="*/ 4394113 h 8402012"/>
              <a:gd name="connsiteX2142" fmla="*/ 10898330 w 21052572"/>
              <a:gd name="connsiteY2142" fmla="*/ 4387259 h 8402012"/>
              <a:gd name="connsiteX2143" fmla="*/ 10909557 w 21052572"/>
              <a:gd name="connsiteY2143" fmla="*/ 4396383 h 8402012"/>
              <a:gd name="connsiteX2144" fmla="*/ 10902831 w 21052572"/>
              <a:gd name="connsiteY2144" fmla="*/ 4405328 h 8402012"/>
              <a:gd name="connsiteX2145" fmla="*/ 10904711 w 21052572"/>
              <a:gd name="connsiteY2145" fmla="*/ 4407532 h 8402012"/>
              <a:gd name="connsiteX2146" fmla="*/ 10950988 w 21052572"/>
              <a:gd name="connsiteY2146" fmla="*/ 4406623 h 8402012"/>
              <a:gd name="connsiteX2147" fmla="*/ 11033797 w 21052572"/>
              <a:gd name="connsiteY2147" fmla="*/ 4393697 h 8402012"/>
              <a:gd name="connsiteX2148" fmla="*/ 11014439 w 21052572"/>
              <a:gd name="connsiteY2148" fmla="*/ 4349531 h 8402012"/>
              <a:gd name="connsiteX2149" fmla="*/ 10950988 w 21052572"/>
              <a:gd name="connsiteY2149" fmla="*/ 4375384 h 8402012"/>
              <a:gd name="connsiteX2150" fmla="*/ 10867104 w 21052572"/>
              <a:gd name="connsiteY2150" fmla="*/ 4330141 h 8402012"/>
              <a:gd name="connsiteX2151" fmla="*/ 12036104 w 21052572"/>
              <a:gd name="connsiteY2151" fmla="*/ 4009238 h 8402012"/>
              <a:gd name="connsiteX2152" fmla="*/ 11547856 w 21052572"/>
              <a:gd name="connsiteY2152" fmla="*/ 4195489 h 8402012"/>
              <a:gd name="connsiteX2153" fmla="*/ 11310184 w 21052572"/>
              <a:gd name="connsiteY2153" fmla="*/ 4265508 h 8402012"/>
              <a:gd name="connsiteX2154" fmla="*/ 11188660 w 21052572"/>
              <a:gd name="connsiteY2154" fmla="*/ 4284898 h 8402012"/>
              <a:gd name="connsiteX2155" fmla="*/ 11130586 w 21052572"/>
              <a:gd name="connsiteY2155" fmla="*/ 4284898 h 8402012"/>
              <a:gd name="connsiteX2156" fmla="*/ 11091870 w 21052572"/>
              <a:gd name="connsiteY2156" fmla="*/ 4349531 h 8402012"/>
              <a:gd name="connsiteX2157" fmla="*/ 11476877 w 21052572"/>
              <a:gd name="connsiteY2157" fmla="*/ 4265508 h 8402012"/>
              <a:gd name="connsiteX2158" fmla="*/ 11650022 w 21052572"/>
              <a:gd name="connsiteY2158" fmla="*/ 4195489 h 8402012"/>
              <a:gd name="connsiteX2159" fmla="*/ 11824243 w 21052572"/>
              <a:gd name="connsiteY2159" fmla="*/ 4138506 h 8402012"/>
              <a:gd name="connsiteX2160" fmla="*/ 12196344 w 21052572"/>
              <a:gd name="connsiteY2160" fmla="*/ 4048019 h 8402012"/>
              <a:gd name="connsiteX2161" fmla="*/ 12382394 w 21052572"/>
              <a:gd name="connsiteY2161" fmla="*/ 4015703 h 8402012"/>
              <a:gd name="connsiteX2162" fmla="*/ 12529729 w 21052572"/>
              <a:gd name="connsiteY2162" fmla="*/ 3971537 h 8402012"/>
              <a:gd name="connsiteX2163" fmla="*/ 13184670 w 21052572"/>
              <a:gd name="connsiteY2163" fmla="*/ 3919831 h 8402012"/>
              <a:gd name="connsiteX2164" fmla="*/ 14203682 w 21052572"/>
              <a:gd name="connsiteY2164" fmla="*/ 3919806 h 8402012"/>
              <a:gd name="connsiteX2165" fmla="*/ 14236750 w 21052572"/>
              <a:gd name="connsiteY2165" fmla="*/ 3938958 h 8402012"/>
              <a:gd name="connsiteX2166" fmla="*/ 14190455 w 21052572"/>
              <a:gd name="connsiteY2166" fmla="*/ 3970880 h 8402012"/>
              <a:gd name="connsiteX2167" fmla="*/ 14203682 w 21052572"/>
              <a:gd name="connsiteY2167" fmla="*/ 3919806 h 8402012"/>
              <a:gd name="connsiteX2168" fmla="*/ 13443216 w 21052572"/>
              <a:gd name="connsiteY2168" fmla="*/ 3919332 h 8402012"/>
              <a:gd name="connsiteX2169" fmla="*/ 13454700 w 21052572"/>
              <a:gd name="connsiteY2169" fmla="*/ 3921891 h 8402012"/>
              <a:gd name="connsiteX2170" fmla="*/ 13441575 w 21052572"/>
              <a:gd name="connsiteY2170" fmla="*/ 3942365 h 8402012"/>
              <a:gd name="connsiteX2171" fmla="*/ 13443216 w 21052572"/>
              <a:gd name="connsiteY2171" fmla="*/ 3919332 h 8402012"/>
              <a:gd name="connsiteX2172" fmla="*/ 13860136 w 21052572"/>
              <a:gd name="connsiteY2172" fmla="*/ 3910327 h 8402012"/>
              <a:gd name="connsiteX2173" fmla="*/ 13886031 w 21052572"/>
              <a:gd name="connsiteY2173" fmla="*/ 3954824 h 8402012"/>
              <a:gd name="connsiteX2174" fmla="*/ 13782451 w 21052572"/>
              <a:gd name="connsiteY2174" fmla="*/ 3991909 h 8402012"/>
              <a:gd name="connsiteX2175" fmla="*/ 13621685 w 21052572"/>
              <a:gd name="connsiteY2175" fmla="*/ 3999323 h 8402012"/>
              <a:gd name="connsiteX2176" fmla="*/ 13621685 w 21052572"/>
              <a:gd name="connsiteY2176" fmla="*/ 3942111 h 8402012"/>
              <a:gd name="connsiteX2177" fmla="*/ 13654054 w 21052572"/>
              <a:gd name="connsiteY2177" fmla="*/ 3935754 h 8402012"/>
              <a:gd name="connsiteX2178" fmla="*/ 13711239 w 21052572"/>
              <a:gd name="connsiteY2178" fmla="*/ 3935754 h 8402012"/>
              <a:gd name="connsiteX2179" fmla="*/ 13853662 w 21052572"/>
              <a:gd name="connsiteY2179" fmla="*/ 3923040 h 8402012"/>
              <a:gd name="connsiteX2180" fmla="*/ 13860136 w 21052572"/>
              <a:gd name="connsiteY2180" fmla="*/ 3910327 h 8402012"/>
              <a:gd name="connsiteX2181" fmla="*/ 10171155 w 21052572"/>
              <a:gd name="connsiteY2181" fmla="*/ 3910325 h 8402012"/>
              <a:gd name="connsiteX2182" fmla="*/ 10189117 w 21052572"/>
              <a:gd name="connsiteY2182" fmla="*/ 3942433 h 8402012"/>
              <a:gd name="connsiteX2183" fmla="*/ 10171155 w 21052572"/>
              <a:gd name="connsiteY2183" fmla="*/ 3910325 h 8402012"/>
              <a:gd name="connsiteX2184" fmla="*/ 16710998 w 21052572"/>
              <a:gd name="connsiteY2184" fmla="*/ 3910324 h 8402012"/>
              <a:gd name="connsiteX2185" fmla="*/ 16693034 w 21052572"/>
              <a:gd name="connsiteY2185" fmla="*/ 3942432 h 8402012"/>
              <a:gd name="connsiteX2186" fmla="*/ 16710998 w 21052572"/>
              <a:gd name="connsiteY2186" fmla="*/ 3910324 h 8402012"/>
              <a:gd name="connsiteX2187" fmla="*/ 16659854 w 21052572"/>
              <a:gd name="connsiteY2187" fmla="*/ 3910324 h 8402012"/>
              <a:gd name="connsiteX2188" fmla="*/ 16677816 w 21052572"/>
              <a:gd name="connsiteY2188" fmla="*/ 3942432 h 8402012"/>
              <a:gd name="connsiteX2189" fmla="*/ 16659854 w 21052572"/>
              <a:gd name="connsiteY2189" fmla="*/ 3910324 h 8402012"/>
              <a:gd name="connsiteX2190" fmla="*/ 13298330 w 21052572"/>
              <a:gd name="connsiteY2190" fmla="*/ 3910324 h 8402012"/>
              <a:gd name="connsiteX2191" fmla="*/ 13280423 w 21052572"/>
              <a:gd name="connsiteY2191" fmla="*/ 3942433 h 8402012"/>
              <a:gd name="connsiteX2192" fmla="*/ 13298330 w 21052572"/>
              <a:gd name="connsiteY2192" fmla="*/ 3910324 h 8402012"/>
              <a:gd name="connsiteX2193" fmla="*/ 11734271 w 21052572"/>
              <a:gd name="connsiteY2193" fmla="*/ 3910324 h 8402012"/>
              <a:gd name="connsiteX2194" fmla="*/ 11716309 w 21052572"/>
              <a:gd name="connsiteY2194" fmla="*/ 3942433 h 8402012"/>
              <a:gd name="connsiteX2195" fmla="*/ 11734271 w 21052572"/>
              <a:gd name="connsiteY2195" fmla="*/ 3910324 h 8402012"/>
              <a:gd name="connsiteX2196" fmla="*/ 19579536 w 21052572"/>
              <a:gd name="connsiteY2196" fmla="*/ 3910323 h 8402012"/>
              <a:gd name="connsiteX2197" fmla="*/ 19597496 w 21052572"/>
              <a:gd name="connsiteY2197" fmla="*/ 3942431 h 8402012"/>
              <a:gd name="connsiteX2198" fmla="*/ 19579536 w 21052572"/>
              <a:gd name="connsiteY2198" fmla="*/ 3910323 h 8402012"/>
              <a:gd name="connsiteX2199" fmla="*/ 19451560 w 21052572"/>
              <a:gd name="connsiteY2199" fmla="*/ 3910323 h 8402012"/>
              <a:gd name="connsiteX2200" fmla="*/ 19469468 w 21052572"/>
              <a:gd name="connsiteY2200" fmla="*/ 3942431 h 8402012"/>
              <a:gd name="connsiteX2201" fmla="*/ 19451560 w 21052572"/>
              <a:gd name="connsiteY2201" fmla="*/ 3910323 h 8402012"/>
              <a:gd name="connsiteX2202" fmla="*/ 17375560 w 21052572"/>
              <a:gd name="connsiteY2202" fmla="*/ 3910323 h 8402012"/>
              <a:gd name="connsiteX2203" fmla="*/ 17412452 w 21052572"/>
              <a:gd name="connsiteY2203" fmla="*/ 3910323 h 8402012"/>
              <a:gd name="connsiteX2204" fmla="*/ 17412452 w 21052572"/>
              <a:gd name="connsiteY2204" fmla="*/ 3942432 h 8402012"/>
              <a:gd name="connsiteX2205" fmla="*/ 17375560 w 21052572"/>
              <a:gd name="connsiteY2205" fmla="*/ 3942432 h 8402012"/>
              <a:gd name="connsiteX2206" fmla="*/ 17375560 w 21052572"/>
              <a:gd name="connsiteY2206" fmla="*/ 3910323 h 8402012"/>
              <a:gd name="connsiteX2207" fmla="*/ 9711990 w 21052572"/>
              <a:gd name="connsiteY2207" fmla="*/ 3908169 h 8402012"/>
              <a:gd name="connsiteX2208" fmla="*/ 9731335 w 21052572"/>
              <a:gd name="connsiteY2208" fmla="*/ 3940409 h 8402012"/>
              <a:gd name="connsiteX2209" fmla="*/ 9711990 w 21052572"/>
              <a:gd name="connsiteY2209" fmla="*/ 3908169 h 8402012"/>
              <a:gd name="connsiteX2210" fmla="*/ 14696577 w 21052572"/>
              <a:gd name="connsiteY2210" fmla="*/ 3907457 h 8402012"/>
              <a:gd name="connsiteX2211" fmla="*/ 14659685 w 21052572"/>
              <a:gd name="connsiteY2211" fmla="*/ 3940525 h 8402012"/>
              <a:gd name="connsiteX2212" fmla="*/ 14696577 w 21052572"/>
              <a:gd name="connsiteY2212" fmla="*/ 3907457 h 8402012"/>
              <a:gd name="connsiteX2213" fmla="*/ 19034468 w 21052572"/>
              <a:gd name="connsiteY2213" fmla="*/ 3906992 h 8402012"/>
              <a:gd name="connsiteX2214" fmla="*/ 19071332 w 21052572"/>
              <a:gd name="connsiteY2214" fmla="*/ 3937736 h 8402012"/>
              <a:gd name="connsiteX2215" fmla="*/ 19034468 w 21052572"/>
              <a:gd name="connsiteY2215" fmla="*/ 3906992 h 8402012"/>
              <a:gd name="connsiteX2216" fmla="*/ 15364180 w 21052572"/>
              <a:gd name="connsiteY2216" fmla="*/ 3890681 h 8402012"/>
              <a:gd name="connsiteX2217" fmla="*/ 15428808 w 21052572"/>
              <a:gd name="connsiteY2217" fmla="*/ 3908982 h 8402012"/>
              <a:gd name="connsiteX2218" fmla="*/ 15396222 w 21052572"/>
              <a:gd name="connsiteY2218" fmla="*/ 3947181 h 8402012"/>
              <a:gd name="connsiteX2219" fmla="*/ 15319102 w 21052572"/>
              <a:gd name="connsiteY2219" fmla="*/ 3940814 h 8402012"/>
              <a:gd name="connsiteX2220" fmla="*/ 15299550 w 21052572"/>
              <a:gd name="connsiteY2220" fmla="*/ 3896249 h 8402012"/>
              <a:gd name="connsiteX2221" fmla="*/ 15364180 w 21052572"/>
              <a:gd name="connsiteY2221" fmla="*/ 3890681 h 8402012"/>
              <a:gd name="connsiteX2222" fmla="*/ 10209271 w 21052572"/>
              <a:gd name="connsiteY2222" fmla="*/ 3877149 h 8402012"/>
              <a:gd name="connsiteX2223" fmla="*/ 10227046 w 21052572"/>
              <a:gd name="connsiteY2223" fmla="*/ 3942420 h 8402012"/>
              <a:gd name="connsiteX2224" fmla="*/ 10209271 w 21052572"/>
              <a:gd name="connsiteY2224" fmla="*/ 3877149 h 8402012"/>
              <a:gd name="connsiteX2225" fmla="*/ 13393180 w 21052572"/>
              <a:gd name="connsiteY2225" fmla="*/ 3877148 h 8402012"/>
              <a:gd name="connsiteX2226" fmla="*/ 13375218 w 21052572"/>
              <a:gd name="connsiteY2226" fmla="*/ 3942419 h 8402012"/>
              <a:gd name="connsiteX2227" fmla="*/ 13393180 w 21052572"/>
              <a:gd name="connsiteY2227" fmla="*/ 3877148 h 8402012"/>
              <a:gd name="connsiteX2228" fmla="*/ 13806534 w 21052572"/>
              <a:gd name="connsiteY2228" fmla="*/ 3877147 h 8402012"/>
              <a:gd name="connsiteX2229" fmla="*/ 13852829 w 21052572"/>
              <a:gd name="connsiteY2229" fmla="*/ 3889449 h 8402012"/>
              <a:gd name="connsiteX2230" fmla="*/ 13806534 w 21052572"/>
              <a:gd name="connsiteY2230" fmla="*/ 3877147 h 8402012"/>
              <a:gd name="connsiteX2231" fmla="*/ 13659603 w 21052572"/>
              <a:gd name="connsiteY2231" fmla="*/ 3877147 h 8402012"/>
              <a:gd name="connsiteX2232" fmla="*/ 13677565 w 21052572"/>
              <a:gd name="connsiteY2232" fmla="*/ 3909253 h 8402012"/>
              <a:gd name="connsiteX2233" fmla="*/ 13659603 w 21052572"/>
              <a:gd name="connsiteY2233" fmla="*/ 3877147 h 8402012"/>
              <a:gd name="connsiteX2234" fmla="*/ 11792144 w 21052572"/>
              <a:gd name="connsiteY2234" fmla="*/ 3877147 h 8402012"/>
              <a:gd name="connsiteX2235" fmla="*/ 11810106 w 21052572"/>
              <a:gd name="connsiteY2235" fmla="*/ 3909253 h 8402012"/>
              <a:gd name="connsiteX2236" fmla="*/ 11792144 w 21052572"/>
              <a:gd name="connsiteY2236" fmla="*/ 3877147 h 8402012"/>
              <a:gd name="connsiteX2237" fmla="*/ 20014596 w 21052572"/>
              <a:gd name="connsiteY2237" fmla="*/ 3877146 h 8402012"/>
              <a:gd name="connsiteX2238" fmla="*/ 19996632 w 21052572"/>
              <a:gd name="connsiteY2238" fmla="*/ 3909252 h 8402012"/>
              <a:gd name="connsiteX2239" fmla="*/ 20014596 w 21052572"/>
              <a:gd name="connsiteY2239" fmla="*/ 3877146 h 8402012"/>
              <a:gd name="connsiteX2240" fmla="*/ 19564320 w 21052572"/>
              <a:gd name="connsiteY2240" fmla="*/ 3877146 h 8402012"/>
              <a:gd name="connsiteX2241" fmla="*/ 19546356 w 21052572"/>
              <a:gd name="connsiteY2241" fmla="*/ 3909253 h 8402012"/>
              <a:gd name="connsiteX2242" fmla="*/ 19564320 w 21052572"/>
              <a:gd name="connsiteY2242" fmla="*/ 3877146 h 8402012"/>
              <a:gd name="connsiteX2243" fmla="*/ 11051722 w 21052572"/>
              <a:gd name="connsiteY2243" fmla="*/ 3874280 h 8402012"/>
              <a:gd name="connsiteX2244" fmla="*/ 11014830 w 21052572"/>
              <a:gd name="connsiteY2244" fmla="*/ 3907348 h 8402012"/>
              <a:gd name="connsiteX2245" fmla="*/ 11051722 w 21052572"/>
              <a:gd name="connsiteY2245" fmla="*/ 3874280 h 8402012"/>
              <a:gd name="connsiteX2246" fmla="*/ 18615336 w 21052572"/>
              <a:gd name="connsiteY2246" fmla="*/ 3873366 h 8402012"/>
              <a:gd name="connsiteX2247" fmla="*/ 18616408 w 21052572"/>
              <a:gd name="connsiteY2247" fmla="*/ 3875546 h 8402012"/>
              <a:gd name="connsiteX2248" fmla="*/ 18617472 w 21052572"/>
              <a:gd name="connsiteY2248" fmla="*/ 3877715 h 8402012"/>
              <a:gd name="connsiteX2249" fmla="*/ 20396188 w 21052572"/>
              <a:gd name="connsiteY2249" fmla="*/ 3864633 h 8402012"/>
              <a:gd name="connsiteX2250" fmla="*/ 20480392 w 21052572"/>
              <a:gd name="connsiteY2250" fmla="*/ 3916069 h 8402012"/>
              <a:gd name="connsiteX2251" fmla="*/ 20514264 w 21052572"/>
              <a:gd name="connsiteY2251" fmla="*/ 3962547 h 8402012"/>
              <a:gd name="connsiteX2252" fmla="*/ 20542032 w 21052572"/>
              <a:gd name="connsiteY2252" fmla="*/ 4014060 h 8402012"/>
              <a:gd name="connsiteX2253" fmla="*/ 20543344 w 21052572"/>
              <a:gd name="connsiteY2253" fmla="*/ 3997137 h 8402012"/>
              <a:gd name="connsiteX2254" fmla="*/ 20554828 w 21052572"/>
              <a:gd name="connsiteY2254" fmla="*/ 4000079 h 8402012"/>
              <a:gd name="connsiteX2255" fmla="*/ 20548264 w 21052572"/>
              <a:gd name="connsiteY2255" fmla="*/ 4006367 h 8402012"/>
              <a:gd name="connsiteX2256" fmla="*/ 20543016 w 21052572"/>
              <a:gd name="connsiteY2256" fmla="*/ 4015889 h 8402012"/>
              <a:gd name="connsiteX2257" fmla="*/ 20544084 w 21052572"/>
              <a:gd name="connsiteY2257" fmla="*/ 4017869 h 8402012"/>
              <a:gd name="connsiteX2258" fmla="*/ 20834484 w 21052572"/>
              <a:gd name="connsiteY2258" fmla="*/ 4317819 h 8402012"/>
              <a:gd name="connsiteX2259" fmla="*/ 20763236 w 21052572"/>
              <a:gd name="connsiteY2259" fmla="*/ 4285671 h 8402012"/>
              <a:gd name="connsiteX2260" fmla="*/ 20667156 w 21052572"/>
              <a:gd name="connsiteY2260" fmla="*/ 4190300 h 8402012"/>
              <a:gd name="connsiteX2261" fmla="*/ 20448004 w 21052572"/>
              <a:gd name="connsiteY2261" fmla="*/ 3980365 h 8402012"/>
              <a:gd name="connsiteX2262" fmla="*/ 20396188 w 21052572"/>
              <a:gd name="connsiteY2262" fmla="*/ 3864633 h 8402012"/>
              <a:gd name="connsiteX2263" fmla="*/ 17478732 w 21052572"/>
              <a:gd name="connsiteY2263" fmla="*/ 3848707 h 8402012"/>
              <a:gd name="connsiteX2264" fmla="*/ 17472116 w 21052572"/>
              <a:gd name="connsiteY2264" fmla="*/ 3937701 h 8402012"/>
              <a:gd name="connsiteX2265" fmla="*/ 17432436 w 21052572"/>
              <a:gd name="connsiteY2265" fmla="*/ 3886845 h 8402012"/>
              <a:gd name="connsiteX2266" fmla="*/ 17478732 w 21052572"/>
              <a:gd name="connsiteY2266" fmla="*/ 3848707 h 8402012"/>
              <a:gd name="connsiteX2267" fmla="*/ 10507676 w 21052572"/>
              <a:gd name="connsiteY2267" fmla="*/ 3843969 h 8402012"/>
              <a:gd name="connsiteX2268" fmla="*/ 10538564 w 21052572"/>
              <a:gd name="connsiteY2268" fmla="*/ 3843969 h 8402012"/>
              <a:gd name="connsiteX2269" fmla="*/ 10601406 w 21052572"/>
              <a:gd name="connsiteY2269" fmla="*/ 3843969 h 8402012"/>
              <a:gd name="connsiteX2270" fmla="*/ 10507676 w 21052572"/>
              <a:gd name="connsiteY2270" fmla="*/ 3909239 h 8402012"/>
              <a:gd name="connsiteX2271" fmla="*/ 10507676 w 21052572"/>
              <a:gd name="connsiteY2271" fmla="*/ 3843969 h 8402012"/>
              <a:gd name="connsiteX2272" fmla="*/ 16710998 w 21052572"/>
              <a:gd name="connsiteY2272" fmla="*/ 3843968 h 8402012"/>
              <a:gd name="connsiteX2273" fmla="*/ 16693034 w 21052572"/>
              <a:gd name="connsiteY2273" fmla="*/ 3876075 h 8402012"/>
              <a:gd name="connsiteX2274" fmla="*/ 16710998 w 21052572"/>
              <a:gd name="connsiteY2274" fmla="*/ 3843968 h 8402012"/>
              <a:gd name="connsiteX2275" fmla="*/ 11090665 w 21052572"/>
              <a:gd name="connsiteY2275" fmla="*/ 3843968 h 8402012"/>
              <a:gd name="connsiteX2276" fmla="*/ 11127557 w 21052572"/>
              <a:gd name="connsiteY2276" fmla="*/ 3843968 h 8402012"/>
              <a:gd name="connsiteX2277" fmla="*/ 11127557 w 21052572"/>
              <a:gd name="connsiteY2277" fmla="*/ 3876075 h 8402012"/>
              <a:gd name="connsiteX2278" fmla="*/ 11090665 w 21052572"/>
              <a:gd name="connsiteY2278" fmla="*/ 3876075 h 8402012"/>
              <a:gd name="connsiteX2279" fmla="*/ 11090665 w 21052572"/>
              <a:gd name="connsiteY2279" fmla="*/ 3843968 h 8402012"/>
              <a:gd name="connsiteX2280" fmla="*/ 19110300 w 21052572"/>
              <a:gd name="connsiteY2280" fmla="*/ 3843967 h 8402012"/>
              <a:gd name="connsiteX2281" fmla="*/ 19166144 w 21052572"/>
              <a:gd name="connsiteY2281" fmla="*/ 3856810 h 8402012"/>
              <a:gd name="connsiteX2282" fmla="*/ 19110300 w 21052572"/>
              <a:gd name="connsiteY2282" fmla="*/ 3876075 h 8402012"/>
              <a:gd name="connsiteX2283" fmla="*/ 19110300 w 21052572"/>
              <a:gd name="connsiteY2283" fmla="*/ 3843967 h 8402012"/>
              <a:gd name="connsiteX2284" fmla="*/ 18924452 w 21052572"/>
              <a:gd name="connsiteY2284" fmla="*/ 3843967 h 8402012"/>
              <a:gd name="connsiteX2285" fmla="*/ 18906492 w 21052572"/>
              <a:gd name="connsiteY2285" fmla="*/ 3876075 h 8402012"/>
              <a:gd name="connsiteX2286" fmla="*/ 18924452 w 21052572"/>
              <a:gd name="connsiteY2286" fmla="*/ 3843967 h 8402012"/>
              <a:gd name="connsiteX2287" fmla="*/ 19477720 w 21052572"/>
              <a:gd name="connsiteY2287" fmla="*/ 3827991 h 8402012"/>
              <a:gd name="connsiteX2288" fmla="*/ 19488388 w 21052572"/>
              <a:gd name="connsiteY2288" fmla="*/ 3830993 h 8402012"/>
              <a:gd name="connsiteX2289" fmla="*/ 19481824 w 21052572"/>
              <a:gd name="connsiteY2289" fmla="*/ 3842965 h 8402012"/>
              <a:gd name="connsiteX2290" fmla="*/ 19477720 w 21052572"/>
              <a:gd name="connsiteY2290" fmla="*/ 3827991 h 8402012"/>
              <a:gd name="connsiteX2291" fmla="*/ 19294872 w 21052572"/>
              <a:gd name="connsiteY2291" fmla="*/ 3820927 h 8402012"/>
              <a:gd name="connsiteX2292" fmla="*/ 19355708 w 21052572"/>
              <a:gd name="connsiteY2292" fmla="*/ 3904526 h 8402012"/>
              <a:gd name="connsiteX2293" fmla="*/ 19266712 w 21052572"/>
              <a:gd name="connsiteY2293" fmla="*/ 3872797 h 8402012"/>
              <a:gd name="connsiteX2294" fmla="*/ 19294872 w 21052572"/>
              <a:gd name="connsiteY2294" fmla="*/ 3820927 h 8402012"/>
              <a:gd name="connsiteX2295" fmla="*/ 20298920 w 21052572"/>
              <a:gd name="connsiteY2295" fmla="*/ 3812660 h 8402012"/>
              <a:gd name="connsiteX2296" fmla="*/ 20262056 w 21052572"/>
              <a:gd name="connsiteY2296" fmla="*/ 3845728 h 8402012"/>
              <a:gd name="connsiteX2297" fmla="*/ 20298920 w 21052572"/>
              <a:gd name="connsiteY2297" fmla="*/ 3812660 h 8402012"/>
              <a:gd name="connsiteX2298" fmla="*/ 19906080 w 21052572"/>
              <a:gd name="connsiteY2298" fmla="*/ 3811447 h 8402012"/>
              <a:gd name="connsiteX2299" fmla="*/ 19919724 w 21052572"/>
              <a:gd name="connsiteY2299" fmla="*/ 3842863 h 8402012"/>
              <a:gd name="connsiteX2300" fmla="*/ 19887620 w 21052572"/>
              <a:gd name="connsiteY2300" fmla="*/ 3829633 h 8402012"/>
              <a:gd name="connsiteX2301" fmla="*/ 19906080 w 21052572"/>
              <a:gd name="connsiteY2301" fmla="*/ 3811447 h 8402012"/>
              <a:gd name="connsiteX2302" fmla="*/ 17342380 w 21052572"/>
              <a:gd name="connsiteY2302" fmla="*/ 3810788 h 8402012"/>
              <a:gd name="connsiteX2303" fmla="*/ 17393452 w 21052572"/>
              <a:gd name="connsiteY2303" fmla="*/ 3856477 h 8402012"/>
              <a:gd name="connsiteX2304" fmla="*/ 17342380 w 21052572"/>
              <a:gd name="connsiteY2304" fmla="*/ 3810788 h 8402012"/>
              <a:gd name="connsiteX2305" fmla="*/ 19020248 w 21052572"/>
              <a:gd name="connsiteY2305" fmla="*/ 3810787 h 8402012"/>
              <a:gd name="connsiteX2306" fmla="*/ 19090268 w 21052572"/>
              <a:gd name="connsiteY2306" fmla="*/ 3810787 h 8402012"/>
              <a:gd name="connsiteX2307" fmla="*/ 19070876 w 21052572"/>
              <a:gd name="connsiteY2307" fmla="*/ 3876057 h 8402012"/>
              <a:gd name="connsiteX2308" fmla="*/ 19020248 w 21052572"/>
              <a:gd name="connsiteY2308" fmla="*/ 3810787 h 8402012"/>
              <a:gd name="connsiteX2309" fmla="*/ 14204671 w 21052572"/>
              <a:gd name="connsiteY2309" fmla="*/ 3810787 h 8402012"/>
              <a:gd name="connsiteX2310" fmla="*/ 14222633 w 21052572"/>
              <a:gd name="connsiteY2310" fmla="*/ 3842894 h 8402012"/>
              <a:gd name="connsiteX2311" fmla="*/ 14204671 w 21052572"/>
              <a:gd name="connsiteY2311" fmla="*/ 3810787 h 8402012"/>
              <a:gd name="connsiteX2312" fmla="*/ 13862317 w 21052572"/>
              <a:gd name="connsiteY2312" fmla="*/ 3810787 h 8402012"/>
              <a:gd name="connsiteX2313" fmla="*/ 13849192 w 21052572"/>
              <a:gd name="connsiteY2313" fmla="*/ 3842894 h 8402012"/>
              <a:gd name="connsiteX2314" fmla="*/ 13862317 w 21052572"/>
              <a:gd name="connsiteY2314" fmla="*/ 3810787 h 8402012"/>
              <a:gd name="connsiteX2315" fmla="*/ 11189200 w 21052572"/>
              <a:gd name="connsiteY2315" fmla="*/ 3810787 h 8402012"/>
              <a:gd name="connsiteX2316" fmla="*/ 11171238 w 21052572"/>
              <a:gd name="connsiteY2316" fmla="*/ 3842894 h 8402012"/>
              <a:gd name="connsiteX2317" fmla="*/ 11189200 w 21052572"/>
              <a:gd name="connsiteY2317" fmla="*/ 3810787 h 8402012"/>
              <a:gd name="connsiteX2318" fmla="*/ 15108870 w 21052572"/>
              <a:gd name="connsiteY2318" fmla="*/ 3810786 h 8402012"/>
              <a:gd name="connsiteX2319" fmla="*/ 15095742 w 21052572"/>
              <a:gd name="connsiteY2319" fmla="*/ 3842893 h 8402012"/>
              <a:gd name="connsiteX2320" fmla="*/ 15108870 w 21052572"/>
              <a:gd name="connsiteY2320" fmla="*/ 3810786 h 8402012"/>
              <a:gd name="connsiteX2321" fmla="*/ 14811358 w 21052572"/>
              <a:gd name="connsiteY2321" fmla="*/ 3806045 h 8402012"/>
              <a:gd name="connsiteX2322" fmla="*/ 14966686 w 21052572"/>
              <a:gd name="connsiteY2322" fmla="*/ 3812193 h 8402012"/>
              <a:gd name="connsiteX2323" fmla="*/ 14824392 w 21052572"/>
              <a:gd name="connsiteY2323" fmla="*/ 3842937 h 8402012"/>
              <a:gd name="connsiteX2324" fmla="*/ 14811358 w 21052572"/>
              <a:gd name="connsiteY2324" fmla="*/ 3806045 h 8402012"/>
              <a:gd name="connsiteX2325" fmla="*/ 13142458 w 21052572"/>
              <a:gd name="connsiteY2325" fmla="*/ 3804832 h 8402012"/>
              <a:gd name="connsiteX2326" fmla="*/ 13160904 w 21052572"/>
              <a:gd name="connsiteY2326" fmla="*/ 3816408 h 8402012"/>
              <a:gd name="connsiteX2327" fmla="*/ 13124012 w 21052572"/>
              <a:gd name="connsiteY2327" fmla="*/ 3842863 h 8402012"/>
              <a:gd name="connsiteX2328" fmla="*/ 13142458 w 21052572"/>
              <a:gd name="connsiteY2328" fmla="*/ 3804832 h 8402012"/>
              <a:gd name="connsiteX2329" fmla="*/ 15147386 w 21052572"/>
              <a:gd name="connsiteY2329" fmla="*/ 3796570 h 8402012"/>
              <a:gd name="connsiteX2330" fmla="*/ 15193006 w 21052572"/>
              <a:gd name="connsiteY2330" fmla="*/ 3841474 h 8402012"/>
              <a:gd name="connsiteX2331" fmla="*/ 15219076 w 21052572"/>
              <a:gd name="connsiteY2331" fmla="*/ 3886373 h 8402012"/>
              <a:gd name="connsiteX2332" fmla="*/ 15128922 w 21052572"/>
              <a:gd name="connsiteY2332" fmla="*/ 3905620 h 8402012"/>
              <a:gd name="connsiteX2333" fmla="*/ 15147386 w 21052572"/>
              <a:gd name="connsiteY2333" fmla="*/ 3796570 h 8402012"/>
              <a:gd name="connsiteX2334" fmla="*/ 11317119 w 21052572"/>
              <a:gd name="connsiteY2334" fmla="*/ 3796569 h 8402012"/>
              <a:gd name="connsiteX2335" fmla="*/ 11204417 w 21052572"/>
              <a:gd name="connsiteY2335" fmla="*/ 3842863 h 8402012"/>
              <a:gd name="connsiteX2336" fmla="*/ 11222323 w 21052572"/>
              <a:gd name="connsiteY2336" fmla="*/ 3803181 h 8402012"/>
              <a:gd name="connsiteX2337" fmla="*/ 11317119 w 21052572"/>
              <a:gd name="connsiteY2337" fmla="*/ 3796569 h 8402012"/>
              <a:gd name="connsiteX2338" fmla="*/ 19875040 w 21052572"/>
              <a:gd name="connsiteY2338" fmla="*/ 3794722 h 8402012"/>
              <a:gd name="connsiteX2339" fmla="*/ 19886528 w 21052572"/>
              <a:gd name="connsiteY2339" fmla="*/ 3797092 h 8402012"/>
              <a:gd name="connsiteX2340" fmla="*/ 19873400 w 21052572"/>
              <a:gd name="connsiteY2340" fmla="*/ 3809732 h 8402012"/>
              <a:gd name="connsiteX2341" fmla="*/ 19875040 w 21052572"/>
              <a:gd name="connsiteY2341" fmla="*/ 3794722 h 8402012"/>
              <a:gd name="connsiteX2342" fmla="*/ 15032314 w 21052572"/>
              <a:gd name="connsiteY2342" fmla="*/ 3791826 h 8402012"/>
              <a:gd name="connsiteX2343" fmla="*/ 15075748 w 21052572"/>
              <a:gd name="connsiteY2343" fmla="*/ 3842876 h 8402012"/>
              <a:gd name="connsiteX2344" fmla="*/ 15019906 w 21052572"/>
              <a:gd name="connsiteY2344" fmla="*/ 3842876 h 8402012"/>
              <a:gd name="connsiteX2345" fmla="*/ 15032314 w 21052572"/>
              <a:gd name="connsiteY2345" fmla="*/ 3791826 h 8402012"/>
              <a:gd name="connsiteX2346" fmla="*/ 13056578 w 21052572"/>
              <a:gd name="connsiteY2346" fmla="*/ 3787095 h 8402012"/>
              <a:gd name="connsiteX2347" fmla="*/ 13017789 w 21052572"/>
              <a:gd name="connsiteY2347" fmla="*/ 3851127 h 8402012"/>
              <a:gd name="connsiteX2348" fmla="*/ 12901420 w 21052572"/>
              <a:gd name="connsiteY2348" fmla="*/ 3863935 h 8402012"/>
              <a:gd name="connsiteX2349" fmla="*/ 12669760 w 21052572"/>
              <a:gd name="connsiteY2349" fmla="*/ 3889551 h 8402012"/>
              <a:gd name="connsiteX2350" fmla="*/ 12426247 w 21052572"/>
              <a:gd name="connsiteY2350" fmla="*/ 3921564 h 8402012"/>
              <a:gd name="connsiteX2351" fmla="*/ 12309879 w 21052572"/>
              <a:gd name="connsiteY2351" fmla="*/ 3934373 h 8402012"/>
              <a:gd name="connsiteX2352" fmla="*/ 12261526 w 21052572"/>
              <a:gd name="connsiteY2352" fmla="*/ 3933574 h 8402012"/>
              <a:gd name="connsiteX2353" fmla="*/ 12242336 w 21052572"/>
              <a:gd name="connsiteY2353" fmla="*/ 3936380 h 8402012"/>
              <a:gd name="connsiteX2354" fmla="*/ 12252503 w 21052572"/>
              <a:gd name="connsiteY2354" fmla="*/ 3918460 h 8402012"/>
              <a:gd name="connsiteX2355" fmla="*/ 12303414 w 21052572"/>
              <a:gd name="connsiteY2355" fmla="*/ 3895951 h 8402012"/>
              <a:gd name="connsiteX2356" fmla="*/ 12400388 w 21052572"/>
              <a:gd name="connsiteY2356" fmla="*/ 3883144 h 8402012"/>
              <a:gd name="connsiteX2357" fmla="*/ 12619118 w 21052572"/>
              <a:gd name="connsiteY2357" fmla="*/ 3851127 h 8402012"/>
              <a:gd name="connsiteX2358" fmla="*/ 13056578 w 21052572"/>
              <a:gd name="connsiteY2358" fmla="*/ 3787095 h 8402012"/>
              <a:gd name="connsiteX2359" fmla="*/ 20109388 w 21052572"/>
              <a:gd name="connsiteY2359" fmla="*/ 3787086 h 8402012"/>
              <a:gd name="connsiteX2360" fmla="*/ 20091424 w 21052572"/>
              <a:gd name="connsiteY2360" fmla="*/ 3814385 h 8402012"/>
              <a:gd name="connsiteX2361" fmla="*/ 20109388 w 21052572"/>
              <a:gd name="connsiteY2361" fmla="*/ 3787086 h 8402012"/>
              <a:gd name="connsiteX2362" fmla="*/ 13090307 w 21052572"/>
              <a:gd name="connsiteY2362" fmla="*/ 3783594 h 8402012"/>
              <a:gd name="connsiteX2363" fmla="*/ 13113478 w 21052572"/>
              <a:gd name="connsiteY2363" fmla="*/ 3784816 h 8402012"/>
              <a:gd name="connsiteX2364" fmla="*/ 13076614 w 21052572"/>
              <a:gd name="connsiteY2364" fmla="*/ 3810883 h 8402012"/>
              <a:gd name="connsiteX2365" fmla="*/ 13090307 w 21052572"/>
              <a:gd name="connsiteY2365" fmla="*/ 3783594 h 8402012"/>
              <a:gd name="connsiteX2366" fmla="*/ 12255999 w 21052572"/>
              <a:gd name="connsiteY2366" fmla="*/ 3775756 h 8402012"/>
              <a:gd name="connsiteX2367" fmla="*/ 12317186 w 21052572"/>
              <a:gd name="connsiteY2367" fmla="*/ 3786578 h 8402012"/>
              <a:gd name="connsiteX2368" fmla="*/ 12209241 w 21052572"/>
              <a:gd name="connsiteY2368" fmla="*/ 3812228 h 8402012"/>
              <a:gd name="connsiteX2369" fmla="*/ 12255999 w 21052572"/>
              <a:gd name="connsiteY2369" fmla="*/ 3775756 h 8402012"/>
              <a:gd name="connsiteX2370" fmla="*/ 11753201 w 21052572"/>
              <a:gd name="connsiteY2370" fmla="*/ 3755783 h 8402012"/>
              <a:gd name="connsiteX2371" fmla="*/ 11716309 w 21052572"/>
              <a:gd name="connsiteY2371" fmla="*/ 3787748 h 8402012"/>
              <a:gd name="connsiteX2372" fmla="*/ 11753201 w 21052572"/>
              <a:gd name="connsiteY2372" fmla="*/ 3755783 h 8402012"/>
              <a:gd name="connsiteX2373" fmla="*/ 10051604 w 21052572"/>
              <a:gd name="connsiteY2373" fmla="*/ 3754495 h 8402012"/>
              <a:gd name="connsiteX2374" fmla="*/ 10070949 w 21052572"/>
              <a:gd name="connsiteY2374" fmla="*/ 3785658 h 8402012"/>
              <a:gd name="connsiteX2375" fmla="*/ 10051604 w 21052572"/>
              <a:gd name="connsiteY2375" fmla="*/ 3754495 h 8402012"/>
              <a:gd name="connsiteX2376" fmla="*/ 9904367 w 21052572"/>
              <a:gd name="connsiteY2376" fmla="*/ 3754495 h 8402012"/>
              <a:gd name="connsiteX2377" fmla="*/ 9885021 w 21052572"/>
              <a:gd name="connsiteY2377" fmla="*/ 3804998 h 8402012"/>
              <a:gd name="connsiteX2378" fmla="*/ 9852780 w 21052572"/>
              <a:gd name="connsiteY2378" fmla="*/ 3798554 h 8402012"/>
              <a:gd name="connsiteX2379" fmla="*/ 9750680 w 21052572"/>
              <a:gd name="connsiteY2379" fmla="*/ 3875928 h 8402012"/>
              <a:gd name="connsiteX2380" fmla="*/ 10000017 w 21052572"/>
              <a:gd name="connsiteY2380" fmla="*/ 3754495 h 8402012"/>
              <a:gd name="connsiteX2381" fmla="*/ 9904367 w 21052572"/>
              <a:gd name="connsiteY2381" fmla="*/ 3754495 h 8402012"/>
              <a:gd name="connsiteX2382" fmla="*/ 14659685 w 21052572"/>
              <a:gd name="connsiteY2382" fmla="*/ 3753910 h 8402012"/>
              <a:gd name="connsiteX2383" fmla="*/ 14767633 w 21052572"/>
              <a:gd name="connsiteY2383" fmla="*/ 3753910 h 8402012"/>
              <a:gd name="connsiteX2384" fmla="*/ 14717400 w 21052572"/>
              <a:gd name="connsiteY2384" fmla="*/ 3842889 h 8402012"/>
              <a:gd name="connsiteX2385" fmla="*/ 14659685 w 21052572"/>
              <a:gd name="connsiteY2385" fmla="*/ 3753910 h 8402012"/>
              <a:gd name="connsiteX2386" fmla="*/ 10527822 w 21052572"/>
              <a:gd name="connsiteY2386" fmla="*/ 3753909 h 8402012"/>
              <a:gd name="connsiteX2387" fmla="*/ 10544607 w 21052572"/>
              <a:gd name="connsiteY2387" fmla="*/ 3809732 h 8402012"/>
              <a:gd name="connsiteX2388" fmla="*/ 10527822 w 21052572"/>
              <a:gd name="connsiteY2388" fmla="*/ 3753909 h 8402012"/>
              <a:gd name="connsiteX2389" fmla="*/ 13203590 w 21052572"/>
              <a:gd name="connsiteY2389" fmla="*/ 3753907 h 8402012"/>
              <a:gd name="connsiteX2390" fmla="*/ 13185628 w 21052572"/>
              <a:gd name="connsiteY2390" fmla="*/ 3785977 h 8402012"/>
              <a:gd name="connsiteX2391" fmla="*/ 13203590 w 21052572"/>
              <a:gd name="connsiteY2391" fmla="*/ 3753907 h 8402012"/>
              <a:gd name="connsiteX2392" fmla="*/ 12413050 w 21052572"/>
              <a:gd name="connsiteY2392" fmla="*/ 3753907 h 8402012"/>
              <a:gd name="connsiteX2393" fmla="*/ 12431012 w 21052572"/>
              <a:gd name="connsiteY2393" fmla="*/ 3785977 h 8402012"/>
              <a:gd name="connsiteX2394" fmla="*/ 12413050 w 21052572"/>
              <a:gd name="connsiteY2394" fmla="*/ 3753907 h 8402012"/>
              <a:gd name="connsiteX2395" fmla="*/ 20190964 w 21052572"/>
              <a:gd name="connsiteY2395" fmla="*/ 3753906 h 8402012"/>
              <a:gd name="connsiteX2396" fmla="*/ 20227856 w 21052572"/>
              <a:gd name="connsiteY2396" fmla="*/ 3767177 h 8402012"/>
              <a:gd name="connsiteX2397" fmla="*/ 20190964 w 21052572"/>
              <a:gd name="connsiteY2397" fmla="*/ 3753906 h 8402012"/>
              <a:gd name="connsiteX2398" fmla="*/ 14578219 w 21052572"/>
              <a:gd name="connsiteY2398" fmla="*/ 3744712 h 8402012"/>
              <a:gd name="connsiteX2399" fmla="*/ 14625405 w 21052572"/>
              <a:gd name="connsiteY2399" fmla="*/ 3752891 h 8402012"/>
              <a:gd name="connsiteX2400" fmla="*/ 14545933 w 21052572"/>
              <a:gd name="connsiteY2400" fmla="*/ 3783981 h 8402012"/>
              <a:gd name="connsiteX2401" fmla="*/ 14578219 w 21052572"/>
              <a:gd name="connsiteY2401" fmla="*/ 3744712 h 8402012"/>
              <a:gd name="connsiteX2402" fmla="*/ 10862658 w 21052572"/>
              <a:gd name="connsiteY2402" fmla="*/ 3741860 h 8402012"/>
              <a:gd name="connsiteX2403" fmla="*/ 10871639 w 21052572"/>
              <a:gd name="connsiteY2403" fmla="*/ 3753396 h 8402012"/>
              <a:gd name="connsiteX2404" fmla="*/ 10862658 w 21052572"/>
              <a:gd name="connsiteY2404" fmla="*/ 3762618 h 8402012"/>
              <a:gd name="connsiteX2405" fmla="*/ 10861546 w 21052572"/>
              <a:gd name="connsiteY2405" fmla="*/ 3762390 h 8402012"/>
              <a:gd name="connsiteX2406" fmla="*/ 10866815 w 21052572"/>
              <a:gd name="connsiteY2406" fmla="*/ 3766549 h 8402012"/>
              <a:gd name="connsiteX2407" fmla="*/ 10757776 w 21052572"/>
              <a:gd name="connsiteY2407" fmla="*/ 3828686 h 8402012"/>
              <a:gd name="connsiteX2408" fmla="*/ 10705955 w 21052572"/>
              <a:gd name="connsiteY2408" fmla="*/ 3847652 h 8402012"/>
              <a:gd name="connsiteX2409" fmla="*/ 10673567 w 21052572"/>
              <a:gd name="connsiteY2409" fmla="*/ 3784455 h 8402012"/>
              <a:gd name="connsiteX2410" fmla="*/ 10790164 w 21052572"/>
              <a:gd name="connsiteY2410" fmla="*/ 3760229 h 8402012"/>
              <a:gd name="connsiteX2411" fmla="*/ 10828490 w 21052572"/>
              <a:gd name="connsiteY2411" fmla="*/ 3749173 h 8402012"/>
              <a:gd name="connsiteX2412" fmla="*/ 10847551 w 21052572"/>
              <a:gd name="connsiteY2412" fmla="*/ 3751343 h 8402012"/>
              <a:gd name="connsiteX2413" fmla="*/ 10858232 w 21052572"/>
              <a:gd name="connsiteY2413" fmla="*/ 3759773 h 8402012"/>
              <a:gd name="connsiteX2414" fmla="*/ 10853677 w 21052572"/>
              <a:gd name="connsiteY2414" fmla="*/ 3753396 h 8402012"/>
              <a:gd name="connsiteX2415" fmla="*/ 10862658 w 21052572"/>
              <a:gd name="connsiteY2415" fmla="*/ 3741860 h 8402012"/>
              <a:gd name="connsiteX2416" fmla="*/ 12579528 w 21052572"/>
              <a:gd name="connsiteY2416" fmla="*/ 3737177 h 8402012"/>
              <a:gd name="connsiteX2417" fmla="*/ 12627903 w 21052572"/>
              <a:gd name="connsiteY2417" fmla="*/ 3747276 h 8402012"/>
              <a:gd name="connsiteX2418" fmla="*/ 12634353 w 21052572"/>
              <a:gd name="connsiteY2418" fmla="*/ 3785980 h 8402012"/>
              <a:gd name="connsiteX2419" fmla="*/ 12550503 w 21052572"/>
              <a:gd name="connsiteY2419" fmla="*/ 3785980 h 8402012"/>
              <a:gd name="connsiteX2420" fmla="*/ 12579528 w 21052572"/>
              <a:gd name="connsiteY2420" fmla="*/ 3737177 h 8402012"/>
              <a:gd name="connsiteX2421" fmla="*/ 12489276 w 21052572"/>
              <a:gd name="connsiteY2421" fmla="*/ 3730208 h 8402012"/>
              <a:gd name="connsiteX2422" fmla="*/ 12502045 w 21052572"/>
              <a:gd name="connsiteY2422" fmla="*/ 3786033 h 8402012"/>
              <a:gd name="connsiteX2423" fmla="*/ 12450970 w 21052572"/>
              <a:gd name="connsiteY2423" fmla="*/ 3786033 h 8402012"/>
              <a:gd name="connsiteX2424" fmla="*/ 12489276 w 21052572"/>
              <a:gd name="connsiteY2424" fmla="*/ 3730208 h 8402012"/>
              <a:gd name="connsiteX2425" fmla="*/ 20472400 w 21052572"/>
              <a:gd name="connsiteY2425" fmla="*/ 3726129 h 8402012"/>
              <a:gd name="connsiteX2426" fmla="*/ 20488540 w 21052572"/>
              <a:gd name="connsiteY2426" fmla="*/ 3757544 h 8402012"/>
              <a:gd name="connsiteX2427" fmla="*/ 20451648 w 21052572"/>
              <a:gd name="connsiteY2427" fmla="*/ 3744311 h 8402012"/>
              <a:gd name="connsiteX2428" fmla="*/ 20472400 w 21052572"/>
              <a:gd name="connsiteY2428" fmla="*/ 3726129 h 8402012"/>
              <a:gd name="connsiteX2429" fmla="*/ 17167872 w 21052572"/>
              <a:gd name="connsiteY2429" fmla="*/ 3720734 h 8402012"/>
              <a:gd name="connsiteX2430" fmla="*/ 17237892 w 21052572"/>
              <a:gd name="connsiteY2430" fmla="*/ 3752638 h 8402012"/>
              <a:gd name="connsiteX2431" fmla="*/ 17263744 w 21052572"/>
              <a:gd name="connsiteY2431" fmla="*/ 3808997 h 8402012"/>
              <a:gd name="connsiteX2432" fmla="*/ 17283132 w 21052572"/>
              <a:gd name="connsiteY2432" fmla="*/ 3759018 h 8402012"/>
              <a:gd name="connsiteX2433" fmla="*/ 17309792 w 21052572"/>
              <a:gd name="connsiteY2433" fmla="*/ 3821890 h 8402012"/>
              <a:gd name="connsiteX2434" fmla="*/ 17335576 w 21052572"/>
              <a:gd name="connsiteY2434" fmla="*/ 3873991 h 8402012"/>
              <a:gd name="connsiteX2435" fmla="*/ 17340136 w 21052572"/>
              <a:gd name="connsiteY2435" fmla="*/ 3858185 h 8402012"/>
              <a:gd name="connsiteX2436" fmla="*/ 17346124 w 21052572"/>
              <a:gd name="connsiteY2436" fmla="*/ 3876632 h 8402012"/>
              <a:gd name="connsiteX2437" fmla="*/ 17339648 w 21052572"/>
              <a:gd name="connsiteY2437" fmla="*/ 3882224 h 8402012"/>
              <a:gd name="connsiteX2438" fmla="*/ 17341300 w 21052572"/>
              <a:gd name="connsiteY2438" fmla="*/ 3885561 h 8402012"/>
              <a:gd name="connsiteX2439" fmla="*/ 17129092 w 21052572"/>
              <a:gd name="connsiteY2439" fmla="*/ 3828133 h 8402012"/>
              <a:gd name="connsiteX2440" fmla="*/ 17167872 w 21052572"/>
              <a:gd name="connsiteY2440" fmla="*/ 3808997 h 8402012"/>
              <a:gd name="connsiteX2441" fmla="*/ 17167872 w 21052572"/>
              <a:gd name="connsiteY2441" fmla="*/ 3720734 h 8402012"/>
              <a:gd name="connsiteX2442" fmla="*/ 19412648 w 21052572"/>
              <a:gd name="connsiteY2442" fmla="*/ 3720728 h 8402012"/>
              <a:gd name="connsiteX2443" fmla="*/ 19394688 w 21052572"/>
              <a:gd name="connsiteY2443" fmla="*/ 3752839 h 8402012"/>
              <a:gd name="connsiteX2444" fmla="*/ 19412648 w 21052572"/>
              <a:gd name="connsiteY2444" fmla="*/ 3720728 h 8402012"/>
              <a:gd name="connsiteX2445" fmla="*/ 17304464 w 21052572"/>
              <a:gd name="connsiteY2445" fmla="*/ 3720728 h 8402012"/>
              <a:gd name="connsiteX2446" fmla="*/ 17317592 w 21052572"/>
              <a:gd name="connsiteY2446" fmla="*/ 3752840 h 8402012"/>
              <a:gd name="connsiteX2447" fmla="*/ 17304464 w 21052572"/>
              <a:gd name="connsiteY2447" fmla="*/ 3720728 h 8402012"/>
              <a:gd name="connsiteX2448" fmla="*/ 12715339 w 21052572"/>
              <a:gd name="connsiteY2448" fmla="*/ 3720728 h 8402012"/>
              <a:gd name="connsiteX2449" fmla="*/ 12715339 w 21052572"/>
              <a:gd name="connsiteY2449" fmla="*/ 3752840 h 8402012"/>
              <a:gd name="connsiteX2450" fmla="*/ 12640557 w 21052572"/>
              <a:gd name="connsiteY2450" fmla="*/ 3752840 h 8402012"/>
              <a:gd name="connsiteX2451" fmla="*/ 12715339 w 21052572"/>
              <a:gd name="connsiteY2451" fmla="*/ 3720728 h 8402012"/>
              <a:gd name="connsiteX2452" fmla="*/ 11511512 w 21052572"/>
              <a:gd name="connsiteY2452" fmla="*/ 3720728 h 8402012"/>
              <a:gd name="connsiteX2453" fmla="*/ 11531353 w 21052572"/>
              <a:gd name="connsiteY2453" fmla="*/ 3809713 h 8402012"/>
              <a:gd name="connsiteX2454" fmla="*/ 11511512 w 21052572"/>
              <a:gd name="connsiteY2454" fmla="*/ 3720728 h 8402012"/>
              <a:gd name="connsiteX2455" fmla="*/ 19110300 w 21052572"/>
              <a:gd name="connsiteY2455" fmla="*/ 3720727 h 8402012"/>
              <a:gd name="connsiteX2456" fmla="*/ 19265624 w 21052572"/>
              <a:gd name="connsiteY2456" fmla="*/ 3797848 h 8402012"/>
              <a:gd name="connsiteX2457" fmla="*/ 19201540 w 21052572"/>
              <a:gd name="connsiteY2457" fmla="*/ 3804364 h 8402012"/>
              <a:gd name="connsiteX2458" fmla="*/ 19110300 w 21052572"/>
              <a:gd name="connsiteY2458" fmla="*/ 3784814 h 8402012"/>
              <a:gd name="connsiteX2459" fmla="*/ 19110300 w 21052572"/>
              <a:gd name="connsiteY2459" fmla="*/ 3720727 h 8402012"/>
              <a:gd name="connsiteX2460" fmla="*/ 14456004 w 21052572"/>
              <a:gd name="connsiteY2460" fmla="*/ 3720727 h 8402012"/>
              <a:gd name="connsiteX2461" fmla="*/ 14525898 w 21052572"/>
              <a:gd name="connsiteY2461" fmla="*/ 3752794 h 8402012"/>
              <a:gd name="connsiteX2462" fmla="*/ 14404391 w 21052572"/>
              <a:gd name="connsiteY2462" fmla="*/ 3783788 h 8402012"/>
              <a:gd name="connsiteX2463" fmla="*/ 14276432 w 21052572"/>
              <a:gd name="connsiteY2463" fmla="*/ 3765618 h 8402012"/>
              <a:gd name="connsiteX2464" fmla="*/ 14166753 w 21052572"/>
              <a:gd name="connsiteY2464" fmla="*/ 3733553 h 8402012"/>
              <a:gd name="connsiteX2465" fmla="*/ 14456004 w 21052572"/>
              <a:gd name="connsiteY2465" fmla="*/ 3720727 h 8402012"/>
              <a:gd name="connsiteX2466" fmla="*/ 10937934 w 21052572"/>
              <a:gd name="connsiteY2466" fmla="*/ 3720725 h 8402012"/>
              <a:gd name="connsiteX2467" fmla="*/ 10937934 w 21052572"/>
              <a:gd name="connsiteY2467" fmla="*/ 3752649 h 8402012"/>
              <a:gd name="connsiteX2468" fmla="*/ 10867899 w 21052572"/>
              <a:gd name="connsiteY2468" fmla="*/ 3739877 h 8402012"/>
              <a:gd name="connsiteX2469" fmla="*/ 10937934 w 21052572"/>
              <a:gd name="connsiteY2469" fmla="*/ 3720725 h 8402012"/>
              <a:gd name="connsiteX2470" fmla="*/ 11603274 w 21052572"/>
              <a:gd name="connsiteY2470" fmla="*/ 3718975 h 8402012"/>
              <a:gd name="connsiteX2471" fmla="*/ 11611039 w 21052572"/>
              <a:gd name="connsiteY2471" fmla="*/ 3724092 h 8402012"/>
              <a:gd name="connsiteX2472" fmla="*/ 11605052 w 21052572"/>
              <a:gd name="connsiteY2472" fmla="*/ 3728908 h 8402012"/>
              <a:gd name="connsiteX2473" fmla="*/ 11600859 w 21052572"/>
              <a:gd name="connsiteY2473" fmla="*/ 3739025 h 8402012"/>
              <a:gd name="connsiteX2474" fmla="*/ 11600964 w 21052572"/>
              <a:gd name="connsiteY2474" fmla="*/ 3739320 h 8402012"/>
              <a:gd name="connsiteX2475" fmla="*/ 11588335 w 21052572"/>
              <a:gd name="connsiteY2475" fmla="*/ 3785980 h 8402012"/>
              <a:gd name="connsiteX2476" fmla="*/ 11594322 w 21052572"/>
              <a:gd name="connsiteY2476" fmla="*/ 3720727 h 8402012"/>
              <a:gd name="connsiteX2477" fmla="*/ 11598706 w 21052572"/>
              <a:gd name="connsiteY2477" fmla="*/ 3733000 h 8402012"/>
              <a:gd name="connsiteX2478" fmla="*/ 11598316 w 21052572"/>
              <a:gd name="connsiteY2478" fmla="*/ 3721684 h 8402012"/>
              <a:gd name="connsiteX2479" fmla="*/ 11603274 w 21052572"/>
              <a:gd name="connsiteY2479" fmla="*/ 3718975 h 8402012"/>
              <a:gd name="connsiteX2480" fmla="*/ 20432176 w 21052572"/>
              <a:gd name="connsiteY2480" fmla="*/ 3697181 h 8402012"/>
              <a:gd name="connsiteX2481" fmla="*/ 20450620 w 21052572"/>
              <a:gd name="connsiteY2481" fmla="*/ 3706811 h 8402012"/>
              <a:gd name="connsiteX2482" fmla="*/ 20444472 w 21052572"/>
              <a:gd name="connsiteY2482" fmla="*/ 3719654 h 8402012"/>
              <a:gd name="connsiteX2483" fmla="*/ 20413728 w 21052572"/>
              <a:gd name="connsiteY2483" fmla="*/ 3706811 h 8402012"/>
              <a:gd name="connsiteX2484" fmla="*/ 20432176 w 21052572"/>
              <a:gd name="connsiteY2484" fmla="*/ 3697181 h 8402012"/>
              <a:gd name="connsiteX2485" fmla="*/ 19753880 w 21052572"/>
              <a:gd name="connsiteY2485" fmla="*/ 3689422 h 8402012"/>
              <a:gd name="connsiteX2486" fmla="*/ 19716988 w 21052572"/>
              <a:gd name="connsiteY2486" fmla="*/ 3722488 h 8402012"/>
              <a:gd name="connsiteX2487" fmla="*/ 19753880 w 21052572"/>
              <a:gd name="connsiteY2487" fmla="*/ 3689422 h 8402012"/>
              <a:gd name="connsiteX2488" fmla="*/ 19265724 w 21052572"/>
              <a:gd name="connsiteY2488" fmla="*/ 3687553 h 8402012"/>
              <a:gd name="connsiteX2489" fmla="*/ 19243016 w 21052572"/>
              <a:gd name="connsiteY2489" fmla="*/ 3719655 h 8402012"/>
              <a:gd name="connsiteX2490" fmla="*/ 19265724 w 21052572"/>
              <a:gd name="connsiteY2490" fmla="*/ 3687553 h 8402012"/>
              <a:gd name="connsiteX2491" fmla="*/ 17076872 w 21052572"/>
              <a:gd name="connsiteY2491" fmla="*/ 3687553 h 8402012"/>
              <a:gd name="connsiteX2492" fmla="*/ 17076872 w 21052572"/>
              <a:gd name="connsiteY2492" fmla="*/ 3777274 h 8402012"/>
              <a:gd name="connsiteX2493" fmla="*/ 17102368 w 21052572"/>
              <a:gd name="connsiteY2493" fmla="*/ 3694039 h 8402012"/>
              <a:gd name="connsiteX2494" fmla="*/ 17146988 w 21052572"/>
              <a:gd name="connsiteY2494" fmla="*/ 3732953 h 8402012"/>
              <a:gd name="connsiteX2495" fmla="*/ 17127864 w 21052572"/>
              <a:gd name="connsiteY2495" fmla="*/ 3771870 h 8402012"/>
              <a:gd name="connsiteX2496" fmla="*/ 17121492 w 21052572"/>
              <a:gd name="connsiteY2496" fmla="*/ 3809704 h 8402012"/>
              <a:gd name="connsiteX2497" fmla="*/ 16963200 w 21052572"/>
              <a:gd name="connsiteY2497" fmla="*/ 3765385 h 8402012"/>
              <a:gd name="connsiteX2498" fmla="*/ 17038628 w 21052572"/>
              <a:gd name="connsiteY2498" fmla="*/ 3758899 h 8402012"/>
              <a:gd name="connsiteX2499" fmla="*/ 17076872 w 21052572"/>
              <a:gd name="connsiteY2499" fmla="*/ 3687553 h 8402012"/>
              <a:gd name="connsiteX2500" fmla="*/ 10161226 w 21052572"/>
              <a:gd name="connsiteY2500" fmla="*/ 3683566 h 8402012"/>
              <a:gd name="connsiteX2501" fmla="*/ 10051604 w 21052572"/>
              <a:gd name="connsiteY2501" fmla="*/ 3709359 h 8402012"/>
              <a:gd name="connsiteX2502" fmla="*/ 10148330 w 21052572"/>
              <a:gd name="connsiteY2502" fmla="*/ 3754495 h 8402012"/>
              <a:gd name="connsiteX2503" fmla="*/ 10161226 w 21052572"/>
              <a:gd name="connsiteY2503" fmla="*/ 3683566 h 8402012"/>
              <a:gd name="connsiteX2504" fmla="*/ 20091428 w 21052572"/>
              <a:gd name="connsiteY2504" fmla="*/ 3678070 h 8402012"/>
              <a:gd name="connsiteX2505" fmla="*/ 20135996 w 21052572"/>
              <a:gd name="connsiteY2505" fmla="*/ 3724364 h 8402012"/>
              <a:gd name="connsiteX2506" fmla="*/ 20091428 w 21052572"/>
              <a:gd name="connsiteY2506" fmla="*/ 3678070 h 8402012"/>
              <a:gd name="connsiteX2507" fmla="*/ 20394256 w 21052572"/>
              <a:gd name="connsiteY2507" fmla="*/ 3668739 h 8402012"/>
              <a:gd name="connsiteX2508" fmla="*/ 20412704 w 21052572"/>
              <a:gd name="connsiteY2508" fmla="*/ 3678371 h 8402012"/>
              <a:gd name="connsiteX2509" fmla="*/ 20400408 w 21052572"/>
              <a:gd name="connsiteY2509" fmla="*/ 3691213 h 8402012"/>
              <a:gd name="connsiteX2510" fmla="*/ 20375812 w 21052572"/>
              <a:gd name="connsiteY2510" fmla="*/ 3678371 h 8402012"/>
              <a:gd name="connsiteX2511" fmla="*/ 20394256 w 21052572"/>
              <a:gd name="connsiteY2511" fmla="*/ 3668739 h 8402012"/>
              <a:gd name="connsiteX2512" fmla="*/ 14038279 w 21052572"/>
              <a:gd name="connsiteY2512" fmla="*/ 3659114 h 8402012"/>
              <a:gd name="connsiteX2513" fmla="*/ 14146722 w 21052572"/>
              <a:gd name="connsiteY2513" fmla="*/ 3724339 h 8402012"/>
              <a:gd name="connsiteX2514" fmla="*/ 14133838 w 21052572"/>
              <a:gd name="connsiteY2514" fmla="*/ 3776516 h 8402012"/>
              <a:gd name="connsiteX2515" fmla="*/ 14102701 w 21052572"/>
              <a:gd name="connsiteY2515" fmla="*/ 3776516 h 8402012"/>
              <a:gd name="connsiteX2516" fmla="*/ 14038279 w 21052572"/>
              <a:gd name="connsiteY2516" fmla="*/ 3769997 h 8402012"/>
              <a:gd name="connsiteX2517" fmla="*/ 13904067 w 21052572"/>
              <a:gd name="connsiteY2517" fmla="*/ 3756951 h 8402012"/>
              <a:gd name="connsiteX2518" fmla="*/ 13621685 w 21052572"/>
              <a:gd name="connsiteY2518" fmla="*/ 3737382 h 8402012"/>
              <a:gd name="connsiteX2519" fmla="*/ 13878298 w 21052572"/>
              <a:gd name="connsiteY2519" fmla="*/ 3704770 h 8402012"/>
              <a:gd name="connsiteX2520" fmla="*/ 14018952 w 21052572"/>
              <a:gd name="connsiteY2520" fmla="*/ 3698248 h 8402012"/>
              <a:gd name="connsiteX2521" fmla="*/ 14064048 w 21052572"/>
              <a:gd name="connsiteY2521" fmla="*/ 3704770 h 8402012"/>
              <a:gd name="connsiteX2522" fmla="*/ 14038279 w 21052572"/>
              <a:gd name="connsiteY2522" fmla="*/ 3691726 h 8402012"/>
              <a:gd name="connsiteX2523" fmla="*/ 14038279 w 21052572"/>
              <a:gd name="connsiteY2523" fmla="*/ 3659114 h 8402012"/>
              <a:gd name="connsiteX2524" fmla="*/ 15905100 w 21052572"/>
              <a:gd name="connsiteY2524" fmla="*/ 3659108 h 8402012"/>
              <a:gd name="connsiteX2525" fmla="*/ 15905100 w 21052572"/>
              <a:gd name="connsiteY2525" fmla="*/ 3691214 h 8402012"/>
              <a:gd name="connsiteX2526" fmla="*/ 15905100 w 21052572"/>
              <a:gd name="connsiteY2526" fmla="*/ 3659108 h 8402012"/>
              <a:gd name="connsiteX2527" fmla="*/ 14165755 w 21052572"/>
              <a:gd name="connsiteY2527" fmla="*/ 3659108 h 8402012"/>
              <a:gd name="connsiteX2528" fmla="*/ 14147793 w 21052572"/>
              <a:gd name="connsiteY2528" fmla="*/ 3691214 h 8402012"/>
              <a:gd name="connsiteX2529" fmla="*/ 14165755 w 21052572"/>
              <a:gd name="connsiteY2529" fmla="*/ 3659108 h 8402012"/>
              <a:gd name="connsiteX2530" fmla="*/ 13602725 w 21052572"/>
              <a:gd name="connsiteY2530" fmla="*/ 3659108 h 8402012"/>
              <a:gd name="connsiteX2531" fmla="*/ 13620687 w 21052572"/>
              <a:gd name="connsiteY2531" fmla="*/ 3691214 h 8402012"/>
              <a:gd name="connsiteX2532" fmla="*/ 13602725 w 21052572"/>
              <a:gd name="connsiteY2532" fmla="*/ 3659108 h 8402012"/>
              <a:gd name="connsiteX2533" fmla="*/ 19995636 w 21052572"/>
              <a:gd name="connsiteY2533" fmla="*/ 3659107 h 8402012"/>
              <a:gd name="connsiteX2534" fmla="*/ 19977672 w 21052572"/>
              <a:gd name="connsiteY2534" fmla="*/ 3691213 h 8402012"/>
              <a:gd name="connsiteX2535" fmla="*/ 19995636 w 21052572"/>
              <a:gd name="connsiteY2535" fmla="*/ 3659107 h 8402012"/>
              <a:gd name="connsiteX2536" fmla="*/ 19227768 w 21052572"/>
              <a:gd name="connsiteY2536" fmla="*/ 3656244 h 8402012"/>
              <a:gd name="connsiteX2537" fmla="*/ 19190876 w 21052572"/>
              <a:gd name="connsiteY2537" fmla="*/ 3689312 h 8402012"/>
              <a:gd name="connsiteX2538" fmla="*/ 19227768 w 21052572"/>
              <a:gd name="connsiteY2538" fmla="*/ 3656244 h 8402012"/>
              <a:gd name="connsiteX2539" fmla="*/ 10199917 w 21052572"/>
              <a:gd name="connsiteY2539" fmla="*/ 3651326 h 8402012"/>
              <a:gd name="connsiteX2540" fmla="*/ 10187020 w 21052572"/>
              <a:gd name="connsiteY2540" fmla="*/ 3722252 h 8402012"/>
              <a:gd name="connsiteX2541" fmla="*/ 10237532 w 21052572"/>
              <a:gd name="connsiteY2541" fmla="*/ 3722252 h 8402012"/>
              <a:gd name="connsiteX2542" fmla="*/ 10256877 w 21052572"/>
              <a:gd name="connsiteY2542" fmla="*/ 3651326 h 8402012"/>
              <a:gd name="connsiteX2543" fmla="*/ 10199917 w 21052572"/>
              <a:gd name="connsiteY2543" fmla="*/ 3651326 h 8402012"/>
              <a:gd name="connsiteX2544" fmla="*/ 17125368 w 21052572"/>
              <a:gd name="connsiteY2544" fmla="*/ 3643141 h 8402012"/>
              <a:gd name="connsiteX2545" fmla="*/ 17132476 w 21052572"/>
              <a:gd name="connsiteY2545" fmla="*/ 3646135 h 8402012"/>
              <a:gd name="connsiteX2546" fmla="*/ 17124352 w 21052572"/>
              <a:gd name="connsiteY2546" fmla="*/ 3658110 h 8402012"/>
              <a:gd name="connsiteX2547" fmla="*/ 17125368 w 21052572"/>
              <a:gd name="connsiteY2547" fmla="*/ 3643141 h 8402012"/>
              <a:gd name="connsiteX2548" fmla="*/ 20055352 w 21052572"/>
              <a:gd name="connsiteY2548" fmla="*/ 3626594 h 8402012"/>
              <a:gd name="connsiteX2549" fmla="*/ 20071412 w 21052572"/>
              <a:gd name="connsiteY2549" fmla="*/ 3658008 h 8402012"/>
              <a:gd name="connsiteX2550" fmla="*/ 20034548 w 21052572"/>
              <a:gd name="connsiteY2550" fmla="*/ 3644781 h 8402012"/>
              <a:gd name="connsiteX2551" fmla="*/ 20055352 w 21052572"/>
              <a:gd name="connsiteY2551" fmla="*/ 3626594 h 8402012"/>
              <a:gd name="connsiteX2552" fmla="*/ 11255487 w 21052572"/>
              <a:gd name="connsiteY2552" fmla="*/ 3625935 h 8402012"/>
              <a:gd name="connsiteX2553" fmla="*/ 11160382 w 21052572"/>
              <a:gd name="connsiteY2553" fmla="*/ 3690730 h 8402012"/>
              <a:gd name="connsiteX2554" fmla="*/ 10962691 w 21052572"/>
              <a:gd name="connsiteY2554" fmla="*/ 3710169 h 8402012"/>
              <a:gd name="connsiteX2555" fmla="*/ 11255487 w 21052572"/>
              <a:gd name="connsiteY2555" fmla="*/ 3625935 h 8402012"/>
              <a:gd name="connsiteX2556" fmla="*/ 20337892 w 21052572"/>
              <a:gd name="connsiteY2556" fmla="*/ 3625930 h 8402012"/>
              <a:gd name="connsiteX2557" fmla="*/ 20374784 w 21052572"/>
              <a:gd name="connsiteY2557" fmla="*/ 3644376 h 8402012"/>
              <a:gd name="connsiteX2558" fmla="*/ 20337892 w 21052572"/>
              <a:gd name="connsiteY2558" fmla="*/ 3625930 h 8402012"/>
              <a:gd name="connsiteX2559" fmla="*/ 19266712 w 21052572"/>
              <a:gd name="connsiteY2559" fmla="*/ 3625930 h 8402012"/>
              <a:gd name="connsiteX2560" fmla="*/ 19298820 w 21052572"/>
              <a:gd name="connsiteY2560" fmla="*/ 3644376 h 8402012"/>
              <a:gd name="connsiteX2561" fmla="*/ 19266712 w 21052572"/>
              <a:gd name="connsiteY2561" fmla="*/ 3625930 h 8402012"/>
              <a:gd name="connsiteX2562" fmla="*/ 20015080 w 21052572"/>
              <a:gd name="connsiteY2562" fmla="*/ 3603459 h 8402012"/>
              <a:gd name="connsiteX2563" fmla="*/ 20033524 w 21052572"/>
              <a:gd name="connsiteY2563" fmla="*/ 3611141 h 8402012"/>
              <a:gd name="connsiteX2564" fmla="*/ 20027376 w 21052572"/>
              <a:gd name="connsiteY2564" fmla="*/ 3624791 h 8402012"/>
              <a:gd name="connsiteX2565" fmla="*/ 19996632 w 21052572"/>
              <a:gd name="connsiteY2565" fmla="*/ 3611141 h 8402012"/>
              <a:gd name="connsiteX2566" fmla="*/ 20015080 w 21052572"/>
              <a:gd name="connsiteY2566" fmla="*/ 3603459 h 8402012"/>
              <a:gd name="connsiteX2567" fmla="*/ 10429908 w 21052572"/>
              <a:gd name="connsiteY2567" fmla="*/ 3599741 h 8402012"/>
              <a:gd name="connsiteX2568" fmla="*/ 10449253 w 21052572"/>
              <a:gd name="connsiteY2568" fmla="*/ 3625537 h 8402012"/>
              <a:gd name="connsiteX2569" fmla="*/ 10429908 w 21052572"/>
              <a:gd name="connsiteY2569" fmla="*/ 3599741 h 8402012"/>
              <a:gd name="connsiteX2570" fmla="*/ 10295567 w 21052572"/>
              <a:gd name="connsiteY2570" fmla="*/ 3599741 h 8402012"/>
              <a:gd name="connsiteX2571" fmla="*/ 10334257 w 21052572"/>
              <a:gd name="connsiteY2571" fmla="*/ 3625537 h 8402012"/>
              <a:gd name="connsiteX2572" fmla="*/ 10295567 w 21052572"/>
              <a:gd name="connsiteY2572" fmla="*/ 3599741 h 8402012"/>
              <a:gd name="connsiteX2573" fmla="*/ 682360 w 21052572"/>
              <a:gd name="connsiteY2573" fmla="*/ 3597489 h 8402012"/>
              <a:gd name="connsiteX2574" fmla="*/ 738187 w 21052572"/>
              <a:gd name="connsiteY2574" fmla="*/ 3610716 h 8402012"/>
              <a:gd name="connsiteX2575" fmla="*/ 682360 w 21052572"/>
              <a:gd name="connsiteY2575" fmla="*/ 3597489 h 8402012"/>
              <a:gd name="connsiteX2576" fmla="*/ 15696664 w 21052572"/>
              <a:gd name="connsiteY2576" fmla="*/ 3597488 h 8402012"/>
              <a:gd name="connsiteX2577" fmla="*/ 15678218 w 21052572"/>
              <a:gd name="connsiteY2577" fmla="*/ 3653332 h 8402012"/>
              <a:gd name="connsiteX2578" fmla="*/ 15659770 w 21052572"/>
              <a:gd name="connsiteY2578" fmla="*/ 3616107 h 8402012"/>
              <a:gd name="connsiteX2579" fmla="*/ 15696664 w 21052572"/>
              <a:gd name="connsiteY2579" fmla="*/ 3597488 h 8402012"/>
              <a:gd name="connsiteX2580" fmla="*/ 19958664 w 21052572"/>
              <a:gd name="connsiteY2580" fmla="*/ 3582900 h 8402012"/>
              <a:gd name="connsiteX2581" fmla="*/ 19957744 w 21052572"/>
              <a:gd name="connsiteY2581" fmla="*/ 3586488 h 8402012"/>
              <a:gd name="connsiteX2582" fmla="*/ 19956464 w 21052572"/>
              <a:gd name="connsiteY2582" fmla="*/ 3591463 h 8402012"/>
              <a:gd name="connsiteX2583" fmla="*/ 19959512 w 21052572"/>
              <a:gd name="connsiteY2583" fmla="*/ 3579607 h 8402012"/>
              <a:gd name="connsiteX2584" fmla="*/ 19958896 w 21052572"/>
              <a:gd name="connsiteY2584" fmla="*/ 3582000 h 8402012"/>
              <a:gd name="connsiteX2585" fmla="*/ 19958664 w 21052572"/>
              <a:gd name="connsiteY2585" fmla="*/ 3582900 h 8402012"/>
              <a:gd name="connsiteX2586" fmla="*/ 19972936 w 21052572"/>
              <a:gd name="connsiteY2586" fmla="*/ 3574315 h 8402012"/>
              <a:gd name="connsiteX2587" fmla="*/ 20000236 w 21052572"/>
              <a:gd name="connsiteY2587" fmla="*/ 3580635 h 8402012"/>
              <a:gd name="connsiteX2588" fmla="*/ 19972936 w 21052572"/>
              <a:gd name="connsiteY2588" fmla="*/ 3574315 h 8402012"/>
              <a:gd name="connsiteX2589" fmla="*/ 20260964 w 21052572"/>
              <a:gd name="connsiteY2589" fmla="*/ 3569051 h 8402012"/>
              <a:gd name="connsiteX2590" fmla="*/ 20247840 w 21052572"/>
              <a:gd name="connsiteY2590" fmla="*/ 3601124 h 8402012"/>
              <a:gd name="connsiteX2591" fmla="*/ 20260964 w 21052572"/>
              <a:gd name="connsiteY2591" fmla="*/ 3569051 h 8402012"/>
              <a:gd name="connsiteX2592" fmla="*/ 11334144 w 21052572"/>
              <a:gd name="connsiteY2592" fmla="*/ 3569049 h 8402012"/>
              <a:gd name="connsiteX2593" fmla="*/ 11340766 w 21052572"/>
              <a:gd name="connsiteY2593" fmla="*/ 3624876 h 8402012"/>
              <a:gd name="connsiteX2594" fmla="*/ 11261297 w 21052572"/>
              <a:gd name="connsiteY2594" fmla="*/ 3624876 h 8402012"/>
              <a:gd name="connsiteX2595" fmla="*/ 11294409 w 21052572"/>
              <a:gd name="connsiteY2595" fmla="*/ 3599594 h 8402012"/>
              <a:gd name="connsiteX2596" fmla="*/ 11334144 w 21052572"/>
              <a:gd name="connsiteY2596" fmla="*/ 3569049 h 8402012"/>
              <a:gd name="connsiteX2597" fmla="*/ 12290792 w 21052572"/>
              <a:gd name="connsiteY2597" fmla="*/ 3566250 h 8402012"/>
              <a:gd name="connsiteX2598" fmla="*/ 12329787 w 21052572"/>
              <a:gd name="connsiteY2598" fmla="*/ 3569645 h 8402012"/>
              <a:gd name="connsiteX2599" fmla="*/ 12336154 w 21052572"/>
              <a:gd name="connsiteY2599" fmla="*/ 3581593 h 8402012"/>
              <a:gd name="connsiteX2600" fmla="*/ 12266122 w 21052572"/>
              <a:gd name="connsiteY2600" fmla="*/ 3601144 h 8402012"/>
              <a:gd name="connsiteX2601" fmla="*/ 12290792 w 21052572"/>
              <a:gd name="connsiteY2601" fmla="*/ 3566250 h 8402012"/>
              <a:gd name="connsiteX2602" fmla="*/ 16472248 w 21052572"/>
              <a:gd name="connsiteY2602" fmla="*/ 3566116 h 8402012"/>
              <a:gd name="connsiteX2603" fmla="*/ 16507150 w 21052572"/>
              <a:gd name="connsiteY2603" fmla="*/ 3569482 h 8402012"/>
              <a:gd name="connsiteX2604" fmla="*/ 16451306 w 21052572"/>
              <a:gd name="connsiteY2604" fmla="*/ 3600720 h 8402012"/>
              <a:gd name="connsiteX2605" fmla="*/ 16472248 w 21052572"/>
              <a:gd name="connsiteY2605" fmla="*/ 3566116 h 8402012"/>
              <a:gd name="connsiteX2606" fmla="*/ 11415205 w 21052572"/>
              <a:gd name="connsiteY2606" fmla="*/ 3566116 h 8402012"/>
              <a:gd name="connsiteX2607" fmla="*/ 11449832 w 21052572"/>
              <a:gd name="connsiteY2607" fmla="*/ 3569483 h 8402012"/>
              <a:gd name="connsiteX2608" fmla="*/ 11394007 w 21052572"/>
              <a:gd name="connsiteY2608" fmla="*/ 3600721 h 8402012"/>
              <a:gd name="connsiteX2609" fmla="*/ 11415205 w 21052572"/>
              <a:gd name="connsiteY2609" fmla="*/ 3566116 h 8402012"/>
              <a:gd name="connsiteX2610" fmla="*/ 10389337 w 21052572"/>
              <a:gd name="connsiteY2610" fmla="*/ 3565219 h 8402012"/>
              <a:gd name="connsiteX2611" fmla="*/ 10353603 w 21052572"/>
              <a:gd name="connsiteY2611" fmla="*/ 3568578 h 8402012"/>
              <a:gd name="connsiteX2612" fmla="*/ 10410563 w 21052572"/>
              <a:gd name="connsiteY2612" fmla="*/ 3599741 h 8402012"/>
              <a:gd name="connsiteX2613" fmla="*/ 10389337 w 21052572"/>
              <a:gd name="connsiteY2613" fmla="*/ 3565219 h 8402012"/>
              <a:gd name="connsiteX2614" fmla="*/ 12158264 w 21052572"/>
              <a:gd name="connsiteY2614" fmla="*/ 3564306 h 8402012"/>
              <a:gd name="connsiteX2615" fmla="*/ 12241343 w 21052572"/>
              <a:gd name="connsiteY2615" fmla="*/ 3613971 h 8402012"/>
              <a:gd name="connsiteX2616" fmla="*/ 12022670 w 21052572"/>
              <a:gd name="connsiteY2616" fmla="*/ 3659432 h 8402012"/>
              <a:gd name="connsiteX2617" fmla="*/ 11886942 w 21052572"/>
              <a:gd name="connsiteY2617" fmla="*/ 3652937 h 8402012"/>
              <a:gd name="connsiteX2618" fmla="*/ 12086225 w 21052572"/>
              <a:gd name="connsiteY2618" fmla="*/ 3569581 h 8402012"/>
              <a:gd name="connsiteX2619" fmla="*/ 12126822 w 21052572"/>
              <a:gd name="connsiteY2619" fmla="*/ 3564794 h 8402012"/>
              <a:gd name="connsiteX2620" fmla="*/ 12158264 w 21052572"/>
              <a:gd name="connsiteY2620" fmla="*/ 3564306 h 8402012"/>
              <a:gd name="connsiteX2621" fmla="*/ 12341457 w 21052572"/>
              <a:gd name="connsiteY2621" fmla="*/ 3557009 h 8402012"/>
              <a:gd name="connsiteX2622" fmla="*/ 12347116 w 21052572"/>
              <a:gd name="connsiteY2622" fmla="*/ 3564273 h 8402012"/>
              <a:gd name="connsiteX2623" fmla="*/ 12350438 w 21052572"/>
              <a:gd name="connsiteY2623" fmla="*/ 3568538 h 8402012"/>
              <a:gd name="connsiteX2624" fmla="*/ 12332476 w 21052572"/>
              <a:gd name="connsiteY2624" fmla="*/ 3568538 h 8402012"/>
              <a:gd name="connsiteX2625" fmla="*/ 12338650 w 21052572"/>
              <a:gd name="connsiteY2625" fmla="*/ 3559027 h 8402012"/>
              <a:gd name="connsiteX2626" fmla="*/ 12340249 w 21052572"/>
              <a:gd name="connsiteY2626" fmla="*/ 3557877 h 8402012"/>
              <a:gd name="connsiteX2627" fmla="*/ 10468598 w 21052572"/>
              <a:gd name="connsiteY2627" fmla="*/ 3536339 h 8402012"/>
              <a:gd name="connsiteX2628" fmla="*/ 10429908 w 21052572"/>
              <a:gd name="connsiteY2628" fmla="*/ 3568578 h 8402012"/>
              <a:gd name="connsiteX2629" fmla="*/ 10468598 w 21052572"/>
              <a:gd name="connsiteY2629" fmla="*/ 3536339 h 8402012"/>
              <a:gd name="connsiteX2630" fmla="*/ 15464444 w 21052572"/>
              <a:gd name="connsiteY2630" fmla="*/ 3535873 h 8402012"/>
              <a:gd name="connsiteX2631" fmla="*/ 15446482 w 21052572"/>
              <a:gd name="connsiteY2631" fmla="*/ 3567978 h 8402012"/>
              <a:gd name="connsiteX2632" fmla="*/ 15464444 w 21052572"/>
              <a:gd name="connsiteY2632" fmla="*/ 3535873 h 8402012"/>
              <a:gd name="connsiteX2633" fmla="*/ 12497286 w 21052572"/>
              <a:gd name="connsiteY2633" fmla="*/ 3535873 h 8402012"/>
              <a:gd name="connsiteX2634" fmla="*/ 12375135 w 21052572"/>
              <a:gd name="connsiteY2634" fmla="*/ 3567978 h 8402012"/>
              <a:gd name="connsiteX2635" fmla="*/ 12497286 w 21052572"/>
              <a:gd name="connsiteY2635" fmla="*/ 3535873 h 8402012"/>
              <a:gd name="connsiteX2636" fmla="*/ 18583192 w 21052572"/>
              <a:gd name="connsiteY2636" fmla="*/ 3535872 h 8402012"/>
              <a:gd name="connsiteX2637" fmla="*/ 18565232 w 21052572"/>
              <a:gd name="connsiteY2637" fmla="*/ 3567978 h 8402012"/>
              <a:gd name="connsiteX2638" fmla="*/ 18583192 w 21052572"/>
              <a:gd name="connsiteY2638" fmla="*/ 3535872 h 8402012"/>
              <a:gd name="connsiteX2639" fmla="*/ 16827728 w 21052572"/>
              <a:gd name="connsiteY2639" fmla="*/ 3532831 h 8402012"/>
              <a:gd name="connsiteX2640" fmla="*/ 16862632 w 21052572"/>
              <a:gd name="connsiteY2640" fmla="*/ 3536015 h 8402012"/>
              <a:gd name="connsiteX2641" fmla="*/ 16806788 w 21052572"/>
              <a:gd name="connsiteY2641" fmla="*/ 3567848 h 8402012"/>
              <a:gd name="connsiteX2642" fmla="*/ 16827728 w 21052572"/>
              <a:gd name="connsiteY2642" fmla="*/ 3532831 h 8402012"/>
              <a:gd name="connsiteX2643" fmla="*/ 20171004 w 21052572"/>
              <a:gd name="connsiteY2643" fmla="*/ 3512172 h 8402012"/>
              <a:gd name="connsiteX2644" fmla="*/ 20153044 w 21052572"/>
              <a:gd name="connsiteY2644" fmla="*/ 3539472 h 8402012"/>
              <a:gd name="connsiteX2645" fmla="*/ 20171004 w 21052572"/>
              <a:gd name="connsiteY2645" fmla="*/ 3512172 h 8402012"/>
              <a:gd name="connsiteX2646" fmla="*/ 16767872 w 21052572"/>
              <a:gd name="connsiteY2646" fmla="*/ 3512172 h 8402012"/>
              <a:gd name="connsiteX2647" fmla="*/ 16749910 w 21052572"/>
              <a:gd name="connsiteY2647" fmla="*/ 3539472 h 8402012"/>
              <a:gd name="connsiteX2648" fmla="*/ 16767872 w 21052572"/>
              <a:gd name="connsiteY2648" fmla="*/ 3512172 h 8402012"/>
              <a:gd name="connsiteX2649" fmla="*/ 15320598 w 21052572"/>
              <a:gd name="connsiteY2649" fmla="*/ 3512171 h 8402012"/>
              <a:gd name="connsiteX2650" fmla="*/ 15341072 w 21052572"/>
              <a:gd name="connsiteY2650" fmla="*/ 3568014 h 8402012"/>
              <a:gd name="connsiteX2651" fmla="*/ 15320598 w 21052572"/>
              <a:gd name="connsiteY2651" fmla="*/ 3512171 h 8402012"/>
              <a:gd name="connsiteX2652" fmla="*/ 11315420 w 21052572"/>
              <a:gd name="connsiteY2652" fmla="*/ 3478996 h 8402012"/>
              <a:gd name="connsiteX2653" fmla="*/ 11308998 w 21052572"/>
              <a:gd name="connsiteY2653" fmla="*/ 3567989 h 8402012"/>
              <a:gd name="connsiteX2654" fmla="*/ 11315420 w 21052572"/>
              <a:gd name="connsiteY2654" fmla="*/ 3478996 h 8402012"/>
              <a:gd name="connsiteX2655" fmla="*/ 12773269 w 21052572"/>
              <a:gd name="connsiteY2655" fmla="*/ 3478995 h 8402012"/>
              <a:gd name="connsiteX2656" fmla="*/ 12791231 w 21052572"/>
              <a:gd name="connsiteY2656" fmla="*/ 3511099 h 8402012"/>
              <a:gd name="connsiteX2657" fmla="*/ 12773269 w 21052572"/>
              <a:gd name="connsiteY2657" fmla="*/ 3478995 h 8402012"/>
              <a:gd name="connsiteX2658" fmla="*/ 18265632 w 21052572"/>
              <a:gd name="connsiteY2658" fmla="*/ 3478994 h 8402012"/>
              <a:gd name="connsiteX2659" fmla="*/ 18247672 w 21052572"/>
              <a:gd name="connsiteY2659" fmla="*/ 3511099 h 8402012"/>
              <a:gd name="connsiteX2660" fmla="*/ 18265632 w 21052572"/>
              <a:gd name="connsiteY2660" fmla="*/ 3478994 h 8402012"/>
              <a:gd name="connsiteX2661" fmla="*/ 16489224 w 21052572"/>
              <a:gd name="connsiteY2661" fmla="*/ 3478994 h 8402012"/>
              <a:gd name="connsiteX2662" fmla="*/ 16507186 w 21052572"/>
              <a:gd name="connsiteY2662" fmla="*/ 3511099 h 8402012"/>
              <a:gd name="connsiteX2663" fmla="*/ 16489224 w 21052572"/>
              <a:gd name="connsiteY2663" fmla="*/ 3478994 h 8402012"/>
              <a:gd name="connsiteX2664" fmla="*/ 16444646 w 21052572"/>
              <a:gd name="connsiteY2664" fmla="*/ 3478994 h 8402012"/>
              <a:gd name="connsiteX2665" fmla="*/ 16469242 w 21052572"/>
              <a:gd name="connsiteY2665" fmla="*/ 3511099 h 8402012"/>
              <a:gd name="connsiteX2666" fmla="*/ 16432350 w 21052572"/>
              <a:gd name="connsiteY2666" fmla="*/ 3491837 h 8402012"/>
              <a:gd name="connsiteX2667" fmla="*/ 16444646 w 21052572"/>
              <a:gd name="connsiteY2667" fmla="*/ 3478994 h 8402012"/>
              <a:gd name="connsiteX2668" fmla="*/ 10781176 w 21052572"/>
              <a:gd name="connsiteY2668" fmla="*/ 3471639 h 8402012"/>
              <a:gd name="connsiteX2669" fmla="*/ 10785145 w 21052572"/>
              <a:gd name="connsiteY2669" fmla="*/ 3475012 h 8402012"/>
              <a:gd name="connsiteX2670" fmla="*/ 10786650 w 21052572"/>
              <a:gd name="connsiteY2670" fmla="*/ 3476291 h 8402012"/>
              <a:gd name="connsiteX2671" fmla="*/ 15057826 w 21052572"/>
              <a:gd name="connsiteY2671" fmla="*/ 3464774 h 8402012"/>
              <a:gd name="connsiteX2672" fmla="*/ 15104120 w 21052572"/>
              <a:gd name="connsiteY2672" fmla="*/ 3471390 h 8402012"/>
              <a:gd name="connsiteX2673" fmla="*/ 15077666 w 21052572"/>
              <a:gd name="connsiteY2673" fmla="*/ 3511070 h 8402012"/>
              <a:gd name="connsiteX2674" fmla="*/ 15057826 w 21052572"/>
              <a:gd name="connsiteY2674" fmla="*/ 3464774 h 8402012"/>
              <a:gd name="connsiteX2675" fmla="*/ 10780211 w 21052572"/>
              <a:gd name="connsiteY2675" fmla="*/ 3455674 h 8402012"/>
              <a:gd name="connsiteX2676" fmla="*/ 10781100 w 21052572"/>
              <a:gd name="connsiteY2676" fmla="*/ 3462286 h 8402012"/>
              <a:gd name="connsiteX2677" fmla="*/ 10781176 w 21052572"/>
              <a:gd name="connsiteY2677" fmla="*/ 3471639 h 8402012"/>
              <a:gd name="connsiteX2678" fmla="*/ 10781227 w 21052572"/>
              <a:gd name="connsiteY2678" fmla="*/ 3477854 h 8402012"/>
              <a:gd name="connsiteX2679" fmla="*/ 10777164 w 21052572"/>
              <a:gd name="connsiteY2679" fmla="*/ 3468470 h 8402012"/>
              <a:gd name="connsiteX2680" fmla="*/ 10775940 w 21052572"/>
              <a:gd name="connsiteY2680" fmla="*/ 3467185 h 8402012"/>
              <a:gd name="connsiteX2681" fmla="*/ 10773101 w 21052572"/>
              <a:gd name="connsiteY2681" fmla="*/ 3464205 h 8402012"/>
              <a:gd name="connsiteX2682" fmla="*/ 10780211 w 21052572"/>
              <a:gd name="connsiteY2682" fmla="*/ 3455674 h 8402012"/>
              <a:gd name="connsiteX2683" fmla="*/ 16678674 w 21052572"/>
              <a:gd name="connsiteY2683" fmla="*/ 3448507 h 8402012"/>
              <a:gd name="connsiteX2684" fmla="*/ 16719550 w 21052572"/>
              <a:gd name="connsiteY2684" fmla="*/ 3463798 h 8402012"/>
              <a:gd name="connsiteX2685" fmla="*/ 16706726 w 21052572"/>
              <a:gd name="connsiteY2685" fmla="*/ 3508869 h 8402012"/>
              <a:gd name="connsiteX2686" fmla="*/ 16668256 w 21052572"/>
              <a:gd name="connsiteY2686" fmla="*/ 3534628 h 8402012"/>
              <a:gd name="connsiteX2687" fmla="*/ 16789012 w 21052572"/>
              <a:gd name="connsiteY2687" fmla="*/ 3586137 h 8402012"/>
              <a:gd name="connsiteX2688" fmla="*/ 16917248 w 21052572"/>
              <a:gd name="connsiteY2688" fmla="*/ 3636575 h 8402012"/>
              <a:gd name="connsiteX2689" fmla="*/ 16962132 w 21052572"/>
              <a:gd name="connsiteY2689" fmla="*/ 3739595 h 8402012"/>
              <a:gd name="connsiteX2690" fmla="*/ 16821072 w 21052572"/>
              <a:gd name="connsiteY2690" fmla="*/ 3726719 h 8402012"/>
              <a:gd name="connsiteX2691" fmla="*/ 16642608 w 21052572"/>
              <a:gd name="connsiteY2691" fmla="*/ 3720280 h 8402012"/>
              <a:gd name="connsiteX2692" fmla="*/ 16642608 w 21052572"/>
              <a:gd name="connsiteY2692" fmla="*/ 3655891 h 8402012"/>
              <a:gd name="connsiteX2693" fmla="*/ 16566734 w 21052572"/>
              <a:gd name="connsiteY2693" fmla="*/ 3688091 h 8402012"/>
              <a:gd name="connsiteX2694" fmla="*/ 16597726 w 21052572"/>
              <a:gd name="connsiteY2694" fmla="*/ 3578624 h 8402012"/>
              <a:gd name="connsiteX2695" fmla="*/ 16642608 w 21052572"/>
              <a:gd name="connsiteY2695" fmla="*/ 3476676 h 8402012"/>
              <a:gd name="connsiteX2696" fmla="*/ 16678674 w 21052572"/>
              <a:gd name="connsiteY2696" fmla="*/ 3448507 h 8402012"/>
              <a:gd name="connsiteX2697" fmla="*/ 13075589 w 21052572"/>
              <a:gd name="connsiteY2697" fmla="*/ 3447224 h 8402012"/>
              <a:gd name="connsiteX2698" fmla="*/ 13038697 w 21052572"/>
              <a:gd name="connsiteY2698" fmla="*/ 3477967 h 8402012"/>
              <a:gd name="connsiteX2699" fmla="*/ 13075589 w 21052572"/>
              <a:gd name="connsiteY2699" fmla="*/ 3447224 h 8402012"/>
              <a:gd name="connsiteX2700" fmla="*/ 18583192 w 21052572"/>
              <a:gd name="connsiteY2700" fmla="*/ 3445817 h 8402012"/>
              <a:gd name="connsiteX2701" fmla="*/ 18565232 w 21052572"/>
              <a:gd name="connsiteY2701" fmla="*/ 3477925 h 8402012"/>
              <a:gd name="connsiteX2702" fmla="*/ 18583192 w 21052572"/>
              <a:gd name="connsiteY2702" fmla="*/ 3445817 h 8402012"/>
              <a:gd name="connsiteX2703" fmla="*/ 19033468 w 21052572"/>
              <a:gd name="connsiteY2703" fmla="*/ 3445816 h 8402012"/>
              <a:gd name="connsiteX2704" fmla="*/ 19015508 w 21052572"/>
              <a:gd name="connsiteY2704" fmla="*/ 3477925 h 8402012"/>
              <a:gd name="connsiteX2705" fmla="*/ 19033468 w 21052572"/>
              <a:gd name="connsiteY2705" fmla="*/ 3445816 h 8402012"/>
              <a:gd name="connsiteX2706" fmla="*/ 12959638 w 21052572"/>
              <a:gd name="connsiteY2706" fmla="*/ 3445815 h 8402012"/>
              <a:gd name="connsiteX2707" fmla="*/ 12939163 w 21052572"/>
              <a:gd name="connsiteY2707" fmla="*/ 3511085 h 8402012"/>
              <a:gd name="connsiteX2708" fmla="*/ 12959638 w 21052572"/>
              <a:gd name="connsiteY2708" fmla="*/ 3445815 h 8402012"/>
              <a:gd name="connsiteX2709" fmla="*/ 11394007 w 21052572"/>
              <a:gd name="connsiteY2709" fmla="*/ 3445815 h 8402012"/>
              <a:gd name="connsiteX2710" fmla="*/ 11430899 w 21052572"/>
              <a:gd name="connsiteY2710" fmla="*/ 3445815 h 8402012"/>
              <a:gd name="connsiteX2711" fmla="*/ 11430899 w 21052572"/>
              <a:gd name="connsiteY2711" fmla="*/ 3511085 h 8402012"/>
              <a:gd name="connsiteX2712" fmla="*/ 11394007 w 21052572"/>
              <a:gd name="connsiteY2712" fmla="*/ 3511085 h 8402012"/>
              <a:gd name="connsiteX2713" fmla="*/ 11394007 w 21052572"/>
              <a:gd name="connsiteY2713" fmla="*/ 3445815 h 8402012"/>
              <a:gd name="connsiteX2714" fmla="*/ 20037644 w 21052572"/>
              <a:gd name="connsiteY2714" fmla="*/ 3437353 h 8402012"/>
              <a:gd name="connsiteX2715" fmla="*/ 20128292 w 21052572"/>
              <a:gd name="connsiteY2715" fmla="*/ 3487412 h 8402012"/>
              <a:gd name="connsiteX2716" fmla="*/ 20015588 w 21052572"/>
              <a:gd name="connsiteY2716" fmla="*/ 3461985 h 8402012"/>
              <a:gd name="connsiteX2717" fmla="*/ 20037644 w 21052572"/>
              <a:gd name="connsiteY2717" fmla="*/ 3437353 h 8402012"/>
              <a:gd name="connsiteX2718" fmla="*/ 18401800 w 21052572"/>
              <a:gd name="connsiteY2718" fmla="*/ 3429847 h 8402012"/>
              <a:gd name="connsiteX2719" fmla="*/ 18412464 w 21052572"/>
              <a:gd name="connsiteY2719" fmla="*/ 3432839 h 8402012"/>
              <a:gd name="connsiteX2720" fmla="*/ 18405900 w 21052572"/>
              <a:gd name="connsiteY2720" fmla="*/ 3444815 h 8402012"/>
              <a:gd name="connsiteX2721" fmla="*/ 18401800 w 21052572"/>
              <a:gd name="connsiteY2721" fmla="*/ 3429847 h 8402012"/>
              <a:gd name="connsiteX2722" fmla="*/ 19004928 w 21052572"/>
              <a:gd name="connsiteY2722" fmla="*/ 3414509 h 8402012"/>
              <a:gd name="connsiteX2723" fmla="*/ 18958632 w 21052572"/>
              <a:gd name="connsiteY2723" fmla="*/ 3447576 h 8402012"/>
              <a:gd name="connsiteX2724" fmla="*/ 19004928 w 21052572"/>
              <a:gd name="connsiteY2724" fmla="*/ 3414509 h 8402012"/>
              <a:gd name="connsiteX2725" fmla="*/ 14862471 w 21052572"/>
              <a:gd name="connsiteY2725" fmla="*/ 3414509 h 8402012"/>
              <a:gd name="connsiteX2726" fmla="*/ 14825579 w 21052572"/>
              <a:gd name="connsiteY2726" fmla="*/ 3447576 h 8402012"/>
              <a:gd name="connsiteX2727" fmla="*/ 14862471 w 21052572"/>
              <a:gd name="connsiteY2727" fmla="*/ 3414509 h 8402012"/>
              <a:gd name="connsiteX2728" fmla="*/ 10487943 w 21052572"/>
              <a:gd name="connsiteY2728" fmla="*/ 3413830 h 8402012"/>
              <a:gd name="connsiteX2729" fmla="*/ 10526634 w 21052572"/>
              <a:gd name="connsiteY2729" fmla="*/ 3446069 h 8402012"/>
              <a:gd name="connsiteX2730" fmla="*/ 10487943 w 21052572"/>
              <a:gd name="connsiteY2730" fmla="*/ 3413830 h 8402012"/>
              <a:gd name="connsiteX2731" fmla="*/ 16268100 w 21052572"/>
              <a:gd name="connsiteY2731" fmla="*/ 3412639 h 8402012"/>
              <a:gd name="connsiteX2732" fmla="*/ 16426546 w 21052572"/>
              <a:gd name="connsiteY2732" fmla="*/ 3464475 h 8402012"/>
              <a:gd name="connsiteX2733" fmla="*/ 16357426 w 21052572"/>
              <a:gd name="connsiteY2733" fmla="*/ 3457996 h 8402012"/>
              <a:gd name="connsiteX2734" fmla="*/ 16261718 w 21052572"/>
              <a:gd name="connsiteY2734" fmla="*/ 3432076 h 8402012"/>
              <a:gd name="connsiteX2735" fmla="*/ 16268100 w 21052572"/>
              <a:gd name="connsiteY2735" fmla="*/ 3412639 h 8402012"/>
              <a:gd name="connsiteX2736" fmla="*/ 14906153 w 21052572"/>
              <a:gd name="connsiteY2736" fmla="*/ 3412639 h 8402012"/>
              <a:gd name="connsiteX2737" fmla="*/ 14980935 w 21052572"/>
              <a:gd name="connsiteY2737" fmla="*/ 3432218 h 8402012"/>
              <a:gd name="connsiteX2738" fmla="*/ 14936698 w 21052572"/>
              <a:gd name="connsiteY2738" fmla="*/ 3477909 h 8402012"/>
              <a:gd name="connsiteX2739" fmla="*/ 14906153 w 21052572"/>
              <a:gd name="connsiteY2739" fmla="*/ 3477909 h 8402012"/>
              <a:gd name="connsiteX2740" fmla="*/ 14906153 w 21052572"/>
              <a:gd name="connsiteY2740" fmla="*/ 3412639 h 8402012"/>
              <a:gd name="connsiteX2741" fmla="*/ 10944622 w 21052572"/>
              <a:gd name="connsiteY2741" fmla="*/ 3405079 h 8402012"/>
              <a:gd name="connsiteX2742" fmla="*/ 10949219 w 21052572"/>
              <a:gd name="connsiteY2742" fmla="*/ 3412066 h 8402012"/>
              <a:gd name="connsiteX2743" fmla="*/ 10945985 w 21052572"/>
              <a:gd name="connsiteY2743" fmla="*/ 3418713 h 8402012"/>
              <a:gd name="connsiteX2744" fmla="*/ 10984719 w 21052572"/>
              <a:gd name="connsiteY2744" fmla="*/ 3433376 h 8402012"/>
              <a:gd name="connsiteX2745" fmla="*/ 11012410 w 21052572"/>
              <a:gd name="connsiteY2745" fmla="*/ 3446069 h 8402012"/>
              <a:gd name="connsiteX2746" fmla="*/ 10956189 w 21052572"/>
              <a:gd name="connsiteY2746" fmla="*/ 3410707 h 8402012"/>
              <a:gd name="connsiteX2747" fmla="*/ 11899418 w 21052572"/>
              <a:gd name="connsiteY2747" fmla="*/ 3388176 h 8402012"/>
              <a:gd name="connsiteX2748" fmla="*/ 11880087 w 21052572"/>
              <a:gd name="connsiteY2748" fmla="*/ 3445969 h 8402012"/>
              <a:gd name="connsiteX2749" fmla="*/ 11938080 w 21052572"/>
              <a:gd name="connsiteY2749" fmla="*/ 3445969 h 8402012"/>
              <a:gd name="connsiteX2750" fmla="*/ 11899418 w 21052572"/>
              <a:gd name="connsiteY2750" fmla="*/ 3388176 h 8402012"/>
              <a:gd name="connsiteX2751" fmla="*/ 14697606 w 21052572"/>
              <a:gd name="connsiteY2751" fmla="*/ 3384202 h 8402012"/>
              <a:gd name="connsiteX2752" fmla="*/ 14786590 w 21052572"/>
              <a:gd name="connsiteY2752" fmla="*/ 3436181 h 8402012"/>
              <a:gd name="connsiteX2753" fmla="*/ 14697606 w 21052572"/>
              <a:gd name="connsiteY2753" fmla="*/ 3449453 h 8402012"/>
              <a:gd name="connsiteX2754" fmla="*/ 14697606 w 21052572"/>
              <a:gd name="connsiteY2754" fmla="*/ 3384202 h 8402012"/>
              <a:gd name="connsiteX2755" fmla="*/ 13416739 w 21052572"/>
              <a:gd name="connsiteY2755" fmla="*/ 3384202 h 8402012"/>
              <a:gd name="connsiteX2756" fmla="*/ 13396264 w 21052572"/>
              <a:gd name="connsiteY2756" fmla="*/ 3449453 h 8402012"/>
              <a:gd name="connsiteX2757" fmla="*/ 13416739 w 21052572"/>
              <a:gd name="connsiteY2757" fmla="*/ 3384202 h 8402012"/>
              <a:gd name="connsiteX2758" fmla="*/ 16185882 w 21052572"/>
              <a:gd name="connsiteY2758" fmla="*/ 3384201 h 8402012"/>
              <a:gd name="connsiteX2759" fmla="*/ 16265354 w 21052572"/>
              <a:gd name="connsiteY2759" fmla="*/ 3403001 h 8402012"/>
              <a:gd name="connsiteX2760" fmla="*/ 16185882 w 21052572"/>
              <a:gd name="connsiteY2760" fmla="*/ 3384201 h 8402012"/>
              <a:gd name="connsiteX2761" fmla="*/ 13185628 w 21052572"/>
              <a:gd name="connsiteY2761" fmla="*/ 3384200 h 8402012"/>
              <a:gd name="connsiteX2762" fmla="*/ 13287713 w 21052572"/>
              <a:gd name="connsiteY2762" fmla="*/ 3384200 h 8402012"/>
              <a:gd name="connsiteX2763" fmla="*/ 13337692 w 21052572"/>
              <a:gd name="connsiteY2763" fmla="*/ 3408973 h 8402012"/>
              <a:gd name="connsiteX2764" fmla="*/ 13223910 w 21052572"/>
              <a:gd name="connsiteY2764" fmla="*/ 3447749 h 8402012"/>
              <a:gd name="connsiteX2765" fmla="*/ 13185628 w 21052572"/>
              <a:gd name="connsiteY2765" fmla="*/ 3384200 h 8402012"/>
              <a:gd name="connsiteX2766" fmla="*/ 18925452 w 21052572"/>
              <a:gd name="connsiteY2766" fmla="*/ 3384199 h 8402012"/>
              <a:gd name="connsiteX2767" fmla="*/ 18943412 w 21052572"/>
              <a:gd name="connsiteY2767" fmla="*/ 3416266 h 8402012"/>
              <a:gd name="connsiteX2768" fmla="*/ 18925452 w 21052572"/>
              <a:gd name="connsiteY2768" fmla="*/ 3384199 h 8402012"/>
              <a:gd name="connsiteX2769" fmla="*/ 15723070 w 21052572"/>
              <a:gd name="connsiteY2769" fmla="*/ 3384199 h 8402012"/>
              <a:gd name="connsiteX2770" fmla="*/ 15748754 w 21052572"/>
              <a:gd name="connsiteY2770" fmla="*/ 3416266 h 8402012"/>
              <a:gd name="connsiteX2771" fmla="*/ 15716648 w 21052572"/>
              <a:gd name="connsiteY2771" fmla="*/ 3402996 h 8402012"/>
              <a:gd name="connsiteX2772" fmla="*/ 15723070 w 21052572"/>
              <a:gd name="connsiteY2772" fmla="*/ 3384199 h 8402012"/>
              <a:gd name="connsiteX2773" fmla="*/ 13540111 w 21052572"/>
              <a:gd name="connsiteY2773" fmla="*/ 3384199 h 8402012"/>
              <a:gd name="connsiteX2774" fmla="*/ 13522149 w 21052572"/>
              <a:gd name="connsiteY2774" fmla="*/ 3416266 h 8402012"/>
              <a:gd name="connsiteX2775" fmla="*/ 13540111 w 21052572"/>
              <a:gd name="connsiteY2775" fmla="*/ 3384199 h 8402012"/>
              <a:gd name="connsiteX2776" fmla="*/ 14638347 w 21052572"/>
              <a:gd name="connsiteY2776" fmla="*/ 3382625 h 8402012"/>
              <a:gd name="connsiteX2777" fmla="*/ 14677612 w 21052572"/>
              <a:gd name="connsiteY2777" fmla="*/ 3415667 h 8402012"/>
              <a:gd name="connsiteX2778" fmla="*/ 14621768 w 21052572"/>
              <a:gd name="connsiteY2778" fmla="*/ 3384122 h 8402012"/>
              <a:gd name="connsiteX2779" fmla="*/ 14638347 w 21052572"/>
              <a:gd name="connsiteY2779" fmla="*/ 3382625 h 8402012"/>
              <a:gd name="connsiteX2780" fmla="*/ 17205932 w 21052572"/>
              <a:gd name="connsiteY2780" fmla="*/ 3381122 h 8402012"/>
              <a:gd name="connsiteX2781" fmla="*/ 17224200 w 21052572"/>
              <a:gd name="connsiteY2781" fmla="*/ 3412286 h 8402012"/>
              <a:gd name="connsiteX2782" fmla="*/ 17205932 w 21052572"/>
              <a:gd name="connsiteY2782" fmla="*/ 3381122 h 8402012"/>
              <a:gd name="connsiteX2783" fmla="*/ 13616195 w 21052572"/>
              <a:gd name="connsiteY2783" fmla="*/ 3380910 h 8402012"/>
              <a:gd name="connsiteX2784" fmla="*/ 13668083 w 21052572"/>
              <a:gd name="connsiteY2784" fmla="*/ 3384200 h 8402012"/>
              <a:gd name="connsiteX2785" fmla="*/ 13829151 w 21052572"/>
              <a:gd name="connsiteY2785" fmla="*/ 3384200 h 8402012"/>
              <a:gd name="connsiteX2786" fmla="*/ 13751319 w 21052572"/>
              <a:gd name="connsiteY2786" fmla="*/ 3421061 h 8402012"/>
              <a:gd name="connsiteX2787" fmla="*/ 13583765 w 21052572"/>
              <a:gd name="connsiteY2787" fmla="*/ 3414742 h 8402012"/>
              <a:gd name="connsiteX2788" fmla="*/ 13616195 w 21052572"/>
              <a:gd name="connsiteY2788" fmla="*/ 3380910 h 8402012"/>
              <a:gd name="connsiteX2789" fmla="*/ 11707587 w 21052572"/>
              <a:gd name="connsiteY2789" fmla="*/ 3376606 h 8402012"/>
              <a:gd name="connsiteX2790" fmla="*/ 11810040 w 21052572"/>
              <a:gd name="connsiteY2790" fmla="*/ 3403092 h 8402012"/>
              <a:gd name="connsiteX2791" fmla="*/ 11803636 w 21052572"/>
              <a:gd name="connsiteY2791" fmla="*/ 3423788 h 8402012"/>
              <a:gd name="connsiteX2792" fmla="*/ 11799155 w 21052572"/>
              <a:gd name="connsiteY2792" fmla="*/ 3441749 h 8402012"/>
              <a:gd name="connsiteX2793" fmla="*/ 11800533 w 21052572"/>
              <a:gd name="connsiteY2793" fmla="*/ 3445300 h 8402012"/>
              <a:gd name="connsiteX2794" fmla="*/ 11793969 w 21052572"/>
              <a:gd name="connsiteY2794" fmla="*/ 3463746 h 8402012"/>
              <a:gd name="connsiteX2795" fmla="*/ 11791508 w 21052572"/>
              <a:gd name="connsiteY2795" fmla="*/ 3443763 h 8402012"/>
              <a:gd name="connsiteX2796" fmla="*/ 11791459 w 21052572"/>
              <a:gd name="connsiteY2796" fmla="*/ 3442265 h 8402012"/>
              <a:gd name="connsiteX2797" fmla="*/ 11781988 w 21052572"/>
              <a:gd name="connsiteY2797" fmla="*/ 3430482 h 8402012"/>
              <a:gd name="connsiteX2798" fmla="*/ 11656360 w 21052572"/>
              <a:gd name="connsiteY2798" fmla="*/ 3449452 h 8402012"/>
              <a:gd name="connsiteX2799" fmla="*/ 11662764 w 21052572"/>
              <a:gd name="connsiteY2799" fmla="*/ 3389847 h 8402012"/>
              <a:gd name="connsiteX2800" fmla="*/ 11707587 w 21052572"/>
              <a:gd name="connsiteY2800" fmla="*/ 3376606 h 8402012"/>
              <a:gd name="connsiteX2801" fmla="*/ 14076568 w 21052572"/>
              <a:gd name="connsiteY2801" fmla="*/ 3375332 h 8402012"/>
              <a:gd name="connsiteX2802" fmla="*/ 14132524 w 21052572"/>
              <a:gd name="connsiteY2802" fmla="*/ 3383606 h 8402012"/>
              <a:gd name="connsiteX2803" fmla="*/ 14038782 w 21052572"/>
              <a:gd name="connsiteY2803" fmla="*/ 3415104 h 8402012"/>
              <a:gd name="connsiteX2804" fmla="*/ 14076568 w 21052572"/>
              <a:gd name="connsiteY2804" fmla="*/ 3375332 h 8402012"/>
              <a:gd name="connsiteX2805" fmla="*/ 12091787 w 21052572"/>
              <a:gd name="connsiteY2805" fmla="*/ 3374676 h 8402012"/>
              <a:gd name="connsiteX2806" fmla="*/ 12034734 w 21052572"/>
              <a:gd name="connsiteY2806" fmla="*/ 3382825 h 8402012"/>
              <a:gd name="connsiteX2807" fmla="*/ 12130314 w 21052572"/>
              <a:gd name="connsiteY2807" fmla="*/ 3413862 h 8402012"/>
              <a:gd name="connsiteX2808" fmla="*/ 12091787 w 21052572"/>
              <a:gd name="connsiteY2808" fmla="*/ 3374676 h 8402012"/>
              <a:gd name="connsiteX2809" fmla="*/ 11808108 w 21052572"/>
              <a:gd name="connsiteY2809" fmla="*/ 3373457 h 8402012"/>
              <a:gd name="connsiteX2810" fmla="*/ 11814844 w 21052572"/>
              <a:gd name="connsiteY2810" fmla="*/ 3383891 h 8402012"/>
              <a:gd name="connsiteX2811" fmla="*/ 11796882 w 21052572"/>
              <a:gd name="connsiteY2811" fmla="*/ 3383891 h 8402012"/>
              <a:gd name="connsiteX2812" fmla="*/ 11808108 w 21052572"/>
              <a:gd name="connsiteY2812" fmla="*/ 3373457 h 8402012"/>
              <a:gd name="connsiteX2813" fmla="*/ 15708808 w 21052572"/>
              <a:gd name="connsiteY2813" fmla="*/ 3368091 h 8402012"/>
              <a:gd name="connsiteX2814" fmla="*/ 15720294 w 21052572"/>
              <a:gd name="connsiteY2814" fmla="*/ 3370213 h 8402012"/>
              <a:gd name="connsiteX2815" fmla="*/ 15707168 w 21052572"/>
              <a:gd name="connsiteY2815" fmla="*/ 3383199 h 8402012"/>
              <a:gd name="connsiteX2816" fmla="*/ 15708808 w 21052572"/>
              <a:gd name="connsiteY2816" fmla="*/ 3368091 h 8402012"/>
              <a:gd name="connsiteX2817" fmla="*/ 14583850 w 21052572"/>
              <a:gd name="connsiteY2817" fmla="*/ 3351018 h 8402012"/>
              <a:gd name="connsiteX2818" fmla="*/ 14601812 w 21052572"/>
              <a:gd name="connsiteY2818" fmla="*/ 3383130 h 8402012"/>
              <a:gd name="connsiteX2819" fmla="*/ 14583850 w 21052572"/>
              <a:gd name="connsiteY2819" fmla="*/ 3351018 h 8402012"/>
              <a:gd name="connsiteX2820" fmla="*/ 14242588 w 21052572"/>
              <a:gd name="connsiteY2820" fmla="*/ 3351018 h 8402012"/>
              <a:gd name="connsiteX2821" fmla="*/ 14260550 w 21052572"/>
              <a:gd name="connsiteY2821" fmla="*/ 3383130 h 8402012"/>
              <a:gd name="connsiteX2822" fmla="*/ 14242588 w 21052572"/>
              <a:gd name="connsiteY2822" fmla="*/ 3351018 h 8402012"/>
              <a:gd name="connsiteX2823" fmla="*/ 12394092 w 21052572"/>
              <a:gd name="connsiteY2823" fmla="*/ 3351018 h 8402012"/>
              <a:gd name="connsiteX2824" fmla="*/ 12430984 w 21052572"/>
              <a:gd name="connsiteY2824" fmla="*/ 3351018 h 8402012"/>
              <a:gd name="connsiteX2825" fmla="*/ 12430984 w 21052572"/>
              <a:gd name="connsiteY2825" fmla="*/ 3383130 h 8402012"/>
              <a:gd name="connsiteX2826" fmla="*/ 12394092 w 21052572"/>
              <a:gd name="connsiteY2826" fmla="*/ 3383130 h 8402012"/>
              <a:gd name="connsiteX2827" fmla="*/ 12394092 w 21052572"/>
              <a:gd name="connsiteY2827" fmla="*/ 3351018 h 8402012"/>
              <a:gd name="connsiteX2828" fmla="*/ 18905496 w 21052572"/>
              <a:gd name="connsiteY2828" fmla="*/ 3351017 h 8402012"/>
              <a:gd name="connsiteX2829" fmla="*/ 18887532 w 21052572"/>
              <a:gd name="connsiteY2829" fmla="*/ 3383128 h 8402012"/>
              <a:gd name="connsiteX2830" fmla="*/ 18905496 w 21052572"/>
              <a:gd name="connsiteY2830" fmla="*/ 3351017 h 8402012"/>
              <a:gd name="connsiteX2831" fmla="*/ 16323334 w 21052572"/>
              <a:gd name="connsiteY2831" fmla="*/ 3351017 h 8402012"/>
              <a:gd name="connsiteX2832" fmla="*/ 16341298 w 21052572"/>
              <a:gd name="connsiteY2832" fmla="*/ 3383128 h 8402012"/>
              <a:gd name="connsiteX2833" fmla="*/ 16323334 w 21052572"/>
              <a:gd name="connsiteY2833" fmla="*/ 3351017 h 8402012"/>
              <a:gd name="connsiteX2834" fmla="*/ 14503274 w 21052572"/>
              <a:gd name="connsiteY2834" fmla="*/ 3351016 h 8402012"/>
              <a:gd name="connsiteX2835" fmla="*/ 14521236 w 21052572"/>
              <a:gd name="connsiteY2835" fmla="*/ 3351016 h 8402012"/>
              <a:gd name="connsiteX2836" fmla="*/ 14521236 w 21052572"/>
              <a:gd name="connsiteY2836" fmla="*/ 3416268 h 8402012"/>
              <a:gd name="connsiteX2837" fmla="*/ 14503274 w 21052572"/>
              <a:gd name="connsiteY2837" fmla="*/ 3416268 h 8402012"/>
              <a:gd name="connsiteX2838" fmla="*/ 14503274 w 21052572"/>
              <a:gd name="connsiteY2838" fmla="*/ 3351016 h 8402012"/>
              <a:gd name="connsiteX2839" fmla="*/ 14394263 w 21052572"/>
              <a:gd name="connsiteY2839" fmla="*/ 3351015 h 8402012"/>
              <a:gd name="connsiteX2840" fmla="*/ 14426372 w 21052572"/>
              <a:gd name="connsiteY2840" fmla="*/ 3351015 h 8402012"/>
              <a:gd name="connsiteX2841" fmla="*/ 14394263 w 21052572"/>
              <a:gd name="connsiteY2841" fmla="*/ 3351015 h 8402012"/>
              <a:gd name="connsiteX2842" fmla="*/ 12480769 w 21052572"/>
              <a:gd name="connsiteY2842" fmla="*/ 3342679 h 8402012"/>
              <a:gd name="connsiteX2843" fmla="*/ 12530439 w 21052572"/>
              <a:gd name="connsiteY2843" fmla="*/ 3348307 h 8402012"/>
              <a:gd name="connsiteX2844" fmla="*/ 12450967 w 21052572"/>
              <a:gd name="connsiteY2844" fmla="*/ 3380474 h 8402012"/>
              <a:gd name="connsiteX2845" fmla="*/ 12480769 w 21052572"/>
              <a:gd name="connsiteY2845" fmla="*/ 3342679 h 8402012"/>
              <a:gd name="connsiteX2846" fmla="*/ 16095256 w 21052572"/>
              <a:gd name="connsiteY2846" fmla="*/ 3342278 h 8402012"/>
              <a:gd name="connsiteX2847" fmla="*/ 16146904 w 21052572"/>
              <a:gd name="connsiteY2847" fmla="*/ 3350424 h 8402012"/>
              <a:gd name="connsiteX2848" fmla="*/ 16057910 w 21052572"/>
              <a:gd name="connsiteY2848" fmla="*/ 3383014 h 8402012"/>
              <a:gd name="connsiteX2849" fmla="*/ 16095256 w 21052572"/>
              <a:gd name="connsiteY2849" fmla="*/ 3342278 h 8402012"/>
              <a:gd name="connsiteX2850" fmla="*/ 17132036 w 21052572"/>
              <a:gd name="connsiteY2850" fmla="*/ 3340947 h 8402012"/>
              <a:gd name="connsiteX2851" fmla="*/ 17137072 w 21052572"/>
              <a:gd name="connsiteY2851" fmla="*/ 3353244 h 8402012"/>
              <a:gd name="connsiteX2852" fmla="*/ 17132672 w 21052572"/>
              <a:gd name="connsiteY2852" fmla="*/ 3363445 h 8402012"/>
              <a:gd name="connsiteX2853" fmla="*/ 17147892 w 21052572"/>
              <a:gd name="connsiteY2853" fmla="*/ 3373613 h 8402012"/>
              <a:gd name="connsiteX2854" fmla="*/ 17186584 w 21052572"/>
              <a:gd name="connsiteY2854" fmla="*/ 3381122 h 8402012"/>
              <a:gd name="connsiteX2855" fmla="*/ 17147892 w 21052572"/>
              <a:gd name="connsiteY2855" fmla="*/ 3348874 h 8402012"/>
              <a:gd name="connsiteX2856" fmla="*/ 15902792 w 21052572"/>
              <a:gd name="connsiteY2856" fmla="*/ 3325880 h 8402012"/>
              <a:gd name="connsiteX2857" fmla="*/ 15864012 w 21052572"/>
              <a:gd name="connsiteY2857" fmla="*/ 3383949 h 8402012"/>
              <a:gd name="connsiteX2858" fmla="*/ 15941572 w 21052572"/>
              <a:gd name="connsiteY2858" fmla="*/ 3383949 h 8402012"/>
              <a:gd name="connsiteX2859" fmla="*/ 15902792 w 21052572"/>
              <a:gd name="connsiteY2859" fmla="*/ 3325880 h 8402012"/>
              <a:gd name="connsiteX2860" fmla="*/ 14190455 w 21052572"/>
              <a:gd name="connsiteY2860" fmla="*/ 3323987 h 8402012"/>
              <a:gd name="connsiteX2861" fmla="*/ 14222561 w 21052572"/>
              <a:gd name="connsiteY2861" fmla="*/ 3348580 h 8402012"/>
              <a:gd name="connsiteX2862" fmla="*/ 14190455 w 21052572"/>
              <a:gd name="connsiteY2862" fmla="*/ 3323987 h 8402012"/>
              <a:gd name="connsiteX2863" fmla="*/ 17076960 w 21052572"/>
              <a:gd name="connsiteY2863" fmla="*/ 3323082 h 8402012"/>
              <a:gd name="connsiteX2864" fmla="*/ 17115652 w 21052572"/>
              <a:gd name="connsiteY2864" fmla="*/ 3348874 h 8402012"/>
              <a:gd name="connsiteX2865" fmla="*/ 17127324 w 21052572"/>
              <a:gd name="connsiteY2865" fmla="*/ 3359402 h 8402012"/>
              <a:gd name="connsiteX2866" fmla="*/ 17124348 w 21052572"/>
              <a:gd name="connsiteY2866" fmla="*/ 3350065 h 8402012"/>
              <a:gd name="connsiteX2867" fmla="*/ 17127344 w 21052572"/>
              <a:gd name="connsiteY2867" fmla="*/ 3343431 h 8402012"/>
              <a:gd name="connsiteX2868" fmla="*/ 17129120 w 21052572"/>
              <a:gd name="connsiteY2868" fmla="*/ 3339489 h 8402012"/>
              <a:gd name="connsiteX2869" fmla="*/ 17128548 w 21052572"/>
              <a:gd name="connsiteY2869" fmla="*/ 3339202 h 8402012"/>
              <a:gd name="connsiteX2870" fmla="*/ 17109200 w 21052572"/>
              <a:gd name="connsiteY2870" fmla="*/ 3329530 h 8402012"/>
              <a:gd name="connsiteX2871" fmla="*/ 17076960 w 21052572"/>
              <a:gd name="connsiteY2871" fmla="*/ 3323082 h 8402012"/>
              <a:gd name="connsiteX2872" fmla="*/ 16767872 w 21052572"/>
              <a:gd name="connsiteY2872" fmla="*/ 3322576 h 8402012"/>
              <a:gd name="connsiteX2873" fmla="*/ 16749910 w 21052572"/>
              <a:gd name="connsiteY2873" fmla="*/ 3349875 h 8402012"/>
              <a:gd name="connsiteX2874" fmla="*/ 16767872 w 21052572"/>
              <a:gd name="connsiteY2874" fmla="*/ 3322576 h 8402012"/>
              <a:gd name="connsiteX2875" fmla="*/ 16037952 w 21052572"/>
              <a:gd name="connsiteY2875" fmla="*/ 3322576 h 8402012"/>
              <a:gd name="connsiteX2876" fmla="*/ 16019990 w 21052572"/>
              <a:gd name="connsiteY2876" fmla="*/ 3349875 h 8402012"/>
              <a:gd name="connsiteX2877" fmla="*/ 16037952 w 21052572"/>
              <a:gd name="connsiteY2877" fmla="*/ 3322576 h 8402012"/>
              <a:gd name="connsiteX2878" fmla="*/ 885577 w 21052572"/>
              <a:gd name="connsiteY2878" fmla="*/ 3305285 h 8402012"/>
              <a:gd name="connsiteX2879" fmla="*/ 885577 w 21052572"/>
              <a:gd name="connsiteY2879" fmla="*/ 3337527 h 8402012"/>
              <a:gd name="connsiteX2880" fmla="*/ 955422 w 21052572"/>
              <a:gd name="connsiteY2880" fmla="*/ 3350421 h 8402012"/>
              <a:gd name="connsiteX2881" fmla="*/ 885577 w 21052572"/>
              <a:gd name="connsiteY2881" fmla="*/ 3305285 h 8402012"/>
              <a:gd name="connsiteX2882" fmla="*/ 16211220 w 21052572"/>
              <a:gd name="connsiteY2882" fmla="*/ 3303146 h 8402012"/>
              <a:gd name="connsiteX2883" fmla="*/ 16222706 w 21052572"/>
              <a:gd name="connsiteY2883" fmla="*/ 3305706 h 8402012"/>
              <a:gd name="connsiteX2884" fmla="*/ 16209580 w 21052572"/>
              <a:gd name="connsiteY2884" fmla="*/ 3326180 h 8402012"/>
              <a:gd name="connsiteX2885" fmla="*/ 16211220 w 21052572"/>
              <a:gd name="connsiteY2885" fmla="*/ 3303146 h 8402012"/>
              <a:gd name="connsiteX2886" fmla="*/ 18424056 w 21052572"/>
              <a:gd name="connsiteY2886" fmla="*/ 3303145 h 8402012"/>
              <a:gd name="connsiteX2887" fmla="*/ 18431164 w 21052572"/>
              <a:gd name="connsiteY2887" fmla="*/ 3305706 h 8402012"/>
              <a:gd name="connsiteX2888" fmla="*/ 18423040 w 21052572"/>
              <a:gd name="connsiteY2888" fmla="*/ 3326179 h 8402012"/>
              <a:gd name="connsiteX2889" fmla="*/ 18424056 w 21052572"/>
              <a:gd name="connsiteY2889" fmla="*/ 3303145 h 8402012"/>
              <a:gd name="connsiteX2890" fmla="*/ 16129004 w 21052572"/>
              <a:gd name="connsiteY2890" fmla="*/ 3294139 h 8402012"/>
              <a:gd name="connsiteX2891" fmla="*/ 16146966 w 21052572"/>
              <a:gd name="connsiteY2891" fmla="*/ 3326247 h 8402012"/>
              <a:gd name="connsiteX2892" fmla="*/ 16129004 w 21052572"/>
              <a:gd name="connsiteY2892" fmla="*/ 3294139 h 8402012"/>
              <a:gd name="connsiteX2893" fmla="*/ 13185628 w 21052572"/>
              <a:gd name="connsiteY2893" fmla="*/ 3294139 h 8402012"/>
              <a:gd name="connsiteX2894" fmla="*/ 13203590 w 21052572"/>
              <a:gd name="connsiteY2894" fmla="*/ 3326248 h 8402012"/>
              <a:gd name="connsiteX2895" fmla="*/ 13185628 w 21052572"/>
              <a:gd name="connsiteY2895" fmla="*/ 3294139 h 8402012"/>
              <a:gd name="connsiteX2896" fmla="*/ 14132588 w 21052572"/>
              <a:gd name="connsiteY2896" fmla="*/ 3294136 h 8402012"/>
              <a:gd name="connsiteX2897" fmla="*/ 14114813 w 21052572"/>
              <a:gd name="connsiteY2897" fmla="*/ 3349980 h 8402012"/>
              <a:gd name="connsiteX2898" fmla="*/ 14132588 w 21052572"/>
              <a:gd name="connsiteY2898" fmla="*/ 3294136 h 8402012"/>
              <a:gd name="connsiteX2899" fmla="*/ 13298330 w 21052572"/>
              <a:gd name="connsiteY2899" fmla="*/ 3290807 h 8402012"/>
              <a:gd name="connsiteX2900" fmla="*/ 13261466 w 21052572"/>
              <a:gd name="connsiteY2900" fmla="*/ 3321551 h 8402012"/>
              <a:gd name="connsiteX2901" fmla="*/ 13298330 w 21052572"/>
              <a:gd name="connsiteY2901" fmla="*/ 3290807 h 8402012"/>
              <a:gd name="connsiteX2902" fmla="*/ 15466530 w 21052572"/>
              <a:gd name="connsiteY2902" fmla="*/ 3262042 h 8402012"/>
              <a:gd name="connsiteX2903" fmla="*/ 15485820 w 21052572"/>
              <a:gd name="connsiteY2903" fmla="*/ 3294499 h 8402012"/>
              <a:gd name="connsiteX2904" fmla="*/ 15466530 w 21052572"/>
              <a:gd name="connsiteY2904" fmla="*/ 3262042 h 8402012"/>
              <a:gd name="connsiteX2905" fmla="*/ 13602725 w 21052572"/>
              <a:gd name="connsiteY2905" fmla="*/ 3260959 h 8402012"/>
              <a:gd name="connsiteX2906" fmla="*/ 13620687 w 21052572"/>
              <a:gd name="connsiteY2906" fmla="*/ 3293065 h 8402012"/>
              <a:gd name="connsiteX2907" fmla="*/ 13602725 w 21052572"/>
              <a:gd name="connsiteY2907" fmla="*/ 3260959 h 8402012"/>
              <a:gd name="connsiteX2908" fmla="*/ 13454796 w 21052572"/>
              <a:gd name="connsiteY2908" fmla="*/ 3260959 h 8402012"/>
              <a:gd name="connsiteX2909" fmla="*/ 13436834 w 21052572"/>
              <a:gd name="connsiteY2909" fmla="*/ 3293065 h 8402012"/>
              <a:gd name="connsiteX2910" fmla="*/ 13454796 w 21052572"/>
              <a:gd name="connsiteY2910" fmla="*/ 3260959 h 8402012"/>
              <a:gd name="connsiteX2911" fmla="*/ 16767872 w 21052572"/>
              <a:gd name="connsiteY2911" fmla="*/ 3260958 h 8402012"/>
              <a:gd name="connsiteX2912" fmla="*/ 16749910 w 21052572"/>
              <a:gd name="connsiteY2912" fmla="*/ 3293064 h 8402012"/>
              <a:gd name="connsiteX2913" fmla="*/ 16767872 w 21052572"/>
              <a:gd name="connsiteY2913" fmla="*/ 3260958 h 8402012"/>
              <a:gd name="connsiteX2914" fmla="*/ 13659603 w 21052572"/>
              <a:gd name="connsiteY2914" fmla="*/ 3260958 h 8402012"/>
              <a:gd name="connsiteX2915" fmla="*/ 13677565 w 21052572"/>
              <a:gd name="connsiteY2915" fmla="*/ 3293065 h 8402012"/>
              <a:gd name="connsiteX2916" fmla="*/ 13659603 w 21052572"/>
              <a:gd name="connsiteY2916" fmla="*/ 3260958 h 8402012"/>
              <a:gd name="connsiteX2917" fmla="*/ 15800996 w 21052572"/>
              <a:gd name="connsiteY2917" fmla="*/ 3257333 h 8402012"/>
              <a:gd name="connsiteX2918" fmla="*/ 15838158 w 21052572"/>
              <a:gd name="connsiteY2918" fmla="*/ 3267815 h 8402012"/>
              <a:gd name="connsiteX2919" fmla="*/ 15959884 w 21052572"/>
              <a:gd name="connsiteY2919" fmla="*/ 3293621 h 8402012"/>
              <a:gd name="connsiteX2920" fmla="*/ 16011590 w 21052572"/>
              <a:gd name="connsiteY2920" fmla="*/ 3428033 h 8402012"/>
              <a:gd name="connsiteX2921" fmla="*/ 16191486 w 21052572"/>
              <a:gd name="connsiteY2921" fmla="*/ 3473196 h 8402012"/>
              <a:gd name="connsiteX2922" fmla="*/ 16359532 w 21052572"/>
              <a:gd name="connsiteY2922" fmla="*/ 3518357 h 8402012"/>
              <a:gd name="connsiteX2923" fmla="*/ 16416624 w 21052572"/>
              <a:gd name="connsiteY2923" fmla="*/ 3531260 h 8402012"/>
              <a:gd name="connsiteX2924" fmla="*/ 16429550 w 21052572"/>
              <a:gd name="connsiteY2924" fmla="*/ 3601152 h 8402012"/>
              <a:gd name="connsiteX2925" fmla="*/ 15779990 w 21052572"/>
              <a:gd name="connsiteY2925" fmla="*/ 3434486 h 8402012"/>
              <a:gd name="connsiteX2926" fmla="*/ 15805842 w 21052572"/>
              <a:gd name="connsiteY2926" fmla="*/ 3293621 h 8402012"/>
              <a:gd name="connsiteX2927" fmla="*/ 15773526 w 21052572"/>
              <a:gd name="connsiteY2927" fmla="*/ 3280718 h 8402012"/>
              <a:gd name="connsiteX2928" fmla="*/ 15800996 w 21052572"/>
              <a:gd name="connsiteY2928" fmla="*/ 3257333 h 8402012"/>
              <a:gd name="connsiteX2929" fmla="*/ 18247672 w 21052572"/>
              <a:gd name="connsiteY2929" fmla="*/ 3246739 h 8402012"/>
              <a:gd name="connsiteX2930" fmla="*/ 18326424 w 21052572"/>
              <a:gd name="connsiteY2930" fmla="*/ 3253360 h 8402012"/>
              <a:gd name="connsiteX2931" fmla="*/ 18339548 w 21052572"/>
              <a:gd name="connsiteY2931" fmla="*/ 3326211 h 8402012"/>
              <a:gd name="connsiteX2932" fmla="*/ 18247672 w 21052572"/>
              <a:gd name="connsiteY2932" fmla="*/ 3246739 h 8402012"/>
              <a:gd name="connsiteX2933" fmla="*/ 12501896 w 21052572"/>
              <a:gd name="connsiteY2933" fmla="*/ 3235127 h 8402012"/>
              <a:gd name="connsiteX2934" fmla="*/ 12527670 w 21052572"/>
              <a:gd name="connsiteY2934" fmla="*/ 3260813 h 8402012"/>
              <a:gd name="connsiteX2935" fmla="*/ 12501896 w 21052572"/>
              <a:gd name="connsiteY2935" fmla="*/ 3235127 h 8402012"/>
              <a:gd name="connsiteX2936" fmla="*/ 20109360 w 21052572"/>
              <a:gd name="connsiteY2936" fmla="*/ 3233928 h 8402012"/>
              <a:gd name="connsiteX2937" fmla="*/ 20072468 w 21052572"/>
              <a:gd name="connsiteY2937" fmla="*/ 3258524 h 8402012"/>
              <a:gd name="connsiteX2938" fmla="*/ 20109360 w 21052572"/>
              <a:gd name="connsiteY2938" fmla="*/ 3233928 h 8402012"/>
              <a:gd name="connsiteX2939" fmla="*/ 12586468 w 21052572"/>
              <a:gd name="connsiteY2939" fmla="*/ 3233522 h 8402012"/>
              <a:gd name="connsiteX2940" fmla="*/ 12559888 w 21052572"/>
              <a:gd name="connsiteY2940" fmla="*/ 3235127 h 8402012"/>
              <a:gd name="connsiteX2941" fmla="*/ 12598550 w 21052572"/>
              <a:gd name="connsiteY2941" fmla="*/ 3260813 h 8402012"/>
              <a:gd name="connsiteX2942" fmla="*/ 12586468 w 21052572"/>
              <a:gd name="connsiteY2942" fmla="*/ 3233522 h 8402012"/>
              <a:gd name="connsiteX2943" fmla="*/ 18090192 w 21052572"/>
              <a:gd name="connsiteY2943" fmla="*/ 3213562 h 8402012"/>
              <a:gd name="connsiteX2944" fmla="*/ 18039120 w 21052572"/>
              <a:gd name="connsiteY2944" fmla="*/ 3259856 h 8402012"/>
              <a:gd name="connsiteX2945" fmla="*/ 18090192 w 21052572"/>
              <a:gd name="connsiteY2945" fmla="*/ 3213562 h 8402012"/>
              <a:gd name="connsiteX2946" fmla="*/ 15644776 w 21052572"/>
              <a:gd name="connsiteY2946" fmla="*/ 3205553 h 8402012"/>
              <a:gd name="connsiteX2947" fmla="*/ 15658736 w 21052572"/>
              <a:gd name="connsiteY2947" fmla="*/ 3213048 h 8402012"/>
              <a:gd name="connsiteX2948" fmla="*/ 15602894 w 21052572"/>
              <a:gd name="connsiteY2948" fmla="*/ 3231492 h 8402012"/>
              <a:gd name="connsiteX2949" fmla="*/ 15644776 w 21052572"/>
              <a:gd name="connsiteY2949" fmla="*/ 3205553 h 8402012"/>
              <a:gd name="connsiteX2950" fmla="*/ 12830147 w 21052572"/>
              <a:gd name="connsiteY2950" fmla="*/ 3204081 h 8402012"/>
              <a:gd name="connsiteX2951" fmla="*/ 12843275 w 21052572"/>
              <a:gd name="connsiteY2951" fmla="*/ 3236186 h 8402012"/>
              <a:gd name="connsiteX2952" fmla="*/ 12830147 w 21052572"/>
              <a:gd name="connsiteY2952" fmla="*/ 3204081 h 8402012"/>
              <a:gd name="connsiteX2953" fmla="*/ 15963116 w 21052572"/>
              <a:gd name="connsiteY2953" fmla="*/ 3204080 h 8402012"/>
              <a:gd name="connsiteX2954" fmla="*/ 16000008 w 21052572"/>
              <a:gd name="connsiteY2954" fmla="*/ 3204080 h 8402012"/>
              <a:gd name="connsiteX2955" fmla="*/ 16000008 w 21052572"/>
              <a:gd name="connsiteY2955" fmla="*/ 3236186 h 8402012"/>
              <a:gd name="connsiteX2956" fmla="*/ 15963116 w 21052572"/>
              <a:gd name="connsiteY2956" fmla="*/ 3236186 h 8402012"/>
              <a:gd name="connsiteX2957" fmla="*/ 15963116 w 21052572"/>
              <a:gd name="connsiteY2957" fmla="*/ 3204080 h 8402012"/>
              <a:gd name="connsiteX2958" fmla="*/ 12996038 w 21052572"/>
              <a:gd name="connsiteY2958" fmla="*/ 3204080 h 8402012"/>
              <a:gd name="connsiteX2959" fmla="*/ 13014000 w 21052572"/>
              <a:gd name="connsiteY2959" fmla="*/ 3236186 h 8402012"/>
              <a:gd name="connsiteX2960" fmla="*/ 12996038 w 21052572"/>
              <a:gd name="connsiteY2960" fmla="*/ 3204080 h 8402012"/>
              <a:gd name="connsiteX2961" fmla="*/ 12957122 w 21052572"/>
              <a:gd name="connsiteY2961" fmla="*/ 3204080 h 8402012"/>
              <a:gd name="connsiteX2962" fmla="*/ 12939160 w 21052572"/>
              <a:gd name="connsiteY2962" fmla="*/ 3236186 h 8402012"/>
              <a:gd name="connsiteX2963" fmla="*/ 12957122 w 21052572"/>
              <a:gd name="connsiteY2963" fmla="*/ 3204080 h 8402012"/>
              <a:gd name="connsiteX2964" fmla="*/ 16056886 w 21052572"/>
              <a:gd name="connsiteY2964" fmla="*/ 3201217 h 8402012"/>
              <a:gd name="connsiteX2965" fmla="*/ 16019994 w 21052572"/>
              <a:gd name="connsiteY2965" fmla="*/ 3234284 h 8402012"/>
              <a:gd name="connsiteX2966" fmla="*/ 16056886 w 21052572"/>
              <a:gd name="connsiteY2966" fmla="*/ 3201217 h 8402012"/>
              <a:gd name="connsiteX2967" fmla="*/ 17167240 w 21052572"/>
              <a:gd name="connsiteY2967" fmla="*/ 3200567 h 8402012"/>
              <a:gd name="connsiteX2968" fmla="*/ 17167240 w 21052572"/>
              <a:gd name="connsiteY2968" fmla="*/ 3258601 h 8402012"/>
              <a:gd name="connsiteX2969" fmla="*/ 17191960 w 21052572"/>
              <a:gd name="connsiteY2969" fmla="*/ 3258601 h 8402012"/>
              <a:gd name="connsiteX2970" fmla="*/ 17243548 w 21052572"/>
              <a:gd name="connsiteY2970" fmla="*/ 3258601 h 8402012"/>
              <a:gd name="connsiteX2971" fmla="*/ 17411212 w 21052572"/>
              <a:gd name="connsiteY2971" fmla="*/ 3303739 h 8402012"/>
              <a:gd name="connsiteX2972" fmla="*/ 17308032 w 21052572"/>
              <a:gd name="connsiteY2972" fmla="*/ 3245706 h 8402012"/>
              <a:gd name="connsiteX2973" fmla="*/ 17167240 w 21052572"/>
              <a:gd name="connsiteY2973" fmla="*/ 3200567 h 8402012"/>
              <a:gd name="connsiteX2974" fmla="*/ 12898229 w 21052572"/>
              <a:gd name="connsiteY2974" fmla="*/ 3196698 h 8402012"/>
              <a:gd name="connsiteX2975" fmla="*/ 12919170 w 21052572"/>
              <a:gd name="connsiteY2975" fmla="*/ 3232598 h 8402012"/>
              <a:gd name="connsiteX2976" fmla="*/ 12863326 w 21052572"/>
              <a:gd name="connsiteY2976" fmla="*/ 3199963 h 8402012"/>
              <a:gd name="connsiteX2977" fmla="*/ 12898229 w 21052572"/>
              <a:gd name="connsiteY2977" fmla="*/ 3196698 h 8402012"/>
              <a:gd name="connsiteX2978" fmla="*/ 18188292 w 21052572"/>
              <a:gd name="connsiteY2978" fmla="*/ 3196697 h 8402012"/>
              <a:gd name="connsiteX2979" fmla="*/ 18222916 w 21052572"/>
              <a:gd name="connsiteY2979" fmla="*/ 3199962 h 8402012"/>
              <a:gd name="connsiteX2980" fmla="*/ 18167092 w 21052572"/>
              <a:gd name="connsiteY2980" fmla="*/ 3232596 h 8402012"/>
              <a:gd name="connsiteX2981" fmla="*/ 18188292 w 21052572"/>
              <a:gd name="connsiteY2981" fmla="*/ 3196697 h 8402012"/>
              <a:gd name="connsiteX2982" fmla="*/ 11401461 w 21052572"/>
              <a:gd name="connsiteY2982" fmla="*/ 3194061 h 8402012"/>
              <a:gd name="connsiteX2983" fmla="*/ 11353099 w 21052572"/>
              <a:gd name="connsiteY2983" fmla="*/ 3202121 h 8402012"/>
              <a:gd name="connsiteX2984" fmla="*/ 11430479 w 21052572"/>
              <a:gd name="connsiteY2984" fmla="*/ 3234361 h 8402012"/>
              <a:gd name="connsiteX2985" fmla="*/ 11401461 w 21052572"/>
              <a:gd name="connsiteY2985" fmla="*/ 3194061 h 8402012"/>
              <a:gd name="connsiteX2986" fmla="*/ 15654530 w 21052572"/>
              <a:gd name="connsiteY2986" fmla="*/ 3192852 h 8402012"/>
              <a:gd name="connsiteX2987" fmla="*/ 15663512 w 21052572"/>
              <a:gd name="connsiteY2987" fmla="*/ 3201833 h 8402012"/>
              <a:gd name="connsiteX2988" fmla="*/ 15645550 w 21052572"/>
              <a:gd name="connsiteY2988" fmla="*/ 3201833 h 8402012"/>
              <a:gd name="connsiteX2989" fmla="*/ 15654530 w 21052572"/>
              <a:gd name="connsiteY2989" fmla="*/ 3192852 h 8402012"/>
              <a:gd name="connsiteX2990" fmla="*/ 12674799 w 21052572"/>
              <a:gd name="connsiteY2990" fmla="*/ 3170912 h 8402012"/>
              <a:gd name="connsiteX2991" fmla="*/ 12674799 w 21052572"/>
              <a:gd name="connsiteY2991" fmla="*/ 3235127 h 8402012"/>
              <a:gd name="connsiteX2992" fmla="*/ 12700574 w 21052572"/>
              <a:gd name="connsiteY2992" fmla="*/ 3235127 h 8402012"/>
              <a:gd name="connsiteX2993" fmla="*/ 12765010 w 21052572"/>
              <a:gd name="connsiteY2993" fmla="*/ 3235127 h 8402012"/>
              <a:gd name="connsiteX2994" fmla="*/ 12803672 w 21052572"/>
              <a:gd name="connsiteY2994" fmla="*/ 3254393 h 8402012"/>
              <a:gd name="connsiteX2995" fmla="*/ 12719904 w 21052572"/>
              <a:gd name="connsiteY2995" fmla="*/ 3280078 h 8402012"/>
              <a:gd name="connsiteX2996" fmla="*/ 12604994 w 21052572"/>
              <a:gd name="connsiteY2996" fmla="*/ 3286500 h 8402012"/>
              <a:gd name="connsiteX2997" fmla="*/ 12335436 w 21052572"/>
              <a:gd name="connsiteY2997" fmla="*/ 3325029 h 8402012"/>
              <a:gd name="connsiteX2998" fmla="*/ 12239856 w 21052572"/>
              <a:gd name="connsiteY2998" fmla="*/ 3337872 h 8402012"/>
              <a:gd name="connsiteX2999" fmla="*/ 12175419 w 21052572"/>
              <a:gd name="connsiteY2999" fmla="*/ 3350714 h 8402012"/>
              <a:gd name="connsiteX3000" fmla="*/ 12188307 w 21052572"/>
              <a:gd name="connsiteY3000" fmla="*/ 3388176 h 8402012"/>
              <a:gd name="connsiteX3001" fmla="*/ 12239856 w 21052572"/>
              <a:gd name="connsiteY3001" fmla="*/ 3375345 h 8402012"/>
              <a:gd name="connsiteX3002" fmla="*/ 12309661 w 21052572"/>
              <a:gd name="connsiteY3002" fmla="*/ 3382825 h 8402012"/>
              <a:gd name="connsiteX3003" fmla="*/ 12283887 w 21052572"/>
              <a:gd name="connsiteY3003" fmla="*/ 3426704 h 8402012"/>
              <a:gd name="connsiteX3004" fmla="*/ 12028290 w 21052572"/>
              <a:gd name="connsiteY3004" fmla="*/ 3471657 h 8402012"/>
              <a:gd name="connsiteX3005" fmla="*/ 11489175 w 21052572"/>
              <a:gd name="connsiteY3005" fmla="*/ 3567978 h 8402012"/>
              <a:gd name="connsiteX3006" fmla="*/ 11540724 w 21052572"/>
              <a:gd name="connsiteY3006" fmla="*/ 3529449 h 8402012"/>
              <a:gd name="connsiteX3007" fmla="*/ 11469844 w 21052572"/>
              <a:gd name="connsiteY3007" fmla="*/ 3478076 h 8402012"/>
              <a:gd name="connsiteX3008" fmla="*/ 11489175 w 21052572"/>
              <a:gd name="connsiteY3008" fmla="*/ 3413862 h 8402012"/>
              <a:gd name="connsiteX3009" fmla="*/ 11527836 w 21052572"/>
              <a:gd name="connsiteY3009" fmla="*/ 3407441 h 8402012"/>
              <a:gd name="connsiteX3010" fmla="*/ 11618047 w 21052572"/>
              <a:gd name="connsiteY3010" fmla="*/ 3401019 h 8402012"/>
              <a:gd name="connsiteX3011" fmla="*/ 11585829 w 21052572"/>
              <a:gd name="connsiteY3011" fmla="*/ 3490920 h 8402012"/>
              <a:gd name="connsiteX3012" fmla="*/ 11745845 w 21052572"/>
              <a:gd name="connsiteY3012" fmla="*/ 3452390 h 8402012"/>
              <a:gd name="connsiteX3013" fmla="*/ 11790951 w 21052572"/>
              <a:gd name="connsiteY3013" fmla="*/ 3465234 h 8402012"/>
              <a:gd name="connsiteX3014" fmla="*/ 11854313 w 21052572"/>
              <a:gd name="connsiteY3014" fmla="*/ 3445969 h 8402012"/>
              <a:gd name="connsiteX3015" fmla="*/ 11810281 w 21052572"/>
              <a:gd name="connsiteY3015" fmla="*/ 3368897 h 8402012"/>
              <a:gd name="connsiteX3016" fmla="*/ 12008959 w 21052572"/>
              <a:gd name="connsiteY3016" fmla="*/ 3305765 h 8402012"/>
              <a:gd name="connsiteX3017" fmla="*/ 12233412 w 21052572"/>
              <a:gd name="connsiteY3017" fmla="*/ 3260813 h 8402012"/>
              <a:gd name="connsiteX3018" fmla="*/ 12674799 w 21052572"/>
              <a:gd name="connsiteY3018" fmla="*/ 3170912 h 8402012"/>
              <a:gd name="connsiteX3019" fmla="*/ 14980989 w 21052572"/>
              <a:gd name="connsiteY3019" fmla="*/ 3170904 h 8402012"/>
              <a:gd name="connsiteX3020" fmla="*/ 14963027 w 21052572"/>
              <a:gd name="connsiteY3020" fmla="*/ 3203012 h 8402012"/>
              <a:gd name="connsiteX3021" fmla="*/ 14980989 w 21052572"/>
              <a:gd name="connsiteY3021" fmla="*/ 3170904 h 8402012"/>
              <a:gd name="connsiteX3022" fmla="*/ 12810191 w 21052572"/>
              <a:gd name="connsiteY3022" fmla="*/ 3170904 h 8402012"/>
              <a:gd name="connsiteX3023" fmla="*/ 12792229 w 21052572"/>
              <a:gd name="connsiteY3023" fmla="*/ 3203013 h 8402012"/>
              <a:gd name="connsiteX3024" fmla="*/ 12810191 w 21052572"/>
              <a:gd name="connsiteY3024" fmla="*/ 3170904 h 8402012"/>
              <a:gd name="connsiteX3025" fmla="*/ 20014596 w 21052572"/>
              <a:gd name="connsiteY3025" fmla="*/ 3170903 h 8402012"/>
              <a:gd name="connsiteX3026" fmla="*/ 19996632 w 21052572"/>
              <a:gd name="connsiteY3026" fmla="*/ 3203011 h 8402012"/>
              <a:gd name="connsiteX3027" fmla="*/ 20014596 w 21052572"/>
              <a:gd name="connsiteY3027" fmla="*/ 3170903 h 8402012"/>
              <a:gd name="connsiteX3028" fmla="*/ 15943158 w 21052572"/>
              <a:gd name="connsiteY3028" fmla="*/ 3170903 h 8402012"/>
              <a:gd name="connsiteX3029" fmla="*/ 15925194 w 21052572"/>
              <a:gd name="connsiteY3029" fmla="*/ 3203012 h 8402012"/>
              <a:gd name="connsiteX3030" fmla="*/ 15943158 w 21052572"/>
              <a:gd name="connsiteY3030" fmla="*/ 3170903 h 8402012"/>
              <a:gd name="connsiteX3031" fmla="*/ 19185112 w 21052572"/>
              <a:gd name="connsiteY3031" fmla="*/ 3167569 h 8402012"/>
              <a:gd name="connsiteX3032" fmla="*/ 19148220 w 21052572"/>
              <a:gd name="connsiteY3032" fmla="*/ 3198313 h 8402012"/>
              <a:gd name="connsiteX3033" fmla="*/ 19185112 w 21052572"/>
              <a:gd name="connsiteY3033" fmla="*/ 3167569 h 8402012"/>
              <a:gd name="connsiteX3034" fmla="*/ 11504367 w 21052572"/>
              <a:gd name="connsiteY3034" fmla="*/ 3167062 h 8402012"/>
              <a:gd name="connsiteX3035" fmla="*/ 11468095 w 21052572"/>
              <a:gd name="connsiteY3035" fmla="*/ 3169883 h 8402012"/>
              <a:gd name="connsiteX3036" fmla="*/ 11526130 w 21052572"/>
              <a:gd name="connsiteY3036" fmla="*/ 3202121 h 8402012"/>
              <a:gd name="connsiteX3037" fmla="*/ 11504367 w 21052572"/>
              <a:gd name="connsiteY3037" fmla="*/ 3167062 h 8402012"/>
              <a:gd name="connsiteX3038" fmla="*/ 13156298 w 21052572"/>
              <a:gd name="connsiteY3038" fmla="*/ 3161176 h 8402012"/>
              <a:gd name="connsiteX3039" fmla="*/ 13203484 w 21052572"/>
              <a:gd name="connsiteY3039" fmla="*/ 3168815 h 8402012"/>
              <a:gd name="connsiteX3040" fmla="*/ 13124012 w 21052572"/>
              <a:gd name="connsiteY3040" fmla="*/ 3200975 h 8402012"/>
              <a:gd name="connsiteX3041" fmla="*/ 13156298 w 21052572"/>
              <a:gd name="connsiteY3041" fmla="*/ 3161176 h 8402012"/>
              <a:gd name="connsiteX3042" fmla="*/ 14881790 w 21052572"/>
              <a:gd name="connsiteY3042" fmla="*/ 3159429 h 8402012"/>
              <a:gd name="connsiteX3043" fmla="*/ 14924008 w 21052572"/>
              <a:gd name="connsiteY3043" fmla="*/ 3169798 h 8402012"/>
              <a:gd name="connsiteX3044" fmla="*/ 14924008 w 21052572"/>
              <a:gd name="connsiteY3044" fmla="*/ 3202976 h 8402012"/>
              <a:gd name="connsiteX3045" fmla="*/ 14844539 w 21052572"/>
              <a:gd name="connsiteY3045" fmla="*/ 3183070 h 8402012"/>
              <a:gd name="connsiteX3046" fmla="*/ 14881790 w 21052572"/>
              <a:gd name="connsiteY3046" fmla="*/ 3159429 h 8402012"/>
              <a:gd name="connsiteX3047" fmla="*/ 17943300 w 21052572"/>
              <a:gd name="connsiteY3047" fmla="*/ 3139596 h 8402012"/>
              <a:gd name="connsiteX3048" fmla="*/ 17906408 w 21052572"/>
              <a:gd name="connsiteY3048" fmla="*/ 3171561 h 8402012"/>
              <a:gd name="connsiteX3049" fmla="*/ 17943300 w 21052572"/>
              <a:gd name="connsiteY3049" fmla="*/ 3139596 h 8402012"/>
              <a:gd name="connsiteX3050" fmla="*/ 19673720 w 21052572"/>
              <a:gd name="connsiteY3050" fmla="*/ 3139159 h 8402012"/>
              <a:gd name="connsiteX3051" fmla="*/ 19715936 w 21052572"/>
              <a:gd name="connsiteY3051" fmla="*/ 3150585 h 8402012"/>
              <a:gd name="connsiteX3052" fmla="*/ 19709616 w 21052572"/>
              <a:gd name="connsiteY3052" fmla="*/ 3169770 h 8402012"/>
              <a:gd name="connsiteX3053" fmla="*/ 19660112 w 21052572"/>
              <a:gd name="connsiteY3053" fmla="*/ 3150585 h 8402012"/>
              <a:gd name="connsiteX3054" fmla="*/ 19673720 w 21052572"/>
              <a:gd name="connsiteY3054" fmla="*/ 3139159 h 8402012"/>
              <a:gd name="connsiteX3055" fmla="*/ 11616407 w 21052572"/>
              <a:gd name="connsiteY3055" fmla="*/ 3138718 h 8402012"/>
              <a:gd name="connsiteX3056" fmla="*/ 11654023 w 21052572"/>
              <a:gd name="connsiteY3056" fmla="*/ 3169883 h 8402012"/>
              <a:gd name="connsiteX3057" fmla="*/ 11616407 w 21052572"/>
              <a:gd name="connsiteY3057" fmla="*/ 3138718 h 8402012"/>
              <a:gd name="connsiteX3058" fmla="*/ 11314409 w 21052572"/>
              <a:gd name="connsiteY3058" fmla="*/ 3138718 h 8402012"/>
              <a:gd name="connsiteX3059" fmla="*/ 11089791 w 21052572"/>
              <a:gd name="connsiteY3059" fmla="*/ 3182777 h 8402012"/>
              <a:gd name="connsiteX3060" fmla="*/ 11044652 w 21052572"/>
              <a:gd name="connsiteY3060" fmla="*/ 3195674 h 8402012"/>
              <a:gd name="connsiteX3061" fmla="*/ 11007037 w 21052572"/>
              <a:gd name="connsiteY3061" fmla="*/ 3234361 h 8402012"/>
              <a:gd name="connsiteX3062" fmla="*/ 10916760 w 21052572"/>
              <a:gd name="connsiteY3062" fmla="*/ 3253706 h 8402012"/>
              <a:gd name="connsiteX3063" fmla="*/ 10705038 w 21052572"/>
              <a:gd name="connsiteY3063" fmla="*/ 3337527 h 8402012"/>
              <a:gd name="connsiteX3064" fmla="*/ 10601865 w 21052572"/>
              <a:gd name="connsiteY3064" fmla="*/ 3382670 h 8402012"/>
              <a:gd name="connsiteX3065" fmla="*/ 10564249 w 21052572"/>
              <a:gd name="connsiteY3065" fmla="*/ 3413830 h 8402012"/>
              <a:gd name="connsiteX3066" fmla="*/ 10788867 w 21052572"/>
              <a:gd name="connsiteY3066" fmla="*/ 3350421 h 8402012"/>
              <a:gd name="connsiteX3067" fmla="*/ 10743729 w 21052572"/>
              <a:gd name="connsiteY3067" fmla="*/ 3407382 h 8402012"/>
              <a:gd name="connsiteX3068" fmla="*/ 10679245 w 21052572"/>
              <a:gd name="connsiteY3068" fmla="*/ 3452516 h 8402012"/>
              <a:gd name="connsiteX3069" fmla="*/ 10596491 w 21052572"/>
              <a:gd name="connsiteY3069" fmla="*/ 3478308 h 8402012"/>
              <a:gd name="connsiteX3070" fmla="*/ 10551352 w 21052572"/>
              <a:gd name="connsiteY3070" fmla="*/ 3510547 h 8402012"/>
              <a:gd name="connsiteX3071" fmla="*/ 10487943 w 21052572"/>
              <a:gd name="connsiteY3071" fmla="*/ 3510547 h 8402012"/>
              <a:gd name="connsiteX3072" fmla="*/ 10601865 w 21052572"/>
              <a:gd name="connsiteY3072" fmla="*/ 3510547 h 8402012"/>
              <a:gd name="connsiteX3073" fmla="*/ 10705038 w 21052572"/>
              <a:gd name="connsiteY3073" fmla="*/ 3478308 h 8402012"/>
              <a:gd name="connsiteX3074" fmla="*/ 10763074 w 21052572"/>
              <a:gd name="connsiteY3074" fmla="*/ 3478308 h 8402012"/>
              <a:gd name="connsiteX3075" fmla="*/ 10807138 w 21052572"/>
              <a:gd name="connsiteY3075" fmla="*/ 3510547 h 8402012"/>
              <a:gd name="connsiteX3076" fmla="*/ 10807138 w 21052572"/>
              <a:gd name="connsiteY3076" fmla="*/ 3446069 h 8402012"/>
              <a:gd name="connsiteX3077" fmla="*/ 10916760 w 21052572"/>
              <a:gd name="connsiteY3077" fmla="*/ 3478308 h 8402012"/>
              <a:gd name="connsiteX3078" fmla="*/ 10884518 w 21052572"/>
              <a:gd name="connsiteY3078" fmla="*/ 3446069 h 8402012"/>
              <a:gd name="connsiteX3079" fmla="*/ 10920167 w 21052572"/>
              <a:gd name="connsiteY3079" fmla="*/ 3413206 h 8402012"/>
              <a:gd name="connsiteX3080" fmla="*/ 10936750 w 21052572"/>
              <a:gd name="connsiteY3080" fmla="*/ 3416184 h 8402012"/>
              <a:gd name="connsiteX3081" fmla="*/ 10935748 w 21052572"/>
              <a:gd name="connsiteY3081" fmla="*/ 3412066 h 8402012"/>
              <a:gd name="connsiteX3082" fmla="*/ 10938954 w 21052572"/>
              <a:gd name="connsiteY3082" fmla="*/ 3402320 h 8402012"/>
              <a:gd name="connsiteX3083" fmla="*/ 10936105 w 21052572"/>
              <a:gd name="connsiteY3083" fmla="*/ 3400935 h 8402012"/>
              <a:gd name="connsiteX3084" fmla="*/ 10939921 w 21052572"/>
              <a:gd name="connsiteY3084" fmla="*/ 3399383 h 8402012"/>
              <a:gd name="connsiteX3085" fmla="*/ 10940238 w 21052572"/>
              <a:gd name="connsiteY3085" fmla="*/ 3398418 h 8402012"/>
              <a:gd name="connsiteX3086" fmla="*/ 10940672 w 21052572"/>
              <a:gd name="connsiteY3086" fmla="*/ 3399077 h 8402012"/>
              <a:gd name="connsiteX3087" fmla="*/ 11066550 w 21052572"/>
              <a:gd name="connsiteY3087" fmla="*/ 3347869 h 8402012"/>
              <a:gd name="connsiteX3088" fmla="*/ 11192965 w 21052572"/>
              <a:gd name="connsiteY3088" fmla="*/ 3298846 h 8402012"/>
              <a:gd name="connsiteX3089" fmla="*/ 11269270 w 21052572"/>
              <a:gd name="connsiteY3089" fmla="*/ 3266602 h 8402012"/>
              <a:gd name="connsiteX3090" fmla="*/ 11314409 w 21052572"/>
              <a:gd name="connsiteY3090" fmla="*/ 3138718 h 8402012"/>
              <a:gd name="connsiteX3091" fmla="*/ 15828898 w 21052572"/>
              <a:gd name="connsiteY3091" fmla="*/ 3138563 h 8402012"/>
              <a:gd name="connsiteX3092" fmla="*/ 15852278 w 21052572"/>
              <a:gd name="connsiteY3092" fmla="*/ 3149757 h 8402012"/>
              <a:gd name="connsiteX3093" fmla="*/ 15852278 w 21052572"/>
              <a:gd name="connsiteY3093" fmla="*/ 3194601 h 8402012"/>
              <a:gd name="connsiteX3094" fmla="*/ 15773526 w 21052572"/>
              <a:gd name="connsiteY3094" fmla="*/ 3201164 h 8402012"/>
              <a:gd name="connsiteX3095" fmla="*/ 15828898 w 21052572"/>
              <a:gd name="connsiteY3095" fmla="*/ 3138563 h 8402012"/>
              <a:gd name="connsiteX3096" fmla="*/ 20128348 w 21052572"/>
              <a:gd name="connsiteY3096" fmla="*/ 3137724 h 8402012"/>
              <a:gd name="connsiteX3097" fmla="*/ 20110384 w 21052572"/>
              <a:gd name="connsiteY3097" fmla="*/ 3169793 h 8402012"/>
              <a:gd name="connsiteX3098" fmla="*/ 20128348 w 21052572"/>
              <a:gd name="connsiteY3098" fmla="*/ 3137724 h 8402012"/>
              <a:gd name="connsiteX3099" fmla="*/ 19848704 w 21052572"/>
              <a:gd name="connsiteY3099" fmla="*/ 3137724 h 8402012"/>
              <a:gd name="connsiteX3100" fmla="*/ 19830740 w 21052572"/>
              <a:gd name="connsiteY3100" fmla="*/ 3169793 h 8402012"/>
              <a:gd name="connsiteX3101" fmla="*/ 19848704 w 21052572"/>
              <a:gd name="connsiteY3101" fmla="*/ 3137724 h 8402012"/>
              <a:gd name="connsiteX3102" fmla="*/ 14754483 w 21052572"/>
              <a:gd name="connsiteY3102" fmla="*/ 3137724 h 8402012"/>
              <a:gd name="connsiteX3103" fmla="*/ 14843480 w 21052572"/>
              <a:gd name="connsiteY3103" fmla="*/ 3150995 h 8402012"/>
              <a:gd name="connsiteX3104" fmla="*/ 14754483 w 21052572"/>
              <a:gd name="connsiteY3104" fmla="*/ 3137724 h 8402012"/>
              <a:gd name="connsiteX3105" fmla="*/ 14038779 w 21052572"/>
              <a:gd name="connsiteY3105" fmla="*/ 3137724 h 8402012"/>
              <a:gd name="connsiteX3106" fmla="*/ 14056741 w 21052572"/>
              <a:gd name="connsiteY3106" fmla="*/ 3169794 h 8402012"/>
              <a:gd name="connsiteX3107" fmla="*/ 14038779 w 21052572"/>
              <a:gd name="connsiteY3107" fmla="*/ 3137724 h 8402012"/>
              <a:gd name="connsiteX3108" fmla="*/ 13393180 w 21052572"/>
              <a:gd name="connsiteY3108" fmla="*/ 3137724 h 8402012"/>
              <a:gd name="connsiteX3109" fmla="*/ 13375218 w 21052572"/>
              <a:gd name="connsiteY3109" fmla="*/ 3169794 h 8402012"/>
              <a:gd name="connsiteX3110" fmla="*/ 13393180 w 21052572"/>
              <a:gd name="connsiteY3110" fmla="*/ 3137724 h 8402012"/>
              <a:gd name="connsiteX3111" fmla="*/ 19615152 w 21052572"/>
              <a:gd name="connsiteY3111" fmla="*/ 3127169 h 8402012"/>
              <a:gd name="connsiteX3112" fmla="*/ 19614560 w 21052572"/>
              <a:gd name="connsiteY3112" fmla="*/ 3129476 h 8402012"/>
              <a:gd name="connsiteX3113" fmla="*/ 19612712 w 21052572"/>
              <a:gd name="connsiteY3113" fmla="*/ 3136659 h 8402012"/>
              <a:gd name="connsiteX3114" fmla="*/ 19617112 w 21052572"/>
              <a:gd name="connsiteY3114" fmla="*/ 3119540 h 8402012"/>
              <a:gd name="connsiteX3115" fmla="*/ 19615152 w 21052572"/>
              <a:gd name="connsiteY3115" fmla="*/ 3127169 h 8402012"/>
              <a:gd name="connsiteX3116" fmla="*/ 19616480 w 21052572"/>
              <a:gd name="connsiteY3116" fmla="*/ 3121992 h 8402012"/>
              <a:gd name="connsiteX3117" fmla="*/ 18432520 w 21052572"/>
              <a:gd name="connsiteY3117" fmla="*/ 3118767 h 8402012"/>
              <a:gd name="connsiteX3118" fmla="*/ 18587852 w 21052572"/>
              <a:gd name="connsiteY3118" fmla="*/ 3151581 h 8402012"/>
              <a:gd name="connsiteX3119" fmla="*/ 18529604 w 21052572"/>
              <a:gd name="connsiteY3119" fmla="*/ 3202988 h 8402012"/>
              <a:gd name="connsiteX3120" fmla="*/ 18432520 w 21052572"/>
              <a:gd name="connsiteY3120" fmla="*/ 3118767 h 8402012"/>
              <a:gd name="connsiteX3121" fmla="*/ 16711994 w 21052572"/>
              <a:gd name="connsiteY3121" fmla="*/ 3118764 h 8402012"/>
              <a:gd name="connsiteX3122" fmla="*/ 16867320 w 21052572"/>
              <a:gd name="connsiteY3122" fmla="*/ 3137724 h 8402012"/>
              <a:gd name="connsiteX3123" fmla="*/ 16711994 w 21052572"/>
              <a:gd name="connsiteY3123" fmla="*/ 3118764 h 8402012"/>
              <a:gd name="connsiteX3124" fmla="*/ 19618252 w 21052572"/>
              <a:gd name="connsiteY3124" fmla="*/ 3115111 h 8402012"/>
              <a:gd name="connsiteX3125" fmla="*/ 19617636 w 21052572"/>
              <a:gd name="connsiteY3125" fmla="*/ 3117506 h 8402012"/>
              <a:gd name="connsiteX3126" fmla="*/ 19617112 w 21052572"/>
              <a:gd name="connsiteY3126" fmla="*/ 3119540 h 8402012"/>
              <a:gd name="connsiteX3127" fmla="*/ 19635128 w 21052572"/>
              <a:gd name="connsiteY3127" fmla="*/ 3114978 h 8402012"/>
              <a:gd name="connsiteX3128" fmla="*/ 19654344 w 21052572"/>
              <a:gd name="connsiteY3128" fmla="*/ 3117386 h 8402012"/>
              <a:gd name="connsiteX3129" fmla="*/ 19629748 w 21052572"/>
              <a:gd name="connsiteY3129" fmla="*/ 3136652 h 8402012"/>
              <a:gd name="connsiteX3130" fmla="*/ 19635128 w 21052572"/>
              <a:gd name="connsiteY3130" fmla="*/ 3114978 h 8402012"/>
              <a:gd name="connsiteX3131" fmla="*/ 11994711 w 21052572"/>
              <a:gd name="connsiteY3131" fmla="*/ 3106481 h 8402012"/>
              <a:gd name="connsiteX3132" fmla="*/ 12014056 w 21052572"/>
              <a:gd name="connsiteY3132" fmla="*/ 3169883 h 8402012"/>
              <a:gd name="connsiteX3133" fmla="*/ 11994711 w 21052572"/>
              <a:gd name="connsiteY3133" fmla="*/ 3106481 h 8402012"/>
              <a:gd name="connsiteX3134" fmla="*/ 19967092 w 21052572"/>
              <a:gd name="connsiteY3134" fmla="*/ 3106419 h 8402012"/>
              <a:gd name="connsiteX3135" fmla="*/ 19920796 w 21052572"/>
              <a:gd name="connsiteY3135" fmla="*/ 3139486 h 8402012"/>
              <a:gd name="connsiteX3136" fmla="*/ 19967092 w 21052572"/>
              <a:gd name="connsiteY3136" fmla="*/ 3106419 h 8402012"/>
              <a:gd name="connsiteX3137" fmla="*/ 19338524 w 21052572"/>
              <a:gd name="connsiteY3137" fmla="*/ 3105569 h 8402012"/>
              <a:gd name="connsiteX3138" fmla="*/ 19357880 w 21052572"/>
              <a:gd name="connsiteY3138" fmla="*/ 3137801 h 8402012"/>
              <a:gd name="connsiteX3139" fmla="*/ 19338524 w 21052572"/>
              <a:gd name="connsiteY3139" fmla="*/ 3105569 h 8402012"/>
              <a:gd name="connsiteX3140" fmla="*/ 12958120 w 21052572"/>
              <a:gd name="connsiteY3140" fmla="*/ 3104543 h 8402012"/>
              <a:gd name="connsiteX3141" fmla="*/ 12976082 w 21052572"/>
              <a:gd name="connsiteY3141" fmla="*/ 3136652 h 8402012"/>
              <a:gd name="connsiteX3142" fmla="*/ 12958120 w 21052572"/>
              <a:gd name="connsiteY3142" fmla="*/ 3104543 h 8402012"/>
              <a:gd name="connsiteX3143" fmla="*/ 18039120 w 21052572"/>
              <a:gd name="connsiteY3143" fmla="*/ 3104542 h 8402012"/>
              <a:gd name="connsiteX3144" fmla="*/ 18052244 w 21052572"/>
              <a:gd name="connsiteY3144" fmla="*/ 3136652 h 8402012"/>
              <a:gd name="connsiteX3145" fmla="*/ 18039120 w 21052572"/>
              <a:gd name="connsiteY3145" fmla="*/ 3104542 h 8402012"/>
              <a:gd name="connsiteX3146" fmla="*/ 13849192 w 21052572"/>
              <a:gd name="connsiteY3146" fmla="*/ 3104542 h 8402012"/>
              <a:gd name="connsiteX3147" fmla="*/ 13862317 w 21052572"/>
              <a:gd name="connsiteY3147" fmla="*/ 3136652 h 8402012"/>
              <a:gd name="connsiteX3148" fmla="*/ 13849192 w 21052572"/>
              <a:gd name="connsiteY3148" fmla="*/ 3104542 h 8402012"/>
              <a:gd name="connsiteX3149" fmla="*/ 13203590 w 21052572"/>
              <a:gd name="connsiteY3149" fmla="*/ 3104542 h 8402012"/>
              <a:gd name="connsiteX3150" fmla="*/ 13185628 w 21052572"/>
              <a:gd name="connsiteY3150" fmla="*/ 3136652 h 8402012"/>
              <a:gd name="connsiteX3151" fmla="*/ 13203590 w 21052572"/>
              <a:gd name="connsiteY3151" fmla="*/ 3104542 h 8402012"/>
              <a:gd name="connsiteX3152" fmla="*/ 13124012 w 21052572"/>
              <a:gd name="connsiteY3152" fmla="*/ 3104542 h 8402012"/>
              <a:gd name="connsiteX3153" fmla="*/ 13170307 w 21052572"/>
              <a:gd name="connsiteY3153" fmla="*/ 3104542 h 8402012"/>
              <a:gd name="connsiteX3154" fmla="*/ 13170307 w 21052572"/>
              <a:gd name="connsiteY3154" fmla="*/ 3136652 h 8402012"/>
              <a:gd name="connsiteX3155" fmla="*/ 13124012 w 21052572"/>
              <a:gd name="connsiteY3155" fmla="*/ 3136652 h 8402012"/>
              <a:gd name="connsiteX3156" fmla="*/ 13124012 w 21052572"/>
              <a:gd name="connsiteY3156" fmla="*/ 3104542 h 8402012"/>
              <a:gd name="connsiteX3157" fmla="*/ 20431688 w 21052572"/>
              <a:gd name="connsiteY3157" fmla="*/ 3104541 h 8402012"/>
              <a:gd name="connsiteX3158" fmla="*/ 20413728 w 21052572"/>
              <a:gd name="connsiteY3158" fmla="*/ 3136650 h 8402012"/>
              <a:gd name="connsiteX3159" fmla="*/ 20431688 w 21052572"/>
              <a:gd name="connsiteY3159" fmla="*/ 3104541 h 8402012"/>
              <a:gd name="connsiteX3160" fmla="*/ 20090428 w 21052572"/>
              <a:gd name="connsiteY3160" fmla="*/ 3104541 h 8402012"/>
              <a:gd name="connsiteX3161" fmla="*/ 20072468 w 21052572"/>
              <a:gd name="connsiteY3161" fmla="*/ 3136652 h 8402012"/>
              <a:gd name="connsiteX3162" fmla="*/ 20090428 w 21052572"/>
              <a:gd name="connsiteY3162" fmla="*/ 3104541 h 8402012"/>
              <a:gd name="connsiteX3163" fmla="*/ 19810784 w 21052572"/>
              <a:gd name="connsiteY3163" fmla="*/ 3104541 h 8402012"/>
              <a:gd name="connsiteX3164" fmla="*/ 19792824 w 21052572"/>
              <a:gd name="connsiteY3164" fmla="*/ 3136652 h 8402012"/>
              <a:gd name="connsiteX3165" fmla="*/ 19810784 w 21052572"/>
              <a:gd name="connsiteY3165" fmla="*/ 3104541 h 8402012"/>
              <a:gd name="connsiteX3166" fmla="*/ 17749992 w 21052572"/>
              <a:gd name="connsiteY3166" fmla="*/ 3085585 h 8402012"/>
              <a:gd name="connsiteX3167" fmla="*/ 17862696 w 21052572"/>
              <a:gd name="connsiteY3167" fmla="*/ 3118398 h 8402012"/>
              <a:gd name="connsiteX3168" fmla="*/ 17768952 w 21052572"/>
              <a:gd name="connsiteY3168" fmla="*/ 3169805 h 8402012"/>
              <a:gd name="connsiteX3169" fmla="*/ 17781592 w 21052572"/>
              <a:gd name="connsiteY3169" fmla="*/ 3131523 h 8402012"/>
              <a:gd name="connsiteX3170" fmla="*/ 17749992 w 21052572"/>
              <a:gd name="connsiteY3170" fmla="*/ 3085585 h 8402012"/>
              <a:gd name="connsiteX3171" fmla="*/ 14427442 w 21052572"/>
              <a:gd name="connsiteY3171" fmla="*/ 3085584 h 8402012"/>
              <a:gd name="connsiteX3172" fmla="*/ 14715494 w 21052572"/>
              <a:gd name="connsiteY3172" fmla="*/ 3105268 h 8402012"/>
              <a:gd name="connsiteX3173" fmla="*/ 14619120 w 21052572"/>
              <a:gd name="connsiteY3173" fmla="*/ 3144648 h 8402012"/>
              <a:gd name="connsiteX3174" fmla="*/ 14522746 w 21052572"/>
              <a:gd name="connsiteY3174" fmla="*/ 3138085 h 8402012"/>
              <a:gd name="connsiteX3175" fmla="*/ 14427442 w 21052572"/>
              <a:gd name="connsiteY3175" fmla="*/ 3085584 h 8402012"/>
              <a:gd name="connsiteX3176" fmla="*/ 19759008 w 21052572"/>
              <a:gd name="connsiteY3176" fmla="*/ 3076766 h 8402012"/>
              <a:gd name="connsiteX3177" fmla="*/ 19772840 w 21052572"/>
              <a:gd name="connsiteY3177" fmla="*/ 3108181 h 8402012"/>
              <a:gd name="connsiteX3178" fmla="*/ 19735948 w 21052572"/>
              <a:gd name="connsiteY3178" fmla="*/ 3094954 h 8402012"/>
              <a:gd name="connsiteX3179" fmla="*/ 19759008 w 21052572"/>
              <a:gd name="connsiteY3179" fmla="*/ 3076766 h 8402012"/>
              <a:gd name="connsiteX3180" fmla="*/ 19905580 w 21052572"/>
              <a:gd name="connsiteY3180" fmla="*/ 3076105 h 8402012"/>
              <a:gd name="connsiteX3181" fmla="*/ 19887620 w 21052572"/>
              <a:gd name="connsiteY3181" fmla="*/ 3108214 h 8402012"/>
              <a:gd name="connsiteX3182" fmla="*/ 19905580 w 21052572"/>
              <a:gd name="connsiteY3182" fmla="*/ 3076105 h 8402012"/>
              <a:gd name="connsiteX3183" fmla="*/ 13260440 w 21052572"/>
              <a:gd name="connsiteY3183" fmla="*/ 3076102 h 8402012"/>
              <a:gd name="connsiteX3184" fmla="*/ 13223548 w 21052572"/>
              <a:gd name="connsiteY3184" fmla="*/ 3106847 h 8402012"/>
              <a:gd name="connsiteX3185" fmla="*/ 13260440 w 21052572"/>
              <a:gd name="connsiteY3185" fmla="*/ 3076102 h 8402012"/>
              <a:gd name="connsiteX3186" fmla="*/ 15044272 w 21052572"/>
              <a:gd name="connsiteY3186" fmla="*/ 3074878 h 8402012"/>
              <a:gd name="connsiteX3187" fmla="*/ 15127866 w 21052572"/>
              <a:gd name="connsiteY3187" fmla="*/ 3094351 h 8402012"/>
              <a:gd name="connsiteX3188" fmla="*/ 15389366 w 21052572"/>
              <a:gd name="connsiteY3188" fmla="*/ 3152773 h 8402012"/>
              <a:gd name="connsiteX3189" fmla="*/ 15203958 w 21052572"/>
              <a:gd name="connsiteY3189" fmla="*/ 3203621 h 8402012"/>
              <a:gd name="connsiteX3190" fmla="*/ 15485820 w 21052572"/>
              <a:gd name="connsiteY3190" fmla="*/ 3203621 h 8402012"/>
              <a:gd name="connsiteX3191" fmla="*/ 15434378 w 21052572"/>
              <a:gd name="connsiteY3191" fmla="*/ 3171165 h 8402012"/>
              <a:gd name="connsiteX3192" fmla="*/ 15524402 w 21052572"/>
              <a:gd name="connsiteY3192" fmla="*/ 3184146 h 8402012"/>
              <a:gd name="connsiteX3193" fmla="*/ 15581204 w 21052572"/>
              <a:gd name="connsiteY3193" fmla="*/ 3294499 h 8402012"/>
              <a:gd name="connsiteX3194" fmla="*/ 15543694 w 21052572"/>
              <a:gd name="connsiteY3194" fmla="*/ 3307482 h 8402012"/>
              <a:gd name="connsiteX3195" fmla="*/ 15574774 w 21052572"/>
              <a:gd name="connsiteY3195" fmla="*/ 3333448 h 8402012"/>
              <a:gd name="connsiteX3196" fmla="*/ 15677660 w 21052572"/>
              <a:gd name="connsiteY3196" fmla="*/ 3294499 h 8402012"/>
              <a:gd name="connsiteX3197" fmla="*/ 15658368 w 21052572"/>
              <a:gd name="connsiteY3197" fmla="*/ 3359411 h 8402012"/>
              <a:gd name="connsiteX3198" fmla="*/ 15613356 w 21052572"/>
              <a:gd name="connsiteY3198" fmla="*/ 3359411 h 8402012"/>
              <a:gd name="connsiteX3199" fmla="*/ 15524402 w 21052572"/>
              <a:gd name="connsiteY3199" fmla="*/ 3352919 h 8402012"/>
              <a:gd name="connsiteX3200" fmla="*/ 15357214 w 21052572"/>
              <a:gd name="connsiteY3200" fmla="*/ 3326957 h 8402012"/>
              <a:gd name="connsiteX3201" fmla="*/ 15018550 w 21052572"/>
              <a:gd name="connsiteY3201" fmla="*/ 3262042 h 8402012"/>
              <a:gd name="connsiteX3202" fmla="*/ 15063562 w 21052572"/>
              <a:gd name="connsiteY3202" fmla="*/ 3152773 h 8402012"/>
              <a:gd name="connsiteX3203" fmla="*/ 15165376 w 21052572"/>
              <a:gd name="connsiteY3203" fmla="*/ 3152773 h 8402012"/>
              <a:gd name="connsiteX3204" fmla="*/ 15095714 w 21052572"/>
              <a:gd name="connsiteY3204" fmla="*/ 3107335 h 8402012"/>
              <a:gd name="connsiteX3205" fmla="*/ 15076422 w 21052572"/>
              <a:gd name="connsiteY3205" fmla="*/ 3139790 h 8402012"/>
              <a:gd name="connsiteX3206" fmla="*/ 15050702 w 21052572"/>
              <a:gd name="connsiteY3206" fmla="*/ 3113825 h 8402012"/>
              <a:gd name="connsiteX3207" fmla="*/ 15024980 w 21052572"/>
              <a:gd name="connsiteY3207" fmla="*/ 3171165 h 8402012"/>
              <a:gd name="connsiteX3208" fmla="*/ 15044272 w 21052572"/>
              <a:gd name="connsiteY3208" fmla="*/ 3074878 h 8402012"/>
              <a:gd name="connsiteX3209" fmla="*/ 14143552 w 21052572"/>
              <a:gd name="connsiteY3209" fmla="*/ 3073450 h 8402012"/>
              <a:gd name="connsiteX3210" fmla="*/ 14156275 w 21052572"/>
              <a:gd name="connsiteY3210" fmla="*/ 3073450 h 8402012"/>
              <a:gd name="connsiteX3211" fmla="*/ 14145745 w 21052572"/>
              <a:gd name="connsiteY3211" fmla="*/ 3091452 h 8402012"/>
              <a:gd name="connsiteX3212" fmla="*/ 14146699 w 21052572"/>
              <a:gd name="connsiteY3212" fmla="*/ 3094064 h 8402012"/>
              <a:gd name="connsiteX3213" fmla="*/ 14133574 w 21052572"/>
              <a:gd name="connsiteY3213" fmla="*/ 3094064 h 8402012"/>
              <a:gd name="connsiteX3214" fmla="*/ 14140137 w 21052572"/>
              <a:gd name="connsiteY3214" fmla="*/ 3076102 h 8402012"/>
              <a:gd name="connsiteX3215" fmla="*/ 14144039 w 21052572"/>
              <a:gd name="connsiteY3215" fmla="*/ 3086783 h 8402012"/>
              <a:gd name="connsiteX3216" fmla="*/ 19491304 w 21052572"/>
              <a:gd name="connsiteY3216" fmla="*/ 3061880 h 8402012"/>
              <a:gd name="connsiteX3217" fmla="*/ 19491304 w 21052572"/>
              <a:gd name="connsiteY3217" fmla="*/ 3093988 h 8402012"/>
              <a:gd name="connsiteX3218" fmla="*/ 19491304 w 21052572"/>
              <a:gd name="connsiteY3218" fmla="*/ 3061880 h 8402012"/>
              <a:gd name="connsiteX3219" fmla="*/ 15613966 w 21052572"/>
              <a:gd name="connsiteY3219" fmla="*/ 3061376 h 8402012"/>
              <a:gd name="connsiteX3220" fmla="*/ 15748756 w 21052572"/>
              <a:gd name="connsiteY3220" fmla="*/ 3149818 h 8402012"/>
              <a:gd name="connsiteX3221" fmla="*/ 15665232 w 21052572"/>
              <a:gd name="connsiteY3221" fmla="*/ 3187000 h 8402012"/>
              <a:gd name="connsiteX3222" fmla="*/ 15633106 w 21052572"/>
              <a:gd name="connsiteY3222" fmla="*/ 3130693 h 8402012"/>
              <a:gd name="connsiteX3223" fmla="*/ 15549582 w 21052572"/>
              <a:gd name="connsiteY3223" fmla="*/ 3111573 h 8402012"/>
              <a:gd name="connsiteX3224" fmla="*/ 15460704 w 21052572"/>
              <a:gd name="connsiteY3224" fmla="*/ 3073328 h 8402012"/>
              <a:gd name="connsiteX3225" fmla="*/ 15613966 w 21052572"/>
              <a:gd name="connsiteY3225" fmla="*/ 3061376 h 8402012"/>
              <a:gd name="connsiteX3226" fmla="*/ 14137225 w 21052572"/>
              <a:gd name="connsiteY3226" fmla="*/ 3058554 h 8402012"/>
              <a:gd name="connsiteX3227" fmla="*/ 14000865 w 21052572"/>
              <a:gd name="connsiteY3227" fmla="*/ 3083149 h 8402012"/>
              <a:gd name="connsiteX3228" fmla="*/ 14137225 w 21052572"/>
              <a:gd name="connsiteY3228" fmla="*/ 3058554 h 8402012"/>
              <a:gd name="connsiteX3229" fmla="*/ 19725972 w 21052572"/>
              <a:gd name="connsiteY3229" fmla="*/ 3053635 h 8402012"/>
              <a:gd name="connsiteX3230" fmla="*/ 19734952 w 21052572"/>
              <a:gd name="connsiteY3230" fmla="*/ 3061312 h 8402012"/>
              <a:gd name="connsiteX3231" fmla="*/ 19722976 w 21052572"/>
              <a:gd name="connsiteY3231" fmla="*/ 3074963 h 8402012"/>
              <a:gd name="connsiteX3232" fmla="*/ 19716988 w 21052572"/>
              <a:gd name="connsiteY3232" fmla="*/ 3061312 h 8402012"/>
              <a:gd name="connsiteX3233" fmla="*/ 19725972 w 21052572"/>
              <a:gd name="connsiteY3233" fmla="*/ 3053635 h 8402012"/>
              <a:gd name="connsiteX3234" fmla="*/ 15374890 w 21052572"/>
              <a:gd name="connsiteY3234" fmla="*/ 3049345 h 8402012"/>
              <a:gd name="connsiteX3235" fmla="*/ 15388534 w 21052572"/>
              <a:gd name="connsiteY3235" fmla="*/ 3075031 h 8402012"/>
              <a:gd name="connsiteX3236" fmla="*/ 15356430 w 21052572"/>
              <a:gd name="connsiteY3236" fmla="*/ 3062187 h 8402012"/>
              <a:gd name="connsiteX3237" fmla="*/ 15374890 w 21052572"/>
              <a:gd name="connsiteY3237" fmla="*/ 3049345 h 8402012"/>
              <a:gd name="connsiteX3238" fmla="*/ 19867604 w 21052572"/>
              <a:gd name="connsiteY3238" fmla="*/ 3049072 h 8402012"/>
              <a:gd name="connsiteX3239" fmla="*/ 19830740 w 21052572"/>
              <a:gd name="connsiteY3239" fmla="*/ 3073668 h 8402012"/>
              <a:gd name="connsiteX3240" fmla="*/ 19867604 w 21052572"/>
              <a:gd name="connsiteY3240" fmla="*/ 3049072 h 8402012"/>
              <a:gd name="connsiteX3241" fmla="*/ 18958628 w 21052572"/>
              <a:gd name="connsiteY3241" fmla="*/ 3047664 h 8402012"/>
              <a:gd name="connsiteX3242" fmla="*/ 18976592 w 21052572"/>
              <a:gd name="connsiteY3242" fmla="*/ 3074964 h 8402012"/>
              <a:gd name="connsiteX3243" fmla="*/ 18958628 w 21052572"/>
              <a:gd name="connsiteY3243" fmla="*/ 3047664 h 8402012"/>
              <a:gd name="connsiteX3244" fmla="*/ 15436004 w 21052572"/>
              <a:gd name="connsiteY3244" fmla="*/ 3047664 h 8402012"/>
              <a:gd name="connsiteX3245" fmla="*/ 15418042 w 21052572"/>
              <a:gd name="connsiteY3245" fmla="*/ 3074964 h 8402012"/>
              <a:gd name="connsiteX3246" fmla="*/ 15436004 w 21052572"/>
              <a:gd name="connsiteY3246" fmla="*/ 3047664 h 8402012"/>
              <a:gd name="connsiteX3247" fmla="*/ 14981987 w 21052572"/>
              <a:gd name="connsiteY3247" fmla="*/ 3047664 h 8402012"/>
              <a:gd name="connsiteX3248" fmla="*/ 15018880 w 21052572"/>
              <a:gd name="connsiteY3248" fmla="*/ 3060507 h 8402012"/>
              <a:gd name="connsiteX3249" fmla="*/ 14981987 w 21052572"/>
              <a:gd name="connsiteY3249" fmla="*/ 3047664 h 8402012"/>
              <a:gd name="connsiteX3250" fmla="*/ 16471316 w 21052572"/>
              <a:gd name="connsiteY3250" fmla="*/ 3045891 h 8402012"/>
              <a:gd name="connsiteX3251" fmla="*/ 16490736 w 21052572"/>
              <a:gd name="connsiteY3251" fmla="*/ 3071485 h 8402012"/>
              <a:gd name="connsiteX3252" fmla="*/ 16471316 w 21052572"/>
              <a:gd name="connsiteY3252" fmla="*/ 3045891 h 8402012"/>
              <a:gd name="connsiteX3253" fmla="*/ 14333049 w 21052572"/>
              <a:gd name="connsiteY3253" fmla="*/ 3044416 h 8402012"/>
              <a:gd name="connsiteX3254" fmla="*/ 14296777 w 21052572"/>
              <a:gd name="connsiteY3254" fmla="*/ 3048447 h 8402012"/>
              <a:gd name="connsiteX3255" fmla="*/ 14354813 w 21052572"/>
              <a:gd name="connsiteY3255" fmla="*/ 3074240 h 8402012"/>
              <a:gd name="connsiteX3256" fmla="*/ 14333049 w 21052572"/>
              <a:gd name="connsiteY3256" fmla="*/ 3044416 h 8402012"/>
              <a:gd name="connsiteX3257" fmla="*/ 11750748 w 21052572"/>
              <a:gd name="connsiteY3257" fmla="*/ 3029103 h 8402012"/>
              <a:gd name="connsiteX3258" fmla="*/ 11333754 w 21052572"/>
              <a:gd name="connsiteY3258" fmla="*/ 3106481 h 8402012"/>
              <a:gd name="connsiteX3259" fmla="*/ 11404686 w 21052572"/>
              <a:gd name="connsiteY3259" fmla="*/ 3151613 h 8402012"/>
              <a:gd name="connsiteX3260" fmla="*/ 11532578 w 21052572"/>
              <a:gd name="connsiteY3260" fmla="*/ 3132271 h 8402012"/>
              <a:gd name="connsiteX3261" fmla="*/ 11660471 w 21052572"/>
              <a:gd name="connsiteY3261" fmla="*/ 3112926 h 8402012"/>
              <a:gd name="connsiteX3262" fmla="*/ 11687347 w 21052572"/>
              <a:gd name="connsiteY3262" fmla="*/ 3112926 h 8402012"/>
              <a:gd name="connsiteX3263" fmla="*/ 11683133 w 21052572"/>
              <a:gd name="connsiteY3263" fmla="*/ 3108712 h 8402012"/>
              <a:gd name="connsiteX3264" fmla="*/ 11692944 w 21052572"/>
              <a:gd name="connsiteY3264" fmla="*/ 3102206 h 8402012"/>
              <a:gd name="connsiteX3265" fmla="*/ 11695851 w 21052572"/>
              <a:gd name="connsiteY3265" fmla="*/ 3102420 h 8402012"/>
              <a:gd name="connsiteX3266" fmla="*/ 11692713 w 21052572"/>
              <a:gd name="connsiteY3266" fmla="*/ 3093583 h 8402012"/>
              <a:gd name="connsiteX3267" fmla="*/ 11750748 w 21052572"/>
              <a:gd name="connsiteY3267" fmla="*/ 3029103 h 8402012"/>
              <a:gd name="connsiteX3268" fmla="*/ 15348590 w 21052572"/>
              <a:gd name="connsiteY3268" fmla="*/ 3028233 h 8402012"/>
              <a:gd name="connsiteX3269" fmla="*/ 15360074 w 21052572"/>
              <a:gd name="connsiteY3269" fmla="*/ 3030792 h 8402012"/>
              <a:gd name="connsiteX3270" fmla="*/ 15346950 w 21052572"/>
              <a:gd name="connsiteY3270" fmla="*/ 3051267 h 8402012"/>
              <a:gd name="connsiteX3271" fmla="*/ 15348590 w 21052572"/>
              <a:gd name="connsiteY3271" fmla="*/ 3028233 h 8402012"/>
              <a:gd name="connsiteX3272" fmla="*/ 19687628 w 21052572"/>
              <a:gd name="connsiteY3272" fmla="*/ 3019060 h 8402012"/>
              <a:gd name="connsiteX3273" fmla="*/ 19715936 w 21052572"/>
              <a:gd name="connsiteY3273" fmla="*/ 3031460 h 8402012"/>
              <a:gd name="connsiteX3274" fmla="*/ 19709616 w 21052572"/>
              <a:gd name="connsiteY3274" fmla="*/ 3051301 h 8402012"/>
              <a:gd name="connsiteX3275" fmla="*/ 19660112 w 21052572"/>
              <a:gd name="connsiteY3275" fmla="*/ 3031460 h 8402012"/>
              <a:gd name="connsiteX3276" fmla="*/ 19687628 w 21052572"/>
              <a:gd name="connsiteY3276" fmla="*/ 3019060 h 8402012"/>
              <a:gd name="connsiteX3277" fmla="*/ 18886480 w 21052572"/>
              <a:gd name="connsiteY3277" fmla="*/ 3016359 h 8402012"/>
              <a:gd name="connsiteX3278" fmla="*/ 18849616 w 21052572"/>
              <a:gd name="connsiteY3278" fmla="*/ 3049425 h 8402012"/>
              <a:gd name="connsiteX3279" fmla="*/ 18886480 w 21052572"/>
              <a:gd name="connsiteY3279" fmla="*/ 3016359 h 8402012"/>
              <a:gd name="connsiteX3280" fmla="*/ 11770093 w 21052572"/>
              <a:gd name="connsiteY3280" fmla="*/ 3016207 h 8402012"/>
              <a:gd name="connsiteX3281" fmla="*/ 11789438 w 21052572"/>
              <a:gd name="connsiteY3281" fmla="*/ 3048447 h 8402012"/>
              <a:gd name="connsiteX3282" fmla="*/ 11770093 w 21052572"/>
              <a:gd name="connsiteY3282" fmla="*/ 3016207 h 8402012"/>
              <a:gd name="connsiteX3283" fmla="*/ 10653451 w 21052572"/>
              <a:gd name="connsiteY3283" fmla="*/ 3016207 h 8402012"/>
              <a:gd name="connsiteX3284" fmla="*/ 10672797 w 21052572"/>
              <a:gd name="connsiteY3284" fmla="*/ 3048447 h 8402012"/>
              <a:gd name="connsiteX3285" fmla="*/ 10653451 w 21052572"/>
              <a:gd name="connsiteY3285" fmla="*/ 3016207 h 8402012"/>
              <a:gd name="connsiteX3286" fmla="*/ 10634106 w 21052572"/>
              <a:gd name="connsiteY3286" fmla="*/ 3016207 h 8402012"/>
              <a:gd name="connsiteX3287" fmla="*/ 10621210 w 21052572"/>
              <a:gd name="connsiteY3287" fmla="*/ 3048447 h 8402012"/>
              <a:gd name="connsiteX3288" fmla="*/ 10634106 w 21052572"/>
              <a:gd name="connsiteY3288" fmla="*/ 3016207 h 8402012"/>
              <a:gd name="connsiteX3289" fmla="*/ 19976580 w 21052572"/>
              <a:gd name="connsiteY3289" fmla="*/ 3014484 h 8402012"/>
              <a:gd name="connsiteX3290" fmla="*/ 19963452 w 21052572"/>
              <a:gd name="connsiteY3290" fmla="*/ 3046589 h 8402012"/>
              <a:gd name="connsiteX3291" fmla="*/ 19976580 w 21052572"/>
              <a:gd name="connsiteY3291" fmla="*/ 3014484 h 8402012"/>
              <a:gd name="connsiteX3292" fmla="*/ 18564232 w 21052572"/>
              <a:gd name="connsiteY3292" fmla="*/ 3014484 h 8402012"/>
              <a:gd name="connsiteX3293" fmla="*/ 18546272 w 21052572"/>
              <a:gd name="connsiteY3293" fmla="*/ 3046590 h 8402012"/>
              <a:gd name="connsiteX3294" fmla="*/ 18564232 w 21052572"/>
              <a:gd name="connsiteY3294" fmla="*/ 3014484 h 8402012"/>
              <a:gd name="connsiteX3295" fmla="*/ 15640814 w 21052572"/>
              <a:gd name="connsiteY3295" fmla="*/ 3014484 h 8402012"/>
              <a:gd name="connsiteX3296" fmla="*/ 15658776 w 21052572"/>
              <a:gd name="connsiteY3296" fmla="*/ 3046590 h 8402012"/>
              <a:gd name="connsiteX3297" fmla="*/ 15640814 w 21052572"/>
              <a:gd name="connsiteY3297" fmla="*/ 3014484 h 8402012"/>
              <a:gd name="connsiteX3298" fmla="*/ 13993207 w 21052572"/>
              <a:gd name="connsiteY3298" fmla="*/ 3014484 h 8402012"/>
              <a:gd name="connsiteX3299" fmla="*/ 13999771 w 21052572"/>
              <a:gd name="connsiteY3299" fmla="*/ 3027609 h 8402012"/>
              <a:gd name="connsiteX3300" fmla="*/ 13993207 w 21052572"/>
              <a:gd name="connsiteY3300" fmla="*/ 3014484 h 8402012"/>
              <a:gd name="connsiteX3301" fmla="*/ 13883617 w 21052572"/>
              <a:gd name="connsiteY3301" fmla="*/ 3005006 h 8402012"/>
              <a:gd name="connsiteX3302" fmla="*/ 13877630 w 21052572"/>
              <a:gd name="connsiteY3302" fmla="*/ 3018656 h 8402012"/>
              <a:gd name="connsiteX3303" fmla="*/ 13883617 w 21052572"/>
              <a:gd name="connsiteY3303" fmla="*/ 3005006 h 8402012"/>
              <a:gd name="connsiteX3304" fmla="*/ 10730832 w 21052572"/>
              <a:gd name="connsiteY3304" fmla="*/ 2983968 h 8402012"/>
              <a:gd name="connsiteX3305" fmla="*/ 10769522 w 21052572"/>
              <a:gd name="connsiteY3305" fmla="*/ 2983968 h 8402012"/>
              <a:gd name="connsiteX3306" fmla="*/ 10730832 w 21052572"/>
              <a:gd name="connsiteY3306" fmla="*/ 2983968 h 8402012"/>
              <a:gd name="connsiteX3307" fmla="*/ 17905384 w 21052572"/>
              <a:gd name="connsiteY3307" fmla="*/ 2982714 h 8402012"/>
              <a:gd name="connsiteX3308" fmla="*/ 17868492 w 21052572"/>
              <a:gd name="connsiteY3308" fmla="*/ 3013458 h 8402012"/>
              <a:gd name="connsiteX3309" fmla="*/ 17905384 w 21052572"/>
              <a:gd name="connsiteY3309" fmla="*/ 2982714 h 8402012"/>
              <a:gd name="connsiteX3310" fmla="*/ 15489142 w 21052572"/>
              <a:gd name="connsiteY3310" fmla="*/ 2982714 h 8402012"/>
              <a:gd name="connsiteX3311" fmla="*/ 15526034 w 21052572"/>
              <a:gd name="connsiteY3311" fmla="*/ 3013459 h 8402012"/>
              <a:gd name="connsiteX3312" fmla="*/ 15489142 w 21052572"/>
              <a:gd name="connsiteY3312" fmla="*/ 2982714 h 8402012"/>
              <a:gd name="connsiteX3313" fmla="*/ 18266628 w 21052572"/>
              <a:gd name="connsiteY3313" fmla="*/ 2981307 h 8402012"/>
              <a:gd name="connsiteX3314" fmla="*/ 18279752 w 21052572"/>
              <a:gd name="connsiteY3314" fmla="*/ 3013415 h 8402012"/>
              <a:gd name="connsiteX3315" fmla="*/ 18266628 w 21052572"/>
              <a:gd name="connsiteY3315" fmla="*/ 2981307 h 8402012"/>
              <a:gd name="connsiteX3316" fmla="*/ 416894 w 21052572"/>
              <a:gd name="connsiteY3316" fmla="*/ 2981307 h 8402012"/>
              <a:gd name="connsiteX3317" fmla="*/ 472737 w 21052572"/>
              <a:gd name="connsiteY3317" fmla="*/ 3001148 h 8402012"/>
              <a:gd name="connsiteX3318" fmla="*/ 416894 w 21052572"/>
              <a:gd name="connsiteY3318" fmla="*/ 2981307 h 8402012"/>
              <a:gd name="connsiteX3319" fmla="*/ 955961 w 21052572"/>
              <a:gd name="connsiteY3319" fmla="*/ 2967983 h 8402012"/>
              <a:gd name="connsiteX3320" fmla="*/ 892023 w 21052572"/>
              <a:gd name="connsiteY3320" fmla="*/ 2972146 h 8402012"/>
              <a:gd name="connsiteX3321" fmla="*/ 1000565 w 21052572"/>
              <a:gd name="connsiteY3321" fmla="*/ 3016207 h 8402012"/>
              <a:gd name="connsiteX3322" fmla="*/ 955961 w 21052572"/>
              <a:gd name="connsiteY3322" fmla="*/ 2967983 h 8402012"/>
              <a:gd name="connsiteX3323" fmla="*/ 13060079 w 21052572"/>
              <a:gd name="connsiteY3323" fmla="*/ 2962897 h 8402012"/>
              <a:gd name="connsiteX3324" fmla="*/ 13058159 w 21052572"/>
              <a:gd name="connsiteY3324" fmla="*/ 2966150 h 8402012"/>
              <a:gd name="connsiteX3325" fmla="*/ 13057472 w 21052572"/>
              <a:gd name="connsiteY3325" fmla="*/ 2967312 h 8402012"/>
              <a:gd name="connsiteX3326" fmla="*/ 18448224 w 21052572"/>
              <a:gd name="connsiteY3326" fmla="*/ 2957672 h 8402012"/>
              <a:gd name="connsiteX3327" fmla="*/ 18497788 w 21052572"/>
              <a:gd name="connsiteY3327" fmla="*/ 2983181 h 8402012"/>
              <a:gd name="connsiteX3328" fmla="*/ 18432520 w 21052572"/>
              <a:gd name="connsiteY3328" fmla="*/ 2971232 h 8402012"/>
              <a:gd name="connsiteX3329" fmla="*/ 18448224 w 21052572"/>
              <a:gd name="connsiteY3329" fmla="*/ 2957672 h 8402012"/>
              <a:gd name="connsiteX3330" fmla="*/ 15436004 w 21052572"/>
              <a:gd name="connsiteY3330" fmla="*/ 2952867 h 8402012"/>
              <a:gd name="connsiteX3331" fmla="*/ 15418042 w 21052572"/>
              <a:gd name="connsiteY3331" fmla="*/ 2984939 h 8402012"/>
              <a:gd name="connsiteX3332" fmla="*/ 15436004 w 21052572"/>
              <a:gd name="connsiteY3332" fmla="*/ 2952867 h 8402012"/>
              <a:gd name="connsiteX3333" fmla="*/ 19886620 w 21052572"/>
              <a:gd name="connsiteY3333" fmla="*/ 2952866 h 8402012"/>
              <a:gd name="connsiteX3334" fmla="*/ 19868660 w 21052572"/>
              <a:gd name="connsiteY3334" fmla="*/ 2984939 h 8402012"/>
              <a:gd name="connsiteX3335" fmla="*/ 19886620 w 21052572"/>
              <a:gd name="connsiteY3335" fmla="*/ 2952866 h 8402012"/>
              <a:gd name="connsiteX3336" fmla="*/ 13065997 w 21052572"/>
              <a:gd name="connsiteY3336" fmla="*/ 2952866 h 8402012"/>
              <a:gd name="connsiteX3337" fmla="*/ 13060079 w 21052572"/>
              <a:gd name="connsiteY3337" fmla="*/ 2962897 h 8402012"/>
              <a:gd name="connsiteX3338" fmla="*/ 13062158 w 21052572"/>
              <a:gd name="connsiteY3338" fmla="*/ 2959372 h 8402012"/>
              <a:gd name="connsiteX3339" fmla="*/ 13065997 w 21052572"/>
              <a:gd name="connsiteY3339" fmla="*/ 2952866 h 8402012"/>
              <a:gd name="connsiteX3340" fmla="*/ 15351162 w 21052572"/>
              <a:gd name="connsiteY3340" fmla="*/ 2951202 h 8402012"/>
              <a:gd name="connsiteX3341" fmla="*/ 15374336 w 21052572"/>
              <a:gd name="connsiteY3341" fmla="*/ 2984916 h 8402012"/>
              <a:gd name="connsiteX3342" fmla="*/ 15318510 w 21052572"/>
              <a:gd name="connsiteY3342" fmla="*/ 2972502 h 8402012"/>
              <a:gd name="connsiteX3343" fmla="*/ 15351162 w 21052572"/>
              <a:gd name="connsiteY3343" fmla="*/ 2951202 h 8402012"/>
              <a:gd name="connsiteX3344" fmla="*/ 10882100 w 21052572"/>
              <a:gd name="connsiteY3344" fmla="*/ 2949445 h 8402012"/>
              <a:gd name="connsiteX3345" fmla="*/ 10845828 w 21052572"/>
              <a:gd name="connsiteY3345" fmla="*/ 2952806 h 8402012"/>
              <a:gd name="connsiteX3346" fmla="*/ 10903863 w 21052572"/>
              <a:gd name="connsiteY3346" fmla="*/ 2983968 h 8402012"/>
              <a:gd name="connsiteX3347" fmla="*/ 10882100 w 21052572"/>
              <a:gd name="connsiteY3347" fmla="*/ 2949445 h 8402012"/>
              <a:gd name="connsiteX3348" fmla="*/ 15301378 w 21052572"/>
              <a:gd name="connsiteY3348" fmla="*/ 2938647 h 8402012"/>
              <a:gd name="connsiteX3349" fmla="*/ 15299532 w 21052572"/>
              <a:gd name="connsiteY3349" fmla="*/ 2959415 h 8402012"/>
              <a:gd name="connsiteX3350" fmla="*/ 15298226 w 21052572"/>
              <a:gd name="connsiteY3350" fmla="*/ 2957220 h 8402012"/>
              <a:gd name="connsiteX3351" fmla="*/ 15303196 w 21052572"/>
              <a:gd name="connsiteY3351" fmla="*/ 2970825 h 8402012"/>
              <a:gd name="connsiteX3352" fmla="*/ 15292532 w 21052572"/>
              <a:gd name="connsiteY3352" fmla="*/ 2968580 h 8402012"/>
              <a:gd name="connsiteX3353" fmla="*/ 15296328 w 21052572"/>
              <a:gd name="connsiteY3353" fmla="*/ 2954034 h 8402012"/>
              <a:gd name="connsiteX3354" fmla="*/ 15294814 w 21052572"/>
              <a:gd name="connsiteY3354" fmla="*/ 2951488 h 8402012"/>
              <a:gd name="connsiteX3355" fmla="*/ 15301378 w 21052572"/>
              <a:gd name="connsiteY3355" fmla="*/ 2938647 h 8402012"/>
              <a:gd name="connsiteX3356" fmla="*/ 19834840 w 21052572"/>
              <a:gd name="connsiteY3356" fmla="*/ 2924938 h 8402012"/>
              <a:gd name="connsiteX3357" fmla="*/ 19848676 w 21052572"/>
              <a:gd name="connsiteY3357" fmla="*/ 2951840 h 8402012"/>
              <a:gd name="connsiteX3358" fmla="*/ 19811784 w 21052572"/>
              <a:gd name="connsiteY3358" fmla="*/ 2939541 h 8402012"/>
              <a:gd name="connsiteX3359" fmla="*/ 19834840 w 21052572"/>
              <a:gd name="connsiteY3359" fmla="*/ 2924938 h 8402012"/>
              <a:gd name="connsiteX3360" fmla="*/ 17397800 w 21052572"/>
              <a:gd name="connsiteY3360" fmla="*/ 2924426 h 8402012"/>
              <a:gd name="connsiteX3361" fmla="*/ 17443740 w 21052572"/>
              <a:gd name="connsiteY3361" fmla="*/ 2980249 h 8402012"/>
              <a:gd name="connsiteX3362" fmla="*/ 17445824 w 21052572"/>
              <a:gd name="connsiteY3362" fmla="*/ 2986272 h 8402012"/>
              <a:gd name="connsiteX3363" fmla="*/ 17447900 w 21052572"/>
              <a:gd name="connsiteY3363" fmla="*/ 2971826 h 8402012"/>
              <a:gd name="connsiteX3364" fmla="*/ 17451620 w 21052572"/>
              <a:gd name="connsiteY3364" fmla="*/ 2974059 h 8402012"/>
              <a:gd name="connsiteX3365" fmla="*/ 17485320 w 21052572"/>
              <a:gd name="connsiteY3365" fmla="*/ 2953747 h 8402012"/>
              <a:gd name="connsiteX3366" fmla="*/ 17519096 w 21052572"/>
              <a:gd name="connsiteY3366" fmla="*/ 2948875 h 8402012"/>
              <a:gd name="connsiteX3367" fmla="*/ 17715740 w 21052572"/>
              <a:gd name="connsiteY3367" fmla="*/ 3064347 h 8402012"/>
              <a:gd name="connsiteX3368" fmla="*/ 17587344 w 21052572"/>
              <a:gd name="connsiteY3368" fmla="*/ 3103452 h 8402012"/>
              <a:gd name="connsiteX3369" fmla="*/ 17516940 w 21052572"/>
              <a:gd name="connsiteY3369" fmla="*/ 3050637 h 8402012"/>
              <a:gd name="connsiteX3370" fmla="*/ 17459840 w 21052572"/>
              <a:gd name="connsiteY3370" fmla="*/ 2984049 h 8402012"/>
              <a:gd name="connsiteX3371" fmla="*/ 17447900 w 21052572"/>
              <a:gd name="connsiteY3371" fmla="*/ 3003900 h 8402012"/>
              <a:gd name="connsiteX3372" fmla="*/ 17447140 w 21052572"/>
              <a:gd name="connsiteY3372" fmla="*/ 2998318 h 8402012"/>
              <a:gd name="connsiteX3373" fmla="*/ 17408192 w 21052572"/>
              <a:gd name="connsiteY3373" fmla="*/ 2987359 h 8402012"/>
              <a:gd name="connsiteX3374" fmla="*/ 17366080 w 21052572"/>
              <a:gd name="connsiteY3374" fmla="*/ 2980249 h 8402012"/>
              <a:gd name="connsiteX3375" fmla="*/ 17397800 w 21052572"/>
              <a:gd name="connsiteY3375" fmla="*/ 2924426 h 8402012"/>
              <a:gd name="connsiteX3376" fmla="*/ 18394600 w 21052572"/>
              <a:gd name="connsiteY3376" fmla="*/ 2919691 h 8402012"/>
              <a:gd name="connsiteX3377" fmla="*/ 18431464 w 21052572"/>
              <a:gd name="connsiteY3377" fmla="*/ 2940002 h 8402012"/>
              <a:gd name="connsiteX3378" fmla="*/ 18394600 w 21052572"/>
              <a:gd name="connsiteY3378" fmla="*/ 2919691 h 8402012"/>
              <a:gd name="connsiteX3379" fmla="*/ 17242848 w 21052572"/>
              <a:gd name="connsiteY3379" fmla="*/ 2919691 h 8402012"/>
              <a:gd name="connsiteX3380" fmla="*/ 17312876 w 21052572"/>
              <a:gd name="connsiteY3380" fmla="*/ 2939596 h 8402012"/>
              <a:gd name="connsiteX3381" fmla="*/ 17242848 w 21052572"/>
              <a:gd name="connsiteY3381" fmla="*/ 2919691 h 8402012"/>
              <a:gd name="connsiteX3382" fmla="*/ 19711224 w 21052572"/>
              <a:gd name="connsiteY3382" fmla="*/ 2919688 h 8402012"/>
              <a:gd name="connsiteX3383" fmla="*/ 19674332 w 21052572"/>
              <a:gd name="connsiteY3383" fmla="*/ 2951282 h 8402012"/>
              <a:gd name="connsiteX3384" fmla="*/ 19711224 w 21052572"/>
              <a:gd name="connsiteY3384" fmla="*/ 2919688 h 8402012"/>
              <a:gd name="connsiteX3385" fmla="*/ 18693204 w 21052572"/>
              <a:gd name="connsiteY3385" fmla="*/ 2919688 h 8402012"/>
              <a:gd name="connsiteX3386" fmla="*/ 18730096 w 21052572"/>
              <a:gd name="connsiteY3386" fmla="*/ 2938645 h 8402012"/>
              <a:gd name="connsiteX3387" fmla="*/ 18693204 w 21052572"/>
              <a:gd name="connsiteY3387" fmla="*/ 2919688 h 8402012"/>
              <a:gd name="connsiteX3388" fmla="*/ 17767928 w 21052572"/>
              <a:gd name="connsiteY3388" fmla="*/ 2919688 h 8402012"/>
              <a:gd name="connsiteX3389" fmla="*/ 17731036 w 21052572"/>
              <a:gd name="connsiteY3389" fmla="*/ 2951284 h 8402012"/>
              <a:gd name="connsiteX3390" fmla="*/ 17767928 w 21052572"/>
              <a:gd name="connsiteY3390" fmla="*/ 2919688 h 8402012"/>
              <a:gd name="connsiteX3391" fmla="*/ 14564890 w 21052572"/>
              <a:gd name="connsiteY3391" fmla="*/ 2919688 h 8402012"/>
              <a:gd name="connsiteX3392" fmla="*/ 14601782 w 21052572"/>
              <a:gd name="connsiteY3392" fmla="*/ 2951284 h 8402012"/>
              <a:gd name="connsiteX3393" fmla="*/ 14564890 w 21052572"/>
              <a:gd name="connsiteY3393" fmla="*/ 2919688 h 8402012"/>
              <a:gd name="connsiteX3394" fmla="*/ 15973320 w 21052572"/>
              <a:gd name="connsiteY3394" fmla="*/ 2893469 h 8402012"/>
              <a:gd name="connsiteX3395" fmla="*/ 15999980 w 21052572"/>
              <a:gd name="connsiteY3395" fmla="*/ 2951785 h 8402012"/>
              <a:gd name="connsiteX3396" fmla="*/ 15962062 w 21052572"/>
              <a:gd name="connsiteY3396" fmla="*/ 2906428 h 8402012"/>
              <a:gd name="connsiteX3397" fmla="*/ 15973320 w 21052572"/>
              <a:gd name="connsiteY3397" fmla="*/ 2893469 h 8402012"/>
              <a:gd name="connsiteX3398" fmla="*/ 17529024 w 21052572"/>
              <a:gd name="connsiteY3398" fmla="*/ 2891759 h 8402012"/>
              <a:gd name="connsiteX3399" fmla="*/ 17545164 w 21052572"/>
              <a:gd name="connsiteY3399" fmla="*/ 2918658 h 8402012"/>
              <a:gd name="connsiteX3400" fmla="*/ 17508272 w 21052572"/>
              <a:gd name="connsiteY3400" fmla="*/ 2906362 h 8402012"/>
              <a:gd name="connsiteX3401" fmla="*/ 17529024 w 21052572"/>
              <a:gd name="connsiteY3401" fmla="*/ 2891759 h 8402012"/>
              <a:gd name="connsiteX3402" fmla="*/ 15059170 w 21052572"/>
              <a:gd name="connsiteY3402" fmla="*/ 2888758 h 8402012"/>
              <a:gd name="connsiteX3403" fmla="*/ 15075748 w 21052572"/>
              <a:gd name="connsiteY3403" fmla="*/ 2890082 h 8402012"/>
              <a:gd name="connsiteX3404" fmla="*/ 15019906 w 21052572"/>
              <a:gd name="connsiteY3404" fmla="*/ 2922718 h 8402012"/>
              <a:gd name="connsiteX3405" fmla="*/ 15059170 w 21052572"/>
              <a:gd name="connsiteY3405" fmla="*/ 2888758 h 8402012"/>
              <a:gd name="connsiteX3406" fmla="*/ 13732545 w 21052572"/>
              <a:gd name="connsiteY3406" fmla="*/ 2888327 h 8402012"/>
              <a:gd name="connsiteX3407" fmla="*/ 13732545 w 21052572"/>
              <a:gd name="connsiteY3407" fmla="*/ 2920566 h 8402012"/>
              <a:gd name="connsiteX3408" fmla="*/ 13732545 w 21052572"/>
              <a:gd name="connsiteY3408" fmla="*/ 2888327 h 8402012"/>
              <a:gd name="connsiteX3409" fmla="*/ 13675585 w 21052572"/>
              <a:gd name="connsiteY3409" fmla="*/ 2888327 h 8402012"/>
              <a:gd name="connsiteX3410" fmla="*/ 13680782 w 21052572"/>
              <a:gd name="connsiteY3410" fmla="*/ 2891501 h 8402012"/>
              <a:gd name="connsiteX3411" fmla="*/ 13676487 w 21052572"/>
              <a:gd name="connsiteY3411" fmla="*/ 2893083 h 8402012"/>
              <a:gd name="connsiteX3412" fmla="*/ 18905496 w 21052572"/>
              <a:gd name="connsiteY3412" fmla="*/ 2886509 h 8402012"/>
              <a:gd name="connsiteX3413" fmla="*/ 18887532 w 21052572"/>
              <a:gd name="connsiteY3413" fmla="*/ 2918616 h 8402012"/>
              <a:gd name="connsiteX3414" fmla="*/ 18905496 w 21052572"/>
              <a:gd name="connsiteY3414" fmla="*/ 2886509 h 8402012"/>
              <a:gd name="connsiteX3415" fmla="*/ 15824664 w 21052572"/>
              <a:gd name="connsiteY3415" fmla="*/ 2886509 h 8402012"/>
              <a:gd name="connsiteX3416" fmla="*/ 15806702 w 21052572"/>
              <a:gd name="connsiteY3416" fmla="*/ 2918617 h 8402012"/>
              <a:gd name="connsiteX3417" fmla="*/ 15824664 w 21052572"/>
              <a:gd name="connsiteY3417" fmla="*/ 2886509 h 8402012"/>
              <a:gd name="connsiteX3418" fmla="*/ 14787662 w 21052572"/>
              <a:gd name="connsiteY3418" fmla="*/ 2886509 h 8402012"/>
              <a:gd name="connsiteX3419" fmla="*/ 14814962 w 21052572"/>
              <a:gd name="connsiteY3419" fmla="*/ 2918618 h 8402012"/>
              <a:gd name="connsiteX3420" fmla="*/ 14787662 w 21052572"/>
              <a:gd name="connsiteY3420" fmla="*/ 2886509 h 8402012"/>
              <a:gd name="connsiteX3421" fmla="*/ 20540612 w 21052572"/>
              <a:gd name="connsiteY3421" fmla="*/ 2886508 h 8402012"/>
              <a:gd name="connsiteX3422" fmla="*/ 20527484 w 21052572"/>
              <a:gd name="connsiteY3422" fmla="*/ 2918616 h 8402012"/>
              <a:gd name="connsiteX3423" fmla="*/ 20540612 w 21052572"/>
              <a:gd name="connsiteY3423" fmla="*/ 2886508 h 8402012"/>
              <a:gd name="connsiteX3424" fmla="*/ 19773868 w 21052572"/>
              <a:gd name="connsiteY3424" fmla="*/ 2886508 h 8402012"/>
              <a:gd name="connsiteX3425" fmla="*/ 19810760 w 21052572"/>
              <a:gd name="connsiteY3425" fmla="*/ 2905773 h 8402012"/>
              <a:gd name="connsiteX3426" fmla="*/ 19798460 w 21052572"/>
              <a:gd name="connsiteY3426" fmla="*/ 2918616 h 8402012"/>
              <a:gd name="connsiteX3427" fmla="*/ 19773868 w 21052572"/>
              <a:gd name="connsiteY3427" fmla="*/ 2886508 h 8402012"/>
              <a:gd name="connsiteX3428" fmla="*/ 15322112 w 21052572"/>
              <a:gd name="connsiteY3428" fmla="*/ 2886507 h 8402012"/>
              <a:gd name="connsiteX3429" fmla="*/ 15322112 w 21052572"/>
              <a:gd name="connsiteY3429" fmla="*/ 2938724 h 8402012"/>
              <a:gd name="connsiteX3430" fmla="*/ 15308462 w 21052572"/>
              <a:gd name="connsiteY3430" fmla="*/ 2951777 h 8402012"/>
              <a:gd name="connsiteX3431" fmla="*/ 15322112 w 21052572"/>
              <a:gd name="connsiteY3431" fmla="*/ 2886507 h 8402012"/>
              <a:gd name="connsiteX3432" fmla="*/ 18636328 w 21052572"/>
              <a:gd name="connsiteY3432" fmla="*/ 2886505 h 8402012"/>
              <a:gd name="connsiteX3433" fmla="*/ 18673220 w 21052572"/>
              <a:gd name="connsiteY3433" fmla="*/ 2917249 h 8402012"/>
              <a:gd name="connsiteX3434" fmla="*/ 18636328 w 21052572"/>
              <a:gd name="connsiteY3434" fmla="*/ 2886505 h 8402012"/>
              <a:gd name="connsiteX3435" fmla="*/ 16195902 w 21052572"/>
              <a:gd name="connsiteY3435" fmla="*/ 2880282 h 8402012"/>
              <a:gd name="connsiteX3436" fmla="*/ 16355874 w 21052572"/>
              <a:gd name="connsiteY3436" fmla="*/ 2931780 h 8402012"/>
              <a:gd name="connsiteX3437" fmla="*/ 16625598 w 21052572"/>
              <a:gd name="connsiteY3437" fmla="*/ 3045891 h 8402012"/>
              <a:gd name="connsiteX3438" fmla="*/ 16599704 w 21052572"/>
              <a:gd name="connsiteY3438" fmla="*/ 3097079 h 8402012"/>
              <a:gd name="connsiteX3439" fmla="*/ 16542524 w 21052572"/>
              <a:gd name="connsiteY3439" fmla="*/ 3103477 h 8402012"/>
              <a:gd name="connsiteX3440" fmla="*/ 16426002 w 21052572"/>
              <a:gd name="connsiteY3440" fmla="*/ 3077884 h 8402012"/>
              <a:gd name="connsiteX3441" fmla="*/ 16380690 w 21052572"/>
              <a:gd name="connsiteY3441" fmla="*/ 3026695 h 8402012"/>
              <a:gd name="connsiteX3442" fmla="*/ 16317034 w 21052572"/>
              <a:gd name="connsiteY3442" fmla="*/ 3026695 h 8402012"/>
              <a:gd name="connsiteX3443" fmla="*/ 16187568 w 21052572"/>
              <a:gd name="connsiteY3443" fmla="*/ 3001100 h 8402012"/>
              <a:gd name="connsiteX3444" fmla="*/ 16200514 w 21052572"/>
              <a:gd name="connsiteY3444" fmla="*/ 2981904 h 8402012"/>
              <a:gd name="connsiteX3445" fmla="*/ 16130386 w 21052572"/>
              <a:gd name="connsiteY3445" fmla="*/ 2970173 h 8402012"/>
              <a:gd name="connsiteX3446" fmla="*/ 16072126 w 21052572"/>
              <a:gd name="connsiteY3446" fmla="*/ 2906187 h 8402012"/>
              <a:gd name="connsiteX3447" fmla="*/ 16141950 w 21052572"/>
              <a:gd name="connsiteY3447" fmla="*/ 2880492 h 8402012"/>
              <a:gd name="connsiteX3448" fmla="*/ 16195902 w 21052572"/>
              <a:gd name="connsiteY3448" fmla="*/ 2880282 h 8402012"/>
              <a:gd name="connsiteX3449" fmla="*/ 19605004 w 21052572"/>
              <a:gd name="connsiteY3449" fmla="*/ 2872561 h 8402012"/>
              <a:gd name="connsiteX3450" fmla="*/ 19649572 w 21052572"/>
              <a:gd name="connsiteY3450" fmla="*/ 2889788 h 8402012"/>
              <a:gd name="connsiteX3451" fmla="*/ 19595852 w 21052572"/>
              <a:gd name="connsiteY3451" fmla="*/ 2922088 h 8402012"/>
              <a:gd name="connsiteX3452" fmla="*/ 19592456 w 21052572"/>
              <a:gd name="connsiteY3452" fmla="*/ 2919462 h 8402012"/>
              <a:gd name="connsiteX3453" fmla="*/ 19583776 w 21052572"/>
              <a:gd name="connsiteY3453" fmla="*/ 2929354 h 8402012"/>
              <a:gd name="connsiteX3454" fmla="*/ 19574796 w 21052572"/>
              <a:gd name="connsiteY3454" fmla="*/ 2919115 h 8402012"/>
              <a:gd name="connsiteX3455" fmla="*/ 19579284 w 21052572"/>
              <a:gd name="connsiteY3455" fmla="*/ 2912398 h 8402012"/>
              <a:gd name="connsiteX3456" fmla="*/ 19582448 w 21052572"/>
              <a:gd name="connsiteY3456" fmla="*/ 2911723 h 8402012"/>
              <a:gd name="connsiteX3457" fmla="*/ 19579540 w 21052572"/>
              <a:gd name="connsiteY3457" fmla="*/ 2909476 h 8402012"/>
              <a:gd name="connsiteX3458" fmla="*/ 19605004 w 21052572"/>
              <a:gd name="connsiteY3458" fmla="*/ 2872561 h 8402012"/>
              <a:gd name="connsiteX3459" fmla="*/ 15218912 w 21052572"/>
              <a:gd name="connsiteY3459" fmla="*/ 2867551 h 8402012"/>
              <a:gd name="connsiteX3460" fmla="*/ 15265268 w 21052572"/>
              <a:gd name="connsiteY3460" fmla="*/ 2886990 h 8402012"/>
              <a:gd name="connsiteX3461" fmla="*/ 15252024 w 21052572"/>
              <a:gd name="connsiteY3461" fmla="*/ 2951785 h 8402012"/>
              <a:gd name="connsiteX3462" fmla="*/ 15185798 w 21052572"/>
              <a:gd name="connsiteY3462" fmla="*/ 2938827 h 8402012"/>
              <a:gd name="connsiteX3463" fmla="*/ 15218912 w 21052572"/>
              <a:gd name="connsiteY3463" fmla="*/ 2867551 h 8402012"/>
              <a:gd name="connsiteX3464" fmla="*/ 18602124 w 21052572"/>
              <a:gd name="connsiteY3464" fmla="*/ 2864682 h 8402012"/>
              <a:gd name="connsiteX3465" fmla="*/ 18565232 w 21052572"/>
              <a:gd name="connsiteY3465" fmla="*/ 2891134 h 8402012"/>
              <a:gd name="connsiteX3466" fmla="*/ 18602124 w 21052572"/>
              <a:gd name="connsiteY3466" fmla="*/ 2864682 h 8402012"/>
              <a:gd name="connsiteX3467" fmla="*/ 14076700 w 21052572"/>
              <a:gd name="connsiteY3467" fmla="*/ 2864216 h 8402012"/>
              <a:gd name="connsiteX3468" fmla="*/ 14113564 w 21052572"/>
              <a:gd name="connsiteY3468" fmla="*/ 2888811 h 8402012"/>
              <a:gd name="connsiteX3469" fmla="*/ 14076700 w 21052572"/>
              <a:gd name="connsiteY3469" fmla="*/ 2864216 h 8402012"/>
              <a:gd name="connsiteX3470" fmla="*/ 13578001 w 21052572"/>
              <a:gd name="connsiteY3470" fmla="*/ 2864216 h 8402012"/>
              <a:gd name="connsiteX3471" fmla="*/ 13541109 w 21052572"/>
              <a:gd name="connsiteY3471" fmla="*/ 2888811 h 8402012"/>
              <a:gd name="connsiteX3472" fmla="*/ 13578001 w 21052572"/>
              <a:gd name="connsiteY3472" fmla="*/ 2864216 h 8402012"/>
              <a:gd name="connsiteX3473" fmla="*/ 16056876 w 21052572"/>
              <a:gd name="connsiteY3473" fmla="*/ 2862810 h 8402012"/>
              <a:gd name="connsiteX3474" fmla="*/ 16044468 w 21052572"/>
              <a:gd name="connsiteY3474" fmla="*/ 2921552 h 8402012"/>
              <a:gd name="connsiteX3475" fmla="*/ 16001034 w 21052572"/>
              <a:gd name="connsiteY3475" fmla="*/ 2882392 h 8402012"/>
              <a:gd name="connsiteX3476" fmla="*/ 16056876 w 21052572"/>
              <a:gd name="connsiteY3476" fmla="*/ 2862810 h 8402012"/>
              <a:gd name="connsiteX3477" fmla="*/ 17451392 w 21052572"/>
              <a:gd name="connsiteY3477" fmla="*/ 2862808 h 8402012"/>
              <a:gd name="connsiteX3478" fmla="*/ 17507236 w 21052572"/>
              <a:gd name="connsiteY3478" fmla="*/ 2876034 h 8402012"/>
              <a:gd name="connsiteX3479" fmla="*/ 17451392 w 21052572"/>
              <a:gd name="connsiteY3479" fmla="*/ 2862808 h 8402012"/>
              <a:gd name="connsiteX3480" fmla="*/ 15697688 w 21052572"/>
              <a:gd name="connsiteY3480" fmla="*/ 2862808 h 8402012"/>
              <a:gd name="connsiteX3481" fmla="*/ 15715650 w 21052572"/>
              <a:gd name="connsiteY3481" fmla="*/ 2890107 h 8402012"/>
              <a:gd name="connsiteX3482" fmla="*/ 15697688 w 21052572"/>
              <a:gd name="connsiteY3482" fmla="*/ 2862808 h 8402012"/>
              <a:gd name="connsiteX3483" fmla="*/ 11828129 w 21052572"/>
              <a:gd name="connsiteY3483" fmla="*/ 2862535 h 8402012"/>
              <a:gd name="connsiteX3484" fmla="*/ 11846399 w 21052572"/>
              <a:gd name="connsiteY3484" fmla="*/ 2888327 h 8402012"/>
              <a:gd name="connsiteX3485" fmla="*/ 11828129 w 21052572"/>
              <a:gd name="connsiteY3485" fmla="*/ 2862535 h 8402012"/>
              <a:gd name="connsiteX3486" fmla="*/ 19230976 w 21052572"/>
              <a:gd name="connsiteY3486" fmla="*/ 2859636 h 8402012"/>
              <a:gd name="connsiteX3487" fmla="*/ 19298820 w 21052572"/>
              <a:gd name="connsiteY3487" fmla="*/ 2904400 h 8402012"/>
              <a:gd name="connsiteX3488" fmla="*/ 19209836 w 21052572"/>
              <a:gd name="connsiteY3488" fmla="*/ 2872568 h 8402012"/>
              <a:gd name="connsiteX3489" fmla="*/ 19230976 w 21052572"/>
              <a:gd name="connsiteY3489" fmla="*/ 2859636 h 8402012"/>
              <a:gd name="connsiteX3490" fmla="*/ 15155756 w 21052572"/>
              <a:gd name="connsiteY3490" fmla="*/ 2857099 h 8402012"/>
              <a:gd name="connsiteX3491" fmla="*/ 15185898 w 21052572"/>
              <a:gd name="connsiteY3491" fmla="*/ 2870343 h 8402012"/>
              <a:gd name="connsiteX3492" fmla="*/ 15166346 w 21052572"/>
              <a:gd name="connsiteY3492" fmla="*/ 2916699 h 8402012"/>
              <a:gd name="connsiteX3493" fmla="*/ 15095742 w 21052572"/>
              <a:gd name="connsiteY3493" fmla="*/ 2923322 h 8402012"/>
              <a:gd name="connsiteX3494" fmla="*/ 15120726 w 21052572"/>
              <a:gd name="connsiteY3494" fmla="*/ 2863721 h 8402012"/>
              <a:gd name="connsiteX3495" fmla="*/ 15155756 w 21052572"/>
              <a:gd name="connsiteY3495" fmla="*/ 2857099 h 8402012"/>
              <a:gd name="connsiteX3496" fmla="*/ 14905535 w 21052572"/>
              <a:gd name="connsiteY3496" fmla="*/ 2855416 h 8402012"/>
              <a:gd name="connsiteX3497" fmla="*/ 14933504 w 21052572"/>
              <a:gd name="connsiteY3497" fmla="*/ 2855416 h 8402012"/>
              <a:gd name="connsiteX3498" fmla="*/ 14882454 w 21052572"/>
              <a:gd name="connsiteY3498" fmla="*/ 2875890 h 8402012"/>
              <a:gd name="connsiteX3499" fmla="*/ 14905535 w 21052572"/>
              <a:gd name="connsiteY3499" fmla="*/ 2855416 h 8402012"/>
              <a:gd name="connsiteX3500" fmla="*/ 13028326 w 21052572"/>
              <a:gd name="connsiteY3500" fmla="*/ 2853810 h 8402012"/>
              <a:gd name="connsiteX3501" fmla="*/ 13075510 w 21052572"/>
              <a:gd name="connsiteY3501" fmla="*/ 2860290 h 8402012"/>
              <a:gd name="connsiteX3502" fmla="*/ 12996041 w 21052572"/>
              <a:gd name="connsiteY3502" fmla="*/ 2886208 h 8402012"/>
              <a:gd name="connsiteX3503" fmla="*/ 13028326 w 21052572"/>
              <a:gd name="connsiteY3503" fmla="*/ 2853810 h 8402012"/>
              <a:gd name="connsiteX3504" fmla="*/ 15960480 w 21052572"/>
              <a:gd name="connsiteY3504" fmla="*/ 2843852 h 8402012"/>
              <a:gd name="connsiteX3505" fmla="*/ 15966800 w 21052572"/>
              <a:gd name="connsiteY3505" fmla="*/ 2864325 h 8402012"/>
              <a:gd name="connsiteX3506" fmla="*/ 15960480 w 21052572"/>
              <a:gd name="connsiteY3506" fmla="*/ 2843852 h 8402012"/>
              <a:gd name="connsiteX3507" fmla="*/ 17972312 w 21052572"/>
              <a:gd name="connsiteY3507" fmla="*/ 2843851 h 8402012"/>
              <a:gd name="connsiteX3508" fmla="*/ 18075948 w 21052572"/>
              <a:gd name="connsiteY3508" fmla="*/ 2888087 h 8402012"/>
              <a:gd name="connsiteX3509" fmla="*/ 17965768 w 21052572"/>
              <a:gd name="connsiteY3509" fmla="*/ 2907045 h 8402012"/>
              <a:gd name="connsiteX3510" fmla="*/ 17972312 w 21052572"/>
              <a:gd name="connsiteY3510" fmla="*/ 2843851 h 8402012"/>
              <a:gd name="connsiteX3511" fmla="*/ 19208740 w 21052572"/>
              <a:gd name="connsiteY3511" fmla="*/ 2843848 h 8402012"/>
              <a:gd name="connsiteX3512" fmla="*/ 19195616 w 21052572"/>
              <a:gd name="connsiteY3512" fmla="*/ 2861809 h 8402012"/>
              <a:gd name="connsiteX3513" fmla="*/ 19208740 w 21052572"/>
              <a:gd name="connsiteY3513" fmla="*/ 2843848 h 8402012"/>
              <a:gd name="connsiteX3514" fmla="*/ 12033401 w 21052572"/>
              <a:gd name="connsiteY3514" fmla="*/ 2830301 h 8402012"/>
              <a:gd name="connsiteX3515" fmla="*/ 12051672 w 21052572"/>
              <a:gd name="connsiteY3515" fmla="*/ 2862535 h 8402012"/>
              <a:gd name="connsiteX3516" fmla="*/ 12033401 w 21052572"/>
              <a:gd name="connsiteY3516" fmla="*/ 2830301 h 8402012"/>
              <a:gd name="connsiteX3517" fmla="*/ 17110132 w 21052572"/>
              <a:gd name="connsiteY3517" fmla="*/ 2829636 h 8402012"/>
              <a:gd name="connsiteX3518" fmla="*/ 17193080 w 21052572"/>
              <a:gd name="connsiteY3518" fmla="*/ 2842347 h 8402012"/>
              <a:gd name="connsiteX3519" fmla="*/ 17148912 w 21052572"/>
              <a:gd name="connsiteY3519" fmla="*/ 2918627 h 8402012"/>
              <a:gd name="connsiteX3520" fmla="*/ 17110132 w 21052572"/>
              <a:gd name="connsiteY3520" fmla="*/ 2829636 h 8402012"/>
              <a:gd name="connsiteX3521" fmla="*/ 19711248 w 21052572"/>
              <a:gd name="connsiteY3521" fmla="*/ 2829631 h 8402012"/>
              <a:gd name="connsiteX3522" fmla="*/ 19693288 w 21052572"/>
              <a:gd name="connsiteY3522" fmla="*/ 2861738 h 8402012"/>
              <a:gd name="connsiteX3523" fmla="*/ 19711248 w 21052572"/>
              <a:gd name="connsiteY3523" fmla="*/ 2829631 h 8402012"/>
              <a:gd name="connsiteX3524" fmla="*/ 20488540 w 21052572"/>
              <a:gd name="connsiteY3524" fmla="*/ 2829626 h 8402012"/>
              <a:gd name="connsiteX3525" fmla="*/ 20451648 w 21052572"/>
              <a:gd name="connsiteY3525" fmla="*/ 2860369 h 8402012"/>
              <a:gd name="connsiteX3526" fmla="*/ 20488540 w 21052572"/>
              <a:gd name="connsiteY3526" fmla="*/ 2829626 h 8402012"/>
              <a:gd name="connsiteX3527" fmla="*/ 10620404 w 21052572"/>
              <a:gd name="connsiteY3527" fmla="*/ 2827080 h 8402012"/>
              <a:gd name="connsiteX3528" fmla="*/ 10601865 w 21052572"/>
              <a:gd name="connsiteY3528" fmla="*/ 2862535 h 8402012"/>
              <a:gd name="connsiteX3529" fmla="*/ 10653451 w 21052572"/>
              <a:gd name="connsiteY3529" fmla="*/ 2830301 h 8402012"/>
              <a:gd name="connsiteX3530" fmla="*/ 10620404 w 21052572"/>
              <a:gd name="connsiteY3530" fmla="*/ 2827080 h 8402012"/>
              <a:gd name="connsiteX3531" fmla="*/ 17386476 w 21052572"/>
              <a:gd name="connsiteY3531" fmla="*/ 2825331 h 8402012"/>
              <a:gd name="connsiteX3532" fmla="*/ 17412412 w 21052572"/>
              <a:gd name="connsiteY3532" fmla="*/ 2828639 h 8402012"/>
              <a:gd name="connsiteX3533" fmla="*/ 17412412 w 21052572"/>
              <a:gd name="connsiteY3533" fmla="*/ 2861705 h 8402012"/>
              <a:gd name="connsiteX3534" fmla="*/ 17361340 w 21052572"/>
              <a:gd name="connsiteY3534" fmla="*/ 2841864 h 8402012"/>
              <a:gd name="connsiteX3535" fmla="*/ 17386476 w 21052572"/>
              <a:gd name="connsiteY3535" fmla="*/ 2825331 h 8402012"/>
              <a:gd name="connsiteX3536" fmla="*/ 11956021 w 21052572"/>
              <a:gd name="connsiteY3536" fmla="*/ 2822248 h 8402012"/>
              <a:gd name="connsiteX3537" fmla="*/ 11897986 w 21052572"/>
              <a:gd name="connsiteY3537" fmla="*/ 2830301 h 8402012"/>
              <a:gd name="connsiteX3538" fmla="*/ 11994711 w 21052572"/>
              <a:gd name="connsiteY3538" fmla="*/ 2862535 h 8402012"/>
              <a:gd name="connsiteX3539" fmla="*/ 11956021 w 21052572"/>
              <a:gd name="connsiteY3539" fmla="*/ 2822248 h 8402012"/>
              <a:gd name="connsiteX3540" fmla="*/ 15870978 w 21052572"/>
              <a:gd name="connsiteY3540" fmla="*/ 2820033 h 8402012"/>
              <a:gd name="connsiteX3541" fmla="*/ 15962034 w 21052572"/>
              <a:gd name="connsiteY3541" fmla="*/ 2874477 h 8402012"/>
              <a:gd name="connsiteX3542" fmla="*/ 15915670 w 21052572"/>
              <a:gd name="connsiteY3542" fmla="*/ 2877247 h 8402012"/>
              <a:gd name="connsiteX3543" fmla="*/ 15917266 w 21052572"/>
              <a:gd name="connsiteY3543" fmla="*/ 2886254 h 8402012"/>
              <a:gd name="connsiteX3544" fmla="*/ 15922280 w 21052572"/>
              <a:gd name="connsiteY3544" fmla="*/ 2883449 h 8402012"/>
              <a:gd name="connsiteX3545" fmla="*/ 15923202 w 21052572"/>
              <a:gd name="connsiteY3545" fmla="*/ 2904219 h 8402012"/>
              <a:gd name="connsiteX3546" fmla="*/ 15923194 w 21052572"/>
              <a:gd name="connsiteY3546" fmla="*/ 2904270 h 8402012"/>
              <a:gd name="connsiteX3547" fmla="*/ 15924200 w 21052572"/>
              <a:gd name="connsiteY3547" fmla="*/ 2907288 h 8402012"/>
              <a:gd name="connsiteX3548" fmla="*/ 15922796 w 21052572"/>
              <a:gd name="connsiteY3548" fmla="*/ 2906383 h 8402012"/>
              <a:gd name="connsiteX3549" fmla="*/ 15922280 w 21052572"/>
              <a:gd name="connsiteY3549" fmla="*/ 2909137 h 8402012"/>
              <a:gd name="connsiteX3550" fmla="*/ 15920932 w 21052572"/>
              <a:gd name="connsiteY3550" fmla="*/ 2905181 h 8402012"/>
              <a:gd name="connsiteX3551" fmla="*/ 15877176 w 21052572"/>
              <a:gd name="connsiteY3551" fmla="*/ 2876938 h 8402012"/>
              <a:gd name="connsiteX3552" fmla="*/ 15839882 w 21052572"/>
              <a:gd name="connsiteY3552" fmla="*/ 2821983 h 8402012"/>
              <a:gd name="connsiteX3553" fmla="*/ 15870978 w 21052572"/>
              <a:gd name="connsiteY3553" fmla="*/ 2820033 h 8402012"/>
              <a:gd name="connsiteX3554" fmla="*/ 17348760 w 21052572"/>
              <a:gd name="connsiteY3554" fmla="*/ 2811050 h 8402012"/>
              <a:gd name="connsiteX3555" fmla="*/ 17360244 w 21052572"/>
              <a:gd name="connsiteY3555" fmla="*/ 2819586 h 8402012"/>
              <a:gd name="connsiteX3556" fmla="*/ 17347120 w 21052572"/>
              <a:gd name="connsiteY3556" fmla="*/ 2833234 h 8402012"/>
              <a:gd name="connsiteX3557" fmla="*/ 17348760 w 21052572"/>
              <a:gd name="connsiteY3557" fmla="*/ 2811050 h 8402012"/>
              <a:gd name="connsiteX3558" fmla="*/ 14763053 w 21052572"/>
              <a:gd name="connsiteY3558" fmla="*/ 2801454 h 8402012"/>
              <a:gd name="connsiteX3559" fmla="*/ 14843473 w 21052572"/>
              <a:gd name="connsiteY3559" fmla="*/ 2844944 h 8402012"/>
              <a:gd name="connsiteX3560" fmla="*/ 14754147 w 21052572"/>
              <a:gd name="connsiteY3560" fmla="*/ 2858068 h 8402012"/>
              <a:gd name="connsiteX3561" fmla="*/ 14678645 w 21052572"/>
              <a:gd name="connsiteY3561" fmla="*/ 2812121 h 8402012"/>
              <a:gd name="connsiteX3562" fmla="*/ 14763053 w 21052572"/>
              <a:gd name="connsiteY3562" fmla="*/ 2801454 h 8402012"/>
              <a:gd name="connsiteX3563" fmla="*/ 10692142 w 21052572"/>
              <a:gd name="connsiteY3563" fmla="*/ 2798035 h 8402012"/>
              <a:gd name="connsiteX3564" fmla="*/ 10672797 w 21052572"/>
              <a:gd name="connsiteY3564" fmla="*/ 2830301 h 8402012"/>
              <a:gd name="connsiteX3565" fmla="*/ 10692142 w 21052572"/>
              <a:gd name="connsiteY3565" fmla="*/ 2798035 h 8402012"/>
              <a:gd name="connsiteX3566" fmla="*/ 17052180 w 21052572"/>
              <a:gd name="connsiteY3566" fmla="*/ 2796444 h 8402012"/>
              <a:gd name="connsiteX3567" fmla="*/ 17052180 w 21052572"/>
              <a:gd name="connsiteY3567" fmla="*/ 2860116 h 8402012"/>
              <a:gd name="connsiteX3568" fmla="*/ 17001548 w 21052572"/>
              <a:gd name="connsiteY3568" fmla="*/ 2853749 h 8402012"/>
              <a:gd name="connsiteX3569" fmla="*/ 17052180 w 21052572"/>
              <a:gd name="connsiteY3569" fmla="*/ 2796444 h 8402012"/>
              <a:gd name="connsiteX3570" fmla="*/ 19654372 w 21052572"/>
              <a:gd name="connsiteY3570" fmla="*/ 2796442 h 8402012"/>
              <a:gd name="connsiteX3571" fmla="*/ 19636408 w 21052572"/>
              <a:gd name="connsiteY3571" fmla="*/ 2828557 h 8402012"/>
              <a:gd name="connsiteX3572" fmla="*/ 19654372 w 21052572"/>
              <a:gd name="connsiteY3572" fmla="*/ 2796442 h 8402012"/>
              <a:gd name="connsiteX3573" fmla="*/ 19228796 w 21052572"/>
              <a:gd name="connsiteY3573" fmla="*/ 2796442 h 8402012"/>
              <a:gd name="connsiteX3574" fmla="*/ 19241924 w 21052572"/>
              <a:gd name="connsiteY3574" fmla="*/ 2828557 h 8402012"/>
              <a:gd name="connsiteX3575" fmla="*/ 19228796 w 21052572"/>
              <a:gd name="connsiteY3575" fmla="*/ 2796442 h 8402012"/>
              <a:gd name="connsiteX3576" fmla="*/ 17317612 w 21052572"/>
              <a:gd name="connsiteY3576" fmla="*/ 2796442 h 8402012"/>
              <a:gd name="connsiteX3577" fmla="*/ 17285504 w 21052572"/>
              <a:gd name="connsiteY3577" fmla="*/ 2827196 h 8402012"/>
              <a:gd name="connsiteX3578" fmla="*/ 17317612 w 21052572"/>
              <a:gd name="connsiteY3578" fmla="*/ 2796442 h 8402012"/>
              <a:gd name="connsiteX3579" fmla="*/ 15356430 w 21052572"/>
              <a:gd name="connsiteY3579" fmla="*/ 2786970 h 8402012"/>
              <a:gd name="connsiteX3580" fmla="*/ 15580966 w 21052572"/>
              <a:gd name="connsiteY3580" fmla="*/ 2806825 h 8402012"/>
              <a:gd name="connsiteX3581" fmla="*/ 15677656 w 21052572"/>
              <a:gd name="connsiteY3581" fmla="*/ 2866442 h 8402012"/>
              <a:gd name="connsiteX3582" fmla="*/ 15561628 w 21052572"/>
              <a:gd name="connsiteY3582" fmla="*/ 2866442 h 8402012"/>
              <a:gd name="connsiteX3583" fmla="*/ 15356430 w 21052572"/>
              <a:gd name="connsiteY3583" fmla="*/ 2786970 h 8402012"/>
              <a:gd name="connsiteX3584" fmla="*/ 16981960 w 21052572"/>
              <a:gd name="connsiteY3584" fmla="*/ 2778778 h 8402012"/>
              <a:gd name="connsiteX3585" fmla="*/ 16994872 w 21052572"/>
              <a:gd name="connsiteY3585" fmla="*/ 2790923 h 8402012"/>
              <a:gd name="connsiteX3586" fmla="*/ 16944244 w 21052572"/>
              <a:gd name="connsiteY3586" fmla="*/ 2829808 h 8402012"/>
              <a:gd name="connsiteX3587" fmla="*/ 16981960 w 21052572"/>
              <a:gd name="connsiteY3587" fmla="*/ 2778778 h 8402012"/>
              <a:gd name="connsiteX3588" fmla="*/ 19129260 w 21052572"/>
              <a:gd name="connsiteY3588" fmla="*/ 2772745 h 8402012"/>
              <a:gd name="connsiteX3589" fmla="*/ 19147220 w 21052572"/>
              <a:gd name="connsiteY3589" fmla="*/ 2800041 h 8402012"/>
              <a:gd name="connsiteX3590" fmla="*/ 19129260 w 21052572"/>
              <a:gd name="connsiteY3590" fmla="*/ 2772745 h 8402012"/>
              <a:gd name="connsiteX3591" fmla="*/ 19090348 w 21052572"/>
              <a:gd name="connsiteY3591" fmla="*/ 2772744 h 8402012"/>
              <a:gd name="connsiteX3592" fmla="*/ 19072384 w 21052572"/>
              <a:gd name="connsiteY3592" fmla="*/ 2828593 h 8402012"/>
              <a:gd name="connsiteX3593" fmla="*/ 19090348 w 21052572"/>
              <a:gd name="connsiteY3593" fmla="*/ 2772744 h 8402012"/>
              <a:gd name="connsiteX3594" fmla="*/ 17260752 w 21052572"/>
              <a:gd name="connsiteY3594" fmla="*/ 2772744 h 8402012"/>
              <a:gd name="connsiteX3595" fmla="*/ 17260752 w 21052572"/>
              <a:gd name="connsiteY3595" fmla="*/ 2828593 h 8402012"/>
              <a:gd name="connsiteX3596" fmla="*/ 17222836 w 21052572"/>
              <a:gd name="connsiteY3596" fmla="*/ 2828593 h 8402012"/>
              <a:gd name="connsiteX3597" fmla="*/ 17204928 w 21052572"/>
              <a:gd name="connsiteY3597" fmla="*/ 2791359 h 8402012"/>
              <a:gd name="connsiteX3598" fmla="*/ 17260752 w 21052572"/>
              <a:gd name="connsiteY3598" fmla="*/ 2772744 h 8402012"/>
              <a:gd name="connsiteX3599" fmla="*/ 15730866 w 21052572"/>
              <a:gd name="connsiteY3599" fmla="*/ 2772744 h 8402012"/>
              <a:gd name="connsiteX3600" fmla="*/ 15819850 w 21052572"/>
              <a:gd name="connsiteY3600" fmla="*/ 2797558 h 8402012"/>
              <a:gd name="connsiteX3601" fmla="*/ 15730866 w 21052572"/>
              <a:gd name="connsiteY3601" fmla="*/ 2828593 h 8402012"/>
              <a:gd name="connsiteX3602" fmla="*/ 15730866 w 21052572"/>
              <a:gd name="connsiteY3602" fmla="*/ 2772744 h 8402012"/>
              <a:gd name="connsiteX3603" fmla="*/ 19595244 w 21052572"/>
              <a:gd name="connsiteY3603" fmla="*/ 2770102 h 8402012"/>
              <a:gd name="connsiteX3604" fmla="*/ 19625828 w 21052572"/>
              <a:gd name="connsiteY3604" fmla="*/ 2771753 h 8402012"/>
              <a:gd name="connsiteX3605" fmla="*/ 19579536 w 21052572"/>
              <a:gd name="connsiteY3605" fmla="*/ 2798205 h 8402012"/>
              <a:gd name="connsiteX3606" fmla="*/ 19595244 w 21052572"/>
              <a:gd name="connsiteY3606" fmla="*/ 2770102 h 8402012"/>
              <a:gd name="connsiteX3607" fmla="*/ 17184944 w 21052572"/>
              <a:gd name="connsiteY3607" fmla="*/ 2741601 h 8402012"/>
              <a:gd name="connsiteX3608" fmla="*/ 17148052 w 21052572"/>
              <a:gd name="connsiteY3608" fmla="*/ 2774327 h 8402012"/>
              <a:gd name="connsiteX3609" fmla="*/ 17184944 w 21052572"/>
              <a:gd name="connsiteY3609" fmla="*/ 2741601 h 8402012"/>
              <a:gd name="connsiteX3610" fmla="*/ 17730040 w 21052572"/>
              <a:gd name="connsiteY3610" fmla="*/ 2739568 h 8402012"/>
              <a:gd name="connsiteX3611" fmla="*/ 17712076 w 21052572"/>
              <a:gd name="connsiteY3611" fmla="*/ 2771638 h 8402012"/>
              <a:gd name="connsiteX3612" fmla="*/ 17730040 w 21052572"/>
              <a:gd name="connsiteY3612" fmla="*/ 2739568 h 8402012"/>
              <a:gd name="connsiteX3613" fmla="*/ 15184802 w 21052572"/>
              <a:gd name="connsiteY3613" fmla="*/ 2739568 h 8402012"/>
              <a:gd name="connsiteX3614" fmla="*/ 15166838 w 21052572"/>
              <a:gd name="connsiteY3614" fmla="*/ 2771638 h 8402012"/>
              <a:gd name="connsiteX3615" fmla="*/ 15184802 w 21052572"/>
              <a:gd name="connsiteY3615" fmla="*/ 2739568 h 8402012"/>
              <a:gd name="connsiteX3616" fmla="*/ 12595215 w 21052572"/>
              <a:gd name="connsiteY3616" fmla="*/ 2737736 h 8402012"/>
              <a:gd name="connsiteX3617" fmla="*/ 12558943 w 21052572"/>
              <a:gd name="connsiteY3617" fmla="*/ 2741094 h 8402012"/>
              <a:gd name="connsiteX3618" fmla="*/ 12616978 w 21052572"/>
              <a:gd name="connsiteY3618" fmla="*/ 2772256 h 8402012"/>
              <a:gd name="connsiteX3619" fmla="*/ 12595215 w 21052572"/>
              <a:gd name="connsiteY3619" fmla="*/ 2737736 h 8402012"/>
              <a:gd name="connsiteX3620" fmla="*/ 19019644 w 21052572"/>
              <a:gd name="connsiteY3620" fmla="*/ 2736633 h 8402012"/>
              <a:gd name="connsiteX3621" fmla="*/ 19052364 w 21052572"/>
              <a:gd name="connsiteY3621" fmla="*/ 2739999 h 8402012"/>
              <a:gd name="connsiteX3622" fmla="*/ 19001288 w 21052572"/>
              <a:gd name="connsiteY3622" fmla="*/ 2771235 h 8402012"/>
              <a:gd name="connsiteX3623" fmla="*/ 19019644 w 21052572"/>
              <a:gd name="connsiteY3623" fmla="*/ 2736633 h 8402012"/>
              <a:gd name="connsiteX3624" fmla="*/ 19515076 w 21052572"/>
              <a:gd name="connsiteY3624" fmla="*/ 2706584 h 8402012"/>
              <a:gd name="connsiteX3625" fmla="*/ 19545324 w 21052572"/>
              <a:gd name="connsiteY3625" fmla="*/ 2725737 h 8402012"/>
              <a:gd name="connsiteX3626" fmla="*/ 19532916 w 21052572"/>
              <a:gd name="connsiteY3626" fmla="*/ 2738505 h 8402012"/>
              <a:gd name="connsiteX3627" fmla="*/ 19489480 w 21052572"/>
              <a:gd name="connsiteY3627" fmla="*/ 2725737 h 8402012"/>
              <a:gd name="connsiteX3628" fmla="*/ 19515076 w 21052572"/>
              <a:gd name="connsiteY3628" fmla="*/ 2706584 h 8402012"/>
              <a:gd name="connsiteX3629" fmla="*/ 20317936 w 21052572"/>
              <a:gd name="connsiteY3629" fmla="*/ 2706391 h 8402012"/>
              <a:gd name="connsiteX3630" fmla="*/ 20299976 w 21052572"/>
              <a:gd name="connsiteY3630" fmla="*/ 2738499 h 8402012"/>
              <a:gd name="connsiteX3631" fmla="*/ 20317936 w 21052572"/>
              <a:gd name="connsiteY3631" fmla="*/ 2706391 h 8402012"/>
              <a:gd name="connsiteX3632" fmla="*/ 19938756 w 21052572"/>
              <a:gd name="connsiteY3632" fmla="*/ 2706391 h 8402012"/>
              <a:gd name="connsiteX3633" fmla="*/ 19920796 w 21052572"/>
              <a:gd name="connsiteY3633" fmla="*/ 2738499 h 8402012"/>
              <a:gd name="connsiteX3634" fmla="*/ 19938756 w 21052572"/>
              <a:gd name="connsiteY3634" fmla="*/ 2706391 h 8402012"/>
              <a:gd name="connsiteX3635" fmla="*/ 17654108 w 21052572"/>
              <a:gd name="connsiteY3635" fmla="*/ 2706391 h 8402012"/>
              <a:gd name="connsiteX3636" fmla="*/ 17640984 w 21052572"/>
              <a:gd name="connsiteY3636" fmla="*/ 2738499 h 8402012"/>
              <a:gd name="connsiteX3637" fmla="*/ 17654108 w 21052572"/>
              <a:gd name="connsiteY3637" fmla="*/ 2706391 h 8402012"/>
              <a:gd name="connsiteX3638" fmla="*/ 15557604 w 21052572"/>
              <a:gd name="connsiteY3638" fmla="*/ 2706390 h 8402012"/>
              <a:gd name="connsiteX3639" fmla="*/ 15639760 w 21052572"/>
              <a:gd name="connsiteY3639" fmla="*/ 2771641 h 8402012"/>
              <a:gd name="connsiteX3640" fmla="*/ 15527058 w 21052572"/>
              <a:gd name="connsiteY3640" fmla="*/ 2771641 h 8402012"/>
              <a:gd name="connsiteX3641" fmla="*/ 15557604 w 21052572"/>
              <a:gd name="connsiteY3641" fmla="*/ 2706390 h 8402012"/>
              <a:gd name="connsiteX3642" fmla="*/ 17071416 w 21052572"/>
              <a:gd name="connsiteY3642" fmla="*/ 2704216 h 8402012"/>
              <a:gd name="connsiteX3643" fmla="*/ 17109048 w 21052572"/>
              <a:gd name="connsiteY3643" fmla="*/ 2709548 h 8402012"/>
              <a:gd name="connsiteX3644" fmla="*/ 17050304 w 21052572"/>
              <a:gd name="connsiteY3644" fmla="*/ 2771691 h 8402012"/>
              <a:gd name="connsiteX3645" fmla="*/ 17056832 w 21052572"/>
              <a:gd name="connsiteY3645" fmla="*/ 2709548 h 8402012"/>
              <a:gd name="connsiteX3646" fmla="*/ 17071416 w 21052572"/>
              <a:gd name="connsiteY3646" fmla="*/ 2704216 h 8402012"/>
              <a:gd name="connsiteX3647" fmla="*/ 19477720 w 21052572"/>
              <a:gd name="connsiteY3647" fmla="*/ 2690421 h 8402012"/>
              <a:gd name="connsiteX3648" fmla="*/ 19488388 w 21052572"/>
              <a:gd name="connsiteY3648" fmla="*/ 2693415 h 8402012"/>
              <a:gd name="connsiteX3649" fmla="*/ 19481824 w 21052572"/>
              <a:gd name="connsiteY3649" fmla="*/ 2705389 h 8402012"/>
              <a:gd name="connsiteX3650" fmla="*/ 19477720 w 21052572"/>
              <a:gd name="connsiteY3650" fmla="*/ 2690421 h 8402012"/>
              <a:gd name="connsiteX3651" fmla="*/ 12790010 w 21052572"/>
              <a:gd name="connsiteY3651" fmla="*/ 2683064 h 8402012"/>
              <a:gd name="connsiteX3652" fmla="*/ 12636324 w 21052572"/>
              <a:gd name="connsiteY3652" fmla="*/ 2721752 h 8402012"/>
              <a:gd name="connsiteX3653" fmla="*/ 12673939 w 21052572"/>
              <a:gd name="connsiteY3653" fmla="*/ 2772256 h 8402012"/>
              <a:gd name="connsiteX3654" fmla="*/ 12719078 w 21052572"/>
              <a:gd name="connsiteY3654" fmla="*/ 2759362 h 8402012"/>
              <a:gd name="connsiteX3655" fmla="*/ 12809355 w 21052572"/>
              <a:gd name="connsiteY3655" fmla="*/ 2741094 h 8402012"/>
              <a:gd name="connsiteX3656" fmla="*/ 12790010 w 21052572"/>
              <a:gd name="connsiteY3656" fmla="*/ 2683064 h 8402012"/>
              <a:gd name="connsiteX3657" fmla="*/ 15389606 w 21052572"/>
              <a:gd name="connsiteY3657" fmla="*/ 2677952 h 8402012"/>
              <a:gd name="connsiteX3658" fmla="*/ 15421716 w 21052572"/>
              <a:gd name="connsiteY3658" fmla="*/ 2710586 h 8402012"/>
              <a:gd name="connsiteX3659" fmla="*/ 15389606 w 21052572"/>
              <a:gd name="connsiteY3659" fmla="*/ 2743221 h 8402012"/>
              <a:gd name="connsiteX3660" fmla="*/ 15389606 w 21052572"/>
              <a:gd name="connsiteY3660" fmla="*/ 2677952 h 8402012"/>
              <a:gd name="connsiteX3661" fmla="*/ 15358514 w 21052572"/>
              <a:gd name="connsiteY3661" fmla="*/ 2677952 h 8402012"/>
              <a:gd name="connsiteX3662" fmla="*/ 15378990 w 21052572"/>
              <a:gd name="connsiteY3662" fmla="*/ 2743221 h 8402012"/>
              <a:gd name="connsiteX3663" fmla="*/ 15358514 w 21052572"/>
              <a:gd name="connsiteY3663" fmla="*/ 2677952 h 8402012"/>
              <a:gd name="connsiteX3664" fmla="*/ 19090348 w 21052572"/>
              <a:gd name="connsiteY3664" fmla="*/ 2677951 h 8402012"/>
              <a:gd name="connsiteX3665" fmla="*/ 19072384 w 21052572"/>
              <a:gd name="connsiteY3665" fmla="*/ 2710058 h 8402012"/>
              <a:gd name="connsiteX3666" fmla="*/ 19090348 w 21052572"/>
              <a:gd name="connsiteY3666" fmla="*/ 2677951 h 8402012"/>
              <a:gd name="connsiteX3667" fmla="*/ 20279964 w 21052572"/>
              <a:gd name="connsiteY3667" fmla="*/ 2677950 h 8402012"/>
              <a:gd name="connsiteX3668" fmla="*/ 20262056 w 21052572"/>
              <a:gd name="connsiteY3668" fmla="*/ 2710058 h 8402012"/>
              <a:gd name="connsiteX3669" fmla="*/ 20279964 w 21052572"/>
              <a:gd name="connsiteY3669" fmla="*/ 2677950 h 8402012"/>
              <a:gd name="connsiteX3670" fmla="*/ 15317486 w 21052572"/>
              <a:gd name="connsiteY3670" fmla="*/ 2675084 h 8402012"/>
              <a:gd name="connsiteX3671" fmla="*/ 15280594 w 21052572"/>
              <a:gd name="connsiteY3671" fmla="*/ 2708152 h 8402012"/>
              <a:gd name="connsiteX3672" fmla="*/ 15317486 w 21052572"/>
              <a:gd name="connsiteY3672" fmla="*/ 2675084 h 8402012"/>
              <a:gd name="connsiteX3673" fmla="*/ 15066042 w 21052572"/>
              <a:gd name="connsiteY3673" fmla="*/ 2650925 h 8402012"/>
              <a:gd name="connsiteX3674" fmla="*/ 15151552 w 21052572"/>
              <a:gd name="connsiteY3674" fmla="*/ 2743630 h 8402012"/>
              <a:gd name="connsiteX3675" fmla="*/ 15062844 w 21052572"/>
              <a:gd name="connsiteY3675" fmla="*/ 2743630 h 8402012"/>
              <a:gd name="connsiteX3676" fmla="*/ 15056432 w 21052572"/>
              <a:gd name="connsiteY3676" fmla="*/ 2658542 h 8402012"/>
              <a:gd name="connsiteX3677" fmla="*/ 15066042 w 21052572"/>
              <a:gd name="connsiteY3677" fmla="*/ 2650925 h 8402012"/>
              <a:gd name="connsiteX3678" fmla="*/ 15203688 w 21052572"/>
              <a:gd name="connsiteY3678" fmla="*/ 2644775 h 8402012"/>
              <a:gd name="connsiteX3679" fmla="*/ 15184424 w 21052572"/>
              <a:gd name="connsiteY3679" fmla="*/ 2710044 h 8402012"/>
              <a:gd name="connsiteX3680" fmla="*/ 15171580 w 21052572"/>
              <a:gd name="connsiteY3680" fmla="*/ 2670883 h 8402012"/>
              <a:gd name="connsiteX3681" fmla="*/ 15203688 w 21052572"/>
              <a:gd name="connsiteY3681" fmla="*/ 2644775 h 8402012"/>
              <a:gd name="connsiteX3682" fmla="*/ 16426612 w 21052572"/>
              <a:gd name="connsiteY3682" fmla="*/ 2644774 h 8402012"/>
              <a:gd name="connsiteX3683" fmla="*/ 16408650 w 21052572"/>
              <a:gd name="connsiteY3683" fmla="*/ 2676880 h 8402012"/>
              <a:gd name="connsiteX3684" fmla="*/ 16426612 w 21052572"/>
              <a:gd name="connsiteY3684" fmla="*/ 2644774 h 8402012"/>
              <a:gd name="connsiteX3685" fmla="*/ 14223628 w 21052572"/>
              <a:gd name="connsiteY3685" fmla="*/ 2644774 h 8402012"/>
              <a:gd name="connsiteX3686" fmla="*/ 14241590 w 21052572"/>
              <a:gd name="connsiteY3686" fmla="*/ 2676880 h 8402012"/>
              <a:gd name="connsiteX3687" fmla="*/ 14223628 w 21052572"/>
              <a:gd name="connsiteY3687" fmla="*/ 2644774 h 8402012"/>
              <a:gd name="connsiteX3688" fmla="*/ 20246840 w 21052572"/>
              <a:gd name="connsiteY3688" fmla="*/ 2644773 h 8402012"/>
              <a:gd name="connsiteX3689" fmla="*/ 20228880 w 21052572"/>
              <a:gd name="connsiteY3689" fmla="*/ 2676879 h 8402012"/>
              <a:gd name="connsiteX3690" fmla="*/ 20246840 w 21052572"/>
              <a:gd name="connsiteY3690" fmla="*/ 2644773 h 8402012"/>
              <a:gd name="connsiteX3691" fmla="*/ 19867608 w 21052572"/>
              <a:gd name="connsiteY3691" fmla="*/ 2644773 h 8402012"/>
              <a:gd name="connsiteX3692" fmla="*/ 19849700 w 21052572"/>
              <a:gd name="connsiteY3692" fmla="*/ 2676879 h 8402012"/>
              <a:gd name="connsiteX3693" fmla="*/ 19867608 w 21052572"/>
              <a:gd name="connsiteY3693" fmla="*/ 2644773 h 8402012"/>
              <a:gd name="connsiteX3694" fmla="*/ 18110216 w 21052572"/>
              <a:gd name="connsiteY3694" fmla="*/ 2644773 h 8402012"/>
              <a:gd name="connsiteX3695" fmla="*/ 18128180 w 21052572"/>
              <a:gd name="connsiteY3695" fmla="*/ 2676880 h 8402012"/>
              <a:gd name="connsiteX3696" fmla="*/ 18110216 w 21052572"/>
              <a:gd name="connsiteY3696" fmla="*/ 2644773 h 8402012"/>
              <a:gd name="connsiteX3697" fmla="*/ 18064292 w 21052572"/>
              <a:gd name="connsiteY3697" fmla="*/ 2644517 h 8402012"/>
              <a:gd name="connsiteX3698" fmla="*/ 18090232 w 21052572"/>
              <a:gd name="connsiteY3698" fmla="*/ 2672186 h 8402012"/>
              <a:gd name="connsiteX3699" fmla="*/ 18053340 w 21052572"/>
              <a:gd name="connsiteY3699" fmla="*/ 2653740 h 8402012"/>
              <a:gd name="connsiteX3700" fmla="*/ 18064292 w 21052572"/>
              <a:gd name="connsiteY3700" fmla="*/ 2644517 h 8402012"/>
              <a:gd name="connsiteX3701" fmla="*/ 13694930 w 21052572"/>
              <a:gd name="connsiteY3701" fmla="*/ 2644376 h 8402012"/>
              <a:gd name="connsiteX3702" fmla="*/ 13713200 w 21052572"/>
              <a:gd name="connsiteY3702" fmla="*/ 2676615 h 8402012"/>
              <a:gd name="connsiteX3703" fmla="*/ 13694930 w 21052572"/>
              <a:gd name="connsiteY3703" fmla="*/ 2644376 h 8402012"/>
              <a:gd name="connsiteX3704" fmla="*/ 12956592 w 21052572"/>
              <a:gd name="connsiteY3704" fmla="*/ 2644376 h 8402012"/>
              <a:gd name="connsiteX3705" fmla="*/ 12969489 w 21052572"/>
              <a:gd name="connsiteY3705" fmla="*/ 2708855 h 8402012"/>
              <a:gd name="connsiteX3706" fmla="*/ 13040421 w 21052572"/>
              <a:gd name="connsiteY3706" fmla="*/ 2708855 h 8402012"/>
              <a:gd name="connsiteX3707" fmla="*/ 13174762 w 21052572"/>
              <a:gd name="connsiteY3707" fmla="*/ 2715302 h 8402012"/>
              <a:gd name="connsiteX3708" fmla="*/ 13373586 w 21052572"/>
              <a:gd name="connsiteY3708" fmla="*/ 2657271 h 8402012"/>
              <a:gd name="connsiteX3709" fmla="*/ 12956592 w 21052572"/>
              <a:gd name="connsiteY3709" fmla="*/ 2644376 h 8402012"/>
              <a:gd name="connsiteX3710" fmla="*/ 12148397 w 21052572"/>
              <a:gd name="connsiteY3710" fmla="*/ 2644376 h 8402012"/>
              <a:gd name="connsiteX3711" fmla="*/ 12167742 w 21052572"/>
              <a:gd name="connsiteY3711" fmla="*/ 2676615 h 8402012"/>
              <a:gd name="connsiteX3712" fmla="*/ 12148397 w 21052572"/>
              <a:gd name="connsiteY3712" fmla="*/ 2644376 h 8402012"/>
              <a:gd name="connsiteX3713" fmla="*/ 18793296 w 21052572"/>
              <a:gd name="connsiteY3713" fmla="*/ 2643603 h 8402012"/>
              <a:gd name="connsiteX3714" fmla="*/ 18812652 w 21052572"/>
              <a:gd name="connsiteY3714" fmla="*/ 2675834 h 8402012"/>
              <a:gd name="connsiteX3715" fmla="*/ 18793296 w 21052572"/>
              <a:gd name="connsiteY3715" fmla="*/ 2643603 h 8402012"/>
              <a:gd name="connsiteX3716" fmla="*/ 19036300 w 21052572"/>
              <a:gd name="connsiteY3716" fmla="*/ 2642281 h 8402012"/>
              <a:gd name="connsiteX3717" fmla="*/ 19052364 w 21052572"/>
              <a:gd name="connsiteY3717" fmla="*/ 2643606 h 8402012"/>
              <a:gd name="connsiteX3718" fmla="*/ 19001288 w 21052572"/>
              <a:gd name="connsiteY3718" fmla="*/ 2676241 h 8402012"/>
              <a:gd name="connsiteX3719" fmla="*/ 19036300 w 21052572"/>
              <a:gd name="connsiteY3719" fmla="*/ 2642281 h 8402012"/>
              <a:gd name="connsiteX3720" fmla="*/ 16888708 w 21052572"/>
              <a:gd name="connsiteY3720" fmla="*/ 2642281 h 8402012"/>
              <a:gd name="connsiteX3721" fmla="*/ 16905288 w 21052572"/>
              <a:gd name="connsiteY3721" fmla="*/ 2643608 h 8402012"/>
              <a:gd name="connsiteX3722" fmla="*/ 16849444 w 21052572"/>
              <a:gd name="connsiteY3722" fmla="*/ 2676242 h 8402012"/>
              <a:gd name="connsiteX3723" fmla="*/ 16888708 w 21052572"/>
              <a:gd name="connsiteY3723" fmla="*/ 2642281 h 8402012"/>
              <a:gd name="connsiteX3724" fmla="*/ 15084454 w 21052572"/>
              <a:gd name="connsiteY3724" fmla="*/ 2637070 h 8402012"/>
              <a:gd name="connsiteX3725" fmla="*/ 15090332 w 21052572"/>
              <a:gd name="connsiteY3725" fmla="*/ 2642069 h 8402012"/>
              <a:gd name="connsiteX3726" fmla="*/ 15088826 w 21052572"/>
              <a:gd name="connsiteY3726" fmla="*/ 2640789 h 8402012"/>
              <a:gd name="connsiteX3727" fmla="*/ 12238943 w 21052572"/>
              <a:gd name="connsiteY3727" fmla="*/ 2636316 h 8402012"/>
              <a:gd name="connsiteX3728" fmla="*/ 12187087 w 21052572"/>
              <a:gd name="connsiteY3728" fmla="*/ 2644376 h 8402012"/>
              <a:gd name="connsiteX3729" fmla="*/ 12276290 w 21052572"/>
              <a:gd name="connsiteY3729" fmla="*/ 2676615 h 8402012"/>
              <a:gd name="connsiteX3730" fmla="*/ 12238943 w 21052572"/>
              <a:gd name="connsiteY3730" fmla="*/ 2636316 h 8402012"/>
              <a:gd name="connsiteX3731" fmla="*/ 15083892 w 21052572"/>
              <a:gd name="connsiteY3731" fmla="*/ 2628806 h 8402012"/>
              <a:gd name="connsiteX3732" fmla="*/ 15084454 w 21052572"/>
              <a:gd name="connsiteY3732" fmla="*/ 2637070 h 8402012"/>
              <a:gd name="connsiteX3733" fmla="*/ 15084908 w 21052572"/>
              <a:gd name="connsiteY3733" fmla="*/ 2643775 h 8402012"/>
              <a:gd name="connsiteX3734" fmla="*/ 15076782 w 21052572"/>
              <a:gd name="connsiteY3734" fmla="*/ 2631800 h 8402012"/>
              <a:gd name="connsiteX3735" fmla="*/ 15083892 w 21052572"/>
              <a:gd name="connsiteY3735" fmla="*/ 2628806 h 8402012"/>
              <a:gd name="connsiteX3736" fmla="*/ 18245872 w 21052572"/>
              <a:gd name="connsiteY3736" fmla="*/ 2616338 h 8402012"/>
              <a:gd name="connsiteX3737" fmla="*/ 18362736 w 21052572"/>
              <a:gd name="connsiteY3737" fmla="*/ 2751760 h 8402012"/>
              <a:gd name="connsiteX3738" fmla="*/ 18549932 w 21052572"/>
              <a:gd name="connsiteY3738" fmla="*/ 2842765 h 8402012"/>
              <a:gd name="connsiteX3739" fmla="*/ 18336764 w 21052572"/>
              <a:gd name="connsiteY3739" fmla="*/ 2816767 h 8402012"/>
              <a:gd name="connsiteX3740" fmla="*/ 18349748 w 21052572"/>
              <a:gd name="connsiteY3740" fmla="*/ 2797259 h 8402012"/>
              <a:gd name="connsiteX3741" fmla="*/ 18297812 w 21052572"/>
              <a:gd name="connsiteY3741" fmla="*/ 2790759 h 8402012"/>
              <a:gd name="connsiteX3742" fmla="*/ 18278332 w 21052572"/>
              <a:gd name="connsiteY3742" fmla="*/ 2720342 h 8402012"/>
              <a:gd name="connsiteX3743" fmla="*/ 18258856 w 21052572"/>
              <a:gd name="connsiteY3743" fmla="*/ 2765843 h 8402012"/>
              <a:gd name="connsiteX3744" fmla="*/ 18226392 w 21052572"/>
              <a:gd name="connsiteY3744" fmla="*/ 2733341 h 8402012"/>
              <a:gd name="connsiteX3745" fmla="*/ 18219900 w 21052572"/>
              <a:gd name="connsiteY3745" fmla="*/ 2655340 h 8402012"/>
              <a:gd name="connsiteX3746" fmla="*/ 18245872 w 21052572"/>
              <a:gd name="connsiteY3746" fmla="*/ 2616338 h 8402012"/>
              <a:gd name="connsiteX3747" fmla="*/ 18020336 w 21052572"/>
              <a:gd name="connsiteY3747" fmla="*/ 2613509 h 8402012"/>
              <a:gd name="connsiteX3748" fmla="*/ 18052284 w 21052572"/>
              <a:gd name="connsiteY3748" fmla="*/ 2628397 h 8402012"/>
              <a:gd name="connsiteX3749" fmla="*/ 17996460 w 21052572"/>
              <a:gd name="connsiteY3749" fmla="*/ 2628397 h 8402012"/>
              <a:gd name="connsiteX3750" fmla="*/ 18008740 w 21052572"/>
              <a:gd name="connsiteY3750" fmla="*/ 2614436 h 8402012"/>
              <a:gd name="connsiteX3751" fmla="*/ 18020336 w 21052572"/>
              <a:gd name="connsiteY3751" fmla="*/ 2613509 h 8402012"/>
              <a:gd name="connsiteX3752" fmla="*/ 17683308 w 21052572"/>
              <a:gd name="connsiteY3752" fmla="*/ 2612256 h 8402012"/>
              <a:gd name="connsiteX3753" fmla="*/ 17701496 w 21052572"/>
              <a:gd name="connsiteY3753" fmla="*/ 2643671 h 8402012"/>
              <a:gd name="connsiteX3754" fmla="*/ 17655200 w 21052572"/>
              <a:gd name="connsiteY3754" fmla="*/ 2630443 h 8402012"/>
              <a:gd name="connsiteX3755" fmla="*/ 17683308 w 21052572"/>
              <a:gd name="connsiteY3755" fmla="*/ 2612256 h 8402012"/>
              <a:gd name="connsiteX3756" fmla="*/ 12488011 w 21052572"/>
              <a:gd name="connsiteY3756" fmla="*/ 2612137 h 8402012"/>
              <a:gd name="connsiteX3757" fmla="*/ 12500908 w 21052572"/>
              <a:gd name="connsiteY3757" fmla="*/ 2644376 h 8402012"/>
              <a:gd name="connsiteX3758" fmla="*/ 12488011 w 21052572"/>
              <a:gd name="connsiteY3758" fmla="*/ 2612137 h 8402012"/>
              <a:gd name="connsiteX3759" fmla="*/ 12411705 w 21052572"/>
              <a:gd name="connsiteY3759" fmla="*/ 2612137 h 8402012"/>
              <a:gd name="connsiteX3760" fmla="*/ 12449321 w 21052572"/>
              <a:gd name="connsiteY3760" fmla="*/ 2644376 h 8402012"/>
              <a:gd name="connsiteX3761" fmla="*/ 12411705 w 21052572"/>
              <a:gd name="connsiteY3761" fmla="*/ 2612137 h 8402012"/>
              <a:gd name="connsiteX3762" fmla="*/ 11975366 w 21052572"/>
              <a:gd name="connsiteY3762" fmla="*/ 2612137 h 8402012"/>
              <a:gd name="connsiteX3763" fmla="*/ 11411134 w 21052572"/>
              <a:gd name="connsiteY3763" fmla="*/ 2759362 h 8402012"/>
              <a:gd name="connsiteX3764" fmla="*/ 11282167 w 21052572"/>
              <a:gd name="connsiteY3764" fmla="*/ 2778702 h 8402012"/>
              <a:gd name="connsiteX3765" fmla="*/ 11173620 w 21052572"/>
              <a:gd name="connsiteY3765" fmla="*/ 2843195 h 8402012"/>
              <a:gd name="connsiteX3766" fmla="*/ 10916760 w 21052572"/>
              <a:gd name="connsiteY3766" fmla="*/ 2920566 h 8402012"/>
              <a:gd name="connsiteX3767" fmla="*/ 10916760 w 21052572"/>
              <a:gd name="connsiteY3767" fmla="*/ 2952806 h 8402012"/>
              <a:gd name="connsiteX3768" fmla="*/ 11539027 w 21052572"/>
              <a:gd name="connsiteY3768" fmla="*/ 2804473 h 8402012"/>
              <a:gd name="connsiteX3769" fmla="*/ 11692713 w 21052572"/>
              <a:gd name="connsiteY3769" fmla="*/ 2778702 h 8402012"/>
              <a:gd name="connsiteX3770" fmla="*/ 11744300 w 21052572"/>
              <a:gd name="connsiteY3770" fmla="*/ 2734643 h 8402012"/>
              <a:gd name="connsiteX3771" fmla="*/ 11821680 w 21052572"/>
              <a:gd name="connsiteY3771" fmla="*/ 2721752 h 8402012"/>
              <a:gd name="connsiteX3772" fmla="*/ 12129052 w 21052572"/>
              <a:gd name="connsiteY3772" fmla="*/ 2676615 h 8402012"/>
              <a:gd name="connsiteX3773" fmla="*/ 11975366 w 21052572"/>
              <a:gd name="connsiteY3773" fmla="*/ 2676615 h 8402012"/>
              <a:gd name="connsiteX3774" fmla="*/ 11975366 w 21052572"/>
              <a:gd name="connsiteY3774" fmla="*/ 2612137 h 8402012"/>
              <a:gd name="connsiteX3775" fmla="*/ 15279596 w 21052572"/>
              <a:gd name="connsiteY3775" fmla="*/ 2611594 h 8402012"/>
              <a:gd name="connsiteX3776" fmla="*/ 15261634 w 21052572"/>
              <a:gd name="connsiteY3776" fmla="*/ 2643702 h 8402012"/>
              <a:gd name="connsiteX3777" fmla="*/ 15279596 w 21052572"/>
              <a:gd name="connsiteY3777" fmla="*/ 2611594 h 8402012"/>
              <a:gd name="connsiteX3778" fmla="*/ 18154280 w 21052572"/>
              <a:gd name="connsiteY3778" fmla="*/ 2611593 h 8402012"/>
              <a:gd name="connsiteX3779" fmla="*/ 18185024 w 21052572"/>
              <a:gd name="connsiteY3779" fmla="*/ 2643702 h 8402012"/>
              <a:gd name="connsiteX3780" fmla="*/ 18148132 w 21052572"/>
              <a:gd name="connsiteY3780" fmla="*/ 2630858 h 8402012"/>
              <a:gd name="connsiteX3781" fmla="*/ 18154280 w 21052572"/>
              <a:gd name="connsiteY3781" fmla="*/ 2611593 h 8402012"/>
              <a:gd name="connsiteX3782" fmla="*/ 15019906 w 21052572"/>
              <a:gd name="connsiteY3782" fmla="*/ 2611591 h 8402012"/>
              <a:gd name="connsiteX3783" fmla="*/ 15038352 w 21052572"/>
              <a:gd name="connsiteY3783" fmla="*/ 2611591 h 8402012"/>
              <a:gd name="connsiteX3784" fmla="*/ 15056798 w 21052572"/>
              <a:gd name="connsiteY3784" fmla="*/ 2630037 h 8402012"/>
              <a:gd name="connsiteX3785" fmla="*/ 15019906 w 21052572"/>
              <a:gd name="connsiteY3785" fmla="*/ 2611591 h 8402012"/>
              <a:gd name="connsiteX3786" fmla="*/ 19375704 w 21052572"/>
              <a:gd name="connsiteY3786" fmla="*/ 2610389 h 8402012"/>
              <a:gd name="connsiteX3787" fmla="*/ 19436240 w 21052572"/>
              <a:gd name="connsiteY3787" fmla="*/ 2657884 h 8402012"/>
              <a:gd name="connsiteX3788" fmla="*/ 19356768 w 21052572"/>
              <a:gd name="connsiteY3788" fmla="*/ 2631394 h 8402012"/>
              <a:gd name="connsiteX3789" fmla="*/ 19375704 w 21052572"/>
              <a:gd name="connsiteY3789" fmla="*/ 2610389 h 8402012"/>
              <a:gd name="connsiteX3790" fmla="*/ 14057213 w 21052572"/>
              <a:gd name="connsiteY3790" fmla="*/ 2602603 h 8402012"/>
              <a:gd name="connsiteX3791" fmla="*/ 14094604 w 21052572"/>
              <a:gd name="connsiteY3791" fmla="*/ 2642914 h 8402012"/>
              <a:gd name="connsiteX3792" fmla="*/ 14000862 w 21052572"/>
              <a:gd name="connsiteY3792" fmla="*/ 2610665 h 8402012"/>
              <a:gd name="connsiteX3793" fmla="*/ 14057213 w 21052572"/>
              <a:gd name="connsiteY3793" fmla="*/ 2602603 h 8402012"/>
              <a:gd name="connsiteX3794" fmla="*/ 18522576 w 21052572"/>
              <a:gd name="connsiteY3794" fmla="*/ 2597378 h 8402012"/>
              <a:gd name="connsiteX3795" fmla="*/ 18529136 w 21052572"/>
              <a:gd name="connsiteY3795" fmla="*/ 2629481 h 8402012"/>
              <a:gd name="connsiteX3796" fmla="*/ 18522576 w 21052572"/>
              <a:gd name="connsiteY3796" fmla="*/ 2610217 h 8402012"/>
              <a:gd name="connsiteX3797" fmla="*/ 18522576 w 21052572"/>
              <a:gd name="connsiteY3797" fmla="*/ 2597378 h 8402012"/>
              <a:gd name="connsiteX3798" fmla="*/ 19318852 w 21052572"/>
              <a:gd name="connsiteY3798" fmla="*/ 2587894 h 8402012"/>
              <a:gd name="connsiteX3799" fmla="*/ 19355744 w 21052572"/>
              <a:gd name="connsiteY3799" fmla="*/ 2601543 h 8402012"/>
              <a:gd name="connsiteX3800" fmla="*/ 19349596 w 21052572"/>
              <a:gd name="connsiteY3800" fmla="*/ 2615194 h 8402012"/>
              <a:gd name="connsiteX3801" fmla="*/ 19318852 w 21052572"/>
              <a:gd name="connsiteY3801" fmla="*/ 2587894 h 8402012"/>
              <a:gd name="connsiteX3802" fmla="*/ 18091256 w 21052572"/>
              <a:gd name="connsiteY3802" fmla="*/ 2587894 h 8402012"/>
              <a:gd name="connsiteX3803" fmla="*/ 18147100 w 21052572"/>
              <a:gd name="connsiteY3803" fmla="*/ 2601122 h 8402012"/>
              <a:gd name="connsiteX3804" fmla="*/ 18091256 w 21052572"/>
              <a:gd name="connsiteY3804" fmla="*/ 2587894 h 8402012"/>
              <a:gd name="connsiteX3805" fmla="*/ 17622024 w 21052572"/>
              <a:gd name="connsiteY3805" fmla="*/ 2587894 h 8402012"/>
              <a:gd name="connsiteX3806" fmla="*/ 17654132 w 21052572"/>
              <a:gd name="connsiteY3806" fmla="*/ 2600737 h 8402012"/>
              <a:gd name="connsiteX3807" fmla="*/ 17622024 w 21052572"/>
              <a:gd name="connsiteY3807" fmla="*/ 2587894 h 8402012"/>
              <a:gd name="connsiteX3808" fmla="*/ 10773452 w 21052572"/>
              <a:gd name="connsiteY3808" fmla="*/ 2587654 h 8402012"/>
              <a:gd name="connsiteX3809" fmla="*/ 10672797 w 21052572"/>
              <a:gd name="connsiteY3809" fmla="*/ 2612137 h 8402012"/>
              <a:gd name="connsiteX3810" fmla="*/ 10564249 w 21052572"/>
              <a:gd name="connsiteY3810" fmla="*/ 2657271 h 8402012"/>
              <a:gd name="connsiteX3811" fmla="*/ 10692142 w 21052572"/>
              <a:gd name="connsiteY3811" fmla="*/ 2644376 h 8402012"/>
              <a:gd name="connsiteX3812" fmla="*/ 10737280 w 21052572"/>
              <a:gd name="connsiteY3812" fmla="*/ 2612137 h 8402012"/>
              <a:gd name="connsiteX3813" fmla="*/ 10788867 w 21052572"/>
              <a:gd name="connsiteY3813" fmla="*/ 2612137 h 8402012"/>
              <a:gd name="connsiteX3814" fmla="*/ 10773452 w 21052572"/>
              <a:gd name="connsiteY3814" fmla="*/ 2587654 h 8402012"/>
              <a:gd name="connsiteX3815" fmla="*/ 1340057 w 21052572"/>
              <a:gd name="connsiteY3815" fmla="*/ 2585027 h 8402012"/>
              <a:gd name="connsiteX3816" fmla="*/ 1303190 w 21052572"/>
              <a:gd name="connsiteY3816" fmla="*/ 2611482 h 8402012"/>
              <a:gd name="connsiteX3817" fmla="*/ 1340057 w 21052572"/>
              <a:gd name="connsiteY3817" fmla="*/ 2585027 h 8402012"/>
              <a:gd name="connsiteX3818" fmla="*/ 14844536 w 21052572"/>
              <a:gd name="connsiteY3818" fmla="*/ 2584562 h 8402012"/>
              <a:gd name="connsiteX3819" fmla="*/ 14881428 w 21052572"/>
              <a:gd name="connsiteY3819" fmla="*/ 2609157 h 8402012"/>
              <a:gd name="connsiteX3820" fmla="*/ 14844536 w 21052572"/>
              <a:gd name="connsiteY3820" fmla="*/ 2584562 h 8402012"/>
              <a:gd name="connsiteX3821" fmla="*/ 17995896 w 21052572"/>
              <a:gd name="connsiteY3821" fmla="*/ 2568937 h 8402012"/>
              <a:gd name="connsiteX3822" fmla="*/ 18009544 w 21052572"/>
              <a:gd name="connsiteY3822" fmla="*/ 2589410 h 8402012"/>
              <a:gd name="connsiteX3823" fmla="*/ 17995896 w 21052572"/>
              <a:gd name="connsiteY3823" fmla="*/ 2568937 h 8402012"/>
              <a:gd name="connsiteX3824" fmla="*/ 10564249 w 21052572"/>
              <a:gd name="connsiteY3824" fmla="*/ 2554106 h 8402012"/>
              <a:gd name="connsiteX3825" fmla="*/ 10577146 w 21052572"/>
              <a:gd name="connsiteY3825" fmla="*/ 2586345 h 8402012"/>
              <a:gd name="connsiteX3826" fmla="*/ 10564249 w 21052572"/>
              <a:gd name="connsiteY3826" fmla="*/ 2554106 h 8402012"/>
              <a:gd name="connsiteX3827" fmla="*/ 18878460 w 21052572"/>
              <a:gd name="connsiteY3827" fmla="*/ 2546713 h 8402012"/>
              <a:gd name="connsiteX3828" fmla="*/ 18875656 w 21052572"/>
              <a:gd name="connsiteY3828" fmla="*/ 2550499 h 8402012"/>
              <a:gd name="connsiteX3829" fmla="*/ 18873316 w 21052572"/>
              <a:gd name="connsiteY3829" fmla="*/ 2553657 h 8402012"/>
              <a:gd name="connsiteX3830" fmla="*/ 18829076 w 21052572"/>
              <a:gd name="connsiteY3830" fmla="*/ 2540496 h 8402012"/>
              <a:gd name="connsiteX3831" fmla="*/ 18834344 w 21052572"/>
              <a:gd name="connsiteY3831" fmla="*/ 2551357 h 8402012"/>
              <a:gd name="connsiteX3832" fmla="*/ 18831112 w 21052572"/>
              <a:gd name="connsiteY3832" fmla="*/ 2554711 h 8402012"/>
              <a:gd name="connsiteX3833" fmla="*/ 18825784 w 21052572"/>
              <a:gd name="connsiteY3833" fmla="*/ 2560242 h 8402012"/>
              <a:gd name="connsiteX3834" fmla="*/ 18816436 w 21052572"/>
              <a:gd name="connsiteY3834" fmla="*/ 2551357 h 8402012"/>
              <a:gd name="connsiteX3835" fmla="*/ 18829076 w 21052572"/>
              <a:gd name="connsiteY3835" fmla="*/ 2540496 h 8402012"/>
              <a:gd name="connsiteX3836" fmla="*/ 18883140 w 21052572"/>
              <a:gd name="connsiteY3836" fmla="*/ 2540395 h 8402012"/>
              <a:gd name="connsiteX3837" fmla="*/ 18880516 w 21052572"/>
              <a:gd name="connsiteY3837" fmla="*/ 2543938 h 8402012"/>
              <a:gd name="connsiteX3838" fmla="*/ 18878460 w 21052572"/>
              <a:gd name="connsiteY3838" fmla="*/ 2546713 h 8402012"/>
              <a:gd name="connsiteX3839" fmla="*/ 18884836 w 21052572"/>
              <a:gd name="connsiteY3839" fmla="*/ 2538105 h 8402012"/>
              <a:gd name="connsiteX3840" fmla="*/ 18884656 w 21052572"/>
              <a:gd name="connsiteY3840" fmla="*/ 2538349 h 8402012"/>
              <a:gd name="connsiteX3841" fmla="*/ 18883140 w 21052572"/>
              <a:gd name="connsiteY3841" fmla="*/ 2540395 h 8402012"/>
              <a:gd name="connsiteX3842" fmla="*/ 12449321 w 21052572"/>
              <a:gd name="connsiteY3842" fmla="*/ 2522941 h 8402012"/>
              <a:gd name="connsiteX3843" fmla="*/ 12488011 w 21052572"/>
              <a:gd name="connsiteY3843" fmla="*/ 2554106 h 8402012"/>
              <a:gd name="connsiteX3844" fmla="*/ 12449321 w 21052572"/>
              <a:gd name="connsiteY3844" fmla="*/ 2522941 h 8402012"/>
              <a:gd name="connsiteX3845" fmla="*/ 10601865 w 21052572"/>
              <a:gd name="connsiteY3845" fmla="*/ 2522941 h 8402012"/>
              <a:gd name="connsiteX3846" fmla="*/ 10601865 w 21052572"/>
              <a:gd name="connsiteY3846" fmla="*/ 2586345 h 8402012"/>
              <a:gd name="connsiteX3847" fmla="*/ 10672797 w 21052572"/>
              <a:gd name="connsiteY3847" fmla="*/ 2522941 h 8402012"/>
              <a:gd name="connsiteX3848" fmla="*/ 10601865 w 21052572"/>
              <a:gd name="connsiteY3848" fmla="*/ 2522941 h 8402012"/>
              <a:gd name="connsiteX3849" fmla="*/ 9789371 w 21052572"/>
              <a:gd name="connsiteY3849" fmla="*/ 2522941 h 8402012"/>
              <a:gd name="connsiteX3850" fmla="*/ 9826986 w 21052572"/>
              <a:gd name="connsiteY3850" fmla="*/ 2554106 h 8402012"/>
              <a:gd name="connsiteX3851" fmla="*/ 9789371 w 21052572"/>
              <a:gd name="connsiteY3851" fmla="*/ 2522941 h 8402012"/>
              <a:gd name="connsiteX3852" fmla="*/ 17848536 w 21052572"/>
              <a:gd name="connsiteY3852" fmla="*/ 2521536 h 8402012"/>
              <a:gd name="connsiteX3853" fmla="*/ 17830572 w 21052572"/>
              <a:gd name="connsiteY3853" fmla="*/ 2553605 h 8402012"/>
              <a:gd name="connsiteX3854" fmla="*/ 17848536 w 21052572"/>
              <a:gd name="connsiteY3854" fmla="*/ 2521536 h 8402012"/>
              <a:gd name="connsiteX3855" fmla="*/ 14695029 w 21052572"/>
              <a:gd name="connsiteY3855" fmla="*/ 2510960 h 8402012"/>
              <a:gd name="connsiteX3856" fmla="*/ 14757289 w 21052572"/>
              <a:gd name="connsiteY3856" fmla="*/ 2522405 h 8402012"/>
              <a:gd name="connsiteX3857" fmla="*/ 14776611 w 21052572"/>
              <a:gd name="connsiteY3857" fmla="*/ 2637665 h 8402012"/>
              <a:gd name="connsiteX3858" fmla="*/ 14815256 w 21052572"/>
              <a:gd name="connsiteY3858" fmla="*/ 2553644 h 8402012"/>
              <a:gd name="connsiteX3859" fmla="*/ 14815256 w 21052572"/>
              <a:gd name="connsiteY3859" fmla="*/ 2644129 h 8402012"/>
              <a:gd name="connsiteX3860" fmla="*/ 14853900 w 21052572"/>
              <a:gd name="connsiteY3860" fmla="*/ 2657055 h 8402012"/>
              <a:gd name="connsiteX3861" fmla="*/ 14942997 w 21052572"/>
              <a:gd name="connsiteY3861" fmla="*/ 2695834 h 8402012"/>
              <a:gd name="connsiteX3862" fmla="*/ 14681074 w 21052572"/>
              <a:gd name="connsiteY3862" fmla="*/ 2657055 h 8402012"/>
              <a:gd name="connsiteX3863" fmla="*/ 14642430 w 21052572"/>
              <a:gd name="connsiteY3863" fmla="*/ 2547181 h 8402012"/>
              <a:gd name="connsiteX3864" fmla="*/ 14695029 w 21052572"/>
              <a:gd name="connsiteY3864" fmla="*/ 2510960 h 8402012"/>
              <a:gd name="connsiteX3865" fmla="*/ 19171920 w 21052572"/>
              <a:gd name="connsiteY3865" fmla="*/ 2497837 h 8402012"/>
              <a:gd name="connsiteX3866" fmla="*/ 19237188 w 21052572"/>
              <a:gd name="connsiteY3866" fmla="*/ 2522431 h 8402012"/>
              <a:gd name="connsiteX3867" fmla="*/ 19171920 w 21052572"/>
              <a:gd name="connsiteY3867" fmla="*/ 2497837 h 8402012"/>
              <a:gd name="connsiteX3868" fmla="*/ 9860840 w 21052572"/>
              <a:gd name="connsiteY3868" fmla="*/ 2495538 h 8402012"/>
              <a:gd name="connsiteX3869" fmla="*/ 9846331 w 21052572"/>
              <a:gd name="connsiteY3869" fmla="*/ 2522941 h 8402012"/>
              <a:gd name="connsiteX3870" fmla="*/ 9885021 w 21052572"/>
              <a:gd name="connsiteY3870" fmla="*/ 2497149 h 8402012"/>
              <a:gd name="connsiteX3871" fmla="*/ 9860840 w 21052572"/>
              <a:gd name="connsiteY3871" fmla="*/ 2495538 h 8402012"/>
              <a:gd name="connsiteX3872" fmla="*/ 18479444 w 21052572"/>
              <a:gd name="connsiteY3872" fmla="*/ 2483534 h 8402012"/>
              <a:gd name="connsiteX3873" fmla="*/ 18477704 w 21052572"/>
              <a:gd name="connsiteY3873" fmla="*/ 2488949 h 8402012"/>
              <a:gd name="connsiteX3874" fmla="*/ 18475336 w 21052572"/>
              <a:gd name="connsiteY3874" fmla="*/ 2496308 h 8402012"/>
              <a:gd name="connsiteX3875" fmla="*/ 18425672 w 21052572"/>
              <a:gd name="connsiteY3875" fmla="*/ 2478984 h 8402012"/>
              <a:gd name="connsiteX3876" fmla="*/ 18451184 w 21052572"/>
              <a:gd name="connsiteY3876" fmla="*/ 2484158 h 8402012"/>
              <a:gd name="connsiteX3877" fmla="*/ 18475336 w 21052572"/>
              <a:gd name="connsiteY3877" fmla="*/ 2496308 h 8402012"/>
              <a:gd name="connsiteX3878" fmla="*/ 18475704 w 21052572"/>
              <a:gd name="connsiteY3878" fmla="*/ 2496493 h 8402012"/>
              <a:gd name="connsiteX3879" fmla="*/ 18488344 w 21052572"/>
              <a:gd name="connsiteY3879" fmla="*/ 2509226 h 8402012"/>
              <a:gd name="connsiteX3880" fmla="*/ 18375640 w 21052572"/>
              <a:gd name="connsiteY3880" fmla="*/ 2509226 h 8402012"/>
              <a:gd name="connsiteX3881" fmla="*/ 18425672 w 21052572"/>
              <a:gd name="connsiteY3881" fmla="*/ 2478984 h 8402012"/>
              <a:gd name="connsiteX3882" fmla="*/ 18481900 w 21052572"/>
              <a:gd name="connsiteY3882" fmla="*/ 2475899 h 8402012"/>
              <a:gd name="connsiteX3883" fmla="*/ 18480336 w 21052572"/>
              <a:gd name="connsiteY3883" fmla="*/ 2480767 h 8402012"/>
              <a:gd name="connsiteX3884" fmla="*/ 18479444 w 21052572"/>
              <a:gd name="connsiteY3884" fmla="*/ 2483534 h 8402012"/>
              <a:gd name="connsiteX3885" fmla="*/ 18482756 w 21052572"/>
              <a:gd name="connsiteY3885" fmla="*/ 2473243 h 8402012"/>
              <a:gd name="connsiteX3886" fmla="*/ 18481900 w 21052572"/>
              <a:gd name="connsiteY3886" fmla="*/ 2475899 h 8402012"/>
              <a:gd name="connsiteX3887" fmla="*/ 18481912 w 21052572"/>
              <a:gd name="connsiteY3887" fmla="*/ 2475861 h 8402012"/>
              <a:gd name="connsiteX3888" fmla="*/ 18482756 w 21052572"/>
              <a:gd name="connsiteY3888" fmla="*/ 2473243 h 8402012"/>
              <a:gd name="connsiteX3889" fmla="*/ 10826483 w 21052572"/>
              <a:gd name="connsiteY3889" fmla="*/ 2464911 h 8402012"/>
              <a:gd name="connsiteX3890" fmla="*/ 10826483 w 21052572"/>
              <a:gd name="connsiteY3890" fmla="*/ 2497149 h 8402012"/>
              <a:gd name="connsiteX3891" fmla="*/ 10826483 w 21052572"/>
              <a:gd name="connsiteY3891" fmla="*/ 2464911 h 8402012"/>
              <a:gd name="connsiteX3892" fmla="*/ 19170824 w 21052572"/>
              <a:gd name="connsiteY3892" fmla="*/ 2464657 h 8402012"/>
              <a:gd name="connsiteX3893" fmla="*/ 19170824 w 21052572"/>
              <a:gd name="connsiteY3893" fmla="*/ 2496762 h 8402012"/>
              <a:gd name="connsiteX3894" fmla="*/ 19170824 w 21052572"/>
              <a:gd name="connsiteY3894" fmla="*/ 2464657 h 8402012"/>
              <a:gd name="connsiteX3895" fmla="*/ 17001116 w 21052572"/>
              <a:gd name="connsiteY3895" fmla="*/ 2464657 h 8402012"/>
              <a:gd name="connsiteX3896" fmla="*/ 17019024 w 21052572"/>
              <a:gd name="connsiteY3896" fmla="*/ 2496762 h 8402012"/>
              <a:gd name="connsiteX3897" fmla="*/ 17001116 w 21052572"/>
              <a:gd name="connsiteY3897" fmla="*/ 2464657 h 8402012"/>
              <a:gd name="connsiteX3898" fmla="*/ 19625796 w 21052572"/>
              <a:gd name="connsiteY3898" fmla="*/ 2464656 h 8402012"/>
              <a:gd name="connsiteX3899" fmla="*/ 19598496 w 21052572"/>
              <a:gd name="connsiteY3899" fmla="*/ 2496762 h 8402012"/>
              <a:gd name="connsiteX3900" fmla="*/ 19625796 w 21052572"/>
              <a:gd name="connsiteY3900" fmla="*/ 2464656 h 8402012"/>
              <a:gd name="connsiteX3901" fmla="*/ 17704408 w 21052572"/>
              <a:gd name="connsiteY3901" fmla="*/ 2460359 h 8402012"/>
              <a:gd name="connsiteX3902" fmla="*/ 17730000 w 21052572"/>
              <a:gd name="connsiteY3902" fmla="*/ 2476892 h 8402012"/>
              <a:gd name="connsiteX3903" fmla="*/ 17674160 w 21052572"/>
              <a:gd name="connsiteY3903" fmla="*/ 2496733 h 8402012"/>
              <a:gd name="connsiteX3904" fmla="*/ 17674160 w 21052572"/>
              <a:gd name="connsiteY3904" fmla="*/ 2463666 h 8402012"/>
              <a:gd name="connsiteX3905" fmla="*/ 17704408 w 21052572"/>
              <a:gd name="connsiteY3905" fmla="*/ 2460359 h 8402012"/>
              <a:gd name="connsiteX3906" fmla="*/ 13332893 w 21052572"/>
              <a:gd name="connsiteY3906" fmla="*/ 2457583 h 8402012"/>
              <a:gd name="connsiteX3907" fmla="*/ 13336732 w 21052572"/>
              <a:gd name="connsiteY3907" fmla="*/ 2477737 h 8402012"/>
              <a:gd name="connsiteX3908" fmla="*/ 13323082 w 21052572"/>
              <a:gd name="connsiteY3908" fmla="*/ 2464088 h 8402012"/>
              <a:gd name="connsiteX3909" fmla="*/ 13332893 w 21052572"/>
              <a:gd name="connsiteY3909" fmla="*/ 2457583 h 8402012"/>
              <a:gd name="connsiteX3910" fmla="*/ 17730568 w 21052572"/>
              <a:gd name="connsiteY3910" fmla="*/ 2450355 h 8402012"/>
              <a:gd name="connsiteX3911" fmla="*/ 17726300 w 21052572"/>
              <a:gd name="connsiteY3911" fmla="*/ 2463623 h 8402012"/>
              <a:gd name="connsiteX3912" fmla="*/ 17728824 w 21052572"/>
              <a:gd name="connsiteY3912" fmla="*/ 2455770 h 8402012"/>
              <a:gd name="connsiteX3913" fmla="*/ 17731036 w 21052572"/>
              <a:gd name="connsiteY3913" fmla="*/ 2445698 h 8402012"/>
              <a:gd name="connsiteX3914" fmla="*/ 17732004 w 21052572"/>
              <a:gd name="connsiteY3914" fmla="*/ 2445888 h 8402012"/>
              <a:gd name="connsiteX3915" fmla="*/ 17742520 w 21052572"/>
              <a:gd name="connsiteY3915" fmla="*/ 2447943 h 8402012"/>
              <a:gd name="connsiteX3916" fmla="*/ 17744164 w 21052572"/>
              <a:gd name="connsiteY3916" fmla="*/ 2463660 h 8402012"/>
              <a:gd name="connsiteX3917" fmla="*/ 17731752 w 21052572"/>
              <a:gd name="connsiteY3917" fmla="*/ 2446677 h 8402012"/>
              <a:gd name="connsiteX3918" fmla="*/ 17731456 w 21052572"/>
              <a:gd name="connsiteY3918" fmla="*/ 2447589 h 8402012"/>
              <a:gd name="connsiteX3919" fmla="*/ 17730568 w 21052572"/>
              <a:gd name="connsiteY3919" fmla="*/ 2450355 h 8402012"/>
              <a:gd name="connsiteX3920" fmla="*/ 17731748 w 21052572"/>
              <a:gd name="connsiteY3920" fmla="*/ 2446677 h 8402012"/>
              <a:gd name="connsiteX3921" fmla="*/ 17733876 w 21052572"/>
              <a:gd name="connsiteY3921" fmla="*/ 2440064 h 8402012"/>
              <a:gd name="connsiteX3922" fmla="*/ 17733036 w 21052572"/>
              <a:gd name="connsiteY3922" fmla="*/ 2442682 h 8402012"/>
              <a:gd name="connsiteX3923" fmla="*/ 17732004 w 21052572"/>
              <a:gd name="connsiteY3923" fmla="*/ 2445888 h 8402012"/>
              <a:gd name="connsiteX3924" fmla="*/ 10916760 w 21052572"/>
              <a:gd name="connsiteY3924" fmla="*/ 2432672 h 8402012"/>
              <a:gd name="connsiteX3925" fmla="*/ 10936105 w 21052572"/>
              <a:gd name="connsiteY3925" fmla="*/ 2464911 h 8402012"/>
              <a:gd name="connsiteX3926" fmla="*/ 10916760 w 21052572"/>
              <a:gd name="connsiteY3926" fmla="*/ 2432672 h 8402012"/>
              <a:gd name="connsiteX3927" fmla="*/ 10429908 w 21052572"/>
              <a:gd name="connsiteY3927" fmla="*/ 2432672 h 8402012"/>
              <a:gd name="connsiteX3928" fmla="*/ 10174123 w 21052572"/>
              <a:gd name="connsiteY3928" fmla="*/ 2547657 h 8402012"/>
              <a:gd name="connsiteX3929" fmla="*/ 10109639 w 21052572"/>
              <a:gd name="connsiteY3929" fmla="*/ 2599243 h 8402012"/>
              <a:gd name="connsiteX3930" fmla="*/ 10167675 w 21052572"/>
              <a:gd name="connsiteY3930" fmla="*/ 2566999 h 8402012"/>
              <a:gd name="connsiteX3931" fmla="*/ 10224635 w 21052572"/>
              <a:gd name="connsiteY3931" fmla="*/ 2554106 h 8402012"/>
              <a:gd name="connsiteX3932" fmla="*/ 10308464 w 21052572"/>
              <a:gd name="connsiteY3932" fmla="*/ 2535836 h 8402012"/>
              <a:gd name="connsiteX3933" fmla="*/ 10385844 w 21052572"/>
              <a:gd name="connsiteY3933" fmla="*/ 2510046 h 8402012"/>
              <a:gd name="connsiteX3934" fmla="*/ 10429908 w 21052572"/>
              <a:gd name="connsiteY3934" fmla="*/ 2497149 h 8402012"/>
              <a:gd name="connsiteX3935" fmla="*/ 10429908 w 21052572"/>
              <a:gd name="connsiteY3935" fmla="*/ 2432672 h 8402012"/>
              <a:gd name="connsiteX3936" fmla="*/ 10032259 w 21052572"/>
              <a:gd name="connsiteY3936" fmla="*/ 2432672 h 8402012"/>
              <a:gd name="connsiteX3937" fmla="*/ 10051604 w 21052572"/>
              <a:gd name="connsiteY3937" fmla="*/ 2464911 h 8402012"/>
              <a:gd name="connsiteX3938" fmla="*/ 10032259 w 21052572"/>
              <a:gd name="connsiteY3938" fmla="*/ 2432672 h 8402012"/>
              <a:gd name="connsiteX3939" fmla="*/ 17843544 w 21052572"/>
              <a:gd name="connsiteY3939" fmla="*/ 2431480 h 8402012"/>
              <a:gd name="connsiteX3940" fmla="*/ 17888948 w 21052572"/>
              <a:gd name="connsiteY3940" fmla="*/ 2457549 h 8402012"/>
              <a:gd name="connsiteX3941" fmla="*/ 17960292 w 21052572"/>
              <a:gd name="connsiteY3941" fmla="*/ 2490135 h 8402012"/>
              <a:gd name="connsiteX3942" fmla="*/ 18031640 w 21052572"/>
              <a:gd name="connsiteY3942" fmla="*/ 2529239 h 8402012"/>
              <a:gd name="connsiteX3943" fmla="*/ 18075960 w 21052572"/>
              <a:gd name="connsiteY3943" fmla="*/ 2554221 h 8402012"/>
              <a:gd name="connsiteX3944" fmla="*/ 18075960 w 21052572"/>
              <a:gd name="connsiteY3944" fmla="*/ 2586807 h 8402012"/>
              <a:gd name="connsiteX3945" fmla="*/ 18012180 w 21052572"/>
              <a:gd name="connsiteY3945" fmla="*/ 2586807 h 8402012"/>
              <a:gd name="connsiteX3946" fmla="*/ 17960292 w 21052572"/>
              <a:gd name="connsiteY3946" fmla="*/ 2547704 h 8402012"/>
              <a:gd name="connsiteX3947" fmla="*/ 17830572 w 21052572"/>
              <a:gd name="connsiteY3947" fmla="*/ 2496652 h 8402012"/>
              <a:gd name="connsiteX3948" fmla="*/ 17843544 w 21052572"/>
              <a:gd name="connsiteY3948" fmla="*/ 2431480 h 8402012"/>
              <a:gd name="connsiteX3949" fmla="*/ 17147052 w 21052572"/>
              <a:gd name="connsiteY3949" fmla="*/ 2431480 h 8402012"/>
              <a:gd name="connsiteX3950" fmla="*/ 17129092 w 21052572"/>
              <a:gd name="connsiteY3950" fmla="*/ 2463588 h 8402012"/>
              <a:gd name="connsiteX3951" fmla="*/ 17147052 w 21052572"/>
              <a:gd name="connsiteY3951" fmla="*/ 2431480 h 8402012"/>
              <a:gd name="connsiteX3952" fmla="*/ 16322338 w 21052572"/>
              <a:gd name="connsiteY3952" fmla="*/ 2431480 h 8402012"/>
              <a:gd name="connsiteX3953" fmla="*/ 16304374 w 21052572"/>
              <a:gd name="connsiteY3953" fmla="*/ 2463588 h 8402012"/>
              <a:gd name="connsiteX3954" fmla="*/ 16322338 w 21052572"/>
              <a:gd name="connsiteY3954" fmla="*/ 2431480 h 8402012"/>
              <a:gd name="connsiteX3955" fmla="*/ 13824427 w 21052572"/>
              <a:gd name="connsiteY3955" fmla="*/ 2431480 h 8402012"/>
              <a:gd name="connsiteX3956" fmla="*/ 13773355 w 21052572"/>
              <a:gd name="connsiteY3956" fmla="*/ 2464547 h 8402012"/>
              <a:gd name="connsiteX3957" fmla="*/ 13824427 w 21052572"/>
              <a:gd name="connsiteY3957" fmla="*/ 2431480 h 8402012"/>
              <a:gd name="connsiteX3958" fmla="*/ 845495 w 21052572"/>
              <a:gd name="connsiteY3958" fmla="*/ 2427183 h 8402012"/>
              <a:gd name="connsiteX3959" fmla="*/ 1032486 w 21052572"/>
              <a:gd name="connsiteY3959" fmla="*/ 2491407 h 8402012"/>
              <a:gd name="connsiteX3960" fmla="*/ 1283154 w 21052572"/>
              <a:gd name="connsiteY3960" fmla="*/ 2586821 h 8402012"/>
              <a:gd name="connsiteX3961" fmla="*/ 1122855 w 21052572"/>
              <a:gd name="connsiteY3961" fmla="*/ 2554659 h 8402012"/>
              <a:gd name="connsiteX3962" fmla="*/ 781817 w 21052572"/>
              <a:gd name="connsiteY3962" fmla="*/ 2433515 h 8402012"/>
              <a:gd name="connsiteX3963" fmla="*/ 845495 w 21052572"/>
              <a:gd name="connsiteY3963" fmla="*/ 2427183 h 8402012"/>
              <a:gd name="connsiteX3964" fmla="*/ 11472595 w 21052572"/>
              <a:gd name="connsiteY3964" fmla="*/ 2422901 h 8402012"/>
              <a:gd name="connsiteX3965" fmla="*/ 11398238 w 21052572"/>
              <a:gd name="connsiteY3965" fmla="*/ 2445566 h 8402012"/>
              <a:gd name="connsiteX3966" fmla="*/ 11301512 w 21052572"/>
              <a:gd name="connsiteY3966" fmla="*/ 2484256 h 8402012"/>
              <a:gd name="connsiteX3967" fmla="*/ 11192965 w 21052572"/>
              <a:gd name="connsiteY3967" fmla="*/ 2522941 h 8402012"/>
              <a:gd name="connsiteX3968" fmla="*/ 11115584 w 21052572"/>
              <a:gd name="connsiteY3968" fmla="*/ 2554106 h 8402012"/>
              <a:gd name="connsiteX3969" fmla="*/ 10916760 w 21052572"/>
              <a:gd name="connsiteY3969" fmla="*/ 2599243 h 8402012"/>
              <a:gd name="connsiteX3970" fmla="*/ 11076894 w 21052572"/>
              <a:gd name="connsiteY3970" fmla="*/ 2586345 h 8402012"/>
              <a:gd name="connsiteX3971" fmla="*/ 11217683 w 21052572"/>
              <a:gd name="connsiteY3971" fmla="*/ 2542284 h 8402012"/>
              <a:gd name="connsiteX3972" fmla="*/ 11493888 w 21052572"/>
              <a:gd name="connsiteY3972" fmla="*/ 2432672 h 8402012"/>
              <a:gd name="connsiteX3973" fmla="*/ 11472595 w 21052572"/>
              <a:gd name="connsiteY3973" fmla="*/ 2422901 h 8402012"/>
              <a:gd name="connsiteX3974" fmla="*/ 13900203 w 21052572"/>
              <a:gd name="connsiteY3974" fmla="*/ 2400427 h 8402012"/>
              <a:gd name="connsiteX3975" fmla="*/ 13900203 w 21052572"/>
              <a:gd name="connsiteY3975" fmla="*/ 2464911 h 8402012"/>
              <a:gd name="connsiteX3976" fmla="*/ 13861513 w 21052572"/>
              <a:gd name="connsiteY3976" fmla="*/ 2471358 h 8402012"/>
              <a:gd name="connsiteX3977" fmla="*/ 13893755 w 21052572"/>
              <a:gd name="connsiteY3977" fmla="*/ 2503598 h 8402012"/>
              <a:gd name="connsiteX3978" fmla="*/ 13995854 w 21052572"/>
              <a:gd name="connsiteY3978" fmla="*/ 2477804 h 8402012"/>
              <a:gd name="connsiteX3979" fmla="*/ 13963612 w 21052572"/>
              <a:gd name="connsiteY3979" fmla="*/ 2452014 h 8402012"/>
              <a:gd name="connsiteX3980" fmla="*/ 13963612 w 21052572"/>
              <a:gd name="connsiteY3980" fmla="*/ 2419778 h 8402012"/>
              <a:gd name="connsiteX3981" fmla="*/ 13937818 w 21052572"/>
              <a:gd name="connsiteY3981" fmla="*/ 2419778 h 8402012"/>
              <a:gd name="connsiteX3982" fmla="*/ 13900203 w 21052572"/>
              <a:gd name="connsiteY3982" fmla="*/ 2400427 h 8402012"/>
              <a:gd name="connsiteX3983" fmla="*/ 19041560 w 21052572"/>
              <a:gd name="connsiteY3983" fmla="*/ 2393591 h 8402012"/>
              <a:gd name="connsiteX3984" fmla="*/ 19128208 w 21052572"/>
              <a:gd name="connsiteY3984" fmla="*/ 2444618 h 8402012"/>
              <a:gd name="connsiteX3985" fmla="*/ 19015508 w 21052572"/>
              <a:gd name="connsiteY3985" fmla="*/ 2412219 h 8402012"/>
              <a:gd name="connsiteX3986" fmla="*/ 19041560 w 21052572"/>
              <a:gd name="connsiteY3986" fmla="*/ 2393591 h 8402012"/>
              <a:gd name="connsiteX3987" fmla="*/ 11128481 w 21052572"/>
              <a:gd name="connsiteY3987" fmla="*/ 2381086 h 8402012"/>
              <a:gd name="connsiteX3988" fmla="*/ 10961898 w 21052572"/>
              <a:gd name="connsiteY3988" fmla="*/ 2432672 h 8402012"/>
              <a:gd name="connsiteX3989" fmla="*/ 11128481 w 21052572"/>
              <a:gd name="connsiteY3989" fmla="*/ 2381086 h 8402012"/>
              <a:gd name="connsiteX3990" fmla="*/ 16987428 w 21052572"/>
              <a:gd name="connsiteY3990" fmla="*/ 2369862 h 8402012"/>
              <a:gd name="connsiteX3991" fmla="*/ 17019024 w 21052572"/>
              <a:gd name="connsiteY3991" fmla="*/ 2401967 h 8402012"/>
              <a:gd name="connsiteX3992" fmla="*/ 16982160 w 21052572"/>
              <a:gd name="connsiteY3992" fmla="*/ 2382704 h 8402012"/>
              <a:gd name="connsiteX3993" fmla="*/ 16987428 w 21052572"/>
              <a:gd name="connsiteY3993" fmla="*/ 2369862 h 8402012"/>
              <a:gd name="connsiteX3994" fmla="*/ 18534660 w 21052572"/>
              <a:gd name="connsiteY3994" fmla="*/ 2366944 h 8402012"/>
              <a:gd name="connsiteX3995" fmla="*/ 18549180 w 21052572"/>
              <a:gd name="connsiteY3995" fmla="*/ 2419067 h 8402012"/>
              <a:gd name="connsiteX3996" fmla="*/ 18620156 w 21052572"/>
              <a:gd name="connsiteY3996" fmla="*/ 2496418 h 8402012"/>
              <a:gd name="connsiteX3997" fmla="*/ 18587892 w 21052572"/>
              <a:gd name="connsiteY3997" fmla="*/ 2522203 h 8402012"/>
              <a:gd name="connsiteX3998" fmla="*/ 18620156 w 21052572"/>
              <a:gd name="connsiteY3998" fmla="*/ 2541541 h 8402012"/>
              <a:gd name="connsiteX3999" fmla="*/ 18631984 w 21052572"/>
              <a:gd name="connsiteY3999" fmla="*/ 2546914 h 8402012"/>
              <a:gd name="connsiteX4000" fmla="*/ 18748128 w 21052572"/>
              <a:gd name="connsiteY4000" fmla="*/ 2522203 h 8402012"/>
              <a:gd name="connsiteX4001" fmla="*/ 18765596 w 21052572"/>
              <a:gd name="connsiteY4001" fmla="*/ 2529864 h 8402012"/>
              <a:gd name="connsiteX4002" fmla="*/ 18759564 w 21052572"/>
              <a:gd name="connsiteY4002" fmla="*/ 2520160 h 8402012"/>
              <a:gd name="connsiteX4003" fmla="*/ 18771536 w 21052572"/>
              <a:gd name="connsiteY4003" fmla="*/ 2507316 h 8402012"/>
              <a:gd name="connsiteX4004" fmla="*/ 18776028 w 21052572"/>
              <a:gd name="connsiteY4004" fmla="*/ 2523370 h 8402012"/>
              <a:gd name="connsiteX4005" fmla="*/ 18773268 w 21052572"/>
              <a:gd name="connsiteY4005" fmla="*/ 2533230 h 8402012"/>
              <a:gd name="connsiteX4006" fmla="*/ 18781196 w 21052572"/>
              <a:gd name="connsiteY4006" fmla="*/ 2536706 h 8402012"/>
              <a:gd name="connsiteX4007" fmla="*/ 18819104 w 21052572"/>
              <a:gd name="connsiteY4007" fmla="*/ 2560878 h 8402012"/>
              <a:gd name="connsiteX4008" fmla="*/ 18863196 w 21052572"/>
              <a:gd name="connsiteY4008" fmla="*/ 2572696 h 8402012"/>
              <a:gd name="connsiteX4009" fmla="*/ 18979340 w 21052572"/>
              <a:gd name="connsiteY4009" fmla="*/ 2624266 h 8402012"/>
              <a:gd name="connsiteX4010" fmla="*/ 18876100 w 21052572"/>
              <a:gd name="connsiteY4010" fmla="*/ 2708063 h 8402012"/>
              <a:gd name="connsiteX4011" fmla="*/ 19107312 w 21052572"/>
              <a:gd name="connsiteY4011" fmla="*/ 2906818 h 8402012"/>
              <a:gd name="connsiteX4012" fmla="*/ 19229908 w 21052572"/>
              <a:gd name="connsiteY4012" fmla="*/ 3008879 h 8402012"/>
              <a:gd name="connsiteX4013" fmla="*/ 19319168 w 21052572"/>
              <a:gd name="connsiteY4013" fmla="*/ 3060446 h 8402012"/>
              <a:gd name="connsiteX4014" fmla="*/ 19286904 w 21052572"/>
              <a:gd name="connsiteY4014" fmla="*/ 2951942 h 8402012"/>
              <a:gd name="connsiteX4015" fmla="*/ 19357880 w 21052572"/>
              <a:gd name="connsiteY4015" fmla="*/ 2919712 h 8402012"/>
              <a:gd name="connsiteX4016" fmla="*/ 19357880 w 21052572"/>
              <a:gd name="connsiteY4016" fmla="*/ 3015325 h 8402012"/>
              <a:gd name="connsiteX4017" fmla="*/ 19409500 w 21052572"/>
              <a:gd name="connsiteY4017" fmla="*/ 2976653 h 8402012"/>
              <a:gd name="connsiteX4018" fmla="*/ 19492308 w 21052572"/>
              <a:gd name="connsiteY4018" fmla="*/ 3028218 h 8402012"/>
              <a:gd name="connsiteX4019" fmla="*/ 19550380 w 21052572"/>
              <a:gd name="connsiteY4019" fmla="*/ 3073341 h 8402012"/>
              <a:gd name="connsiteX4020" fmla="*/ 19492308 w 21052572"/>
              <a:gd name="connsiteY4020" fmla="*/ 3060446 h 8402012"/>
              <a:gd name="connsiteX4021" fmla="*/ 19627808 w 21052572"/>
              <a:gd name="connsiteY4021" fmla="*/ 3092678 h 8402012"/>
              <a:gd name="connsiteX4022" fmla="*/ 19582640 w 21052572"/>
              <a:gd name="connsiteY4022" fmla="*/ 3137801 h 8402012"/>
              <a:gd name="connsiteX4023" fmla="*/ 19660068 w 21052572"/>
              <a:gd name="connsiteY4023" fmla="*/ 3226970 h 8402012"/>
              <a:gd name="connsiteX4024" fmla="*/ 19755780 w 21052572"/>
              <a:gd name="connsiteY4024" fmla="*/ 3310769 h 8402012"/>
              <a:gd name="connsiteX4025" fmla="*/ 20019256 w 21052572"/>
              <a:gd name="connsiteY4025" fmla="*/ 3432170 h 8402012"/>
              <a:gd name="connsiteX4026" fmla="*/ 19999896 w 21052572"/>
              <a:gd name="connsiteY4026" fmla="*/ 3503076 h 8402012"/>
              <a:gd name="connsiteX4027" fmla="*/ 19954732 w 21052572"/>
              <a:gd name="connsiteY4027" fmla="*/ 3528860 h 8402012"/>
              <a:gd name="connsiteX4028" fmla="*/ 19967636 w 21052572"/>
              <a:gd name="connsiteY4028" fmla="*/ 3554644 h 8402012"/>
              <a:gd name="connsiteX4029" fmla="*/ 19954732 w 21052572"/>
              <a:gd name="connsiteY4029" fmla="*/ 3567536 h 8402012"/>
              <a:gd name="connsiteX4030" fmla="*/ 19956224 w 21052572"/>
              <a:gd name="connsiteY4030" fmla="*/ 3592397 h 8402012"/>
              <a:gd name="connsiteX4031" fmla="*/ 19956344 w 21052572"/>
              <a:gd name="connsiteY4031" fmla="*/ 3594395 h 8402012"/>
              <a:gd name="connsiteX4032" fmla="*/ 19967636 w 21052572"/>
              <a:gd name="connsiteY4032" fmla="*/ 3611589 h 8402012"/>
              <a:gd name="connsiteX4033" fmla="*/ 19922468 w 21052572"/>
              <a:gd name="connsiteY4033" fmla="*/ 3643813 h 8402012"/>
              <a:gd name="connsiteX4034" fmla="*/ 19909564 w 21052572"/>
              <a:gd name="connsiteY4034" fmla="*/ 3579354 h 8402012"/>
              <a:gd name="connsiteX4035" fmla="*/ 19916016 w 21052572"/>
              <a:gd name="connsiteY4035" fmla="*/ 3561091 h 8402012"/>
              <a:gd name="connsiteX4036" fmla="*/ 19903112 w 21052572"/>
              <a:gd name="connsiteY4036" fmla="*/ 3554644 h 8402012"/>
              <a:gd name="connsiteX4037" fmla="*/ 19833208 w 21052572"/>
              <a:gd name="connsiteY4037" fmla="*/ 3535307 h 8402012"/>
              <a:gd name="connsiteX4038" fmla="*/ 19608452 w 21052572"/>
              <a:gd name="connsiteY4038" fmla="*/ 3367695 h 8402012"/>
              <a:gd name="connsiteX4039" fmla="*/ 19370788 w 21052572"/>
              <a:gd name="connsiteY4039" fmla="*/ 3194740 h 8402012"/>
              <a:gd name="connsiteX4040" fmla="*/ 19262172 w 21052572"/>
              <a:gd name="connsiteY4040" fmla="*/ 3118462 h 8402012"/>
              <a:gd name="connsiteX4041" fmla="*/ 19204100 w 21052572"/>
              <a:gd name="connsiteY4041" fmla="*/ 3086232 h 8402012"/>
              <a:gd name="connsiteX4042" fmla="*/ 19191196 w 21052572"/>
              <a:gd name="connsiteY4042" fmla="*/ 3028218 h 8402012"/>
              <a:gd name="connsiteX4043" fmla="*/ 19100860 w 21052572"/>
              <a:gd name="connsiteY4043" fmla="*/ 2957311 h 8402012"/>
              <a:gd name="connsiteX4044" fmla="*/ 18998696 w 21052572"/>
              <a:gd name="connsiteY4044" fmla="*/ 2900372 h 8402012"/>
              <a:gd name="connsiteX4045" fmla="*/ 18754580 w 21052572"/>
              <a:gd name="connsiteY4045" fmla="*/ 2752111 h 8402012"/>
              <a:gd name="connsiteX4046" fmla="*/ 18536272 w 21052572"/>
              <a:gd name="connsiteY4046" fmla="*/ 2604927 h 8402012"/>
              <a:gd name="connsiteX4047" fmla="*/ 18491108 w 21052572"/>
              <a:gd name="connsiteY4047" fmla="*/ 2535095 h 8402012"/>
              <a:gd name="connsiteX4048" fmla="*/ 18529820 w 21052572"/>
              <a:gd name="connsiteY4048" fmla="*/ 2496418 h 8402012"/>
              <a:gd name="connsiteX4049" fmla="*/ 18491108 w 21052572"/>
              <a:gd name="connsiteY4049" fmla="*/ 2477081 h 8402012"/>
              <a:gd name="connsiteX4050" fmla="*/ 18529820 w 21052572"/>
              <a:gd name="connsiteY4050" fmla="*/ 2464188 h 8402012"/>
              <a:gd name="connsiteX4051" fmla="*/ 18523368 w 21052572"/>
              <a:gd name="connsiteY4051" fmla="*/ 2367497 h 8402012"/>
              <a:gd name="connsiteX4052" fmla="*/ 18534660 w 21052572"/>
              <a:gd name="connsiteY4052" fmla="*/ 2366944 h 8402012"/>
              <a:gd name="connsiteX4053" fmla="*/ 14178042 w 21052572"/>
              <a:gd name="connsiteY4053" fmla="*/ 2365763 h 8402012"/>
              <a:gd name="connsiteX4054" fmla="*/ 14203637 w 21052572"/>
              <a:gd name="connsiteY4054" fmla="*/ 2378829 h 8402012"/>
              <a:gd name="connsiteX4055" fmla="*/ 14147793 w 21052572"/>
              <a:gd name="connsiteY4055" fmla="*/ 2397274 h 8402012"/>
              <a:gd name="connsiteX4056" fmla="*/ 14147793 w 21052572"/>
              <a:gd name="connsiteY4056" fmla="*/ 2366531 h 8402012"/>
              <a:gd name="connsiteX4057" fmla="*/ 14178042 w 21052572"/>
              <a:gd name="connsiteY4057" fmla="*/ 2365763 h 8402012"/>
              <a:gd name="connsiteX4058" fmla="*/ 15749418 w 21052572"/>
              <a:gd name="connsiteY4058" fmla="*/ 2360442 h 8402012"/>
              <a:gd name="connsiteX4059" fmla="*/ 15786672 w 21052572"/>
              <a:gd name="connsiteY4059" fmla="*/ 2400767 h 8402012"/>
              <a:gd name="connsiteX4060" fmla="*/ 15697690 w 21052572"/>
              <a:gd name="connsiteY4060" fmla="*/ 2368181 h 8402012"/>
              <a:gd name="connsiteX4061" fmla="*/ 15749418 w 21052572"/>
              <a:gd name="connsiteY4061" fmla="*/ 2360442 h 8402012"/>
              <a:gd name="connsiteX4062" fmla="*/ 18389036 w 21052572"/>
              <a:gd name="connsiteY4062" fmla="*/ 2358528 h 8402012"/>
              <a:gd name="connsiteX4063" fmla="*/ 18493048 w 21052572"/>
              <a:gd name="connsiteY4063" fmla="*/ 2411447 h 8402012"/>
              <a:gd name="connsiteX4064" fmla="*/ 18356684 w 21052572"/>
              <a:gd name="connsiteY4064" fmla="*/ 2379282 h 8402012"/>
              <a:gd name="connsiteX4065" fmla="*/ 18389036 w 21052572"/>
              <a:gd name="connsiteY4065" fmla="*/ 2358528 h 8402012"/>
              <a:gd name="connsiteX4066" fmla="*/ 18495776 w 21052572"/>
              <a:gd name="connsiteY4066" fmla="*/ 2349279 h 8402012"/>
              <a:gd name="connsiteX4067" fmla="*/ 18507260 w 21052572"/>
              <a:gd name="connsiteY4067" fmla="*/ 2353146 h 8402012"/>
              <a:gd name="connsiteX4068" fmla="*/ 18494136 w 21052572"/>
              <a:gd name="connsiteY4068" fmla="*/ 2364123 h 8402012"/>
              <a:gd name="connsiteX4069" fmla="*/ 18495776 w 21052572"/>
              <a:gd name="connsiteY4069" fmla="*/ 2349279 h 8402012"/>
              <a:gd name="connsiteX4070" fmla="*/ 16969580 w 21052572"/>
              <a:gd name="connsiteY4070" fmla="*/ 2349279 h 8402012"/>
              <a:gd name="connsiteX4071" fmla="*/ 16981068 w 21052572"/>
              <a:gd name="connsiteY4071" fmla="*/ 2353146 h 8402012"/>
              <a:gd name="connsiteX4072" fmla="*/ 16967940 w 21052572"/>
              <a:gd name="connsiteY4072" fmla="*/ 2364123 h 8402012"/>
              <a:gd name="connsiteX4073" fmla="*/ 16969580 w 21052572"/>
              <a:gd name="connsiteY4073" fmla="*/ 2349279 h 8402012"/>
              <a:gd name="connsiteX4074" fmla="*/ 11692713 w 21052572"/>
              <a:gd name="connsiteY4074" fmla="*/ 2348847 h 8402012"/>
              <a:gd name="connsiteX4075" fmla="*/ 11597062 w 21052572"/>
              <a:gd name="connsiteY4075" fmla="*/ 2400427 h 8402012"/>
              <a:gd name="connsiteX4076" fmla="*/ 11692713 w 21052572"/>
              <a:gd name="connsiteY4076" fmla="*/ 2348847 h 8402012"/>
              <a:gd name="connsiteX4077" fmla="*/ 13918473 w 21052572"/>
              <a:gd name="connsiteY4077" fmla="*/ 2337027 h 8402012"/>
              <a:gd name="connsiteX4078" fmla="*/ 13937818 w 21052572"/>
              <a:gd name="connsiteY4078" fmla="*/ 2368190 h 8402012"/>
              <a:gd name="connsiteX4079" fmla="*/ 13918473 w 21052572"/>
              <a:gd name="connsiteY4079" fmla="*/ 2337027 h 8402012"/>
              <a:gd name="connsiteX4080" fmla="*/ 15583936 w 21052572"/>
              <a:gd name="connsiteY4080" fmla="*/ 2336684 h 8402012"/>
              <a:gd name="connsiteX4081" fmla="*/ 15601898 w 21052572"/>
              <a:gd name="connsiteY4081" fmla="*/ 2368757 h 8402012"/>
              <a:gd name="connsiteX4082" fmla="*/ 15583936 w 21052572"/>
              <a:gd name="connsiteY4082" fmla="*/ 2336684 h 8402012"/>
              <a:gd name="connsiteX4083" fmla="*/ 18265900 w 21052572"/>
              <a:gd name="connsiteY4083" fmla="*/ 2322616 h 8402012"/>
              <a:gd name="connsiteX4084" fmla="*/ 18303468 w 21052572"/>
              <a:gd name="connsiteY4084" fmla="*/ 2325826 h 8402012"/>
              <a:gd name="connsiteX4085" fmla="*/ 18251764 w 21052572"/>
              <a:gd name="connsiteY4085" fmla="*/ 2338669 h 8402012"/>
              <a:gd name="connsiteX4086" fmla="*/ 18265900 w 21052572"/>
              <a:gd name="connsiteY4086" fmla="*/ 2322616 h 8402012"/>
              <a:gd name="connsiteX4087" fmla="*/ 14337383 w 21052572"/>
              <a:gd name="connsiteY4087" fmla="*/ 2322530 h 8402012"/>
              <a:gd name="connsiteX4088" fmla="*/ 15095092 w 21052572"/>
              <a:gd name="connsiteY4088" fmla="*/ 2431077 h 8402012"/>
              <a:gd name="connsiteX4089" fmla="*/ 15447614 w 21052572"/>
              <a:gd name="connsiteY4089" fmla="*/ 2502007 h 8402012"/>
              <a:gd name="connsiteX4090" fmla="*/ 15800138 w 21052572"/>
              <a:gd name="connsiteY4090" fmla="*/ 2578310 h 8402012"/>
              <a:gd name="connsiteX4091" fmla="*/ 16178454 w 21052572"/>
              <a:gd name="connsiteY4091" fmla="*/ 2694378 h 8402012"/>
              <a:gd name="connsiteX4092" fmla="*/ 16506258 w 21052572"/>
              <a:gd name="connsiteY4092" fmla="*/ 2802908 h 8402012"/>
              <a:gd name="connsiteX4093" fmla="*/ 16653500 w 21052572"/>
              <a:gd name="connsiteY4093" fmla="*/ 2854514 h 8402012"/>
              <a:gd name="connsiteX4094" fmla="*/ 16826540 w 21052572"/>
              <a:gd name="connsiteY4094" fmla="*/ 2918995 h 8402012"/>
              <a:gd name="connsiteX4095" fmla="*/ 17000652 w 21052572"/>
              <a:gd name="connsiteY4095" fmla="*/ 2988849 h 8402012"/>
              <a:gd name="connsiteX4096" fmla="*/ 17237100 w 21052572"/>
              <a:gd name="connsiteY4096" fmla="*/ 3066234 h 8402012"/>
              <a:gd name="connsiteX4097" fmla="*/ 17295136 w 21052572"/>
              <a:gd name="connsiteY4097" fmla="*/ 3079125 h 8402012"/>
              <a:gd name="connsiteX4098" fmla="*/ 17558452 w 21052572"/>
              <a:gd name="connsiteY4098" fmla="*/ 3175848 h 8402012"/>
              <a:gd name="connsiteX4099" fmla="*/ 17628312 w 21052572"/>
              <a:gd name="connsiteY4099" fmla="*/ 3226360 h 8402012"/>
              <a:gd name="connsiteX4100" fmla="*/ 17930320 w 21052572"/>
              <a:gd name="connsiteY4100" fmla="*/ 3348874 h 8402012"/>
              <a:gd name="connsiteX4101" fmla="*/ 17994808 w 21052572"/>
              <a:gd name="connsiteY4101" fmla="*/ 3373613 h 8402012"/>
              <a:gd name="connsiteX4102" fmla="*/ 18122704 w 21052572"/>
              <a:gd name="connsiteY4102" fmla="*/ 3476768 h 8402012"/>
              <a:gd name="connsiteX4103" fmla="*/ 18494572 w 21052572"/>
              <a:gd name="connsiteY4103" fmla="*/ 3669140 h 8402012"/>
              <a:gd name="connsiteX4104" fmla="*/ 18770788 w 21052572"/>
              <a:gd name="connsiteY4104" fmla="*/ 3822821 h 8402012"/>
              <a:gd name="connsiteX4105" fmla="*/ 19058824 w 21052572"/>
              <a:gd name="connsiteY4105" fmla="*/ 3989399 h 8402012"/>
              <a:gd name="connsiteX4106" fmla="*/ 19194244 w 21052572"/>
              <a:gd name="connsiteY4106" fmla="*/ 4060333 h 8402012"/>
              <a:gd name="connsiteX4107" fmla="*/ 19469384 w 21052572"/>
              <a:gd name="connsiteY4107" fmla="*/ 4163505 h 8402012"/>
              <a:gd name="connsiteX4108" fmla="*/ 19566112 w 21052572"/>
              <a:gd name="connsiteY4108" fmla="*/ 4232189 h 8402012"/>
              <a:gd name="connsiteX4109" fmla="*/ 19611252 w 21052572"/>
              <a:gd name="connsiteY4109" fmla="*/ 4335361 h 8402012"/>
              <a:gd name="connsiteX4110" fmla="*/ 19027656 w 21052572"/>
              <a:gd name="connsiteY4110" fmla="*/ 4099024 h 8402012"/>
              <a:gd name="connsiteX4111" fmla="*/ 18777236 w 21052572"/>
              <a:gd name="connsiteY4111" fmla="*/ 3977580 h 8402012"/>
              <a:gd name="connsiteX4112" fmla="*/ 18664116 w 21052572"/>
              <a:gd name="connsiteY4112" fmla="*/ 3895366 h 8402012"/>
              <a:gd name="connsiteX4113" fmla="*/ 18615336 w 21052572"/>
              <a:gd name="connsiteY4113" fmla="*/ 3873366 h 8402012"/>
              <a:gd name="connsiteX4114" fmla="*/ 18546164 w 21052572"/>
              <a:gd name="connsiteY4114" fmla="*/ 3842168 h 8402012"/>
              <a:gd name="connsiteX4115" fmla="*/ 18604200 w 21052572"/>
              <a:gd name="connsiteY4115" fmla="*/ 3893754 h 8402012"/>
              <a:gd name="connsiteX4116" fmla="*/ 18712752 w 21052572"/>
              <a:gd name="connsiteY4116" fmla="*/ 3971132 h 8402012"/>
              <a:gd name="connsiteX4117" fmla="*/ 18774348 w 21052572"/>
              <a:gd name="connsiteY4117" fmla="*/ 4005068 h 8402012"/>
              <a:gd name="connsiteX4118" fmla="*/ 18788216 w 21052572"/>
              <a:gd name="connsiteY4118" fmla="*/ 4015151 h 8402012"/>
              <a:gd name="connsiteX4119" fmla="*/ 18783260 w 21052572"/>
              <a:gd name="connsiteY4119" fmla="*/ 4000079 h 8402012"/>
              <a:gd name="connsiteX4120" fmla="*/ 18801220 w 21052572"/>
              <a:gd name="connsiteY4120" fmla="*/ 4000079 h 8402012"/>
              <a:gd name="connsiteX4121" fmla="*/ 18792988 w 21052572"/>
              <a:gd name="connsiteY4121" fmla="*/ 4006367 h 8402012"/>
              <a:gd name="connsiteX4122" fmla="*/ 18789852 w 21052572"/>
              <a:gd name="connsiteY4122" fmla="*/ 4016339 h 8402012"/>
              <a:gd name="connsiteX4123" fmla="*/ 18833932 w 21052572"/>
              <a:gd name="connsiteY4123" fmla="*/ 4048377 h 8402012"/>
              <a:gd name="connsiteX4124" fmla="*/ 18950272 w 21052572"/>
              <a:gd name="connsiteY4124" fmla="*/ 4150608 h 8402012"/>
              <a:gd name="connsiteX4125" fmla="*/ 18898684 w 21052572"/>
              <a:gd name="connsiteY4125" fmla="*/ 4194574 h 8402012"/>
              <a:gd name="connsiteX4126" fmla="*/ 18879340 w 21052572"/>
              <a:gd name="connsiteY4126" fmla="*/ 4219292 h 8402012"/>
              <a:gd name="connsiteX4127" fmla="*/ 18809480 w 21052572"/>
              <a:gd name="connsiteY4127" fmla="*/ 4182849 h 8402012"/>
              <a:gd name="connsiteX4128" fmla="*/ 18823584 w 21052572"/>
              <a:gd name="connsiteY4128" fmla="*/ 4208277 h 8402012"/>
              <a:gd name="connsiteX4129" fmla="*/ 18835700 w 21052572"/>
              <a:gd name="connsiteY4129" fmla="*/ 4214809 h 8402012"/>
              <a:gd name="connsiteX4130" fmla="*/ 18847372 w 21052572"/>
              <a:gd name="connsiteY4130" fmla="*/ 4208674 h 8402012"/>
              <a:gd name="connsiteX4131" fmla="*/ 18853360 w 21052572"/>
              <a:gd name="connsiteY4131" fmla="*/ 4214969 h 8402012"/>
              <a:gd name="connsiteX4132" fmla="*/ 18847372 w 21052572"/>
              <a:gd name="connsiteY4132" fmla="*/ 4221635 h 8402012"/>
              <a:gd name="connsiteX4133" fmla="*/ 18837244 w 21052572"/>
              <a:gd name="connsiteY4133" fmla="*/ 4215997 h 8402012"/>
              <a:gd name="connsiteX4134" fmla="*/ 18848172 w 21052572"/>
              <a:gd name="connsiteY4134" fmla="*/ 4225741 h 8402012"/>
              <a:gd name="connsiteX4135" fmla="*/ 18777236 w 21052572"/>
              <a:gd name="connsiteY4135" fmla="*/ 4212844 h 8402012"/>
              <a:gd name="connsiteX4136" fmla="*/ 18680508 w 21052572"/>
              <a:gd name="connsiteY4136" fmla="*/ 4163505 h 8402012"/>
              <a:gd name="connsiteX4137" fmla="*/ 18468780 w 21052572"/>
              <a:gd name="connsiteY4137" fmla="*/ 4047437 h 8402012"/>
              <a:gd name="connsiteX4138" fmla="*/ 18038872 w 21052572"/>
              <a:gd name="connsiteY4138" fmla="*/ 3822821 h 8402012"/>
              <a:gd name="connsiteX4139" fmla="*/ 17602520 w 21052572"/>
              <a:gd name="connsiteY4139" fmla="*/ 3630451 h 8402012"/>
              <a:gd name="connsiteX4140" fmla="*/ 17500416 w 21052572"/>
              <a:gd name="connsiteY4140" fmla="*/ 3598206 h 8402012"/>
              <a:gd name="connsiteX4141" fmla="*/ 17448828 w 21052572"/>
              <a:gd name="connsiteY4141" fmla="*/ 3528353 h 8402012"/>
              <a:gd name="connsiteX4142" fmla="*/ 17397240 w 21052572"/>
              <a:gd name="connsiteY4142" fmla="*/ 3554146 h 8402012"/>
              <a:gd name="connsiteX4143" fmla="*/ 17031820 w 21052572"/>
              <a:gd name="connsiteY4143" fmla="*/ 3392942 h 8402012"/>
              <a:gd name="connsiteX4144" fmla="*/ 16961960 w 21052572"/>
              <a:gd name="connsiteY4144" fmla="*/ 3329530 h 8402012"/>
              <a:gd name="connsiteX4145" fmla="*/ 16923268 w 21052572"/>
              <a:gd name="connsiteY4145" fmla="*/ 3290841 h 8402012"/>
              <a:gd name="connsiteX4146" fmla="*/ 16989636 w 21052572"/>
              <a:gd name="connsiteY4146" fmla="*/ 3299710 h 8402012"/>
              <a:gd name="connsiteX4147" fmla="*/ 16998876 w 21052572"/>
              <a:gd name="connsiteY4147" fmla="*/ 3303219 h 8402012"/>
              <a:gd name="connsiteX4148" fmla="*/ 16995632 w 21052572"/>
              <a:gd name="connsiteY4148" fmla="*/ 3290157 h 8402012"/>
              <a:gd name="connsiteX4149" fmla="*/ 17004860 w 21052572"/>
              <a:gd name="connsiteY4149" fmla="*/ 3293569 h 8402012"/>
              <a:gd name="connsiteX4150" fmla="*/ 17000496 w 21052572"/>
              <a:gd name="connsiteY4150" fmla="*/ 3300395 h 8402012"/>
              <a:gd name="connsiteX4151" fmla="*/ 17000192 w 21052572"/>
              <a:gd name="connsiteY4151" fmla="*/ 3303718 h 8402012"/>
              <a:gd name="connsiteX4152" fmla="*/ 17051164 w 21052572"/>
              <a:gd name="connsiteY4152" fmla="*/ 3323082 h 8402012"/>
              <a:gd name="connsiteX4153" fmla="*/ 17018920 w 21052572"/>
              <a:gd name="connsiteY4153" fmla="*/ 3290841 h 8402012"/>
              <a:gd name="connsiteX4154" fmla="*/ 16961960 w 21052572"/>
              <a:gd name="connsiteY4154" fmla="*/ 3258601 h 8402012"/>
              <a:gd name="connsiteX4155" fmla="*/ 16897472 w 21052572"/>
              <a:gd name="connsiteY4155" fmla="*/ 3239254 h 8402012"/>
              <a:gd name="connsiteX4156" fmla="*/ 16884576 w 21052572"/>
              <a:gd name="connsiteY4156" fmla="*/ 3168325 h 8402012"/>
              <a:gd name="connsiteX4157" fmla="*/ 17141444 w 21052572"/>
              <a:gd name="connsiteY4157" fmla="*/ 3194117 h 8402012"/>
              <a:gd name="connsiteX4158" fmla="*/ 17012472 w 21052572"/>
              <a:gd name="connsiteY4158" fmla="*/ 3161879 h 8402012"/>
              <a:gd name="connsiteX4159" fmla="*/ 16936164 w 21052572"/>
              <a:gd name="connsiteY4159" fmla="*/ 3143608 h 8402012"/>
              <a:gd name="connsiteX4160" fmla="*/ 16916820 w 21052572"/>
              <a:gd name="connsiteY4160" fmla="*/ 3085574 h 8402012"/>
              <a:gd name="connsiteX4161" fmla="*/ 16884576 w 21052572"/>
              <a:gd name="connsiteY4161" fmla="*/ 3053332 h 8402012"/>
              <a:gd name="connsiteX4162" fmla="*/ 16787848 w 21052572"/>
              <a:gd name="connsiteY4162" fmla="*/ 3033986 h 8402012"/>
              <a:gd name="connsiteX4163" fmla="*/ 16441772 w 21052572"/>
              <a:gd name="connsiteY4163" fmla="*/ 2931889 h 8402012"/>
              <a:gd name="connsiteX4164" fmla="*/ 15877520 w 21052572"/>
              <a:gd name="connsiteY4164" fmla="*/ 2757784 h 8402012"/>
              <a:gd name="connsiteX4165" fmla="*/ 15806586 w 21052572"/>
              <a:gd name="connsiteY4165" fmla="*/ 2745966 h 8402012"/>
              <a:gd name="connsiteX4166" fmla="*/ 15787240 w 21052572"/>
              <a:gd name="connsiteY4166" fmla="*/ 2687931 h 8402012"/>
              <a:gd name="connsiteX4167" fmla="*/ 15710932 w 21052572"/>
              <a:gd name="connsiteY4167" fmla="*/ 2662135 h 8402012"/>
              <a:gd name="connsiteX4168" fmla="*/ 15620652 w 21052572"/>
              <a:gd name="connsiteY4168" fmla="*/ 2642793 h 8402012"/>
              <a:gd name="connsiteX4169" fmla="*/ 15434718 w 21052572"/>
              <a:gd name="connsiteY4169" fmla="*/ 2604104 h 8402012"/>
              <a:gd name="connsiteX4170" fmla="*/ 15056400 w 21052572"/>
              <a:gd name="connsiteY4170" fmla="*/ 2527799 h 8402012"/>
              <a:gd name="connsiteX4171" fmla="*/ 14985466 w 21052572"/>
              <a:gd name="connsiteY4171" fmla="*/ 2482665 h 8402012"/>
              <a:gd name="connsiteX4172" fmla="*/ 14902709 w 21052572"/>
              <a:gd name="connsiteY4172" fmla="*/ 2456869 h 8402012"/>
              <a:gd name="connsiteX4173" fmla="*/ 14716775 w 21052572"/>
              <a:gd name="connsiteY4173" fmla="*/ 2418183 h 8402012"/>
              <a:gd name="connsiteX4174" fmla="*/ 14337383 w 21052572"/>
              <a:gd name="connsiteY4174" fmla="*/ 2322530 h 8402012"/>
              <a:gd name="connsiteX4175" fmla="*/ 11757197 w 21052572"/>
              <a:gd name="connsiteY4175" fmla="*/ 2317683 h 8402012"/>
              <a:gd name="connsiteX4176" fmla="*/ 11712058 w 21052572"/>
              <a:gd name="connsiteY4176" fmla="*/ 2368190 h 8402012"/>
              <a:gd name="connsiteX4177" fmla="*/ 11770093 w 21052572"/>
              <a:gd name="connsiteY4177" fmla="*/ 2368190 h 8402012"/>
              <a:gd name="connsiteX4178" fmla="*/ 11757197 w 21052572"/>
              <a:gd name="connsiteY4178" fmla="*/ 2317683 h 8402012"/>
              <a:gd name="connsiteX4179" fmla="*/ 19052428 w 21052572"/>
              <a:gd name="connsiteY4179" fmla="*/ 2312984 h 8402012"/>
              <a:gd name="connsiteX4180" fmla="*/ 19034468 w 21052572"/>
              <a:gd name="connsiteY4180" fmla="*/ 2340284 h 8402012"/>
              <a:gd name="connsiteX4181" fmla="*/ 19052428 w 21052572"/>
              <a:gd name="connsiteY4181" fmla="*/ 2312984 h 8402012"/>
              <a:gd name="connsiteX4182" fmla="*/ 14280505 w 21052572"/>
              <a:gd name="connsiteY4182" fmla="*/ 2309654 h 8402012"/>
              <a:gd name="connsiteX4183" fmla="*/ 14317369 w 21052572"/>
              <a:gd name="connsiteY4183" fmla="*/ 2334248 h 8402012"/>
              <a:gd name="connsiteX4184" fmla="*/ 14280505 w 21052572"/>
              <a:gd name="connsiteY4184" fmla="*/ 2309654 h 8402012"/>
              <a:gd name="connsiteX4185" fmla="*/ 10449253 w 21052572"/>
              <a:gd name="connsiteY4185" fmla="*/ 2291889 h 8402012"/>
              <a:gd name="connsiteX4186" fmla="*/ 10167675 w 21052572"/>
              <a:gd name="connsiteY4186" fmla="*/ 2400427 h 8402012"/>
              <a:gd name="connsiteX4187" fmla="*/ 10449253 w 21052572"/>
              <a:gd name="connsiteY4187" fmla="*/ 2291889 h 8402012"/>
              <a:gd name="connsiteX4188" fmla="*/ 15292532 w 21052572"/>
              <a:gd name="connsiteY4188" fmla="*/ 2288812 h 8402012"/>
              <a:gd name="connsiteX4189" fmla="*/ 15303196 w 21052572"/>
              <a:gd name="connsiteY4189" fmla="*/ 2291371 h 8402012"/>
              <a:gd name="connsiteX4190" fmla="*/ 15296634 w 21052572"/>
              <a:gd name="connsiteY4190" fmla="*/ 2311846 h 8402012"/>
              <a:gd name="connsiteX4191" fmla="*/ 15292532 w 21052572"/>
              <a:gd name="connsiteY4191" fmla="*/ 2288812 h 8402012"/>
              <a:gd name="connsiteX4192" fmla="*/ 15242674 w 21052572"/>
              <a:gd name="connsiteY4192" fmla="*/ 2279804 h 8402012"/>
              <a:gd name="connsiteX4193" fmla="*/ 15260636 w 21052572"/>
              <a:gd name="connsiteY4193" fmla="*/ 2311914 h 8402012"/>
              <a:gd name="connsiteX4194" fmla="*/ 15242674 w 21052572"/>
              <a:gd name="connsiteY4194" fmla="*/ 2279804 h 8402012"/>
              <a:gd name="connsiteX4195" fmla="*/ 15152620 w 21052572"/>
              <a:gd name="connsiteY4195" fmla="*/ 2279804 h 8402012"/>
              <a:gd name="connsiteX4196" fmla="*/ 15165748 w 21052572"/>
              <a:gd name="connsiteY4196" fmla="*/ 2311914 h 8402012"/>
              <a:gd name="connsiteX4197" fmla="*/ 15152620 w 21052572"/>
              <a:gd name="connsiteY4197" fmla="*/ 2279804 h 8402012"/>
              <a:gd name="connsiteX4198" fmla="*/ 11828129 w 21052572"/>
              <a:gd name="connsiteY4198" fmla="*/ 2278994 h 8402012"/>
              <a:gd name="connsiteX4199" fmla="*/ 11865744 w 21052572"/>
              <a:gd name="connsiteY4199" fmla="*/ 2311236 h 8402012"/>
              <a:gd name="connsiteX4200" fmla="*/ 11828129 w 21052572"/>
              <a:gd name="connsiteY4200" fmla="*/ 2278994 h 8402012"/>
              <a:gd name="connsiteX4201" fmla="*/ 11789438 w 21052572"/>
              <a:gd name="connsiteY4201" fmla="*/ 2278994 h 8402012"/>
              <a:gd name="connsiteX4202" fmla="*/ 11808783 w 21052572"/>
              <a:gd name="connsiteY4202" fmla="*/ 2337027 h 8402012"/>
              <a:gd name="connsiteX4203" fmla="*/ 11789438 w 21052572"/>
              <a:gd name="connsiteY4203" fmla="*/ 2278994 h 8402012"/>
              <a:gd name="connsiteX4204" fmla="*/ 19014480 w 21052572"/>
              <a:gd name="connsiteY4204" fmla="*/ 2276473 h 8402012"/>
              <a:gd name="connsiteX4205" fmla="*/ 18977588 w 21052572"/>
              <a:gd name="connsiteY4205" fmla="*/ 2307217 h 8402012"/>
              <a:gd name="connsiteX4206" fmla="*/ 19014480 w 21052572"/>
              <a:gd name="connsiteY4206" fmla="*/ 2276473 h 8402012"/>
              <a:gd name="connsiteX4207" fmla="*/ 12830150 w 21052572"/>
              <a:gd name="connsiteY4207" fmla="*/ 2246625 h 8402012"/>
              <a:gd name="connsiteX4208" fmla="*/ 12862223 w 21052572"/>
              <a:gd name="connsiteY4208" fmla="*/ 2259680 h 8402012"/>
              <a:gd name="connsiteX4209" fmla="*/ 12830150 w 21052572"/>
              <a:gd name="connsiteY4209" fmla="*/ 2311896 h 8402012"/>
              <a:gd name="connsiteX4210" fmla="*/ 12830150 w 21052572"/>
              <a:gd name="connsiteY4210" fmla="*/ 2246625 h 8402012"/>
              <a:gd name="connsiteX4211" fmla="*/ 15057822 w 21052572"/>
              <a:gd name="connsiteY4211" fmla="*/ 2246624 h 8402012"/>
              <a:gd name="connsiteX4212" fmla="*/ 15075784 w 21052572"/>
              <a:gd name="connsiteY4212" fmla="*/ 2278730 h 8402012"/>
              <a:gd name="connsiteX4213" fmla="*/ 15057822 w 21052572"/>
              <a:gd name="connsiteY4213" fmla="*/ 2246624 h 8402012"/>
              <a:gd name="connsiteX4214" fmla="*/ 15000946 w 21052572"/>
              <a:gd name="connsiteY4214" fmla="*/ 2246624 h 8402012"/>
              <a:gd name="connsiteX4215" fmla="*/ 15018908 w 21052572"/>
              <a:gd name="connsiteY4215" fmla="*/ 2278730 h 8402012"/>
              <a:gd name="connsiteX4216" fmla="*/ 15000946 w 21052572"/>
              <a:gd name="connsiteY4216" fmla="*/ 2246624 h 8402012"/>
              <a:gd name="connsiteX4217" fmla="*/ 12939160 w 21052572"/>
              <a:gd name="connsiteY4217" fmla="*/ 2246624 h 8402012"/>
              <a:gd name="connsiteX4218" fmla="*/ 12957122 w 21052572"/>
              <a:gd name="connsiteY4218" fmla="*/ 2278730 h 8402012"/>
              <a:gd name="connsiteX4219" fmla="*/ 12939160 w 21052572"/>
              <a:gd name="connsiteY4219" fmla="*/ 2246624 h 8402012"/>
              <a:gd name="connsiteX4220" fmla="*/ 12887024 w 21052572"/>
              <a:gd name="connsiteY4220" fmla="*/ 2246624 h 8402012"/>
              <a:gd name="connsiteX4221" fmla="*/ 12900152 w 21052572"/>
              <a:gd name="connsiteY4221" fmla="*/ 2278730 h 8402012"/>
              <a:gd name="connsiteX4222" fmla="*/ 12887024 w 21052572"/>
              <a:gd name="connsiteY4222" fmla="*/ 2246624 h 8402012"/>
              <a:gd name="connsiteX4223" fmla="*/ 17244828 w 21052572"/>
              <a:gd name="connsiteY4223" fmla="*/ 2243584 h 8402012"/>
              <a:gd name="connsiteX4224" fmla="*/ 17279728 w 21052572"/>
              <a:gd name="connsiteY4224" fmla="*/ 2246766 h 8402012"/>
              <a:gd name="connsiteX4225" fmla="*/ 17223884 w 21052572"/>
              <a:gd name="connsiteY4225" fmla="*/ 2278600 h 8402012"/>
              <a:gd name="connsiteX4226" fmla="*/ 17244828 w 21052572"/>
              <a:gd name="connsiteY4226" fmla="*/ 2243584 h 8402012"/>
              <a:gd name="connsiteX4227" fmla="*/ 10504870 w 21052572"/>
              <a:gd name="connsiteY4227" fmla="*/ 2243531 h 8402012"/>
              <a:gd name="connsiteX4228" fmla="*/ 10468598 w 21052572"/>
              <a:gd name="connsiteY4228" fmla="*/ 2246753 h 8402012"/>
              <a:gd name="connsiteX4229" fmla="*/ 10526634 w 21052572"/>
              <a:gd name="connsiteY4229" fmla="*/ 2278994 h 8402012"/>
              <a:gd name="connsiteX4230" fmla="*/ 10504870 w 21052572"/>
              <a:gd name="connsiteY4230" fmla="*/ 2243531 h 8402012"/>
              <a:gd name="connsiteX4231" fmla="*/ 18934424 w 21052572"/>
              <a:gd name="connsiteY4231" fmla="*/ 2241230 h 8402012"/>
              <a:gd name="connsiteX4232" fmla="*/ 18957568 w 21052572"/>
              <a:gd name="connsiteY4232" fmla="*/ 2278736 h 8402012"/>
              <a:gd name="connsiteX4233" fmla="*/ 18906492 w 21052572"/>
              <a:gd name="connsiteY4233" fmla="*/ 2265969 h 8402012"/>
              <a:gd name="connsiteX4234" fmla="*/ 18934424 w 21052572"/>
              <a:gd name="connsiteY4234" fmla="*/ 2241230 h 8402012"/>
              <a:gd name="connsiteX4235" fmla="*/ 18874764 w 21052572"/>
              <a:gd name="connsiteY4235" fmla="*/ 2221773 h 8402012"/>
              <a:gd name="connsiteX4236" fmla="*/ 18905440 w 21052572"/>
              <a:gd name="connsiteY4236" fmla="*/ 2233302 h 8402012"/>
              <a:gd name="connsiteX4237" fmla="*/ 18892800 w 21052572"/>
              <a:gd name="connsiteY4237" fmla="*/ 2245599 h 8402012"/>
              <a:gd name="connsiteX4238" fmla="*/ 18849616 w 21052572"/>
              <a:gd name="connsiteY4238" fmla="*/ 2233302 h 8402012"/>
              <a:gd name="connsiteX4239" fmla="*/ 18874764 w 21052572"/>
              <a:gd name="connsiteY4239" fmla="*/ 2221773 h 8402012"/>
              <a:gd name="connsiteX4240" fmla="*/ 11641126 w 21052572"/>
              <a:gd name="connsiteY4240" fmla="*/ 2220961 h 8402012"/>
              <a:gd name="connsiteX4241" fmla="*/ 11564820 w 21052572"/>
              <a:gd name="connsiteY4241" fmla="*/ 2298334 h 8402012"/>
              <a:gd name="connsiteX4242" fmla="*/ 11654023 w 21052572"/>
              <a:gd name="connsiteY4242" fmla="*/ 2311236 h 8402012"/>
              <a:gd name="connsiteX4243" fmla="*/ 11641126 w 21052572"/>
              <a:gd name="connsiteY4243" fmla="*/ 2220961 h 8402012"/>
              <a:gd name="connsiteX4244" fmla="*/ 17184972 w 21052572"/>
              <a:gd name="connsiteY4244" fmla="*/ 2213445 h 8402012"/>
              <a:gd name="connsiteX4245" fmla="*/ 17167008 w 21052572"/>
              <a:gd name="connsiteY4245" fmla="*/ 2245554 h 8402012"/>
              <a:gd name="connsiteX4246" fmla="*/ 17184972 w 21052572"/>
              <a:gd name="connsiteY4246" fmla="*/ 2213445 h 8402012"/>
              <a:gd name="connsiteX4247" fmla="*/ 14957293 w 21052572"/>
              <a:gd name="connsiteY4247" fmla="*/ 2213445 h 8402012"/>
              <a:gd name="connsiteX4248" fmla="*/ 14939331 w 21052572"/>
              <a:gd name="connsiteY4248" fmla="*/ 2245554 h 8402012"/>
              <a:gd name="connsiteX4249" fmla="*/ 14957293 w 21052572"/>
              <a:gd name="connsiteY4249" fmla="*/ 2213445 h 8402012"/>
              <a:gd name="connsiteX4250" fmla="*/ 14906153 w 21052572"/>
              <a:gd name="connsiteY4250" fmla="*/ 2213445 h 8402012"/>
              <a:gd name="connsiteX4251" fmla="*/ 14924115 w 21052572"/>
              <a:gd name="connsiteY4251" fmla="*/ 2245554 h 8402012"/>
              <a:gd name="connsiteX4252" fmla="*/ 14906153 w 21052572"/>
              <a:gd name="connsiteY4252" fmla="*/ 2213445 h 8402012"/>
              <a:gd name="connsiteX4253" fmla="*/ 17242848 w 21052572"/>
              <a:gd name="connsiteY4253" fmla="*/ 2199234 h 8402012"/>
              <a:gd name="connsiteX4254" fmla="*/ 17673088 w 21052572"/>
              <a:gd name="connsiteY4254" fmla="*/ 2377508 h 8402012"/>
              <a:gd name="connsiteX4255" fmla="*/ 17616080 w 21052572"/>
              <a:gd name="connsiteY4255" fmla="*/ 2409533 h 8402012"/>
              <a:gd name="connsiteX4256" fmla="*/ 17532184 w 21052572"/>
              <a:gd name="connsiteY4256" fmla="*/ 2390317 h 8402012"/>
              <a:gd name="connsiteX4257" fmla="*/ 17487008 w 21052572"/>
              <a:gd name="connsiteY4257" fmla="*/ 2345482 h 8402012"/>
              <a:gd name="connsiteX4258" fmla="*/ 17428924 w 21052572"/>
              <a:gd name="connsiteY4258" fmla="*/ 2352955 h 8402012"/>
              <a:gd name="connsiteX4259" fmla="*/ 17448284 w 21052572"/>
              <a:gd name="connsiteY4259" fmla="*/ 2308120 h 8402012"/>
              <a:gd name="connsiteX4260" fmla="*/ 17422472 w 21052572"/>
              <a:gd name="connsiteY4260" fmla="*/ 2333740 h 8402012"/>
              <a:gd name="connsiteX4261" fmla="*/ 17352556 w 21052572"/>
              <a:gd name="connsiteY4261" fmla="*/ 2244070 h 8402012"/>
              <a:gd name="connsiteX4262" fmla="*/ 17242848 w 21052572"/>
              <a:gd name="connsiteY4262" fmla="*/ 2199234 h 8402012"/>
              <a:gd name="connsiteX4263" fmla="*/ 12282738 w 21052572"/>
              <a:gd name="connsiteY4263" fmla="*/ 2188728 h 8402012"/>
              <a:gd name="connsiteX4264" fmla="*/ 12238674 w 21052572"/>
              <a:gd name="connsiteY4264" fmla="*/ 2246753 h 8402012"/>
              <a:gd name="connsiteX4265" fmla="*/ 12295635 w 21052572"/>
              <a:gd name="connsiteY4265" fmla="*/ 2246753 h 8402012"/>
              <a:gd name="connsiteX4266" fmla="*/ 12282738 w 21052572"/>
              <a:gd name="connsiteY4266" fmla="*/ 2188728 h 8402012"/>
              <a:gd name="connsiteX4267" fmla="*/ 15280434 w 21052572"/>
              <a:gd name="connsiteY4267" fmla="*/ 2183365 h 8402012"/>
              <a:gd name="connsiteX4268" fmla="*/ 15286416 w 21052572"/>
              <a:gd name="connsiteY4268" fmla="*/ 2187014 h 8402012"/>
              <a:gd name="connsiteX4269" fmla="*/ 15280844 w 21052572"/>
              <a:gd name="connsiteY4269" fmla="*/ 2185551 h 8402012"/>
              <a:gd name="connsiteX4270" fmla="*/ 12468666 w 21052572"/>
              <a:gd name="connsiteY4270" fmla="*/ 2182276 h 8402012"/>
              <a:gd name="connsiteX4271" fmla="*/ 12488011 w 21052572"/>
              <a:gd name="connsiteY4271" fmla="*/ 2214516 h 8402012"/>
              <a:gd name="connsiteX4272" fmla="*/ 12468666 w 21052572"/>
              <a:gd name="connsiteY4272" fmla="*/ 2182276 h 8402012"/>
              <a:gd name="connsiteX4273" fmla="*/ 11846399 w 21052572"/>
              <a:gd name="connsiteY4273" fmla="*/ 2182276 h 8402012"/>
              <a:gd name="connsiteX4274" fmla="*/ 11865744 w 21052572"/>
              <a:gd name="connsiteY4274" fmla="*/ 2214516 h 8402012"/>
              <a:gd name="connsiteX4275" fmla="*/ 11846399 w 21052572"/>
              <a:gd name="connsiteY4275" fmla="*/ 2182276 h 8402012"/>
              <a:gd name="connsiteX4276" fmla="*/ 18661904 w 21052572"/>
              <a:gd name="connsiteY4276" fmla="*/ 2180635 h 8402012"/>
              <a:gd name="connsiteX4277" fmla="*/ 18706440 w 21052572"/>
              <a:gd name="connsiteY4277" fmla="*/ 2199959 h 8402012"/>
              <a:gd name="connsiteX4278" fmla="*/ 18809464 w 21052572"/>
              <a:gd name="connsiteY4278" fmla="*/ 2245047 h 8402012"/>
              <a:gd name="connsiteX4279" fmla="*/ 19014432 w 21052572"/>
              <a:gd name="connsiteY4279" fmla="*/ 2379238 h 8402012"/>
              <a:gd name="connsiteX4280" fmla="*/ 18950044 w 21052572"/>
              <a:gd name="connsiteY4280" fmla="*/ 2372798 h 8402012"/>
              <a:gd name="connsiteX4281" fmla="*/ 18848096 w 21052572"/>
              <a:gd name="connsiteY4281" fmla="*/ 2322341 h 8402012"/>
              <a:gd name="connsiteX4282" fmla="*/ 18751512 w 21052572"/>
              <a:gd name="connsiteY4282" fmla="*/ 2270812 h 8402012"/>
              <a:gd name="connsiteX4283" fmla="*/ 18674244 w 21052572"/>
              <a:gd name="connsiteY4283" fmla="*/ 2212842 h 8402012"/>
              <a:gd name="connsiteX4284" fmla="*/ 18617368 w 21052572"/>
              <a:gd name="connsiteY4284" fmla="*/ 2199959 h 8402012"/>
              <a:gd name="connsiteX4285" fmla="*/ 18661904 w 21052572"/>
              <a:gd name="connsiteY4285" fmla="*/ 2180635 h 8402012"/>
              <a:gd name="connsiteX4286" fmla="*/ 11247076 w 21052572"/>
              <a:gd name="connsiteY4286" fmla="*/ 2180269 h 8402012"/>
              <a:gd name="connsiteX4287" fmla="*/ 11260204 w 21052572"/>
              <a:gd name="connsiteY4287" fmla="*/ 2212375 h 8402012"/>
              <a:gd name="connsiteX4288" fmla="*/ 11247076 w 21052572"/>
              <a:gd name="connsiteY4288" fmla="*/ 2180269 h 8402012"/>
              <a:gd name="connsiteX4289" fmla="*/ 18811700 w 21052572"/>
              <a:gd name="connsiteY4289" fmla="*/ 2180268 h 8402012"/>
              <a:gd name="connsiteX4290" fmla="*/ 18848592 w 21052572"/>
              <a:gd name="connsiteY4290" fmla="*/ 2198714 h 8402012"/>
              <a:gd name="connsiteX4291" fmla="*/ 18811700 w 21052572"/>
              <a:gd name="connsiteY4291" fmla="*/ 2180268 h 8402012"/>
              <a:gd name="connsiteX4292" fmla="*/ 14754483 w 21052572"/>
              <a:gd name="connsiteY4292" fmla="*/ 2180268 h 8402012"/>
              <a:gd name="connsiteX4293" fmla="*/ 14786592 w 21052572"/>
              <a:gd name="connsiteY4293" fmla="*/ 2211011 h 8402012"/>
              <a:gd name="connsiteX4294" fmla="*/ 14754483 w 21052572"/>
              <a:gd name="connsiteY4294" fmla="*/ 2180268 h 8402012"/>
              <a:gd name="connsiteX4295" fmla="*/ 14697603 w 21052572"/>
              <a:gd name="connsiteY4295" fmla="*/ 2180268 h 8402012"/>
              <a:gd name="connsiteX4296" fmla="*/ 14715565 w 21052572"/>
              <a:gd name="connsiteY4296" fmla="*/ 2212374 h 8402012"/>
              <a:gd name="connsiteX4297" fmla="*/ 14697603 w 21052572"/>
              <a:gd name="connsiteY4297" fmla="*/ 2180268 h 8402012"/>
              <a:gd name="connsiteX4298" fmla="*/ 10695937 w 21052572"/>
              <a:gd name="connsiteY4298" fmla="*/ 2175627 h 8402012"/>
              <a:gd name="connsiteX4299" fmla="*/ 10577146 w 21052572"/>
              <a:gd name="connsiteY4299" fmla="*/ 2278994 h 8402012"/>
              <a:gd name="connsiteX4300" fmla="*/ 10743729 w 21052572"/>
              <a:gd name="connsiteY4300" fmla="*/ 2182276 h 8402012"/>
              <a:gd name="connsiteX4301" fmla="*/ 10695937 w 21052572"/>
              <a:gd name="connsiteY4301" fmla="*/ 2175627 h 8402012"/>
              <a:gd name="connsiteX4302" fmla="*/ 16337056 w 21052572"/>
              <a:gd name="connsiteY4302" fmla="*/ 2173999 h 8402012"/>
              <a:gd name="connsiteX4303" fmla="*/ 16346036 w 21052572"/>
              <a:gd name="connsiteY4303" fmla="*/ 2183630 h 8402012"/>
              <a:gd name="connsiteX4304" fmla="*/ 16339536 w 21052572"/>
              <a:gd name="connsiteY4304" fmla="*/ 2197569 h 8402012"/>
              <a:gd name="connsiteX4305" fmla="*/ 16341268 w 21052572"/>
              <a:gd name="connsiteY4305" fmla="*/ 2198879 h 8402012"/>
              <a:gd name="connsiteX4306" fmla="*/ 16304374 w 21052572"/>
              <a:gd name="connsiteY4306" fmla="*/ 2180265 h 8402012"/>
              <a:gd name="connsiteX4307" fmla="*/ 16322820 w 21052572"/>
              <a:gd name="connsiteY4307" fmla="*/ 2184919 h 8402012"/>
              <a:gd name="connsiteX4308" fmla="*/ 16338004 w 21052572"/>
              <a:gd name="connsiteY4308" fmla="*/ 2196409 h 8402012"/>
              <a:gd name="connsiteX4309" fmla="*/ 16328074 w 21052572"/>
              <a:gd name="connsiteY4309" fmla="*/ 2183630 h 8402012"/>
              <a:gd name="connsiteX4310" fmla="*/ 16337056 w 21052572"/>
              <a:gd name="connsiteY4310" fmla="*/ 2173999 h 8402012"/>
              <a:gd name="connsiteX4311" fmla="*/ 16457660 w 21052572"/>
              <a:gd name="connsiteY4311" fmla="*/ 2170178 h 8402012"/>
              <a:gd name="connsiteX4312" fmla="*/ 16473190 w 21052572"/>
              <a:gd name="connsiteY4312" fmla="*/ 2174357 h 8402012"/>
              <a:gd name="connsiteX4313" fmla="*/ 16575380 w 21052572"/>
              <a:gd name="connsiteY4313" fmla="*/ 2206970 h 8402012"/>
              <a:gd name="connsiteX4314" fmla="*/ 16685100 w 21052572"/>
              <a:gd name="connsiteY4314" fmla="*/ 2233059 h 8402012"/>
              <a:gd name="connsiteX4315" fmla="*/ 16710916 w 21052572"/>
              <a:gd name="connsiteY4315" fmla="*/ 2278716 h 8402012"/>
              <a:gd name="connsiteX4316" fmla="*/ 16408650 w 21052572"/>
              <a:gd name="connsiteY4316" fmla="*/ 2200446 h 8402012"/>
              <a:gd name="connsiteX4317" fmla="*/ 16457660 w 21052572"/>
              <a:gd name="connsiteY4317" fmla="*/ 2170178 h 8402012"/>
              <a:gd name="connsiteX4318" fmla="*/ 18613644 w 21052572"/>
              <a:gd name="connsiteY4318" fmla="*/ 2164301 h 8402012"/>
              <a:gd name="connsiteX4319" fmla="*/ 18620752 w 21052572"/>
              <a:gd name="connsiteY4319" fmla="*/ 2167294 h 8402012"/>
              <a:gd name="connsiteX4320" fmla="*/ 18612628 w 21052572"/>
              <a:gd name="connsiteY4320" fmla="*/ 2179269 h 8402012"/>
              <a:gd name="connsiteX4321" fmla="*/ 18613644 w 21052572"/>
              <a:gd name="connsiteY4321" fmla="*/ 2164301 h 8402012"/>
              <a:gd name="connsiteX4322" fmla="*/ 14522234 w 21052572"/>
              <a:gd name="connsiteY4322" fmla="*/ 2151829 h 8402012"/>
              <a:gd name="connsiteX4323" fmla="*/ 14559126 w 21052572"/>
              <a:gd name="connsiteY4323" fmla="*/ 2170631 h 8402012"/>
              <a:gd name="connsiteX4324" fmla="*/ 14522234 w 21052572"/>
              <a:gd name="connsiteY4324" fmla="*/ 2217080 h 8402012"/>
              <a:gd name="connsiteX4325" fmla="*/ 14522234 w 21052572"/>
              <a:gd name="connsiteY4325" fmla="*/ 2151829 h 8402012"/>
              <a:gd name="connsiteX4326" fmla="*/ 16147962 w 21052572"/>
              <a:gd name="connsiteY4326" fmla="*/ 2151828 h 8402012"/>
              <a:gd name="connsiteX4327" fmla="*/ 16165868 w 21052572"/>
              <a:gd name="connsiteY4327" fmla="*/ 2183897 h 8402012"/>
              <a:gd name="connsiteX4328" fmla="*/ 16147962 w 21052572"/>
              <a:gd name="connsiteY4328" fmla="*/ 2151828 h 8402012"/>
              <a:gd name="connsiteX4329" fmla="*/ 13697520 w 21052572"/>
              <a:gd name="connsiteY4329" fmla="*/ 2151828 h 8402012"/>
              <a:gd name="connsiteX4330" fmla="*/ 13715427 w 21052572"/>
              <a:gd name="connsiteY4330" fmla="*/ 2183898 h 8402012"/>
              <a:gd name="connsiteX4331" fmla="*/ 13697520 w 21052572"/>
              <a:gd name="connsiteY4331" fmla="*/ 2151828 h 8402012"/>
              <a:gd name="connsiteX4332" fmla="*/ 11318172 w 21052572"/>
              <a:gd name="connsiteY4332" fmla="*/ 2151828 h 8402012"/>
              <a:gd name="connsiteX4333" fmla="*/ 11336134 w 21052572"/>
              <a:gd name="connsiteY4333" fmla="*/ 2183898 h 8402012"/>
              <a:gd name="connsiteX4334" fmla="*/ 11318172 w 21052572"/>
              <a:gd name="connsiteY4334" fmla="*/ 2151828 h 8402012"/>
              <a:gd name="connsiteX4335" fmla="*/ 12500908 w 21052572"/>
              <a:gd name="connsiteY4335" fmla="*/ 2151111 h 8402012"/>
              <a:gd name="connsiteX4336" fmla="*/ 12546046 w 21052572"/>
              <a:gd name="connsiteY4336" fmla="*/ 2182276 h 8402012"/>
              <a:gd name="connsiteX4337" fmla="*/ 12500908 w 21052572"/>
              <a:gd name="connsiteY4337" fmla="*/ 2151111 h 8402012"/>
              <a:gd name="connsiteX4338" fmla="*/ 12014056 w 21052572"/>
              <a:gd name="connsiteY4338" fmla="*/ 2151111 h 8402012"/>
              <a:gd name="connsiteX4339" fmla="*/ 12014056 w 21052572"/>
              <a:gd name="connsiteY4339" fmla="*/ 2246753 h 8402012"/>
              <a:gd name="connsiteX4340" fmla="*/ 11956021 w 21052572"/>
              <a:gd name="connsiteY4340" fmla="*/ 2246753 h 8402012"/>
              <a:gd name="connsiteX4341" fmla="*/ 12014056 w 21052572"/>
              <a:gd name="connsiteY4341" fmla="*/ 2278994 h 8402012"/>
              <a:gd name="connsiteX4342" fmla="*/ 12122604 w 21052572"/>
              <a:gd name="connsiteY4342" fmla="*/ 2278994 h 8402012"/>
              <a:gd name="connsiteX4343" fmla="*/ 12116155 w 21052572"/>
              <a:gd name="connsiteY4343" fmla="*/ 2240307 h 8402012"/>
              <a:gd name="connsiteX4344" fmla="*/ 12077465 w 21052572"/>
              <a:gd name="connsiteY4344" fmla="*/ 2233859 h 8402012"/>
              <a:gd name="connsiteX4345" fmla="*/ 12014056 w 21052572"/>
              <a:gd name="connsiteY4345" fmla="*/ 2151111 h 8402012"/>
              <a:gd name="connsiteX4346" fmla="*/ 14635094 w 21052572"/>
              <a:gd name="connsiteY4346" fmla="*/ 2143357 h 8402012"/>
              <a:gd name="connsiteX4347" fmla="*/ 14682280 w 21052572"/>
              <a:gd name="connsiteY4347" fmla="*/ 2149120 h 8402012"/>
              <a:gd name="connsiteX4348" fmla="*/ 14602808 w 21052572"/>
              <a:gd name="connsiteY4348" fmla="*/ 2180210 h 8402012"/>
              <a:gd name="connsiteX4349" fmla="*/ 14635094 w 21052572"/>
              <a:gd name="connsiteY4349" fmla="*/ 2143357 h 8402012"/>
              <a:gd name="connsiteX4350" fmla="*/ 15190046 w 21052572"/>
              <a:gd name="connsiteY4350" fmla="*/ 2132885 h 8402012"/>
              <a:gd name="connsiteX4351" fmla="*/ 15233206 w 21052572"/>
              <a:gd name="connsiteY4351" fmla="*/ 2173044 h 8402012"/>
              <a:gd name="connsiteX4352" fmla="*/ 15280844 w 21052572"/>
              <a:gd name="connsiteY4352" fmla="*/ 2185551 h 8402012"/>
              <a:gd name="connsiteX4353" fmla="*/ 15285276 w 21052572"/>
              <a:gd name="connsiteY4353" fmla="*/ 2209141 h 8402012"/>
              <a:gd name="connsiteX4354" fmla="*/ 15299802 w 21052572"/>
              <a:gd name="connsiteY4354" fmla="*/ 2215586 h 8402012"/>
              <a:gd name="connsiteX4355" fmla="*/ 15294960 w 21052572"/>
              <a:gd name="connsiteY4355" fmla="*/ 2192225 h 8402012"/>
              <a:gd name="connsiteX4356" fmla="*/ 15286416 w 21052572"/>
              <a:gd name="connsiteY4356" fmla="*/ 2187014 h 8402012"/>
              <a:gd name="connsiteX4357" fmla="*/ 15288370 w 21052572"/>
              <a:gd name="connsiteY4357" fmla="*/ 2187525 h 8402012"/>
              <a:gd name="connsiteX4358" fmla="*/ 15395570 w 21052572"/>
              <a:gd name="connsiteY4358" fmla="*/ 2189810 h 8402012"/>
              <a:gd name="connsiteX4359" fmla="*/ 15652742 w 21052572"/>
              <a:gd name="connsiteY4359" fmla="*/ 2247805 h 8402012"/>
              <a:gd name="connsiteX4360" fmla="*/ 15906954 w 21052572"/>
              <a:gd name="connsiteY4360" fmla="*/ 2327420 h 8402012"/>
              <a:gd name="connsiteX4361" fmla="*/ 16083400 w 21052572"/>
              <a:gd name="connsiteY4361" fmla="*/ 2390971 h 8402012"/>
              <a:gd name="connsiteX4362" fmla="*/ 16078862 w 21052572"/>
              <a:gd name="connsiteY4362" fmla="*/ 2383508 h 8402012"/>
              <a:gd name="connsiteX4363" fmla="*/ 16090088 w 21052572"/>
              <a:gd name="connsiteY4363" fmla="*/ 2369862 h 8402012"/>
              <a:gd name="connsiteX4364" fmla="*/ 16090088 w 21052572"/>
              <a:gd name="connsiteY4364" fmla="*/ 2385915 h 8402012"/>
              <a:gd name="connsiteX4365" fmla="*/ 16090088 w 21052572"/>
              <a:gd name="connsiteY4365" fmla="*/ 2393380 h 8402012"/>
              <a:gd name="connsiteX4366" fmla="*/ 16166010 w 21052572"/>
              <a:gd name="connsiteY4366" fmla="*/ 2420726 h 8402012"/>
              <a:gd name="connsiteX4367" fmla="*/ 16416724 w 21052572"/>
              <a:gd name="connsiteY4367" fmla="*/ 2517388 h 8402012"/>
              <a:gd name="connsiteX4368" fmla="*/ 16539392 w 21052572"/>
              <a:gd name="connsiteY4368" fmla="*/ 2548535 h 8402012"/>
              <a:gd name="connsiteX4369" fmla="*/ 16571674 w 21052572"/>
              <a:gd name="connsiteY4369" fmla="*/ 2600090 h 8402012"/>
              <a:gd name="connsiteX4370" fmla="*/ 16641616 w 21052572"/>
              <a:gd name="connsiteY4370" fmla="*/ 2651642 h 8402012"/>
              <a:gd name="connsiteX4371" fmla="*/ 16751372 w 21052572"/>
              <a:gd name="connsiteY4371" fmla="*/ 2683863 h 8402012"/>
              <a:gd name="connsiteX4372" fmla="*/ 16814860 w 21052572"/>
              <a:gd name="connsiteY4372" fmla="*/ 2735416 h 8402012"/>
              <a:gd name="connsiteX4373" fmla="*/ 16905244 w 21052572"/>
              <a:gd name="connsiteY4373" fmla="*/ 2785893 h 8402012"/>
              <a:gd name="connsiteX4374" fmla="*/ 16449006 w 21052572"/>
              <a:gd name="connsiteY4374" fmla="*/ 2632309 h 8402012"/>
              <a:gd name="connsiteX4375" fmla="*/ 16507112 w 21052572"/>
              <a:gd name="connsiteY4375" fmla="*/ 2587200 h 8402012"/>
              <a:gd name="connsiteX4376" fmla="*/ 16410268 w 21052572"/>
              <a:gd name="connsiteY4376" fmla="*/ 2600090 h 8402012"/>
              <a:gd name="connsiteX4377" fmla="*/ 16429638 w 21052572"/>
              <a:gd name="connsiteY4377" fmla="*/ 2567868 h 8402012"/>
              <a:gd name="connsiteX4378" fmla="*/ 15614004 w 21052572"/>
              <a:gd name="connsiteY4378" fmla="*/ 2280027 h 8402012"/>
              <a:gd name="connsiteX4379" fmla="*/ 15421394 w 21052572"/>
              <a:gd name="connsiteY4379" fmla="*/ 2228474 h 8402012"/>
              <a:gd name="connsiteX4380" fmla="*/ 15356832 w 21052572"/>
              <a:gd name="connsiteY4380" fmla="*/ 2215586 h 8402012"/>
              <a:gd name="connsiteX4381" fmla="*/ 15324550 w 21052572"/>
              <a:gd name="connsiteY4381" fmla="*/ 2267140 h 8402012"/>
              <a:gd name="connsiteX4382" fmla="*/ 15138398 w 21052572"/>
              <a:gd name="connsiteY4382" fmla="*/ 2202698 h 8402012"/>
              <a:gd name="connsiteX4383" fmla="*/ 14939331 w 21052572"/>
              <a:gd name="connsiteY4383" fmla="*/ 2139329 h 8402012"/>
              <a:gd name="connsiteX4384" fmla="*/ 15190046 w 21052572"/>
              <a:gd name="connsiteY4384" fmla="*/ 2132885 h 8402012"/>
              <a:gd name="connsiteX4385" fmla="*/ 18508352 w 21052572"/>
              <a:gd name="connsiteY4385" fmla="*/ 2125419 h 8402012"/>
              <a:gd name="connsiteX4386" fmla="*/ 18545244 w 21052572"/>
              <a:gd name="connsiteY4386" fmla="*/ 2152502 h 8402012"/>
              <a:gd name="connsiteX4387" fmla="*/ 18508352 w 21052572"/>
              <a:gd name="connsiteY4387" fmla="*/ 2125419 h 8402012"/>
              <a:gd name="connsiteX4388" fmla="*/ 14919346 w 21052572"/>
              <a:gd name="connsiteY4388" fmla="*/ 2125419 h 8402012"/>
              <a:gd name="connsiteX4389" fmla="*/ 14882454 w 21052572"/>
              <a:gd name="connsiteY4389" fmla="*/ 2152503 h 8402012"/>
              <a:gd name="connsiteX4390" fmla="*/ 14919346 w 21052572"/>
              <a:gd name="connsiteY4390" fmla="*/ 2125419 h 8402012"/>
              <a:gd name="connsiteX4391" fmla="*/ 16261716 w 21052572"/>
              <a:gd name="connsiteY4391" fmla="*/ 2123390 h 8402012"/>
              <a:gd name="connsiteX4392" fmla="*/ 16279678 w 21052572"/>
              <a:gd name="connsiteY4392" fmla="*/ 2150689 h 8402012"/>
              <a:gd name="connsiteX4393" fmla="*/ 16261716 w 21052572"/>
              <a:gd name="connsiteY4393" fmla="*/ 2123390 h 8402012"/>
              <a:gd name="connsiteX4394" fmla="*/ 18693204 w 21052572"/>
              <a:gd name="connsiteY4394" fmla="*/ 2123389 h 8402012"/>
              <a:gd name="connsiteX4395" fmla="*/ 18711168 w 21052572"/>
              <a:gd name="connsiteY4395" fmla="*/ 2150689 h 8402012"/>
              <a:gd name="connsiteX4396" fmla="*/ 18693204 w 21052572"/>
              <a:gd name="connsiteY4396" fmla="*/ 2123389 h 8402012"/>
              <a:gd name="connsiteX4397" fmla="*/ 16123246 w 21052572"/>
              <a:gd name="connsiteY4397" fmla="*/ 2118775 h 8402012"/>
              <a:gd name="connsiteX4398" fmla="*/ 16125026 w 21052572"/>
              <a:gd name="connsiteY4398" fmla="*/ 2121793 h 8402012"/>
              <a:gd name="connsiteX4399" fmla="*/ 16126884 w 21052572"/>
              <a:gd name="connsiteY4399" fmla="*/ 2124947 h 8402012"/>
              <a:gd name="connsiteX4400" fmla="*/ 16122316 w 21052572"/>
              <a:gd name="connsiteY4400" fmla="*/ 2117209 h 8402012"/>
              <a:gd name="connsiteX4401" fmla="*/ 16122626 w 21052572"/>
              <a:gd name="connsiteY4401" fmla="*/ 2117724 h 8402012"/>
              <a:gd name="connsiteX4402" fmla="*/ 16123246 w 21052572"/>
              <a:gd name="connsiteY4402" fmla="*/ 2118775 h 8402012"/>
              <a:gd name="connsiteX4403" fmla="*/ 12411705 w 21052572"/>
              <a:gd name="connsiteY4403" fmla="*/ 2105976 h 8402012"/>
              <a:gd name="connsiteX4404" fmla="*/ 12314980 w 21052572"/>
              <a:gd name="connsiteY4404" fmla="*/ 2169380 h 8402012"/>
              <a:gd name="connsiteX4405" fmla="*/ 12373015 w 21052572"/>
              <a:gd name="connsiteY4405" fmla="*/ 2220961 h 8402012"/>
              <a:gd name="connsiteX4406" fmla="*/ 12449321 w 21052572"/>
              <a:gd name="connsiteY4406" fmla="*/ 2201616 h 8402012"/>
              <a:gd name="connsiteX4407" fmla="*/ 12392360 w 21052572"/>
              <a:gd name="connsiteY4407" fmla="*/ 2138215 h 8402012"/>
              <a:gd name="connsiteX4408" fmla="*/ 12411705 w 21052572"/>
              <a:gd name="connsiteY4408" fmla="*/ 2105976 h 8402012"/>
              <a:gd name="connsiteX4409" fmla="*/ 16114788 w 21052572"/>
              <a:gd name="connsiteY4409" fmla="*/ 2104432 h 8402012"/>
              <a:gd name="connsiteX4410" fmla="*/ 16118628 w 21052572"/>
              <a:gd name="connsiteY4410" fmla="*/ 2110942 h 8402012"/>
              <a:gd name="connsiteX4411" fmla="*/ 16120838 w 21052572"/>
              <a:gd name="connsiteY4411" fmla="*/ 2114693 h 8402012"/>
              <a:gd name="connsiteX4412" fmla="*/ 17981248 w 21052572"/>
              <a:gd name="connsiteY4412" fmla="*/ 2101373 h 8402012"/>
              <a:gd name="connsiteX4413" fmla="*/ 17963284 w 21052572"/>
              <a:gd name="connsiteY4413" fmla="*/ 2127057 h 8402012"/>
              <a:gd name="connsiteX4414" fmla="*/ 17981248 w 21052572"/>
              <a:gd name="connsiteY4414" fmla="*/ 2101373 h 8402012"/>
              <a:gd name="connsiteX4415" fmla="*/ 17104208 w 21052572"/>
              <a:gd name="connsiteY4415" fmla="*/ 2099691 h 8402012"/>
              <a:gd name="connsiteX4416" fmla="*/ 17136792 w 21052572"/>
              <a:gd name="connsiteY4416" fmla="*/ 2112489 h 8402012"/>
              <a:gd name="connsiteX4417" fmla="*/ 17194360 w 21052572"/>
              <a:gd name="connsiteY4417" fmla="*/ 2131685 h 8402012"/>
              <a:gd name="connsiteX4418" fmla="*/ 17220428 w 21052572"/>
              <a:gd name="connsiteY4418" fmla="*/ 2194605 h 8402012"/>
              <a:gd name="connsiteX4419" fmla="*/ 17091172 w 21052572"/>
              <a:gd name="connsiteY4419" fmla="*/ 2150880 h 8402012"/>
              <a:gd name="connsiteX4420" fmla="*/ 17104208 w 21052572"/>
              <a:gd name="connsiteY4420" fmla="*/ 2099691 h 8402012"/>
              <a:gd name="connsiteX4421" fmla="*/ 14260920 w 21052572"/>
              <a:gd name="connsiteY4421" fmla="*/ 2099689 h 8402012"/>
              <a:gd name="connsiteX4422" fmla="*/ 14292950 w 21052572"/>
              <a:gd name="connsiteY4422" fmla="*/ 2151828 h 8402012"/>
              <a:gd name="connsiteX4423" fmla="*/ 14362347 w 21052572"/>
              <a:gd name="connsiteY4423" fmla="*/ 2144225 h 8402012"/>
              <a:gd name="connsiteX4424" fmla="*/ 14502209 w 21052572"/>
              <a:gd name="connsiteY4424" fmla="*/ 2170292 h 8402012"/>
              <a:gd name="connsiteX4425" fmla="*/ 14190455 w 21052572"/>
              <a:gd name="connsiteY4425" fmla="*/ 2170292 h 8402012"/>
              <a:gd name="connsiteX4426" fmla="*/ 14260920 w 21052572"/>
              <a:gd name="connsiteY4426" fmla="*/ 2099689 h 8402012"/>
              <a:gd name="connsiteX4427" fmla="*/ 14190452 w 21052572"/>
              <a:gd name="connsiteY4427" fmla="*/ 2094952 h 8402012"/>
              <a:gd name="connsiteX4428" fmla="*/ 14203577 w 21052572"/>
              <a:gd name="connsiteY4428" fmla="*/ 2127058 h 8402012"/>
              <a:gd name="connsiteX4429" fmla="*/ 14190452 w 21052572"/>
              <a:gd name="connsiteY4429" fmla="*/ 2094952 h 8402012"/>
              <a:gd name="connsiteX4430" fmla="*/ 14133574 w 21052572"/>
              <a:gd name="connsiteY4430" fmla="*/ 2094952 h 8402012"/>
              <a:gd name="connsiteX4431" fmla="*/ 14146699 w 21052572"/>
              <a:gd name="connsiteY4431" fmla="*/ 2127058 h 8402012"/>
              <a:gd name="connsiteX4432" fmla="*/ 14133574 w 21052572"/>
              <a:gd name="connsiteY4432" fmla="*/ 2094952 h 8402012"/>
              <a:gd name="connsiteX4433" fmla="*/ 12431051 w 21052572"/>
              <a:gd name="connsiteY4433" fmla="*/ 2093081 h 8402012"/>
              <a:gd name="connsiteX4434" fmla="*/ 12449321 w 21052572"/>
              <a:gd name="connsiteY4434" fmla="*/ 2125320 h 8402012"/>
              <a:gd name="connsiteX4435" fmla="*/ 12431051 w 21052572"/>
              <a:gd name="connsiteY4435" fmla="*/ 2093081 h 8402012"/>
              <a:gd name="connsiteX4436" fmla="*/ 14837330 w 21052572"/>
              <a:gd name="connsiteY4436" fmla="*/ 2086762 h 8402012"/>
              <a:gd name="connsiteX4437" fmla="*/ 14867131 w 21052572"/>
              <a:gd name="connsiteY4437" fmla="*/ 2124830 h 8402012"/>
              <a:gd name="connsiteX4438" fmla="*/ 14787662 w 21052572"/>
              <a:gd name="connsiteY4438" fmla="*/ 2092433 h 8402012"/>
              <a:gd name="connsiteX4439" fmla="*/ 14837330 w 21052572"/>
              <a:gd name="connsiteY4439" fmla="*/ 2086762 h 8402012"/>
              <a:gd name="connsiteX4440" fmla="*/ 16905460 w 21052572"/>
              <a:gd name="connsiteY4440" fmla="*/ 2068083 h 8402012"/>
              <a:gd name="connsiteX4441" fmla="*/ 16935248 w 21052572"/>
              <a:gd name="connsiteY4441" fmla="*/ 2068393 h 8402012"/>
              <a:gd name="connsiteX4442" fmla="*/ 16969904 w 21052572"/>
              <a:gd name="connsiteY4442" fmla="*/ 2068083 h 8402012"/>
              <a:gd name="connsiteX4443" fmla="*/ 17075880 w 21052572"/>
              <a:gd name="connsiteY4443" fmla="*/ 2108129 h 8402012"/>
              <a:gd name="connsiteX4444" fmla="*/ 16922364 w 21052572"/>
              <a:gd name="connsiteY4444" fmla="*/ 2141243 h 8402012"/>
              <a:gd name="connsiteX4445" fmla="*/ 16961012 w 21052572"/>
              <a:gd name="connsiteY4445" fmla="*/ 2094884 h 8402012"/>
              <a:gd name="connsiteX4446" fmla="*/ 16909484 w 21052572"/>
              <a:gd name="connsiteY4446" fmla="*/ 2127997 h 8402012"/>
              <a:gd name="connsiteX4447" fmla="*/ 16825748 w 21052572"/>
              <a:gd name="connsiteY4447" fmla="*/ 2108129 h 8402012"/>
              <a:gd name="connsiteX4448" fmla="*/ 16905460 w 21052572"/>
              <a:gd name="connsiteY4448" fmla="*/ 2068083 h 8402012"/>
              <a:gd name="connsiteX4449" fmla="*/ 14640725 w 21052572"/>
              <a:gd name="connsiteY4449" fmla="*/ 2061772 h 8402012"/>
              <a:gd name="connsiteX4450" fmla="*/ 14658687 w 21052572"/>
              <a:gd name="connsiteY4450" fmla="*/ 2093880 h 8402012"/>
              <a:gd name="connsiteX4451" fmla="*/ 14640725 w 21052572"/>
              <a:gd name="connsiteY4451" fmla="*/ 2061772 h 8402012"/>
              <a:gd name="connsiteX4452" fmla="*/ 14602808 w 21052572"/>
              <a:gd name="connsiteY4452" fmla="*/ 2061772 h 8402012"/>
              <a:gd name="connsiteX4453" fmla="*/ 14620770 w 21052572"/>
              <a:gd name="connsiteY4453" fmla="*/ 2093881 h 8402012"/>
              <a:gd name="connsiteX4454" fmla="*/ 14602808 w 21052572"/>
              <a:gd name="connsiteY4454" fmla="*/ 2061772 h 8402012"/>
              <a:gd name="connsiteX4455" fmla="*/ 13882368 w 21052572"/>
              <a:gd name="connsiteY4455" fmla="*/ 2061772 h 8402012"/>
              <a:gd name="connsiteX4456" fmla="*/ 13900330 w 21052572"/>
              <a:gd name="connsiteY4456" fmla="*/ 2093881 h 8402012"/>
              <a:gd name="connsiteX4457" fmla="*/ 13882368 w 21052572"/>
              <a:gd name="connsiteY4457" fmla="*/ 2061772 h 8402012"/>
              <a:gd name="connsiteX4458" fmla="*/ 18584188 w 21052572"/>
              <a:gd name="connsiteY4458" fmla="*/ 2061771 h 8402012"/>
              <a:gd name="connsiteX4459" fmla="*/ 18602152 w 21052572"/>
              <a:gd name="connsiteY4459" fmla="*/ 2093880 h 8402012"/>
              <a:gd name="connsiteX4460" fmla="*/ 18584188 w 21052572"/>
              <a:gd name="connsiteY4460" fmla="*/ 2061771 h 8402012"/>
              <a:gd name="connsiteX4461" fmla="*/ 15787742 w 21052572"/>
              <a:gd name="connsiteY4461" fmla="*/ 2061771 h 8402012"/>
              <a:gd name="connsiteX4462" fmla="*/ 15805704 w 21052572"/>
              <a:gd name="connsiteY4462" fmla="*/ 2093880 h 8402012"/>
              <a:gd name="connsiteX4463" fmla="*/ 15787742 w 21052572"/>
              <a:gd name="connsiteY4463" fmla="*/ 2061771 h 8402012"/>
              <a:gd name="connsiteX4464" fmla="*/ 14076700 w 21052572"/>
              <a:gd name="connsiteY4464" fmla="*/ 2061769 h 8402012"/>
              <a:gd name="connsiteX4465" fmla="*/ 14113564 w 21052572"/>
              <a:gd name="connsiteY4465" fmla="*/ 2092513 h 8402012"/>
              <a:gd name="connsiteX4466" fmla="*/ 14076700 w 21052572"/>
              <a:gd name="connsiteY4466" fmla="*/ 2061769 h 8402012"/>
              <a:gd name="connsiteX4467" fmla="*/ 12597633 w 21052572"/>
              <a:gd name="connsiteY4467" fmla="*/ 2060841 h 8402012"/>
              <a:gd name="connsiteX4468" fmla="*/ 12616978 w 21052572"/>
              <a:gd name="connsiteY4468" fmla="*/ 2093081 h 8402012"/>
              <a:gd name="connsiteX4469" fmla="*/ 12597633 w 21052572"/>
              <a:gd name="connsiteY4469" fmla="*/ 2060841 h 8402012"/>
              <a:gd name="connsiteX4470" fmla="*/ 11089791 w 21052572"/>
              <a:gd name="connsiteY4470" fmla="*/ 2060841 h 8402012"/>
              <a:gd name="connsiteX4471" fmla="*/ 10994140 w 21052572"/>
              <a:gd name="connsiteY4471" fmla="*/ 2080184 h 8402012"/>
              <a:gd name="connsiteX4472" fmla="*/ 10910311 w 21052572"/>
              <a:gd name="connsiteY4472" fmla="*/ 2118874 h 8402012"/>
              <a:gd name="connsiteX4473" fmla="*/ 11000588 w 21052572"/>
              <a:gd name="connsiteY4473" fmla="*/ 2099528 h 8402012"/>
              <a:gd name="connsiteX4474" fmla="*/ 11089791 w 21052572"/>
              <a:gd name="connsiteY4474" fmla="*/ 2093081 h 8402012"/>
              <a:gd name="connsiteX4475" fmla="*/ 11089791 w 21052572"/>
              <a:gd name="connsiteY4475" fmla="*/ 2060841 h 8402012"/>
              <a:gd name="connsiteX4476" fmla="*/ 14582825 w 21052572"/>
              <a:gd name="connsiteY4476" fmla="*/ 2058905 h 8402012"/>
              <a:gd name="connsiteX4477" fmla="*/ 14545933 w 21052572"/>
              <a:gd name="connsiteY4477" fmla="*/ 2091973 h 8402012"/>
              <a:gd name="connsiteX4478" fmla="*/ 14582825 w 21052572"/>
              <a:gd name="connsiteY4478" fmla="*/ 2058905 h 8402012"/>
              <a:gd name="connsiteX4479" fmla="*/ 16127910 w 21052572"/>
              <a:gd name="connsiteY4479" fmla="*/ 2047554 h 8402012"/>
              <a:gd name="connsiteX4480" fmla="*/ 16122178 w 21052572"/>
              <a:gd name="connsiteY4480" fmla="*/ 2116971 h 8402012"/>
              <a:gd name="connsiteX4481" fmla="*/ 16121348 w 21052572"/>
              <a:gd name="connsiteY4481" fmla="*/ 2127023 h 8402012"/>
              <a:gd name="connsiteX4482" fmla="*/ 16120838 w 21052572"/>
              <a:gd name="connsiteY4482" fmla="*/ 2114693 h 8402012"/>
              <a:gd name="connsiteX4483" fmla="*/ 16119708 w 21052572"/>
              <a:gd name="connsiteY4483" fmla="*/ 2087288 h 8402012"/>
              <a:gd name="connsiteX4484" fmla="*/ 16127910 w 21052572"/>
              <a:gd name="connsiteY4484" fmla="*/ 2047554 h 8402012"/>
              <a:gd name="connsiteX4485" fmla="*/ 12841596 w 21052572"/>
              <a:gd name="connsiteY4485" fmla="*/ 2035049 h 8402012"/>
              <a:gd name="connsiteX4486" fmla="*/ 12859867 w 21052572"/>
              <a:gd name="connsiteY4486" fmla="*/ 2060841 h 8402012"/>
              <a:gd name="connsiteX4487" fmla="*/ 12841596 w 21052572"/>
              <a:gd name="connsiteY4487" fmla="*/ 2035049 h 8402012"/>
              <a:gd name="connsiteX4488" fmla="*/ 11109136 w 21052572"/>
              <a:gd name="connsiteY4488" fmla="*/ 2035049 h 8402012"/>
              <a:gd name="connsiteX4489" fmla="*/ 11128481 w 21052572"/>
              <a:gd name="connsiteY4489" fmla="*/ 2060841 h 8402012"/>
              <a:gd name="connsiteX4490" fmla="*/ 11109136 w 21052572"/>
              <a:gd name="connsiteY4490" fmla="*/ 2035049 h 8402012"/>
              <a:gd name="connsiteX4491" fmla="*/ 14394263 w 21052572"/>
              <a:gd name="connsiteY4491" fmla="*/ 2033332 h 8402012"/>
              <a:gd name="connsiteX4492" fmla="*/ 14426372 w 21052572"/>
              <a:gd name="connsiteY4492" fmla="*/ 2033332 h 8402012"/>
              <a:gd name="connsiteX4493" fmla="*/ 14426372 w 21052572"/>
              <a:gd name="connsiteY4493" fmla="*/ 2089176 h 8402012"/>
              <a:gd name="connsiteX4494" fmla="*/ 14394263 w 21052572"/>
              <a:gd name="connsiteY4494" fmla="*/ 2089176 h 8402012"/>
              <a:gd name="connsiteX4495" fmla="*/ 14394263 w 21052572"/>
              <a:gd name="connsiteY4495" fmla="*/ 2033332 h 8402012"/>
              <a:gd name="connsiteX4496" fmla="*/ 19829744 w 21052572"/>
              <a:gd name="connsiteY4496" fmla="*/ 2033331 h 8402012"/>
              <a:gd name="connsiteX4497" fmla="*/ 19811784 w 21052572"/>
              <a:gd name="connsiteY4497" fmla="*/ 2060630 h 8402012"/>
              <a:gd name="connsiteX4498" fmla="*/ 19829744 w 21052572"/>
              <a:gd name="connsiteY4498" fmla="*/ 2033331 h 8402012"/>
              <a:gd name="connsiteX4499" fmla="*/ 11178456 w 21052572"/>
              <a:gd name="connsiteY4499" fmla="*/ 2031019 h 8402012"/>
              <a:gd name="connsiteX4500" fmla="*/ 11147826 w 21052572"/>
              <a:gd name="connsiteY4500" fmla="*/ 2035049 h 8402012"/>
              <a:gd name="connsiteX4501" fmla="*/ 11199413 w 21052572"/>
              <a:gd name="connsiteY4501" fmla="*/ 2060841 h 8402012"/>
              <a:gd name="connsiteX4502" fmla="*/ 11178456 w 21052572"/>
              <a:gd name="connsiteY4502" fmla="*/ 2031019 h 8402012"/>
              <a:gd name="connsiteX4503" fmla="*/ 16039142 w 21052572"/>
              <a:gd name="connsiteY4503" fmla="*/ 2016016 h 8402012"/>
              <a:gd name="connsiteX4504" fmla="*/ 16071062 w 21052572"/>
              <a:gd name="connsiteY4504" fmla="*/ 2060704 h 8402012"/>
              <a:gd name="connsiteX4505" fmla="*/ 16019990 w 21052572"/>
              <a:gd name="connsiteY4505" fmla="*/ 2060704 h 8402012"/>
              <a:gd name="connsiteX4506" fmla="*/ 16039142 w 21052572"/>
              <a:gd name="connsiteY4506" fmla="*/ 2016016 h 8402012"/>
              <a:gd name="connsiteX4507" fmla="*/ 16166922 w 21052572"/>
              <a:gd name="connsiteY4507" fmla="*/ 2000155 h 8402012"/>
              <a:gd name="connsiteX4508" fmla="*/ 16184884 w 21052572"/>
              <a:gd name="connsiteY4508" fmla="*/ 2032260 h 8402012"/>
              <a:gd name="connsiteX4509" fmla="*/ 16166922 w 21052572"/>
              <a:gd name="connsiteY4509" fmla="*/ 2000155 h 8402012"/>
              <a:gd name="connsiteX4510" fmla="*/ 14299466 w 21052572"/>
              <a:gd name="connsiteY4510" fmla="*/ 2000155 h 8402012"/>
              <a:gd name="connsiteX4511" fmla="*/ 14317428 w 21052572"/>
              <a:gd name="connsiteY4511" fmla="*/ 2032260 h 8402012"/>
              <a:gd name="connsiteX4512" fmla="*/ 14299466 w 21052572"/>
              <a:gd name="connsiteY4512" fmla="*/ 2000155 h 8402012"/>
              <a:gd name="connsiteX4513" fmla="*/ 12188884 w 21052572"/>
              <a:gd name="connsiteY4513" fmla="*/ 2000155 h 8402012"/>
              <a:gd name="connsiteX4514" fmla="*/ 12208172 w 21052572"/>
              <a:gd name="connsiteY4514" fmla="*/ 2045305 h 8402012"/>
              <a:gd name="connsiteX4515" fmla="*/ 12092441 w 21052572"/>
              <a:gd name="connsiteY4515" fmla="*/ 2038855 h 8402012"/>
              <a:gd name="connsiteX4516" fmla="*/ 12188884 w 21052572"/>
              <a:gd name="connsiteY4516" fmla="*/ 2000155 h 8402012"/>
              <a:gd name="connsiteX4517" fmla="*/ 18451476 w 21052572"/>
              <a:gd name="connsiteY4517" fmla="*/ 2000154 h 8402012"/>
              <a:gd name="connsiteX4518" fmla="*/ 18469436 w 21052572"/>
              <a:gd name="connsiteY4518" fmla="*/ 2032260 h 8402012"/>
              <a:gd name="connsiteX4519" fmla="*/ 18451476 w 21052572"/>
              <a:gd name="connsiteY4519" fmla="*/ 2000154 h 8402012"/>
              <a:gd name="connsiteX4520" fmla="*/ 13031555 w 21052572"/>
              <a:gd name="connsiteY4520" fmla="*/ 1999585 h 8402012"/>
              <a:gd name="connsiteX4521" fmla="*/ 12995282 w 21052572"/>
              <a:gd name="connsiteY4521" fmla="*/ 2002809 h 8402012"/>
              <a:gd name="connsiteX4522" fmla="*/ 13053318 w 21052572"/>
              <a:gd name="connsiteY4522" fmla="*/ 2035049 h 8402012"/>
              <a:gd name="connsiteX4523" fmla="*/ 13031555 w 21052572"/>
              <a:gd name="connsiteY4523" fmla="*/ 1999585 h 8402012"/>
              <a:gd name="connsiteX4524" fmla="*/ 11286197 w 21052572"/>
              <a:gd name="connsiteY4524" fmla="*/ 1997167 h 8402012"/>
              <a:gd name="connsiteX4525" fmla="*/ 11243477 w 21052572"/>
              <a:gd name="connsiteY4525" fmla="*/ 2002809 h 8402012"/>
              <a:gd name="connsiteX4526" fmla="*/ 11314409 w 21052572"/>
              <a:gd name="connsiteY4526" fmla="*/ 2035049 h 8402012"/>
              <a:gd name="connsiteX4527" fmla="*/ 11286197 w 21052572"/>
              <a:gd name="connsiteY4527" fmla="*/ 1997167 h 8402012"/>
              <a:gd name="connsiteX4528" fmla="*/ 14236957 w 21052572"/>
              <a:gd name="connsiteY4528" fmla="*/ 1995551 h 8402012"/>
              <a:gd name="connsiteX4529" fmla="*/ 14284143 w 21052572"/>
              <a:gd name="connsiteY4529" fmla="*/ 2003497 h 8402012"/>
              <a:gd name="connsiteX4530" fmla="*/ 14204671 w 21052572"/>
              <a:gd name="connsiteY4530" fmla="*/ 2035280 h 8402012"/>
              <a:gd name="connsiteX4531" fmla="*/ 14236957 w 21052572"/>
              <a:gd name="connsiteY4531" fmla="*/ 1995551 h 8402012"/>
              <a:gd name="connsiteX4532" fmla="*/ 13735437 w 21052572"/>
              <a:gd name="connsiteY4532" fmla="*/ 1971717 h 8402012"/>
              <a:gd name="connsiteX4533" fmla="*/ 13979312 w 21052572"/>
              <a:gd name="connsiteY4533" fmla="*/ 1971717 h 8402012"/>
              <a:gd name="connsiteX4534" fmla="*/ 13947082 w 21052572"/>
              <a:gd name="connsiteY4534" fmla="*/ 2056220 h 8402012"/>
              <a:gd name="connsiteX4535" fmla="*/ 14056665 w 21052572"/>
              <a:gd name="connsiteY4535" fmla="*/ 2062720 h 8402012"/>
              <a:gd name="connsiteX4536" fmla="*/ 14056665 w 21052572"/>
              <a:gd name="connsiteY4536" fmla="*/ 2127722 h 8402012"/>
              <a:gd name="connsiteX4537" fmla="*/ 13979312 w 21052572"/>
              <a:gd name="connsiteY4537" fmla="*/ 2108222 h 8402012"/>
              <a:gd name="connsiteX4538" fmla="*/ 14056665 w 21052572"/>
              <a:gd name="connsiteY4538" fmla="*/ 2185141 h 8402012"/>
              <a:gd name="connsiteX4539" fmla="*/ 13927744 w 21052572"/>
              <a:gd name="connsiteY4539" fmla="*/ 2185141 h 8402012"/>
              <a:gd name="connsiteX4540" fmla="*/ 13864358 w 21052572"/>
              <a:gd name="connsiteY4540" fmla="*/ 2191641 h 8402012"/>
              <a:gd name="connsiteX4541" fmla="*/ 13877250 w 21052572"/>
              <a:gd name="connsiteY4541" fmla="*/ 2153723 h 8402012"/>
              <a:gd name="connsiteX4542" fmla="*/ 13927744 w 21052572"/>
              <a:gd name="connsiteY4542" fmla="*/ 2114722 h 8402012"/>
              <a:gd name="connsiteX4543" fmla="*/ 13914852 w 21052572"/>
              <a:gd name="connsiteY4543" fmla="*/ 2010719 h 8402012"/>
              <a:gd name="connsiteX4544" fmla="*/ 13838574 w 21052572"/>
              <a:gd name="connsiteY4544" fmla="*/ 2004218 h 8402012"/>
              <a:gd name="connsiteX4545" fmla="*/ 13735437 w 21052572"/>
              <a:gd name="connsiteY4545" fmla="*/ 1971717 h 8402012"/>
              <a:gd name="connsiteX4546" fmla="*/ 14019822 w 21052572"/>
              <a:gd name="connsiteY4546" fmla="*/ 1971714 h 8402012"/>
              <a:gd name="connsiteX4547" fmla="*/ 14056714 w 21052572"/>
              <a:gd name="connsiteY4547" fmla="*/ 1971714 h 8402012"/>
              <a:gd name="connsiteX4548" fmla="*/ 14056714 w 21052572"/>
              <a:gd name="connsiteY4548" fmla="*/ 2036984 h 8402012"/>
              <a:gd name="connsiteX4549" fmla="*/ 14019822 w 21052572"/>
              <a:gd name="connsiteY4549" fmla="*/ 2036984 h 8402012"/>
              <a:gd name="connsiteX4550" fmla="*/ 14019822 w 21052572"/>
              <a:gd name="connsiteY4550" fmla="*/ 1971714 h 8402012"/>
              <a:gd name="connsiteX4551" fmla="*/ 16619262 w 21052572"/>
              <a:gd name="connsiteY4551" fmla="*/ 1970570 h 8402012"/>
              <a:gd name="connsiteX4552" fmla="*/ 16657954 w 21052572"/>
              <a:gd name="connsiteY4552" fmla="*/ 2002809 h 8402012"/>
              <a:gd name="connsiteX4553" fmla="*/ 16619262 w 21052572"/>
              <a:gd name="connsiteY4553" fmla="*/ 1970570 h 8402012"/>
              <a:gd name="connsiteX4554" fmla="*/ 11333754 w 21052572"/>
              <a:gd name="connsiteY4554" fmla="*/ 1970570 h 8402012"/>
              <a:gd name="connsiteX4555" fmla="*/ 11333754 w 21052572"/>
              <a:gd name="connsiteY4555" fmla="*/ 2035049 h 8402012"/>
              <a:gd name="connsiteX4556" fmla="*/ 11391789 w 21052572"/>
              <a:gd name="connsiteY4556" fmla="*/ 1970570 h 8402012"/>
              <a:gd name="connsiteX4557" fmla="*/ 11333754 w 21052572"/>
              <a:gd name="connsiteY4557" fmla="*/ 1970570 h 8402012"/>
              <a:gd name="connsiteX4558" fmla="*/ 18202116 w 21052572"/>
              <a:gd name="connsiteY4558" fmla="*/ 1969073 h 8402012"/>
              <a:gd name="connsiteX4559" fmla="*/ 18222916 w 21052572"/>
              <a:gd name="connsiteY4559" fmla="*/ 2004972 h 8402012"/>
              <a:gd name="connsiteX4560" fmla="*/ 18167092 w 21052572"/>
              <a:gd name="connsiteY4560" fmla="*/ 1972337 h 8402012"/>
              <a:gd name="connsiteX4561" fmla="*/ 18202116 w 21052572"/>
              <a:gd name="connsiteY4561" fmla="*/ 1969073 h 8402012"/>
              <a:gd name="connsiteX4562" fmla="*/ 11696783 w 21052572"/>
              <a:gd name="connsiteY4562" fmla="*/ 1960705 h 8402012"/>
              <a:gd name="connsiteX4563" fmla="*/ 11710433 w 21052572"/>
              <a:gd name="connsiteY4563" fmla="*/ 1970338 h 8402012"/>
              <a:gd name="connsiteX4564" fmla="*/ 11696783 w 21052572"/>
              <a:gd name="connsiteY4564" fmla="*/ 1989603 h 8402012"/>
              <a:gd name="connsiteX4565" fmla="*/ 11683133 w 21052572"/>
              <a:gd name="connsiteY4565" fmla="*/ 1970338 h 8402012"/>
              <a:gd name="connsiteX4566" fmla="*/ 11696783 w 21052572"/>
              <a:gd name="connsiteY4566" fmla="*/ 1960705 h 8402012"/>
              <a:gd name="connsiteX4567" fmla="*/ 12365153 w 21052572"/>
              <a:gd name="connsiteY4567" fmla="*/ 1943012 h 8402012"/>
              <a:gd name="connsiteX4568" fmla="*/ 12374134 w 21052572"/>
              <a:gd name="connsiteY4568" fmla="*/ 1951702 h 8402012"/>
              <a:gd name="connsiteX4569" fmla="*/ 12356172 w 21052572"/>
              <a:gd name="connsiteY4569" fmla="*/ 1951702 h 8402012"/>
              <a:gd name="connsiteX4570" fmla="*/ 12365153 w 21052572"/>
              <a:gd name="connsiteY4570" fmla="*/ 1943012 h 8402012"/>
              <a:gd name="connsiteX4571" fmla="*/ 13318343 w 21052572"/>
              <a:gd name="connsiteY4571" fmla="*/ 1938535 h 8402012"/>
              <a:gd name="connsiteX4572" fmla="*/ 13364638 w 21052572"/>
              <a:gd name="connsiteY4572" fmla="*/ 1971170 h 8402012"/>
              <a:gd name="connsiteX4573" fmla="*/ 13318343 w 21052572"/>
              <a:gd name="connsiteY4573" fmla="*/ 2003805 h 8402012"/>
              <a:gd name="connsiteX4574" fmla="*/ 13318343 w 21052572"/>
              <a:gd name="connsiteY4574" fmla="*/ 1938535 h 8402012"/>
              <a:gd name="connsiteX4575" fmla="*/ 12421964 w 21052572"/>
              <a:gd name="connsiteY4575" fmla="*/ 1938535 h 8402012"/>
              <a:gd name="connsiteX4576" fmla="*/ 12435614 w 21052572"/>
              <a:gd name="connsiteY4576" fmla="*/ 2003805 h 8402012"/>
              <a:gd name="connsiteX4577" fmla="*/ 12421964 w 21052572"/>
              <a:gd name="connsiteY4577" fmla="*/ 1938535 h 8402012"/>
              <a:gd name="connsiteX4578" fmla="*/ 18110216 w 21052572"/>
              <a:gd name="connsiteY4578" fmla="*/ 1938534 h 8402012"/>
              <a:gd name="connsiteX4579" fmla="*/ 18128180 w 21052572"/>
              <a:gd name="connsiteY4579" fmla="*/ 1970643 h 8402012"/>
              <a:gd name="connsiteX4580" fmla="*/ 18110216 w 21052572"/>
              <a:gd name="connsiteY4580" fmla="*/ 1938534 h 8402012"/>
              <a:gd name="connsiteX4581" fmla="*/ 12383475 w 21052572"/>
              <a:gd name="connsiteY4581" fmla="*/ 1938533 h 8402012"/>
              <a:gd name="connsiteX4582" fmla="*/ 12383475 w 21052572"/>
              <a:gd name="connsiteY4582" fmla="*/ 1938533 h 8402012"/>
              <a:gd name="connsiteX4583" fmla="*/ 16540538 w 21052572"/>
              <a:gd name="connsiteY4583" fmla="*/ 1935509 h 8402012"/>
              <a:gd name="connsiteX4584" fmla="*/ 16504266 w 21052572"/>
              <a:gd name="connsiteY4584" fmla="*/ 1938330 h 8402012"/>
              <a:gd name="connsiteX4585" fmla="*/ 16562302 w 21052572"/>
              <a:gd name="connsiteY4585" fmla="*/ 1970570 h 8402012"/>
              <a:gd name="connsiteX4586" fmla="*/ 16540538 w 21052572"/>
              <a:gd name="connsiteY4586" fmla="*/ 1935509 h 8402012"/>
              <a:gd name="connsiteX4587" fmla="*/ 13512141 w 21052572"/>
              <a:gd name="connsiteY4587" fmla="*/ 1934663 h 8402012"/>
              <a:gd name="connsiteX4588" fmla="*/ 13540053 w 21052572"/>
              <a:gd name="connsiteY4588" fmla="*/ 1972809 h 8402012"/>
              <a:gd name="connsiteX4589" fmla="*/ 13465271 w 21052572"/>
              <a:gd name="connsiteY4589" fmla="*/ 1939995 h 8402012"/>
              <a:gd name="connsiteX4590" fmla="*/ 13512141 w 21052572"/>
              <a:gd name="connsiteY4590" fmla="*/ 1934663 h 8402012"/>
              <a:gd name="connsiteX4591" fmla="*/ 17463408 w 21052572"/>
              <a:gd name="connsiteY4591" fmla="*/ 1927584 h 8402012"/>
              <a:gd name="connsiteX4592" fmla="*/ 17462720 w 21052572"/>
              <a:gd name="connsiteY4592" fmla="*/ 1930268 h 8402012"/>
              <a:gd name="connsiteX4593" fmla="*/ 17460872 w 21052572"/>
              <a:gd name="connsiteY4593" fmla="*/ 1937447 h 8402012"/>
              <a:gd name="connsiteX4594" fmla="*/ 11635483 w 21052572"/>
              <a:gd name="connsiteY4594" fmla="*/ 1919987 h 8402012"/>
              <a:gd name="connsiteX4595" fmla="*/ 11632840 w 21052572"/>
              <a:gd name="connsiteY4595" fmla="*/ 1930269 h 8402012"/>
              <a:gd name="connsiteX4596" fmla="*/ 11630994 w 21052572"/>
              <a:gd name="connsiteY4596" fmla="*/ 1937447 h 8402012"/>
              <a:gd name="connsiteX4597" fmla="*/ 11634762 w 21052572"/>
              <a:gd name="connsiteY4597" fmla="*/ 1922791 h 8402012"/>
              <a:gd name="connsiteX4598" fmla="*/ 12375132 w 21052572"/>
              <a:gd name="connsiteY4598" fmla="*/ 1919572 h 8402012"/>
              <a:gd name="connsiteX4599" fmla="*/ 12412024 w 21052572"/>
              <a:gd name="connsiteY4599" fmla="*/ 1919572 h 8402012"/>
              <a:gd name="connsiteX4600" fmla="*/ 12405876 w 21052572"/>
              <a:gd name="connsiteY4600" fmla="*/ 1937479 h 8402012"/>
              <a:gd name="connsiteX4601" fmla="*/ 12375132 w 21052572"/>
              <a:gd name="connsiteY4601" fmla="*/ 1919572 h 8402012"/>
              <a:gd name="connsiteX4602" fmla="*/ 11526130 w 21052572"/>
              <a:gd name="connsiteY4602" fmla="*/ 1913613 h 8402012"/>
              <a:gd name="connsiteX4603" fmla="*/ 11448750 w 21052572"/>
              <a:gd name="connsiteY4603" fmla="*/ 1989913 h 8402012"/>
              <a:gd name="connsiteX4604" fmla="*/ 11526130 w 21052572"/>
              <a:gd name="connsiteY4604" fmla="*/ 1970570 h 8402012"/>
              <a:gd name="connsiteX4605" fmla="*/ 11526130 w 21052572"/>
              <a:gd name="connsiteY4605" fmla="*/ 1913613 h 8402012"/>
              <a:gd name="connsiteX4606" fmla="*/ 17427460 w 21052572"/>
              <a:gd name="connsiteY4606" fmla="*/ 1907166 h 8402012"/>
              <a:gd name="connsiteX4607" fmla="*/ 17466152 w 21052572"/>
              <a:gd name="connsiteY4607" fmla="*/ 1951226 h 8402012"/>
              <a:gd name="connsiteX4608" fmla="*/ 17472800 w 21052572"/>
              <a:gd name="connsiteY4608" fmla="*/ 1932101 h 8402012"/>
              <a:gd name="connsiteX4609" fmla="*/ 17464508 w 21052572"/>
              <a:gd name="connsiteY4609" fmla="*/ 1923313 h 8402012"/>
              <a:gd name="connsiteX4610" fmla="*/ 17461312 w 21052572"/>
              <a:gd name="connsiteY4610" fmla="*/ 1919928 h 8402012"/>
              <a:gd name="connsiteX4611" fmla="*/ 17427460 w 21052572"/>
              <a:gd name="connsiteY4611" fmla="*/ 1907166 h 8402012"/>
              <a:gd name="connsiteX4612" fmla="*/ 13639647 w 21052572"/>
              <a:gd name="connsiteY4612" fmla="*/ 1905357 h 8402012"/>
              <a:gd name="connsiteX4613" fmla="*/ 13621685 w 21052572"/>
              <a:gd name="connsiteY4613" fmla="*/ 1937427 h 8402012"/>
              <a:gd name="connsiteX4614" fmla="*/ 13639647 w 21052572"/>
              <a:gd name="connsiteY4614" fmla="*/ 1905357 h 8402012"/>
              <a:gd name="connsiteX4615" fmla="*/ 12468929 w 21052572"/>
              <a:gd name="connsiteY4615" fmla="*/ 1905357 h 8402012"/>
              <a:gd name="connsiteX4616" fmla="*/ 12450967 w 21052572"/>
              <a:gd name="connsiteY4616" fmla="*/ 1937427 h 8402012"/>
              <a:gd name="connsiteX4617" fmla="*/ 12468929 w 21052572"/>
              <a:gd name="connsiteY4617" fmla="*/ 1905357 h 8402012"/>
              <a:gd name="connsiteX4618" fmla="*/ 16455904 w 21052572"/>
              <a:gd name="connsiteY4618" fmla="*/ 1901389 h 8402012"/>
              <a:gd name="connsiteX4619" fmla="*/ 16407542 w 21052572"/>
              <a:gd name="connsiteY4619" fmla="*/ 1907166 h 8402012"/>
              <a:gd name="connsiteX4620" fmla="*/ 16484922 w 21052572"/>
              <a:gd name="connsiteY4620" fmla="*/ 1938330 h 8402012"/>
              <a:gd name="connsiteX4621" fmla="*/ 16455904 w 21052572"/>
              <a:gd name="connsiteY4621" fmla="*/ 1901389 h 8402012"/>
              <a:gd name="connsiteX4622" fmla="*/ 11958362 w 21052572"/>
              <a:gd name="connsiteY4622" fmla="*/ 1872181 h 8402012"/>
              <a:gd name="connsiteX4623" fmla="*/ 11939124 w 21052572"/>
              <a:gd name="connsiteY4623" fmla="*/ 1943277 h 8402012"/>
              <a:gd name="connsiteX4624" fmla="*/ 11926299 w 21052572"/>
              <a:gd name="connsiteY4624" fmla="*/ 2000369 h 8402012"/>
              <a:gd name="connsiteX4625" fmla="*/ 11844005 w 21052572"/>
              <a:gd name="connsiteY4625" fmla="*/ 1980979 h 8402012"/>
              <a:gd name="connsiteX4626" fmla="*/ 11773467 w 21052572"/>
              <a:gd name="connsiteY4626" fmla="*/ 2013295 h 8402012"/>
              <a:gd name="connsiteX4627" fmla="*/ 11792704 w 21052572"/>
              <a:gd name="connsiteY4627" fmla="*/ 1980979 h 8402012"/>
              <a:gd name="connsiteX4628" fmla="*/ 11754229 w 21052572"/>
              <a:gd name="connsiteY4628" fmla="*/ 1968052 h 8402012"/>
              <a:gd name="connsiteX4629" fmla="*/ 11824767 w 21052572"/>
              <a:gd name="connsiteY4629" fmla="*/ 1898034 h 8402012"/>
              <a:gd name="connsiteX4630" fmla="*/ 11958362 w 21052572"/>
              <a:gd name="connsiteY4630" fmla="*/ 1872181 h 8402012"/>
              <a:gd name="connsiteX4631" fmla="*/ 16363748 w 21052572"/>
              <a:gd name="connsiteY4631" fmla="*/ 1869283 h 8402012"/>
              <a:gd name="connsiteX4632" fmla="*/ 16318338 w 21052572"/>
              <a:gd name="connsiteY4632" fmla="*/ 1874926 h 8402012"/>
              <a:gd name="connsiteX4633" fmla="*/ 16394646 w 21052572"/>
              <a:gd name="connsiteY4633" fmla="*/ 1907166 h 8402012"/>
              <a:gd name="connsiteX4634" fmla="*/ 16363748 w 21052572"/>
              <a:gd name="connsiteY4634" fmla="*/ 1869283 h 8402012"/>
              <a:gd name="connsiteX4635" fmla="*/ 19033468 w 21052572"/>
              <a:gd name="connsiteY4635" fmla="*/ 1848478 h 8402012"/>
              <a:gd name="connsiteX4636" fmla="*/ 19015508 w 21052572"/>
              <a:gd name="connsiteY4636" fmla="*/ 1875778 h 8402012"/>
              <a:gd name="connsiteX4637" fmla="*/ 19033468 w 21052572"/>
              <a:gd name="connsiteY4637" fmla="*/ 1848478 h 8402012"/>
              <a:gd name="connsiteX4638" fmla="*/ 12029867 w 21052572"/>
              <a:gd name="connsiteY4638" fmla="*/ 1846457 h 8402012"/>
              <a:gd name="connsiteX4639" fmla="*/ 12113368 w 21052572"/>
              <a:gd name="connsiteY4639" fmla="*/ 1890055 h 8402012"/>
              <a:gd name="connsiteX4640" fmla="*/ 11991217 w 21052572"/>
              <a:gd name="connsiteY4640" fmla="*/ 1877096 h 8402012"/>
              <a:gd name="connsiteX4641" fmla="*/ 12029867 w 21052572"/>
              <a:gd name="connsiteY4641" fmla="*/ 1846457 h 8402012"/>
              <a:gd name="connsiteX4642" fmla="*/ 16267558 w 21052572"/>
              <a:gd name="connsiteY4642" fmla="*/ 1842686 h 8402012"/>
              <a:gd name="connsiteX4643" fmla="*/ 16221614 w 21052572"/>
              <a:gd name="connsiteY4643" fmla="*/ 1849134 h 8402012"/>
              <a:gd name="connsiteX4644" fmla="*/ 16298994 w 21052572"/>
              <a:gd name="connsiteY4644" fmla="*/ 1874926 h 8402012"/>
              <a:gd name="connsiteX4645" fmla="*/ 16267558 w 21052572"/>
              <a:gd name="connsiteY4645" fmla="*/ 1842686 h 8402012"/>
              <a:gd name="connsiteX4646" fmla="*/ 12897459 w 21052572"/>
              <a:gd name="connsiteY4646" fmla="*/ 1819784 h 8402012"/>
              <a:gd name="connsiteX4647" fmla="*/ 12919133 w 21052572"/>
              <a:gd name="connsiteY4647" fmla="*/ 1847453 h 8402012"/>
              <a:gd name="connsiteX4648" fmla="*/ 12887024 w 21052572"/>
              <a:gd name="connsiteY4648" fmla="*/ 1829007 h 8402012"/>
              <a:gd name="connsiteX4649" fmla="*/ 12897459 w 21052572"/>
              <a:gd name="connsiteY4649" fmla="*/ 1819784 h 8402012"/>
              <a:gd name="connsiteX4650" fmla="*/ 16163578 w 21052572"/>
              <a:gd name="connsiteY4650" fmla="*/ 1816895 h 8402012"/>
              <a:gd name="connsiteX4651" fmla="*/ 16202270 w 21052572"/>
              <a:gd name="connsiteY4651" fmla="*/ 1849134 h 8402012"/>
              <a:gd name="connsiteX4652" fmla="*/ 16163578 w 21052572"/>
              <a:gd name="connsiteY4652" fmla="*/ 1816895 h 8402012"/>
              <a:gd name="connsiteX4653" fmla="*/ 16125962 w 21052572"/>
              <a:gd name="connsiteY4653" fmla="*/ 1816895 h 8402012"/>
              <a:gd name="connsiteX4654" fmla="*/ 16145308 w 21052572"/>
              <a:gd name="connsiteY4654" fmla="*/ 1849134 h 8402012"/>
              <a:gd name="connsiteX4655" fmla="*/ 16125962 w 21052572"/>
              <a:gd name="connsiteY4655" fmla="*/ 1816895 h 8402012"/>
              <a:gd name="connsiteX4656" fmla="*/ 18976520 w 21052572"/>
              <a:gd name="connsiteY4656" fmla="*/ 1816710 h 8402012"/>
              <a:gd name="connsiteX4657" fmla="*/ 18944412 w 21052572"/>
              <a:gd name="connsiteY4657" fmla="*/ 1847453 h 8402012"/>
              <a:gd name="connsiteX4658" fmla="*/ 18976520 w 21052572"/>
              <a:gd name="connsiteY4658" fmla="*/ 1816710 h 8402012"/>
              <a:gd name="connsiteX4659" fmla="*/ 18039120 w 21052572"/>
              <a:gd name="connsiteY4659" fmla="*/ 1815299 h 8402012"/>
              <a:gd name="connsiteX4660" fmla="*/ 18052244 w 21052572"/>
              <a:gd name="connsiteY4660" fmla="*/ 1847407 h 8402012"/>
              <a:gd name="connsiteX4661" fmla="*/ 18039120 w 21052572"/>
              <a:gd name="connsiteY4661" fmla="*/ 1815299 h 8402012"/>
              <a:gd name="connsiteX4662" fmla="*/ 17792656 w 21052572"/>
              <a:gd name="connsiteY4662" fmla="*/ 1815299 h 8402012"/>
              <a:gd name="connsiteX4663" fmla="*/ 17810560 w 21052572"/>
              <a:gd name="connsiteY4663" fmla="*/ 1847408 h 8402012"/>
              <a:gd name="connsiteX4664" fmla="*/ 17792656 w 21052572"/>
              <a:gd name="connsiteY4664" fmla="*/ 1815299 h 8402012"/>
              <a:gd name="connsiteX4665" fmla="*/ 12468929 w 21052572"/>
              <a:gd name="connsiteY4665" fmla="*/ 1815299 h 8402012"/>
              <a:gd name="connsiteX4666" fmla="*/ 12450967 w 21052572"/>
              <a:gd name="connsiteY4666" fmla="*/ 1847408 h 8402012"/>
              <a:gd name="connsiteX4667" fmla="*/ 12468929 w 21052572"/>
              <a:gd name="connsiteY4667" fmla="*/ 1815299 h 8402012"/>
              <a:gd name="connsiteX4668" fmla="*/ 12866517 w 21052572"/>
              <a:gd name="connsiteY4668" fmla="*/ 1813923 h 8402012"/>
              <a:gd name="connsiteX4669" fmla="*/ 12863851 w 21052572"/>
              <a:gd name="connsiteY4669" fmla="*/ 1833118 h 8402012"/>
              <a:gd name="connsiteX4670" fmla="*/ 12863193 w 21052572"/>
              <a:gd name="connsiteY4670" fmla="*/ 1826293 h 8402012"/>
              <a:gd name="connsiteX4671" fmla="*/ 12861645 w 21052572"/>
              <a:gd name="connsiteY4671" fmla="*/ 1824001 h 8402012"/>
              <a:gd name="connsiteX4672" fmla="*/ 12862144 w 21052572"/>
              <a:gd name="connsiteY4672" fmla="*/ 1828427 h 8402012"/>
              <a:gd name="connsiteX4673" fmla="*/ 12856218 w 21052572"/>
              <a:gd name="connsiteY4673" fmla="*/ 1815299 h 8402012"/>
              <a:gd name="connsiteX4674" fmla="*/ 12859182 w 21052572"/>
              <a:gd name="connsiteY4674" fmla="*/ 1819051 h 8402012"/>
              <a:gd name="connsiteX4675" fmla="*/ 18908284 w 21052572"/>
              <a:gd name="connsiteY4675" fmla="*/ 1787523 h 8402012"/>
              <a:gd name="connsiteX4676" fmla="*/ 18924424 w 21052572"/>
              <a:gd name="connsiteY4676" fmla="*/ 1818937 h 8402012"/>
              <a:gd name="connsiteX4677" fmla="*/ 18887532 w 21052572"/>
              <a:gd name="connsiteY4677" fmla="*/ 1805710 h 8402012"/>
              <a:gd name="connsiteX4678" fmla="*/ 18908284 w 21052572"/>
              <a:gd name="connsiteY4678" fmla="*/ 1787523 h 8402012"/>
              <a:gd name="connsiteX4679" fmla="*/ 16055030 w 21052572"/>
              <a:gd name="connsiteY4679" fmla="*/ 1784655 h 8402012"/>
              <a:gd name="connsiteX4680" fmla="*/ 16087274 w 21052572"/>
              <a:gd name="connsiteY4680" fmla="*/ 1816895 h 8402012"/>
              <a:gd name="connsiteX4681" fmla="*/ 16055030 w 21052572"/>
              <a:gd name="connsiteY4681" fmla="*/ 1784655 h 8402012"/>
              <a:gd name="connsiteX4682" fmla="*/ 19450568 w 21052572"/>
              <a:gd name="connsiteY4682" fmla="*/ 1782119 h 8402012"/>
              <a:gd name="connsiteX4683" fmla="*/ 19432604 w 21052572"/>
              <a:gd name="connsiteY4683" fmla="*/ 1814225 h 8402012"/>
              <a:gd name="connsiteX4684" fmla="*/ 19450568 w 21052572"/>
              <a:gd name="connsiteY4684" fmla="*/ 1782119 h 8402012"/>
              <a:gd name="connsiteX4685" fmla="*/ 13695273 w 21052572"/>
              <a:gd name="connsiteY4685" fmla="*/ 1778260 h 8402012"/>
              <a:gd name="connsiteX4686" fmla="*/ 13701260 w 21052572"/>
              <a:gd name="connsiteY4686" fmla="*/ 1785484 h 8402012"/>
              <a:gd name="connsiteX4687" fmla="*/ 13696271 w 21052572"/>
              <a:gd name="connsiteY4687" fmla="*/ 1804748 h 8402012"/>
              <a:gd name="connsiteX4688" fmla="*/ 13683298 w 21052572"/>
              <a:gd name="connsiteY4688" fmla="*/ 1785484 h 8402012"/>
              <a:gd name="connsiteX4689" fmla="*/ 13695273 w 21052572"/>
              <a:gd name="connsiteY4689" fmla="*/ 1778260 h 8402012"/>
              <a:gd name="connsiteX4690" fmla="*/ 15920690 w 21052572"/>
              <a:gd name="connsiteY4690" fmla="*/ 1758863 h 8402012"/>
              <a:gd name="connsiteX4691" fmla="*/ 15940034 w 21052572"/>
              <a:gd name="connsiteY4691" fmla="*/ 1784655 h 8402012"/>
              <a:gd name="connsiteX4692" fmla="*/ 15920690 w 21052572"/>
              <a:gd name="connsiteY4692" fmla="*/ 1758863 h 8402012"/>
              <a:gd name="connsiteX4693" fmla="*/ 17674160 w 21052572"/>
              <a:gd name="connsiteY4693" fmla="*/ 1758421 h 8402012"/>
              <a:gd name="connsiteX4694" fmla="*/ 17701460 w 21052572"/>
              <a:gd name="connsiteY4694" fmla="*/ 1785720 h 8402012"/>
              <a:gd name="connsiteX4695" fmla="*/ 17674160 w 21052572"/>
              <a:gd name="connsiteY4695" fmla="*/ 1758421 h 8402012"/>
              <a:gd name="connsiteX4696" fmla="*/ 18855804 w 21052572"/>
              <a:gd name="connsiteY4696" fmla="*/ 1757267 h 8402012"/>
              <a:gd name="connsiteX4697" fmla="*/ 18886480 w 21052572"/>
              <a:gd name="connsiteY4697" fmla="*/ 1768796 h 8402012"/>
              <a:gd name="connsiteX4698" fmla="*/ 18873840 w 21052572"/>
              <a:gd name="connsiteY4698" fmla="*/ 1781094 h 8402012"/>
              <a:gd name="connsiteX4699" fmla="*/ 18830656 w 21052572"/>
              <a:gd name="connsiteY4699" fmla="*/ 1768796 h 8402012"/>
              <a:gd name="connsiteX4700" fmla="*/ 18855804 w 21052572"/>
              <a:gd name="connsiteY4700" fmla="*/ 1757267 h 8402012"/>
              <a:gd name="connsiteX4701" fmla="*/ 13497861 w 21052572"/>
              <a:gd name="connsiteY4701" fmla="*/ 1747265 h 8402012"/>
              <a:gd name="connsiteX4702" fmla="*/ 13630100 w 21052572"/>
              <a:gd name="connsiteY4702" fmla="*/ 1786368 h 8402012"/>
              <a:gd name="connsiteX4703" fmla="*/ 13375221 w 21052572"/>
              <a:gd name="connsiteY4703" fmla="*/ 1818954 h 8402012"/>
              <a:gd name="connsiteX4704" fmla="*/ 13497861 w 21052572"/>
              <a:gd name="connsiteY4704" fmla="*/ 1747265 h 8402012"/>
              <a:gd name="connsiteX4705" fmla="*/ 18801700 w 21052572"/>
              <a:gd name="connsiteY4705" fmla="*/ 1728798 h 8402012"/>
              <a:gd name="connsiteX4706" fmla="*/ 18829620 w 21052572"/>
              <a:gd name="connsiteY4706" fmla="*/ 1741042 h 8402012"/>
              <a:gd name="connsiteX4707" fmla="*/ 18773780 w 21052572"/>
              <a:gd name="connsiteY4707" fmla="*/ 1741042 h 8402012"/>
              <a:gd name="connsiteX4708" fmla="*/ 18801700 w 21052572"/>
              <a:gd name="connsiteY4708" fmla="*/ 1728798 h 8402012"/>
              <a:gd name="connsiteX4709" fmla="*/ 14094163 w 21052572"/>
              <a:gd name="connsiteY4709" fmla="*/ 1728691 h 8402012"/>
              <a:gd name="connsiteX4710" fmla="*/ 14113540 w 21052572"/>
              <a:gd name="connsiteY4710" fmla="*/ 1785780 h 8402012"/>
              <a:gd name="connsiteX4711" fmla="*/ 13773355 w 21052572"/>
              <a:gd name="connsiteY4711" fmla="*/ 1785780 h 8402012"/>
              <a:gd name="connsiteX4712" fmla="*/ 13883162 w 21052572"/>
              <a:gd name="connsiteY4712" fmla="*/ 1741617 h 8402012"/>
              <a:gd name="connsiteX4713" fmla="*/ 14094163 w 21052572"/>
              <a:gd name="connsiteY4713" fmla="*/ 1728691 h 8402012"/>
              <a:gd name="connsiteX4714" fmla="*/ 13095574 w 21052572"/>
              <a:gd name="connsiteY4714" fmla="*/ 1726822 h 8402012"/>
              <a:gd name="connsiteX4715" fmla="*/ 13127683 w 21052572"/>
              <a:gd name="connsiteY4715" fmla="*/ 1757366 h 8402012"/>
              <a:gd name="connsiteX4716" fmla="*/ 13095574 w 21052572"/>
              <a:gd name="connsiteY4716" fmla="*/ 1726822 h 8402012"/>
              <a:gd name="connsiteX4717" fmla="*/ 17849532 w 21052572"/>
              <a:gd name="connsiteY4717" fmla="*/ 1725244 h 8402012"/>
              <a:gd name="connsiteX4718" fmla="*/ 17905372 w 21052572"/>
              <a:gd name="connsiteY4718" fmla="*/ 1737883 h 8402012"/>
              <a:gd name="connsiteX4719" fmla="*/ 17849532 w 21052572"/>
              <a:gd name="connsiteY4719" fmla="*/ 1755788 h 8402012"/>
              <a:gd name="connsiteX4720" fmla="*/ 17849532 w 21052572"/>
              <a:gd name="connsiteY4720" fmla="*/ 1725244 h 8402012"/>
              <a:gd name="connsiteX4721" fmla="*/ 12799195 w 21052572"/>
              <a:gd name="connsiteY4721" fmla="*/ 1725244 h 8402012"/>
              <a:gd name="connsiteX4722" fmla="*/ 13061326 w 21052572"/>
              <a:gd name="connsiteY4722" fmla="*/ 1749732 h 8402012"/>
              <a:gd name="connsiteX4723" fmla="*/ 12900838 w 21052572"/>
              <a:gd name="connsiteY4723" fmla="*/ 1794450 h 8402012"/>
              <a:gd name="connsiteX4724" fmla="*/ 12773517 w 21052572"/>
              <a:gd name="connsiteY4724" fmla="*/ 1794450 h 8402012"/>
              <a:gd name="connsiteX4725" fmla="*/ 12709322 w 21052572"/>
              <a:gd name="connsiteY4725" fmla="*/ 1839168 h 8402012"/>
              <a:gd name="connsiteX4726" fmla="*/ 12652616 w 21052572"/>
              <a:gd name="connsiteY4726" fmla="*/ 1864722 h 8402012"/>
              <a:gd name="connsiteX4727" fmla="*/ 12588421 w 21052572"/>
              <a:gd name="connsiteY4727" fmla="*/ 1807227 h 8402012"/>
              <a:gd name="connsiteX4728" fmla="*/ 12696483 w 21052572"/>
              <a:gd name="connsiteY4728" fmla="*/ 1749732 h 8402012"/>
              <a:gd name="connsiteX4729" fmla="*/ 12760678 w 21052572"/>
              <a:gd name="connsiteY4729" fmla="*/ 1738020 h 8402012"/>
              <a:gd name="connsiteX4730" fmla="*/ 12799195 w 21052572"/>
              <a:gd name="connsiteY4730" fmla="*/ 1725244 h 8402012"/>
              <a:gd name="connsiteX4731" fmla="*/ 13704364 w 21052572"/>
              <a:gd name="connsiteY4731" fmla="*/ 1725242 h 8402012"/>
              <a:gd name="connsiteX4732" fmla="*/ 13729642 w 21052572"/>
              <a:gd name="connsiteY4732" fmla="*/ 1755787 h 8402012"/>
              <a:gd name="connsiteX4733" fmla="*/ 13704364 w 21052572"/>
              <a:gd name="connsiteY4733" fmla="*/ 1781066 h 8402012"/>
              <a:gd name="connsiteX4734" fmla="*/ 13704364 w 21052572"/>
              <a:gd name="connsiteY4734" fmla="*/ 1725242 h 8402012"/>
              <a:gd name="connsiteX4735" fmla="*/ 19272752 w 21052572"/>
              <a:gd name="connsiteY4735" fmla="*/ 1696806 h 8402012"/>
              <a:gd name="connsiteX4736" fmla="*/ 19324212 w 21052572"/>
              <a:gd name="connsiteY4736" fmla="*/ 1715970 h 8402012"/>
              <a:gd name="connsiteX4737" fmla="*/ 19407832 w 21052572"/>
              <a:gd name="connsiteY4737" fmla="*/ 1797954 h 8402012"/>
              <a:gd name="connsiteX4738" fmla="*/ 19382104 w 21052572"/>
              <a:gd name="connsiteY4738" fmla="*/ 1842672 h 8402012"/>
              <a:gd name="connsiteX4739" fmla="*/ 19228796 w 21052572"/>
              <a:gd name="connsiteY4739" fmla="*/ 1741524 h 8402012"/>
              <a:gd name="connsiteX4740" fmla="*/ 19272752 w 21052572"/>
              <a:gd name="connsiteY4740" fmla="*/ 1696806 h 8402012"/>
              <a:gd name="connsiteX4741" fmla="*/ 13541106 w 21052572"/>
              <a:gd name="connsiteY4741" fmla="*/ 1696804 h 8402012"/>
              <a:gd name="connsiteX4742" fmla="*/ 13559068 w 21052572"/>
              <a:gd name="connsiteY4742" fmla="*/ 1728909 h 8402012"/>
              <a:gd name="connsiteX4743" fmla="*/ 13541106 w 21052572"/>
              <a:gd name="connsiteY4743" fmla="*/ 1696804 h 8402012"/>
              <a:gd name="connsiteX4744" fmla="*/ 13413135 w 21052572"/>
              <a:gd name="connsiteY4744" fmla="*/ 1696804 h 8402012"/>
              <a:gd name="connsiteX4745" fmla="*/ 13431097 w 21052572"/>
              <a:gd name="connsiteY4745" fmla="*/ 1728910 h 8402012"/>
              <a:gd name="connsiteX4746" fmla="*/ 13413135 w 21052572"/>
              <a:gd name="connsiteY4746" fmla="*/ 1696804 h 8402012"/>
              <a:gd name="connsiteX4747" fmla="*/ 18724572 w 21052572"/>
              <a:gd name="connsiteY4747" fmla="*/ 1696803 h 8402012"/>
              <a:gd name="connsiteX4748" fmla="*/ 18768008 w 21052572"/>
              <a:gd name="connsiteY4748" fmla="*/ 1709646 h 8402012"/>
              <a:gd name="connsiteX4749" fmla="*/ 18712164 w 21052572"/>
              <a:gd name="connsiteY4749" fmla="*/ 1709646 h 8402012"/>
              <a:gd name="connsiteX4750" fmla="*/ 18724572 w 21052572"/>
              <a:gd name="connsiteY4750" fmla="*/ 1696803 h 8402012"/>
              <a:gd name="connsiteX4751" fmla="*/ 17799912 w 21052572"/>
              <a:gd name="connsiteY4751" fmla="*/ 1693674 h 8402012"/>
              <a:gd name="connsiteX4752" fmla="*/ 17810560 w 21052572"/>
              <a:gd name="connsiteY4752" fmla="*/ 1694097 h 8402012"/>
              <a:gd name="connsiteX4753" fmla="*/ 17773696 w 21052572"/>
              <a:gd name="connsiteY4753" fmla="*/ 1727953 h 8402012"/>
              <a:gd name="connsiteX4754" fmla="*/ 17799912 w 21052572"/>
              <a:gd name="connsiteY4754" fmla="*/ 1693674 h 8402012"/>
              <a:gd name="connsiteX4755" fmla="*/ 14430369 w 21052572"/>
              <a:gd name="connsiteY4755" fmla="*/ 1677843 h 8402012"/>
              <a:gd name="connsiteX4756" fmla="*/ 14473803 w 21052572"/>
              <a:gd name="connsiteY4756" fmla="*/ 1728915 h 8402012"/>
              <a:gd name="connsiteX4757" fmla="*/ 14417959 w 21052572"/>
              <a:gd name="connsiteY4757" fmla="*/ 1728915 h 8402012"/>
              <a:gd name="connsiteX4758" fmla="*/ 14430369 w 21052572"/>
              <a:gd name="connsiteY4758" fmla="*/ 1677843 h 8402012"/>
              <a:gd name="connsiteX4759" fmla="*/ 19265620 w 21052572"/>
              <a:gd name="connsiteY4759" fmla="*/ 1677842 h 8402012"/>
              <a:gd name="connsiteX4760" fmla="*/ 19252496 w 21052572"/>
              <a:gd name="connsiteY4760" fmla="*/ 1695804 h 8402012"/>
              <a:gd name="connsiteX4761" fmla="*/ 19265620 w 21052572"/>
              <a:gd name="connsiteY4761" fmla="*/ 1677842 h 8402012"/>
              <a:gd name="connsiteX4762" fmla="*/ 14361488 w 21052572"/>
              <a:gd name="connsiteY4762" fmla="*/ 1671350 h 8402012"/>
              <a:gd name="connsiteX4763" fmla="*/ 14362330 w 21052572"/>
              <a:gd name="connsiteY4763" fmla="*/ 1695733 h 8402012"/>
              <a:gd name="connsiteX4764" fmla="*/ 14356343 w 21052572"/>
              <a:gd name="connsiteY4764" fmla="*/ 1676468 h 8402012"/>
              <a:gd name="connsiteX4765" fmla="*/ 14361488 w 21052572"/>
              <a:gd name="connsiteY4765" fmla="*/ 1671350 h 8402012"/>
              <a:gd name="connsiteX4766" fmla="*/ 18664768 w 21052572"/>
              <a:gd name="connsiteY4766" fmla="*/ 1663624 h 8402012"/>
              <a:gd name="connsiteX4767" fmla="*/ 18715840 w 21052572"/>
              <a:gd name="connsiteY4767" fmla="*/ 1676393 h 8402012"/>
              <a:gd name="connsiteX4768" fmla="*/ 18664768 w 21052572"/>
              <a:gd name="connsiteY4768" fmla="*/ 1663624 h 8402012"/>
              <a:gd name="connsiteX4769" fmla="*/ 18635276 w 21052572"/>
              <a:gd name="connsiteY4769" fmla="*/ 1630447 h 8402012"/>
              <a:gd name="connsiteX4770" fmla="*/ 18617368 w 21052572"/>
              <a:gd name="connsiteY4770" fmla="*/ 1662553 h 8402012"/>
              <a:gd name="connsiteX4771" fmla="*/ 18635276 w 21052572"/>
              <a:gd name="connsiteY4771" fmla="*/ 1630447 h 8402012"/>
              <a:gd name="connsiteX4772" fmla="*/ 17361340 w 21052572"/>
              <a:gd name="connsiteY4772" fmla="*/ 1630447 h 8402012"/>
              <a:gd name="connsiteX4773" fmla="*/ 17374468 w 21052572"/>
              <a:gd name="connsiteY4773" fmla="*/ 1662553 h 8402012"/>
              <a:gd name="connsiteX4774" fmla="*/ 17361340 w 21052572"/>
              <a:gd name="connsiteY4774" fmla="*/ 1630447 h 8402012"/>
              <a:gd name="connsiteX4775" fmla="*/ 14316122 w 21052572"/>
              <a:gd name="connsiteY4775" fmla="*/ 1598740 h 8402012"/>
              <a:gd name="connsiteX4776" fmla="*/ 14335467 w 21052572"/>
              <a:gd name="connsiteY4776" fmla="*/ 1630979 h 8402012"/>
              <a:gd name="connsiteX4777" fmla="*/ 14316122 w 21052572"/>
              <a:gd name="connsiteY4777" fmla="*/ 1598740 h 8402012"/>
              <a:gd name="connsiteX4778" fmla="*/ 13299383 w 21052572"/>
              <a:gd name="connsiteY4778" fmla="*/ 1597266 h 8402012"/>
              <a:gd name="connsiteX4779" fmla="*/ 13620611 w 21052572"/>
              <a:gd name="connsiteY4779" fmla="*/ 1630080 h 8402012"/>
              <a:gd name="connsiteX4780" fmla="*/ 13466980 w 21052572"/>
              <a:gd name="connsiteY4780" fmla="*/ 1662894 h 8402012"/>
              <a:gd name="connsiteX4781" fmla="*/ 13363843 w 21052572"/>
              <a:gd name="connsiteY4781" fmla="*/ 1662894 h 8402012"/>
              <a:gd name="connsiteX4782" fmla="*/ 13299383 w 21052572"/>
              <a:gd name="connsiteY4782" fmla="*/ 1662894 h 8402012"/>
              <a:gd name="connsiteX4783" fmla="*/ 13299383 w 21052572"/>
              <a:gd name="connsiteY4783" fmla="*/ 1597266 h 8402012"/>
              <a:gd name="connsiteX4784" fmla="*/ 17529708 w 21052572"/>
              <a:gd name="connsiteY4784" fmla="*/ 1596145 h 8402012"/>
              <a:gd name="connsiteX4785" fmla="*/ 17579796 w 21052572"/>
              <a:gd name="connsiteY4785" fmla="*/ 1612270 h 8402012"/>
              <a:gd name="connsiteX4786" fmla="*/ 17701520 w 21052572"/>
              <a:gd name="connsiteY4786" fmla="*/ 1676770 h 8402012"/>
              <a:gd name="connsiteX4787" fmla="*/ 17489312 w 21052572"/>
              <a:gd name="connsiteY4787" fmla="*/ 1618720 h 8402012"/>
              <a:gd name="connsiteX4788" fmla="*/ 17529708 w 21052572"/>
              <a:gd name="connsiteY4788" fmla="*/ 1596145 h 8402012"/>
              <a:gd name="connsiteX4789" fmla="*/ 16853976 w 21052572"/>
              <a:gd name="connsiteY4789" fmla="*/ 1593818 h 8402012"/>
              <a:gd name="connsiteX4790" fmla="*/ 16886260 w 21052572"/>
              <a:gd name="connsiteY4790" fmla="*/ 1631886 h 8402012"/>
              <a:gd name="connsiteX4791" fmla="*/ 16806792 w 21052572"/>
              <a:gd name="connsiteY4791" fmla="*/ 1599488 h 8402012"/>
              <a:gd name="connsiteX4792" fmla="*/ 16853976 w 21052572"/>
              <a:gd name="connsiteY4792" fmla="*/ 1593818 h 8402012"/>
              <a:gd name="connsiteX4793" fmla="*/ 9923617 w 21052572"/>
              <a:gd name="connsiteY4793" fmla="*/ 1577913 h 8402012"/>
              <a:gd name="connsiteX4794" fmla="*/ 9885021 w 21052572"/>
              <a:gd name="connsiteY4794" fmla="*/ 1598740 h 8402012"/>
              <a:gd name="connsiteX4795" fmla="*/ 9826986 w 21052572"/>
              <a:gd name="connsiteY4795" fmla="*/ 1630979 h 8402012"/>
              <a:gd name="connsiteX4796" fmla="*/ 9904367 w 21052572"/>
              <a:gd name="connsiteY4796" fmla="*/ 1618084 h 8402012"/>
              <a:gd name="connsiteX4797" fmla="*/ 9943057 w 21052572"/>
              <a:gd name="connsiteY4797" fmla="*/ 1598740 h 8402012"/>
              <a:gd name="connsiteX4798" fmla="*/ 9935803 w 21052572"/>
              <a:gd name="connsiteY4798" fmla="*/ 1578791 h 8402012"/>
              <a:gd name="connsiteX4799" fmla="*/ 9923617 w 21052572"/>
              <a:gd name="connsiteY4799" fmla="*/ 1577913 h 8402012"/>
              <a:gd name="connsiteX4800" fmla="*/ 17451392 w 21052572"/>
              <a:gd name="connsiteY4800" fmla="*/ 1573569 h 8402012"/>
              <a:gd name="connsiteX4801" fmla="*/ 17488284 w 21052572"/>
              <a:gd name="connsiteY4801" fmla="*/ 1587219 h 8402012"/>
              <a:gd name="connsiteX4802" fmla="*/ 17482136 w 21052572"/>
              <a:gd name="connsiteY4802" fmla="*/ 1600868 h 8402012"/>
              <a:gd name="connsiteX4803" fmla="*/ 17451392 w 21052572"/>
              <a:gd name="connsiteY4803" fmla="*/ 1573569 h 8402012"/>
              <a:gd name="connsiteX4804" fmla="*/ 13185628 w 21052572"/>
              <a:gd name="connsiteY4804" fmla="*/ 1573569 h 8402012"/>
              <a:gd name="connsiteX4805" fmla="*/ 13203590 w 21052572"/>
              <a:gd name="connsiteY4805" fmla="*/ 1600868 h 8402012"/>
              <a:gd name="connsiteX4806" fmla="*/ 13185628 w 21052572"/>
              <a:gd name="connsiteY4806" fmla="*/ 1573569 h 8402012"/>
              <a:gd name="connsiteX4807" fmla="*/ 13113024 w 21052572"/>
              <a:gd name="connsiteY4807" fmla="*/ 1542860 h 8402012"/>
              <a:gd name="connsiteX4808" fmla="*/ 13151469 w 21052572"/>
              <a:gd name="connsiteY4808" fmla="*/ 1575445 h 8402012"/>
              <a:gd name="connsiteX4809" fmla="*/ 13113024 w 21052572"/>
              <a:gd name="connsiteY4809" fmla="*/ 1542860 h 8402012"/>
              <a:gd name="connsiteX4810" fmla="*/ 14842739 w 21052572"/>
              <a:gd name="connsiteY4810" fmla="*/ 1540708 h 8402012"/>
              <a:gd name="connsiteX4811" fmla="*/ 14842739 w 21052572"/>
              <a:gd name="connsiteY4811" fmla="*/ 1572949 h 8402012"/>
              <a:gd name="connsiteX4812" fmla="*/ 14842739 w 21052572"/>
              <a:gd name="connsiteY4812" fmla="*/ 1540708 h 8402012"/>
              <a:gd name="connsiteX4813" fmla="*/ 10012914 w 21052572"/>
              <a:gd name="connsiteY4813" fmla="*/ 1540708 h 8402012"/>
              <a:gd name="connsiteX4814" fmla="*/ 10032259 w 21052572"/>
              <a:gd name="connsiteY4814" fmla="*/ 1572949 h 8402012"/>
              <a:gd name="connsiteX4815" fmla="*/ 10012914 w 21052572"/>
              <a:gd name="connsiteY4815" fmla="*/ 1540708 h 8402012"/>
              <a:gd name="connsiteX4816" fmla="*/ 18977592 w 21052572"/>
              <a:gd name="connsiteY4816" fmla="*/ 1540388 h 8402012"/>
              <a:gd name="connsiteX4817" fmla="*/ 19057060 w 21052572"/>
              <a:gd name="connsiteY4817" fmla="*/ 1540388 h 8402012"/>
              <a:gd name="connsiteX4818" fmla="*/ 19037192 w 21052572"/>
              <a:gd name="connsiteY4818" fmla="*/ 1596231 h 8402012"/>
              <a:gd name="connsiteX4819" fmla="*/ 18977592 w 21052572"/>
              <a:gd name="connsiteY4819" fmla="*/ 1540388 h 8402012"/>
              <a:gd name="connsiteX4820" fmla="*/ 16678428 w 21052572"/>
              <a:gd name="connsiteY4820" fmla="*/ 1521110 h 8402012"/>
              <a:gd name="connsiteX4821" fmla="*/ 16711168 w 21052572"/>
              <a:gd name="connsiteY4821" fmla="*/ 1551811 h 8402012"/>
              <a:gd name="connsiteX4822" fmla="*/ 16786768 w 21052572"/>
              <a:gd name="connsiteY4822" fmla="*/ 1571200 h 8402012"/>
              <a:gd name="connsiteX4823" fmla="*/ 16743110 w 21052572"/>
              <a:gd name="connsiteY4823" fmla="*/ 1616443 h 8402012"/>
              <a:gd name="connsiteX4824" fmla="*/ 16640896 w 21052572"/>
              <a:gd name="connsiteY4824" fmla="*/ 1551811 h 8402012"/>
              <a:gd name="connsiteX4825" fmla="*/ 16678428 w 21052572"/>
              <a:gd name="connsiteY4825" fmla="*/ 1521110 h 8402012"/>
              <a:gd name="connsiteX4826" fmla="*/ 12450967 w 21052572"/>
              <a:gd name="connsiteY4826" fmla="*/ 1507211 h 8402012"/>
              <a:gd name="connsiteX4827" fmla="*/ 12468929 w 21052572"/>
              <a:gd name="connsiteY4827" fmla="*/ 1539281 h 8402012"/>
              <a:gd name="connsiteX4828" fmla="*/ 12450967 w 21052572"/>
              <a:gd name="connsiteY4828" fmla="*/ 1507211 h 8402012"/>
              <a:gd name="connsiteX4829" fmla="*/ 14462017 w 21052572"/>
              <a:gd name="connsiteY4829" fmla="*/ 1506186 h 8402012"/>
              <a:gd name="connsiteX4830" fmla="*/ 14425745 w 21052572"/>
              <a:gd name="connsiteY4830" fmla="*/ 1509543 h 8402012"/>
              <a:gd name="connsiteX4831" fmla="*/ 14483780 w 21052572"/>
              <a:gd name="connsiteY4831" fmla="*/ 1540708 h 8402012"/>
              <a:gd name="connsiteX4832" fmla="*/ 14462017 w 21052572"/>
              <a:gd name="connsiteY4832" fmla="*/ 1506186 h 8402012"/>
              <a:gd name="connsiteX4833" fmla="*/ 16585860 w 21052572"/>
              <a:gd name="connsiteY4833" fmla="*/ 1504277 h 8402012"/>
              <a:gd name="connsiteX4834" fmla="*/ 16620882 w 21052572"/>
              <a:gd name="connsiteY4834" fmla="*/ 1507643 h 8402012"/>
              <a:gd name="connsiteX4835" fmla="*/ 16565058 w 21052572"/>
              <a:gd name="connsiteY4835" fmla="*/ 1538881 h 8402012"/>
              <a:gd name="connsiteX4836" fmla="*/ 16585860 w 21052572"/>
              <a:gd name="connsiteY4836" fmla="*/ 1504277 h 8402012"/>
              <a:gd name="connsiteX4837" fmla="*/ 12443410 w 21052572"/>
              <a:gd name="connsiteY4837" fmla="*/ 1503902 h 8402012"/>
              <a:gd name="connsiteX4838" fmla="*/ 12334325 w 21052572"/>
              <a:gd name="connsiteY4838" fmla="*/ 1522439 h 8402012"/>
              <a:gd name="connsiteX4839" fmla="*/ 12353670 w 21052572"/>
              <a:gd name="connsiteY4839" fmla="*/ 1553604 h 8402012"/>
              <a:gd name="connsiteX4840" fmla="*/ 12289187 w 21052572"/>
              <a:gd name="connsiteY4840" fmla="*/ 1592292 h 8402012"/>
              <a:gd name="connsiteX4841" fmla="*/ 12321428 w 21052572"/>
              <a:gd name="connsiteY4841" fmla="*/ 1643876 h 8402012"/>
              <a:gd name="connsiteX4842" fmla="*/ 12385912 w 21052572"/>
              <a:gd name="connsiteY4842" fmla="*/ 1663219 h 8402012"/>
              <a:gd name="connsiteX4843" fmla="*/ 12475114 w 21052572"/>
              <a:gd name="connsiteY4843" fmla="*/ 1676115 h 8402012"/>
              <a:gd name="connsiteX4844" fmla="*/ 12558943 w 21052572"/>
              <a:gd name="connsiteY4844" fmla="*/ 1598740 h 8402012"/>
              <a:gd name="connsiteX4845" fmla="*/ 12449321 w 21052572"/>
              <a:gd name="connsiteY4845" fmla="*/ 1598740 h 8402012"/>
              <a:gd name="connsiteX4846" fmla="*/ 12552495 w 21052572"/>
              <a:gd name="connsiteY4846" fmla="*/ 1509543 h 8402012"/>
              <a:gd name="connsiteX4847" fmla="*/ 12443410 w 21052572"/>
              <a:gd name="connsiteY4847" fmla="*/ 1503902 h 8402012"/>
              <a:gd name="connsiteX4848" fmla="*/ 14306988 w 21052572"/>
              <a:gd name="connsiteY4848" fmla="*/ 1503096 h 8402012"/>
              <a:gd name="connsiteX4849" fmla="*/ 14201127 w 21052572"/>
              <a:gd name="connsiteY4849" fmla="*/ 1522439 h 8402012"/>
              <a:gd name="connsiteX4850" fmla="*/ 14310749 w 21052572"/>
              <a:gd name="connsiteY4850" fmla="*/ 1566500 h 8402012"/>
              <a:gd name="connsiteX4851" fmla="*/ 14412848 w 21052572"/>
              <a:gd name="connsiteY4851" fmla="*/ 1522439 h 8402012"/>
              <a:gd name="connsiteX4852" fmla="*/ 14306988 w 21052572"/>
              <a:gd name="connsiteY4852" fmla="*/ 1503096 h 8402012"/>
              <a:gd name="connsiteX4853" fmla="*/ 14147122 w 21052572"/>
              <a:gd name="connsiteY4853" fmla="*/ 1501350 h 8402012"/>
              <a:gd name="connsiteX4854" fmla="*/ 14091504 w 21052572"/>
              <a:gd name="connsiteY4854" fmla="*/ 1509543 h 8402012"/>
              <a:gd name="connsiteX4855" fmla="*/ 14188230 w 21052572"/>
              <a:gd name="connsiteY4855" fmla="*/ 1540708 h 8402012"/>
              <a:gd name="connsiteX4856" fmla="*/ 14147122 w 21052572"/>
              <a:gd name="connsiteY4856" fmla="*/ 1501350 h 8402012"/>
              <a:gd name="connsiteX4857" fmla="*/ 13906114 w 21052572"/>
              <a:gd name="connsiteY4857" fmla="*/ 1492618 h 8402012"/>
              <a:gd name="connsiteX4858" fmla="*/ 13874409 w 21052572"/>
              <a:gd name="connsiteY4858" fmla="*/ 1509543 h 8402012"/>
              <a:gd name="connsiteX4859" fmla="*/ 13937818 w 21052572"/>
              <a:gd name="connsiteY4859" fmla="*/ 1509543 h 8402012"/>
              <a:gd name="connsiteX4860" fmla="*/ 13906114 w 21052572"/>
              <a:gd name="connsiteY4860" fmla="*/ 1492618 h 8402012"/>
              <a:gd name="connsiteX4861" fmla="*/ 14521395 w 21052572"/>
              <a:gd name="connsiteY4861" fmla="*/ 1483753 h 8402012"/>
              <a:gd name="connsiteX4862" fmla="*/ 14502050 w 21052572"/>
              <a:gd name="connsiteY4862" fmla="*/ 1540708 h 8402012"/>
              <a:gd name="connsiteX4863" fmla="*/ 14656811 w 21052572"/>
              <a:gd name="connsiteY4863" fmla="*/ 1540708 h 8402012"/>
              <a:gd name="connsiteX4864" fmla="*/ 14721295 w 21052572"/>
              <a:gd name="connsiteY4864" fmla="*/ 1515992 h 8402012"/>
              <a:gd name="connsiteX4865" fmla="*/ 14521395 w 21052572"/>
              <a:gd name="connsiteY4865" fmla="*/ 1483753 h 8402012"/>
              <a:gd name="connsiteX4866" fmla="*/ 13260395 w 21052572"/>
              <a:gd name="connsiteY4866" fmla="*/ 1478775 h 8402012"/>
              <a:gd name="connsiteX4867" fmla="*/ 13241173 w 21052572"/>
              <a:gd name="connsiteY4867" fmla="*/ 1562411 h 8402012"/>
              <a:gd name="connsiteX4868" fmla="*/ 13189913 w 21052572"/>
              <a:gd name="connsiteY4868" fmla="*/ 1542860 h 8402012"/>
              <a:gd name="connsiteX4869" fmla="*/ 13151469 w 21052572"/>
              <a:gd name="connsiteY4869" fmla="*/ 1601514 h 8402012"/>
              <a:gd name="connsiteX4870" fmla="*/ 13137853 w 21052572"/>
              <a:gd name="connsiteY4870" fmla="*/ 1622694 h 8402012"/>
              <a:gd name="connsiteX4871" fmla="*/ 13131159 w 21052572"/>
              <a:gd name="connsiteY4871" fmla="*/ 1624684 h 8402012"/>
              <a:gd name="connsiteX4872" fmla="*/ 13137235 w 21052572"/>
              <a:gd name="connsiteY4872" fmla="*/ 1629878 h 8402012"/>
              <a:gd name="connsiteX4873" fmla="*/ 13123763 w 21052572"/>
              <a:gd name="connsiteY4873" fmla="*/ 1636596 h 8402012"/>
              <a:gd name="connsiteX4874" fmla="*/ 13121080 w 21052572"/>
              <a:gd name="connsiteY4874" fmla="*/ 1632582 h 8402012"/>
              <a:gd name="connsiteX4875" fmla="*/ 13119432 w 21052572"/>
              <a:gd name="connsiteY4875" fmla="*/ 1634099 h 8402012"/>
              <a:gd name="connsiteX4876" fmla="*/ 13125839 w 21052572"/>
              <a:gd name="connsiteY4876" fmla="*/ 1647133 h 8402012"/>
              <a:gd name="connsiteX4877" fmla="*/ 13011573 w 21052572"/>
              <a:gd name="connsiteY4877" fmla="*/ 1679719 h 8402012"/>
              <a:gd name="connsiteX4878" fmla="*/ 12960314 w 21052572"/>
              <a:gd name="connsiteY4878" fmla="*/ 1640616 h 8402012"/>
              <a:gd name="connsiteX4879" fmla="*/ 13082055 w 21052572"/>
              <a:gd name="connsiteY4879" fmla="*/ 1601514 h 8402012"/>
              <a:gd name="connsiteX4880" fmla="*/ 12921869 w 21052572"/>
              <a:gd name="connsiteY4880" fmla="*/ 1575445 h 8402012"/>
              <a:gd name="connsiteX4881" fmla="*/ 12941092 w 21052572"/>
              <a:gd name="connsiteY4881" fmla="*/ 1511361 h 8402012"/>
              <a:gd name="connsiteX4882" fmla="*/ 13050018 w 21052572"/>
              <a:gd name="connsiteY4882" fmla="*/ 1498326 h 8402012"/>
              <a:gd name="connsiteX4883" fmla="*/ 13260395 w 21052572"/>
              <a:gd name="connsiteY4883" fmla="*/ 1478775 h 8402012"/>
              <a:gd name="connsiteX4884" fmla="*/ 18304544 w 21052572"/>
              <a:gd name="connsiteY4884" fmla="*/ 1478773 h 8402012"/>
              <a:gd name="connsiteX4885" fmla="*/ 18322508 w 21052572"/>
              <a:gd name="connsiteY4885" fmla="*/ 1510879 h 8402012"/>
              <a:gd name="connsiteX4886" fmla="*/ 18304544 w 21052572"/>
              <a:gd name="connsiteY4886" fmla="*/ 1478773 h 8402012"/>
              <a:gd name="connsiteX4887" fmla="*/ 13957163 w 21052572"/>
              <a:gd name="connsiteY4887" fmla="*/ 1477304 h 8402012"/>
              <a:gd name="connsiteX4888" fmla="*/ 13957163 w 21052572"/>
              <a:gd name="connsiteY4888" fmla="*/ 1540708 h 8402012"/>
              <a:gd name="connsiteX4889" fmla="*/ 14002302 w 21052572"/>
              <a:gd name="connsiteY4889" fmla="*/ 1540708 h 8402012"/>
              <a:gd name="connsiteX4890" fmla="*/ 14073234 w 21052572"/>
              <a:gd name="connsiteY4890" fmla="*/ 1540708 h 8402012"/>
              <a:gd name="connsiteX4891" fmla="*/ 13957163 w 21052572"/>
              <a:gd name="connsiteY4891" fmla="*/ 1477304 h 8402012"/>
              <a:gd name="connsiteX4892" fmla="*/ 18830660 w 21052572"/>
              <a:gd name="connsiteY4892" fmla="*/ 1445595 h 8402012"/>
              <a:gd name="connsiteX4893" fmla="*/ 18957564 w 21052572"/>
              <a:gd name="connsiteY4893" fmla="*/ 1509164 h 8402012"/>
              <a:gd name="connsiteX4894" fmla="*/ 18830660 w 21052572"/>
              <a:gd name="connsiteY4894" fmla="*/ 1445595 h 8402012"/>
              <a:gd name="connsiteX4895" fmla="*/ 18247672 w 21052572"/>
              <a:gd name="connsiteY4895" fmla="*/ 1445595 h 8402012"/>
              <a:gd name="connsiteX4896" fmla="*/ 18265632 w 21052572"/>
              <a:gd name="connsiteY4896" fmla="*/ 1477703 h 8402012"/>
              <a:gd name="connsiteX4897" fmla="*/ 18247672 w 21052572"/>
              <a:gd name="connsiteY4897" fmla="*/ 1445595 h 8402012"/>
              <a:gd name="connsiteX4898" fmla="*/ 16584018 w 21052572"/>
              <a:gd name="connsiteY4898" fmla="*/ 1445595 h 8402012"/>
              <a:gd name="connsiteX4899" fmla="*/ 16601982 w 21052572"/>
              <a:gd name="connsiteY4899" fmla="*/ 1477704 h 8402012"/>
              <a:gd name="connsiteX4900" fmla="*/ 16584018 w 21052572"/>
              <a:gd name="connsiteY4900" fmla="*/ 1445595 h 8402012"/>
              <a:gd name="connsiteX4901" fmla="*/ 9737784 w 21052572"/>
              <a:gd name="connsiteY4901" fmla="*/ 1406377 h 8402012"/>
              <a:gd name="connsiteX4902" fmla="*/ 9621713 w 21052572"/>
              <a:gd name="connsiteY4902" fmla="*/ 1503096 h 8402012"/>
              <a:gd name="connsiteX4903" fmla="*/ 9500269 w 21052572"/>
              <a:gd name="connsiteY4903" fmla="*/ 1527813 h 8402012"/>
              <a:gd name="connsiteX4904" fmla="*/ 9435785 w 21052572"/>
              <a:gd name="connsiteY4904" fmla="*/ 1579396 h 8402012"/>
              <a:gd name="connsiteX4905" fmla="*/ 9371302 w 21052572"/>
              <a:gd name="connsiteY4905" fmla="*/ 1598740 h 8402012"/>
              <a:gd name="connsiteX4906" fmla="*/ 9282099 w 21052572"/>
              <a:gd name="connsiteY4906" fmla="*/ 1643876 h 8402012"/>
              <a:gd name="connsiteX4907" fmla="*/ 9333686 w 21052572"/>
              <a:gd name="connsiteY4907" fmla="*/ 1669667 h 8402012"/>
              <a:gd name="connsiteX4908" fmla="*/ 9378825 w 21052572"/>
              <a:gd name="connsiteY4908" fmla="*/ 1637427 h 8402012"/>
              <a:gd name="connsiteX4909" fmla="*/ 9435785 w 21052572"/>
              <a:gd name="connsiteY4909" fmla="*/ 1618084 h 8402012"/>
              <a:gd name="connsiteX4910" fmla="*/ 9737784 w 21052572"/>
              <a:gd name="connsiteY4910" fmla="*/ 1483753 h 8402012"/>
              <a:gd name="connsiteX4911" fmla="*/ 9737784 w 21052572"/>
              <a:gd name="connsiteY4911" fmla="*/ 1406377 h 8402012"/>
              <a:gd name="connsiteX4912" fmla="*/ 16351776 w 21052572"/>
              <a:gd name="connsiteY4912" fmla="*/ 1388716 h 8402012"/>
              <a:gd name="connsiteX4913" fmla="*/ 16374484 w 21052572"/>
              <a:gd name="connsiteY4913" fmla="*/ 1416016 h 8402012"/>
              <a:gd name="connsiteX4914" fmla="*/ 16351776 w 21052572"/>
              <a:gd name="connsiteY4914" fmla="*/ 1388716 h 8402012"/>
              <a:gd name="connsiteX4915" fmla="*/ 9904367 w 21052572"/>
              <a:gd name="connsiteY4915" fmla="*/ 1387034 h 8402012"/>
              <a:gd name="connsiteX4916" fmla="*/ 9807641 w 21052572"/>
              <a:gd name="connsiteY4916" fmla="*/ 1406377 h 8402012"/>
              <a:gd name="connsiteX4917" fmla="*/ 9878573 w 21052572"/>
              <a:gd name="connsiteY4917" fmla="*/ 1445064 h 8402012"/>
              <a:gd name="connsiteX4918" fmla="*/ 9904367 w 21052572"/>
              <a:gd name="connsiteY4918" fmla="*/ 1387034 h 8402012"/>
              <a:gd name="connsiteX4919" fmla="*/ 16242756 w 21052572"/>
              <a:gd name="connsiteY4919" fmla="*/ 1355540 h 8402012"/>
              <a:gd name="connsiteX4920" fmla="*/ 16260718 w 21052572"/>
              <a:gd name="connsiteY4920" fmla="*/ 1387645 h 8402012"/>
              <a:gd name="connsiteX4921" fmla="*/ 16242756 w 21052572"/>
              <a:gd name="connsiteY4921" fmla="*/ 1355540 h 8402012"/>
              <a:gd name="connsiteX4922" fmla="*/ 16000036 w 21052572"/>
              <a:gd name="connsiteY4922" fmla="*/ 1355540 h 8402012"/>
              <a:gd name="connsiteX4923" fmla="*/ 15982074 w 21052572"/>
              <a:gd name="connsiteY4923" fmla="*/ 1387646 h 8402012"/>
              <a:gd name="connsiteX4924" fmla="*/ 16000036 w 21052572"/>
              <a:gd name="connsiteY4924" fmla="*/ 1355540 h 8402012"/>
              <a:gd name="connsiteX4925" fmla="*/ 17261808 w 21052572"/>
              <a:gd name="connsiteY4925" fmla="*/ 1355537 h 8402012"/>
              <a:gd name="connsiteX4926" fmla="*/ 17341276 w 21052572"/>
              <a:gd name="connsiteY4926" fmla="*/ 1398971 h 8402012"/>
              <a:gd name="connsiteX4927" fmla="*/ 17261808 w 21052572"/>
              <a:gd name="connsiteY4927" fmla="*/ 1355537 h 8402012"/>
              <a:gd name="connsiteX4928" fmla="*/ 18042940 w 21052572"/>
              <a:gd name="connsiteY4928" fmla="*/ 1347424 h 8402012"/>
              <a:gd name="connsiteX4929" fmla="*/ 18132828 w 21052572"/>
              <a:gd name="connsiteY4929" fmla="*/ 1386083 h 8402012"/>
              <a:gd name="connsiteX4930" fmla="*/ 18132828 w 21052572"/>
              <a:gd name="connsiteY4930" fmla="*/ 1411362 h 8402012"/>
              <a:gd name="connsiteX4931" fmla="*/ 18015420 w 21052572"/>
              <a:gd name="connsiteY4931" fmla="*/ 1367124 h 8402012"/>
              <a:gd name="connsiteX4932" fmla="*/ 18042940 w 21052572"/>
              <a:gd name="connsiteY4932" fmla="*/ 1347424 h 8402012"/>
              <a:gd name="connsiteX4933" fmla="*/ 17167012 w 21052572"/>
              <a:gd name="connsiteY4933" fmla="*/ 1332460 h 8402012"/>
              <a:gd name="connsiteX4934" fmla="*/ 17241792 w 21052572"/>
              <a:gd name="connsiteY4934" fmla="*/ 1383919 h 8402012"/>
              <a:gd name="connsiteX4935" fmla="*/ 17167012 w 21052572"/>
              <a:gd name="connsiteY4935" fmla="*/ 1332460 h 8402012"/>
              <a:gd name="connsiteX4936" fmla="*/ 17076956 w 21052572"/>
              <a:gd name="connsiteY4936" fmla="*/ 1322361 h 8402012"/>
              <a:gd name="connsiteX4937" fmla="*/ 17090084 w 21052572"/>
              <a:gd name="connsiteY4937" fmla="*/ 1354469 h 8402012"/>
              <a:gd name="connsiteX4938" fmla="*/ 17076956 w 21052572"/>
              <a:gd name="connsiteY4938" fmla="*/ 1322361 h 8402012"/>
              <a:gd name="connsiteX4939" fmla="*/ 17508272 w 21052572"/>
              <a:gd name="connsiteY4939" fmla="*/ 1322360 h 8402012"/>
              <a:gd name="connsiteX4940" fmla="*/ 17526232 w 21052572"/>
              <a:gd name="connsiteY4940" fmla="*/ 1354469 h 8402012"/>
              <a:gd name="connsiteX4941" fmla="*/ 17508272 w 21052572"/>
              <a:gd name="connsiteY4941" fmla="*/ 1322360 h 8402012"/>
              <a:gd name="connsiteX4942" fmla="*/ 17982244 w 21052572"/>
              <a:gd name="connsiteY4942" fmla="*/ 1322357 h 8402012"/>
              <a:gd name="connsiteX4943" fmla="*/ 18014316 w 21052572"/>
              <a:gd name="connsiteY4943" fmla="*/ 1340803 h 8402012"/>
              <a:gd name="connsiteX4944" fmla="*/ 17982244 w 21052572"/>
              <a:gd name="connsiteY4944" fmla="*/ 1322357 h 8402012"/>
              <a:gd name="connsiteX4945" fmla="*/ 14316122 w 21052572"/>
              <a:gd name="connsiteY4945" fmla="*/ 1297837 h 8402012"/>
              <a:gd name="connsiteX4946" fmla="*/ 14354813 w 21052572"/>
              <a:gd name="connsiteY4946" fmla="*/ 1322555 h 8402012"/>
              <a:gd name="connsiteX4947" fmla="*/ 14316122 w 21052572"/>
              <a:gd name="connsiteY4947" fmla="*/ 1297837 h 8402012"/>
              <a:gd name="connsiteX4948" fmla="*/ 17148052 w 21052572"/>
              <a:gd name="connsiteY4948" fmla="*/ 1265483 h 8402012"/>
              <a:gd name="connsiteX4949" fmla="*/ 17184944 w 21052572"/>
              <a:gd name="connsiteY4949" fmla="*/ 1265483 h 8402012"/>
              <a:gd name="connsiteX4950" fmla="*/ 17184944 w 21052572"/>
              <a:gd name="connsiteY4950" fmla="*/ 1297591 h 8402012"/>
              <a:gd name="connsiteX4951" fmla="*/ 17148052 w 21052572"/>
              <a:gd name="connsiteY4951" fmla="*/ 1297591 h 8402012"/>
              <a:gd name="connsiteX4952" fmla="*/ 17148052 w 21052572"/>
              <a:gd name="connsiteY4952" fmla="*/ 1265483 h 8402012"/>
              <a:gd name="connsiteX4953" fmla="*/ 16166922 w 21052572"/>
              <a:gd name="connsiteY4953" fmla="*/ 1265483 h 8402012"/>
              <a:gd name="connsiteX4954" fmla="*/ 16184884 w 21052572"/>
              <a:gd name="connsiteY4954" fmla="*/ 1297591 h 8402012"/>
              <a:gd name="connsiteX4955" fmla="*/ 16166922 w 21052572"/>
              <a:gd name="connsiteY4955" fmla="*/ 1265483 h 8402012"/>
              <a:gd name="connsiteX4956" fmla="*/ 16000036 w 21052572"/>
              <a:gd name="connsiteY4956" fmla="*/ 1265483 h 8402012"/>
              <a:gd name="connsiteX4957" fmla="*/ 15982074 w 21052572"/>
              <a:gd name="connsiteY4957" fmla="*/ 1297592 h 8402012"/>
              <a:gd name="connsiteX4958" fmla="*/ 16000036 w 21052572"/>
              <a:gd name="connsiteY4958" fmla="*/ 1265483 h 8402012"/>
              <a:gd name="connsiteX4959" fmla="*/ 15944156 w 21052572"/>
              <a:gd name="connsiteY4959" fmla="*/ 1265483 h 8402012"/>
              <a:gd name="connsiteX4960" fmla="*/ 15962062 w 21052572"/>
              <a:gd name="connsiteY4960" fmla="*/ 1297592 h 8402012"/>
              <a:gd name="connsiteX4961" fmla="*/ 15944156 w 21052572"/>
              <a:gd name="connsiteY4961" fmla="*/ 1265483 h 8402012"/>
              <a:gd name="connsiteX4962" fmla="*/ 15773526 w 21052572"/>
              <a:gd name="connsiteY4962" fmla="*/ 1246523 h 8402012"/>
              <a:gd name="connsiteX4963" fmla="*/ 15924108 w 21052572"/>
              <a:gd name="connsiteY4963" fmla="*/ 1278921 h 8402012"/>
              <a:gd name="connsiteX4964" fmla="*/ 15858638 w 21052572"/>
              <a:gd name="connsiteY4964" fmla="*/ 1317799 h 8402012"/>
              <a:gd name="connsiteX4965" fmla="*/ 15806262 w 21052572"/>
              <a:gd name="connsiteY4965" fmla="*/ 1311320 h 8402012"/>
              <a:gd name="connsiteX4966" fmla="*/ 15825902 w 21052572"/>
              <a:gd name="connsiteY4966" fmla="*/ 1278921 h 8402012"/>
              <a:gd name="connsiteX4967" fmla="*/ 15773526 w 21052572"/>
              <a:gd name="connsiteY4967" fmla="*/ 1246523 h 8402012"/>
              <a:gd name="connsiteX4968" fmla="*/ 17810560 w 21052572"/>
              <a:gd name="connsiteY4968" fmla="*/ 1200999 h 8402012"/>
              <a:gd name="connsiteX4969" fmla="*/ 17773696 w 21052572"/>
              <a:gd name="connsiteY4969" fmla="*/ 1234067 h 8402012"/>
              <a:gd name="connsiteX4970" fmla="*/ 17810560 w 21052572"/>
              <a:gd name="connsiteY4970" fmla="*/ 1200999 h 8402012"/>
              <a:gd name="connsiteX4971" fmla="*/ 16824752 w 21052572"/>
              <a:gd name="connsiteY4971" fmla="*/ 1199127 h 8402012"/>
              <a:gd name="connsiteX4972" fmla="*/ 16806788 w 21052572"/>
              <a:gd name="connsiteY4972" fmla="*/ 1231236 h 8402012"/>
              <a:gd name="connsiteX4973" fmla="*/ 16824752 w 21052572"/>
              <a:gd name="connsiteY4973" fmla="*/ 1199127 h 8402012"/>
              <a:gd name="connsiteX4974" fmla="*/ 15678730 w 21052572"/>
              <a:gd name="connsiteY4974" fmla="*/ 1199127 h 8402012"/>
              <a:gd name="connsiteX4975" fmla="*/ 15696694 w 21052572"/>
              <a:gd name="connsiteY4975" fmla="*/ 1231236 h 8402012"/>
              <a:gd name="connsiteX4976" fmla="*/ 15678730 w 21052572"/>
              <a:gd name="connsiteY4976" fmla="*/ 1199127 h 8402012"/>
              <a:gd name="connsiteX4977" fmla="*/ 15526532 w 21052572"/>
              <a:gd name="connsiteY4977" fmla="*/ 1161698 h 8402012"/>
              <a:gd name="connsiteX4978" fmla="*/ 15582882 w 21052572"/>
              <a:gd name="connsiteY4978" fmla="*/ 1169761 h 8402012"/>
              <a:gd name="connsiteX4979" fmla="*/ 15489142 w 21052572"/>
              <a:gd name="connsiteY4979" fmla="*/ 1202011 h 8402012"/>
              <a:gd name="connsiteX4980" fmla="*/ 15526532 w 21052572"/>
              <a:gd name="connsiteY4980" fmla="*/ 1161698 h 8402012"/>
              <a:gd name="connsiteX4981" fmla="*/ 16824752 w 21052572"/>
              <a:gd name="connsiteY4981" fmla="*/ 1137507 h 8402012"/>
              <a:gd name="connsiteX4982" fmla="*/ 16806788 w 21052572"/>
              <a:gd name="connsiteY4982" fmla="*/ 1169613 h 8402012"/>
              <a:gd name="connsiteX4983" fmla="*/ 16824752 w 21052572"/>
              <a:gd name="connsiteY4983" fmla="*/ 1137507 h 8402012"/>
              <a:gd name="connsiteX4984" fmla="*/ 15342210 w 21052572"/>
              <a:gd name="connsiteY4984" fmla="*/ 1137507 h 8402012"/>
              <a:gd name="connsiteX4985" fmla="*/ 15405268 w 21052572"/>
              <a:gd name="connsiteY4985" fmla="*/ 1137507 h 8402012"/>
              <a:gd name="connsiteX4986" fmla="*/ 15450158 w 21052572"/>
              <a:gd name="connsiteY4986" fmla="*/ 1137507 h 8402012"/>
              <a:gd name="connsiteX4987" fmla="*/ 15450158 w 21052572"/>
              <a:gd name="connsiteY4987" fmla="*/ 1169613 h 8402012"/>
              <a:gd name="connsiteX4988" fmla="*/ 15379618 w 21052572"/>
              <a:gd name="connsiteY4988" fmla="*/ 1169613 h 8402012"/>
              <a:gd name="connsiteX4989" fmla="*/ 15342210 w 21052572"/>
              <a:gd name="connsiteY4989" fmla="*/ 1169613 h 8402012"/>
              <a:gd name="connsiteX4990" fmla="*/ 15342210 w 21052572"/>
              <a:gd name="connsiteY4990" fmla="*/ 1137507 h 8402012"/>
              <a:gd name="connsiteX4991" fmla="*/ 10314912 w 21052572"/>
              <a:gd name="connsiteY4991" fmla="*/ 1136639 h 8402012"/>
              <a:gd name="connsiteX4992" fmla="*/ 10334257 w 21052572"/>
              <a:gd name="connsiteY4992" fmla="*/ 1168880 h 8402012"/>
              <a:gd name="connsiteX4993" fmla="*/ 10314912 w 21052572"/>
              <a:gd name="connsiteY4993" fmla="*/ 1136639 h 8402012"/>
              <a:gd name="connsiteX4994" fmla="*/ 10372948 w 21052572"/>
              <a:gd name="connsiteY4994" fmla="*/ 1111922 h 8402012"/>
              <a:gd name="connsiteX4995" fmla="*/ 10392293 w 21052572"/>
              <a:gd name="connsiteY4995" fmla="*/ 1136639 h 8402012"/>
              <a:gd name="connsiteX4996" fmla="*/ 10372948 w 21052572"/>
              <a:gd name="connsiteY4996" fmla="*/ 1111922 h 8402012"/>
              <a:gd name="connsiteX4997" fmla="*/ 15848742 w 21052572"/>
              <a:gd name="connsiteY4997" fmla="*/ 1111643 h 8402012"/>
              <a:gd name="connsiteX4998" fmla="*/ 15868094 w 21052572"/>
              <a:gd name="connsiteY4998" fmla="*/ 1136372 h 8402012"/>
              <a:gd name="connsiteX4999" fmla="*/ 15848742 w 21052572"/>
              <a:gd name="connsiteY4999" fmla="*/ 1111643 h 8402012"/>
              <a:gd name="connsiteX5000" fmla="*/ 17584748 w 21052572"/>
              <a:gd name="connsiteY5000" fmla="*/ 1108531 h 8402012"/>
              <a:gd name="connsiteX5001" fmla="*/ 17606196 w 21052572"/>
              <a:gd name="connsiteY5001" fmla="*/ 1137320 h 8402012"/>
              <a:gd name="connsiteX5002" fmla="*/ 17568308 w 21052572"/>
              <a:gd name="connsiteY5002" fmla="*/ 1170048 h 8402012"/>
              <a:gd name="connsiteX5003" fmla="*/ 17619456 w 21052572"/>
              <a:gd name="connsiteY5003" fmla="*/ 1178332 h 8402012"/>
              <a:gd name="connsiteX5004" fmla="*/ 17624884 w 21052572"/>
              <a:gd name="connsiteY5004" fmla="*/ 1199651 h 8402012"/>
              <a:gd name="connsiteX5005" fmla="*/ 17642892 w 21052572"/>
              <a:gd name="connsiteY5005" fmla="*/ 1202967 h 8402012"/>
              <a:gd name="connsiteX5006" fmla="*/ 17654132 w 21052572"/>
              <a:gd name="connsiteY5006" fmla="*/ 1229868 h 8402012"/>
              <a:gd name="connsiteX5007" fmla="*/ 17625236 w 21052572"/>
              <a:gd name="connsiteY5007" fmla="*/ 1219492 h 8402012"/>
              <a:gd name="connsiteX5008" fmla="*/ 17622540 w 21052572"/>
              <a:gd name="connsiteY5008" fmla="*/ 1202380 h 8402012"/>
              <a:gd name="connsiteX5009" fmla="*/ 17582464 w 21052572"/>
              <a:gd name="connsiteY5009" fmla="*/ 1197354 h 8402012"/>
              <a:gd name="connsiteX5010" fmla="*/ 17451396 w 21052572"/>
              <a:gd name="connsiteY5010" fmla="*/ 1150411 h 8402012"/>
              <a:gd name="connsiteX5011" fmla="*/ 17584748 w 21052572"/>
              <a:gd name="connsiteY5011" fmla="*/ 1108531 h 8402012"/>
              <a:gd name="connsiteX5012" fmla="*/ 15265552 w 21052572"/>
              <a:gd name="connsiteY5012" fmla="*/ 1103815 h 8402012"/>
              <a:gd name="connsiteX5013" fmla="*/ 15322156 w 21052572"/>
              <a:gd name="connsiteY5013" fmla="*/ 1112794 h 8402012"/>
              <a:gd name="connsiteX5014" fmla="*/ 15223716 w 21052572"/>
              <a:gd name="connsiteY5014" fmla="*/ 1137451 h 8402012"/>
              <a:gd name="connsiteX5015" fmla="*/ 15265552 w 21052572"/>
              <a:gd name="connsiteY5015" fmla="*/ 1103815 h 8402012"/>
              <a:gd name="connsiteX5016" fmla="*/ 17304464 w 21052572"/>
              <a:gd name="connsiteY5016" fmla="*/ 1080632 h 8402012"/>
              <a:gd name="connsiteX5017" fmla="*/ 17317592 w 21052572"/>
              <a:gd name="connsiteY5017" fmla="*/ 1112737 h 8402012"/>
              <a:gd name="connsiteX5018" fmla="*/ 17304464 w 21052572"/>
              <a:gd name="connsiteY5018" fmla="*/ 1080632 h 8402012"/>
              <a:gd name="connsiteX5019" fmla="*/ 16408650 w 21052572"/>
              <a:gd name="connsiteY5019" fmla="*/ 1080632 h 8402012"/>
              <a:gd name="connsiteX5020" fmla="*/ 16426612 w 21052572"/>
              <a:gd name="connsiteY5020" fmla="*/ 1112737 h 8402012"/>
              <a:gd name="connsiteX5021" fmla="*/ 16408650 w 21052572"/>
              <a:gd name="connsiteY5021" fmla="*/ 1080632 h 8402012"/>
              <a:gd name="connsiteX5022" fmla="*/ 15073768 w 21052572"/>
              <a:gd name="connsiteY5022" fmla="*/ 1077829 h 8402012"/>
              <a:gd name="connsiteX5023" fmla="*/ 15094708 w 21052572"/>
              <a:gd name="connsiteY5023" fmla="*/ 1113376 h 8402012"/>
              <a:gd name="connsiteX5024" fmla="*/ 15038866 w 21052572"/>
              <a:gd name="connsiteY5024" fmla="*/ 1081061 h 8402012"/>
              <a:gd name="connsiteX5025" fmla="*/ 15073768 w 21052572"/>
              <a:gd name="connsiteY5025" fmla="*/ 1077829 h 8402012"/>
              <a:gd name="connsiteX5026" fmla="*/ 15472422 w 21052572"/>
              <a:gd name="connsiteY5026" fmla="*/ 1077500 h 8402012"/>
              <a:gd name="connsiteX5027" fmla="*/ 15483374 w 21052572"/>
              <a:gd name="connsiteY5027" fmla="*/ 1077923 h 8402012"/>
              <a:gd name="connsiteX5028" fmla="*/ 15446482 w 21052572"/>
              <a:gd name="connsiteY5028" fmla="*/ 1111778 h 8402012"/>
              <a:gd name="connsiteX5029" fmla="*/ 15472422 w 21052572"/>
              <a:gd name="connsiteY5029" fmla="*/ 1077500 h 8402012"/>
              <a:gd name="connsiteX5030" fmla="*/ 17496292 w 21052572"/>
              <a:gd name="connsiteY5030" fmla="*/ 1077499 h 8402012"/>
              <a:gd name="connsiteX5031" fmla="*/ 17507244 w 21052572"/>
              <a:gd name="connsiteY5031" fmla="*/ 1077922 h 8402012"/>
              <a:gd name="connsiteX5032" fmla="*/ 17470352 w 21052572"/>
              <a:gd name="connsiteY5032" fmla="*/ 1111778 h 8402012"/>
              <a:gd name="connsiteX5033" fmla="*/ 17496292 w 21052572"/>
              <a:gd name="connsiteY5033" fmla="*/ 1077499 h 8402012"/>
              <a:gd name="connsiteX5034" fmla="*/ 17033204 w 21052572"/>
              <a:gd name="connsiteY5034" fmla="*/ 1047453 h 8402012"/>
              <a:gd name="connsiteX5035" fmla="*/ 17020076 w 21052572"/>
              <a:gd name="connsiteY5035" fmla="*/ 1079562 h 8402012"/>
              <a:gd name="connsiteX5036" fmla="*/ 17033204 w 21052572"/>
              <a:gd name="connsiteY5036" fmla="*/ 1047453 h 8402012"/>
              <a:gd name="connsiteX5037" fmla="*/ 16280676 w 21052572"/>
              <a:gd name="connsiteY5037" fmla="*/ 1047453 h 8402012"/>
              <a:gd name="connsiteX5038" fmla="*/ 16298638 w 21052572"/>
              <a:gd name="connsiteY5038" fmla="*/ 1079562 h 8402012"/>
              <a:gd name="connsiteX5039" fmla="*/ 16280676 w 21052572"/>
              <a:gd name="connsiteY5039" fmla="*/ 1047453 h 8402012"/>
              <a:gd name="connsiteX5040" fmla="*/ 16223798 w 21052572"/>
              <a:gd name="connsiteY5040" fmla="*/ 1044121 h 8402012"/>
              <a:gd name="connsiteX5041" fmla="*/ 16260692 w 21052572"/>
              <a:gd name="connsiteY5041" fmla="*/ 1074864 h 8402012"/>
              <a:gd name="connsiteX5042" fmla="*/ 16223798 w 21052572"/>
              <a:gd name="connsiteY5042" fmla="*/ 1044121 h 8402012"/>
              <a:gd name="connsiteX5043" fmla="*/ 17431380 w 21052572"/>
              <a:gd name="connsiteY5043" fmla="*/ 1044120 h 8402012"/>
              <a:gd name="connsiteX5044" fmla="*/ 17394520 w 21052572"/>
              <a:gd name="connsiteY5044" fmla="*/ 1074864 h 8402012"/>
              <a:gd name="connsiteX5045" fmla="*/ 17431380 w 21052572"/>
              <a:gd name="connsiteY5045" fmla="*/ 1044120 h 8402012"/>
              <a:gd name="connsiteX5046" fmla="*/ 11093277 w 21052572"/>
              <a:gd name="connsiteY5046" fmla="*/ 1043667 h 8402012"/>
              <a:gd name="connsiteX5047" fmla="*/ 11109384 w 21052572"/>
              <a:gd name="connsiteY5047" fmla="*/ 1046077 h 8402012"/>
              <a:gd name="connsiteX5048" fmla="*/ 11090615 w 21052572"/>
              <a:gd name="connsiteY5048" fmla="*/ 1044067 h 8402012"/>
              <a:gd name="connsiteX5049" fmla="*/ 16165868 w 21052572"/>
              <a:gd name="connsiteY5049" fmla="*/ 1022268 h 8402012"/>
              <a:gd name="connsiteX5050" fmla="*/ 16165868 w 21052572"/>
              <a:gd name="connsiteY5050" fmla="*/ 1079570 h 8402012"/>
              <a:gd name="connsiteX5051" fmla="*/ 16072126 w 21052572"/>
              <a:gd name="connsiteY5051" fmla="*/ 1066836 h 8402012"/>
              <a:gd name="connsiteX5052" fmla="*/ 16165868 w 21052572"/>
              <a:gd name="connsiteY5052" fmla="*/ 1022268 h 8402012"/>
              <a:gd name="connsiteX5053" fmla="*/ 15263666 w 21052572"/>
              <a:gd name="connsiteY5053" fmla="*/ 1016154 h 8402012"/>
              <a:gd name="connsiteX5054" fmla="*/ 15321558 w 21052572"/>
              <a:gd name="connsiteY5054" fmla="*/ 1022776 h 8402012"/>
              <a:gd name="connsiteX5055" fmla="*/ 15302260 w 21052572"/>
              <a:gd name="connsiteY5055" fmla="*/ 1082382 h 8402012"/>
              <a:gd name="connsiteX5056" fmla="*/ 15244368 w 21052572"/>
              <a:gd name="connsiteY5056" fmla="*/ 1082382 h 8402012"/>
              <a:gd name="connsiteX5057" fmla="*/ 15263666 w 21052572"/>
              <a:gd name="connsiteY5057" fmla="*/ 1016154 h 8402012"/>
              <a:gd name="connsiteX5058" fmla="*/ 10865077 w 21052572"/>
              <a:gd name="connsiteY5058" fmla="*/ 986522 h 8402012"/>
              <a:gd name="connsiteX5059" fmla="*/ 10885828 w 21052572"/>
              <a:gd name="connsiteY5059" fmla="*/ 987298 h 8402012"/>
              <a:gd name="connsiteX5060" fmla="*/ 10848936 w 21052572"/>
              <a:gd name="connsiteY5060" fmla="*/ 999708 h 8402012"/>
              <a:gd name="connsiteX5061" fmla="*/ 10865077 w 21052572"/>
              <a:gd name="connsiteY5061" fmla="*/ 986522 h 8402012"/>
              <a:gd name="connsiteX5062" fmla="*/ 17138572 w 21052572"/>
              <a:gd name="connsiteY5062" fmla="*/ 977964 h 8402012"/>
              <a:gd name="connsiteX5063" fmla="*/ 17346032 w 21052572"/>
              <a:gd name="connsiteY5063" fmla="*/ 1035119 h 8402012"/>
              <a:gd name="connsiteX5064" fmla="*/ 17267828 w 21052572"/>
              <a:gd name="connsiteY5064" fmla="*/ 1079573 h 8402012"/>
              <a:gd name="connsiteX5065" fmla="*/ 17267828 w 21052572"/>
              <a:gd name="connsiteY5065" fmla="*/ 1022418 h 8402012"/>
              <a:gd name="connsiteX5066" fmla="*/ 17184192 w 21052572"/>
              <a:gd name="connsiteY5066" fmla="*/ 1035119 h 8402012"/>
              <a:gd name="connsiteX5067" fmla="*/ 17138572 w 21052572"/>
              <a:gd name="connsiteY5067" fmla="*/ 977964 h 8402012"/>
              <a:gd name="connsiteX5068" fmla="*/ 16740434 w 21052572"/>
              <a:gd name="connsiteY5068" fmla="*/ 957394 h 8402012"/>
              <a:gd name="connsiteX5069" fmla="*/ 16753558 w 21052572"/>
              <a:gd name="connsiteY5069" fmla="*/ 989500 h 8402012"/>
              <a:gd name="connsiteX5070" fmla="*/ 16740434 w 21052572"/>
              <a:gd name="connsiteY5070" fmla="*/ 957394 h 8402012"/>
              <a:gd name="connsiteX5071" fmla="*/ 16129004 w 21052572"/>
              <a:gd name="connsiteY5071" fmla="*/ 957394 h 8402012"/>
              <a:gd name="connsiteX5072" fmla="*/ 16146966 w 21052572"/>
              <a:gd name="connsiteY5072" fmla="*/ 989500 h 8402012"/>
              <a:gd name="connsiteX5073" fmla="*/ 16129004 w 21052572"/>
              <a:gd name="connsiteY5073" fmla="*/ 957394 h 8402012"/>
              <a:gd name="connsiteX5074" fmla="*/ 15863578 w 21052572"/>
              <a:gd name="connsiteY5074" fmla="*/ 957394 h 8402012"/>
              <a:gd name="connsiteX5075" fmla="*/ 15881542 w 21052572"/>
              <a:gd name="connsiteY5075" fmla="*/ 989500 h 8402012"/>
              <a:gd name="connsiteX5076" fmla="*/ 15863578 w 21052572"/>
              <a:gd name="connsiteY5076" fmla="*/ 957394 h 8402012"/>
              <a:gd name="connsiteX5077" fmla="*/ 17033192 w 21052572"/>
              <a:gd name="connsiteY5077" fmla="*/ 925119 h 8402012"/>
              <a:gd name="connsiteX5078" fmla="*/ 17001120 w 21052572"/>
              <a:gd name="connsiteY5078" fmla="*/ 958974 h 8402012"/>
              <a:gd name="connsiteX5079" fmla="*/ 17033192 w 21052572"/>
              <a:gd name="connsiteY5079" fmla="*/ 925119 h 8402012"/>
              <a:gd name="connsiteX5080" fmla="*/ 11341645 w 21052572"/>
              <a:gd name="connsiteY5080" fmla="*/ 915543 h 8402012"/>
              <a:gd name="connsiteX5081" fmla="*/ 11506688 w 21052572"/>
              <a:gd name="connsiteY5081" fmla="*/ 1046077 h 8402012"/>
              <a:gd name="connsiteX5082" fmla="*/ 11398235 w 21052572"/>
              <a:gd name="connsiteY5082" fmla="*/ 1046077 h 8402012"/>
              <a:gd name="connsiteX5083" fmla="*/ 11391792 w 21052572"/>
              <a:gd name="connsiteY5083" fmla="*/ 969016 h 8402012"/>
              <a:gd name="connsiteX5084" fmla="*/ 11333807 w 21052572"/>
              <a:gd name="connsiteY5084" fmla="*/ 956173 h 8402012"/>
              <a:gd name="connsiteX5085" fmla="*/ 11346692 w 21052572"/>
              <a:gd name="connsiteY5085" fmla="*/ 1052499 h 8402012"/>
              <a:gd name="connsiteX5086" fmla="*/ 10770064 w 21052572"/>
              <a:gd name="connsiteY5086" fmla="*/ 1231233 h 8402012"/>
              <a:gd name="connsiteX5087" fmla="*/ 10795835 w 21052572"/>
              <a:gd name="connsiteY5087" fmla="*/ 1115644 h 8402012"/>
              <a:gd name="connsiteX5088" fmla="*/ 10897846 w 21052572"/>
              <a:gd name="connsiteY5088" fmla="*/ 1078185 h 8402012"/>
              <a:gd name="connsiteX5089" fmla="*/ 11000930 w 21052572"/>
              <a:gd name="connsiteY5089" fmla="*/ 1046077 h 8402012"/>
              <a:gd name="connsiteX5090" fmla="*/ 11020258 w 21052572"/>
              <a:gd name="connsiteY5090" fmla="*/ 1071764 h 8402012"/>
              <a:gd name="connsiteX5091" fmla="*/ 11051398 w 21052572"/>
              <a:gd name="connsiteY5091" fmla="*/ 1078185 h 8402012"/>
              <a:gd name="connsiteX5092" fmla="*/ 11020258 w 21052572"/>
              <a:gd name="connsiteY5092" fmla="*/ 1046077 h 8402012"/>
              <a:gd name="connsiteX5093" fmla="*/ 11064418 w 21052572"/>
              <a:gd name="connsiteY5093" fmla="*/ 1041259 h 8402012"/>
              <a:gd name="connsiteX5094" fmla="*/ 11090615 w 21052572"/>
              <a:gd name="connsiteY5094" fmla="*/ 1044067 h 8402012"/>
              <a:gd name="connsiteX5095" fmla="*/ 11077170 w 21052572"/>
              <a:gd name="connsiteY5095" fmla="*/ 1046077 h 8402012"/>
              <a:gd name="connsiteX5096" fmla="*/ 11077170 w 21052572"/>
              <a:gd name="connsiteY5096" fmla="*/ 1078185 h 8402012"/>
              <a:gd name="connsiteX5097" fmla="*/ 11122269 w 21052572"/>
              <a:gd name="connsiteY5097" fmla="*/ 1046077 h 8402012"/>
              <a:gd name="connsiteX5098" fmla="*/ 11206025 w 21052572"/>
              <a:gd name="connsiteY5098" fmla="*/ 1039654 h 8402012"/>
              <a:gd name="connsiteX5099" fmla="*/ 11225354 w 21052572"/>
              <a:gd name="connsiteY5099" fmla="*/ 924065 h 8402012"/>
              <a:gd name="connsiteX5100" fmla="*/ 11341645 w 21052572"/>
              <a:gd name="connsiteY5100" fmla="*/ 915543 h 8402012"/>
              <a:gd name="connsiteX5101" fmla="*/ 11568284 w 21052572"/>
              <a:gd name="connsiteY5101" fmla="*/ 905254 h 8402012"/>
              <a:gd name="connsiteX5102" fmla="*/ 11555159 w 21052572"/>
              <a:gd name="connsiteY5102" fmla="*/ 923161 h 8402012"/>
              <a:gd name="connsiteX5103" fmla="*/ 11568284 w 21052572"/>
              <a:gd name="connsiteY5103" fmla="*/ 905254 h 8402012"/>
              <a:gd name="connsiteX5104" fmla="*/ 15678730 w 21052572"/>
              <a:gd name="connsiteY5104" fmla="*/ 891038 h 8402012"/>
              <a:gd name="connsiteX5105" fmla="*/ 15696694 w 21052572"/>
              <a:gd name="connsiteY5105" fmla="*/ 923108 h 8402012"/>
              <a:gd name="connsiteX5106" fmla="*/ 15678730 w 21052572"/>
              <a:gd name="connsiteY5106" fmla="*/ 891038 h 8402012"/>
              <a:gd name="connsiteX5107" fmla="*/ 11506728 w 21052572"/>
              <a:gd name="connsiteY5107" fmla="*/ 891038 h 8402012"/>
              <a:gd name="connsiteX5108" fmla="*/ 11506728 w 21052572"/>
              <a:gd name="connsiteY5108" fmla="*/ 921583 h 8402012"/>
              <a:gd name="connsiteX5109" fmla="*/ 11462227 w 21052572"/>
              <a:gd name="connsiteY5109" fmla="*/ 916695 h 8402012"/>
              <a:gd name="connsiteX5110" fmla="*/ 11452907 w 21052572"/>
              <a:gd name="connsiteY5110" fmla="*/ 905999 h 8402012"/>
              <a:gd name="connsiteX5111" fmla="*/ 11457633 w 21052572"/>
              <a:gd name="connsiteY5111" fmla="*/ 923783 h 8402012"/>
              <a:gd name="connsiteX5112" fmla="*/ 11452710 w 21052572"/>
              <a:gd name="connsiteY5112" fmla="*/ 937331 h 8402012"/>
              <a:gd name="connsiteX5113" fmla="*/ 11447787 w 21052572"/>
              <a:gd name="connsiteY5113" fmla="*/ 923783 h 8402012"/>
              <a:gd name="connsiteX5114" fmla="*/ 11452605 w 21052572"/>
              <a:gd name="connsiteY5114" fmla="*/ 905652 h 8402012"/>
              <a:gd name="connsiteX5115" fmla="*/ 11450884 w 21052572"/>
              <a:gd name="connsiteY5115" fmla="*/ 903677 h 8402012"/>
              <a:gd name="connsiteX5116" fmla="*/ 11506728 w 21052572"/>
              <a:gd name="connsiteY5116" fmla="*/ 891038 h 8402012"/>
              <a:gd name="connsiteX5117" fmla="*/ 15469696 w 21052572"/>
              <a:gd name="connsiteY5117" fmla="*/ 886905 h 8402012"/>
              <a:gd name="connsiteX5118" fmla="*/ 15507042 w 21052572"/>
              <a:gd name="connsiteY5118" fmla="*/ 926687 h 8402012"/>
              <a:gd name="connsiteX5119" fmla="*/ 15418046 w 21052572"/>
              <a:gd name="connsiteY5119" fmla="*/ 895187 h 8402012"/>
              <a:gd name="connsiteX5120" fmla="*/ 15469696 w 21052572"/>
              <a:gd name="connsiteY5120" fmla="*/ 886905 h 8402012"/>
              <a:gd name="connsiteX5121" fmla="*/ 16787832 w 21052572"/>
              <a:gd name="connsiteY5121" fmla="*/ 862601 h 8402012"/>
              <a:gd name="connsiteX5122" fmla="*/ 16962124 w 21052572"/>
              <a:gd name="connsiteY5122" fmla="*/ 908896 h 8402012"/>
              <a:gd name="connsiteX5123" fmla="*/ 16787832 w 21052572"/>
              <a:gd name="connsiteY5123" fmla="*/ 862601 h 8402012"/>
              <a:gd name="connsiteX5124" fmla="*/ 11623835 w 21052572"/>
              <a:gd name="connsiteY5124" fmla="*/ 857110 h 8402012"/>
              <a:gd name="connsiteX5125" fmla="*/ 11654776 w 21052572"/>
              <a:gd name="connsiteY5125" fmla="*/ 859503 h 8402012"/>
              <a:gd name="connsiteX5126" fmla="*/ 11617594 w 21052572"/>
              <a:gd name="connsiteY5126" fmla="*/ 922242 h 8402012"/>
              <a:gd name="connsiteX5127" fmla="*/ 11661150 w 21052572"/>
              <a:gd name="connsiteY5127" fmla="*/ 973284 h 8402012"/>
              <a:gd name="connsiteX5128" fmla="*/ 11528355 w 21052572"/>
              <a:gd name="connsiteY5128" fmla="*/ 1017947 h 8402012"/>
              <a:gd name="connsiteX5129" fmla="*/ 11534729 w 21052572"/>
              <a:gd name="connsiteY5129" fmla="*/ 947763 h 8402012"/>
              <a:gd name="connsiteX5130" fmla="*/ 11572974 w 21052572"/>
              <a:gd name="connsiteY5130" fmla="*/ 916925 h 8402012"/>
              <a:gd name="connsiteX5131" fmla="*/ 11592097 w 21052572"/>
              <a:gd name="connsiteY5131" fmla="*/ 859503 h 8402012"/>
              <a:gd name="connsiteX5132" fmla="*/ 11623835 w 21052572"/>
              <a:gd name="connsiteY5132" fmla="*/ 857110 h 8402012"/>
              <a:gd name="connsiteX5133" fmla="*/ 11225206 w 21052572"/>
              <a:gd name="connsiteY5133" fmla="*/ 835722 h 8402012"/>
              <a:gd name="connsiteX5134" fmla="*/ 11256374 w 21052572"/>
              <a:gd name="connsiteY5134" fmla="*/ 861514 h 8402012"/>
              <a:gd name="connsiteX5135" fmla="*/ 11225206 w 21052572"/>
              <a:gd name="connsiteY5135" fmla="*/ 835722 h 8402012"/>
              <a:gd name="connsiteX5136" fmla="*/ 16736772 w 21052572"/>
              <a:gd name="connsiteY5136" fmla="*/ 835129 h 8402012"/>
              <a:gd name="connsiteX5137" fmla="*/ 16770790 w 21052572"/>
              <a:gd name="connsiteY5137" fmla="*/ 848999 h 8402012"/>
              <a:gd name="connsiteX5138" fmla="*/ 16693034 w 21052572"/>
              <a:gd name="connsiteY5138" fmla="*/ 835945 h 8402012"/>
              <a:gd name="connsiteX5139" fmla="*/ 16736772 w 21052572"/>
              <a:gd name="connsiteY5139" fmla="*/ 835129 h 8402012"/>
              <a:gd name="connsiteX5140" fmla="*/ 15582938 w 21052572"/>
              <a:gd name="connsiteY5140" fmla="*/ 834163 h 8402012"/>
              <a:gd name="connsiteX5141" fmla="*/ 15564976 w 21052572"/>
              <a:gd name="connsiteY5141" fmla="*/ 861463 h 8402012"/>
              <a:gd name="connsiteX5142" fmla="*/ 15582938 w 21052572"/>
              <a:gd name="connsiteY5142" fmla="*/ 834163 h 8402012"/>
              <a:gd name="connsiteX5143" fmla="*/ 17568160 w 21052572"/>
              <a:gd name="connsiteY5143" fmla="*/ 831207 h 8402012"/>
              <a:gd name="connsiteX5144" fmla="*/ 17641460 w 21052572"/>
              <a:gd name="connsiteY5144" fmla="*/ 852116 h 8402012"/>
              <a:gd name="connsiteX5145" fmla="*/ 17706016 w 21052572"/>
              <a:gd name="connsiteY5145" fmla="*/ 903585 h 8402012"/>
              <a:gd name="connsiteX5146" fmla="*/ 17796400 w 21052572"/>
              <a:gd name="connsiteY5146" fmla="*/ 934681 h 8402012"/>
              <a:gd name="connsiteX5147" fmla="*/ 18136404 w 21052572"/>
              <a:gd name="connsiteY5147" fmla="*/ 1076222 h 8402012"/>
              <a:gd name="connsiteX5148" fmla="*/ 18482864 w 21052572"/>
              <a:gd name="connsiteY5148" fmla="*/ 1235990 h 8402012"/>
              <a:gd name="connsiteX5149" fmla="*/ 18656092 w 21052572"/>
              <a:gd name="connsiteY5149" fmla="*/ 1318555 h 8402012"/>
              <a:gd name="connsiteX5150" fmla="*/ 18746476 w 21052572"/>
              <a:gd name="connsiteY5150" fmla="*/ 1363591 h 8402012"/>
              <a:gd name="connsiteX5151" fmla="*/ 18791664 w 21052572"/>
              <a:gd name="connsiteY5151" fmla="*/ 1382891 h 8402012"/>
              <a:gd name="connsiteX5152" fmla="*/ 18791664 w 21052572"/>
              <a:gd name="connsiteY5152" fmla="*/ 1427927 h 8402012"/>
              <a:gd name="connsiteX5153" fmla="*/ 18681916 w 21052572"/>
              <a:gd name="connsiteY5153" fmla="*/ 1402192 h 8402012"/>
              <a:gd name="connsiteX5154" fmla="*/ 18528052 w 21052572"/>
              <a:gd name="connsiteY5154" fmla="*/ 1326061 h 8402012"/>
              <a:gd name="connsiteX5155" fmla="*/ 18181592 w 21052572"/>
              <a:gd name="connsiteY5155" fmla="*/ 1171654 h 8402012"/>
              <a:gd name="connsiteX5156" fmla="*/ 17494052 w 21052572"/>
              <a:gd name="connsiteY5156" fmla="*/ 858550 h 8402012"/>
              <a:gd name="connsiteX5157" fmla="*/ 17568160 w 21052572"/>
              <a:gd name="connsiteY5157" fmla="*/ 831207 h 8402012"/>
              <a:gd name="connsiteX5158" fmla="*/ 12382469 w 21052572"/>
              <a:gd name="connsiteY5158" fmla="*/ 827846 h 8402012"/>
              <a:gd name="connsiteX5159" fmla="*/ 12416704 w 21052572"/>
              <a:gd name="connsiteY5159" fmla="*/ 863443 h 8402012"/>
              <a:gd name="connsiteX5160" fmla="*/ 12273245 w 21052572"/>
              <a:gd name="connsiteY5160" fmla="*/ 889934 h 8402012"/>
              <a:gd name="connsiteX5161" fmla="*/ 12338453 w 21052572"/>
              <a:gd name="connsiteY5161" fmla="*/ 836953 h 8402012"/>
              <a:gd name="connsiteX5162" fmla="*/ 12382469 w 21052572"/>
              <a:gd name="connsiteY5162" fmla="*/ 827846 h 8402012"/>
              <a:gd name="connsiteX5163" fmla="*/ 12084950 w 21052572"/>
              <a:gd name="connsiteY5163" fmla="*/ 822623 h 8402012"/>
              <a:gd name="connsiteX5164" fmla="*/ 12083793 w 21052572"/>
              <a:gd name="connsiteY5164" fmla="*/ 825913 h 8402012"/>
              <a:gd name="connsiteX5165" fmla="*/ 12081267 w 21052572"/>
              <a:gd name="connsiteY5165" fmla="*/ 833096 h 8402012"/>
              <a:gd name="connsiteX5166" fmla="*/ 17391356 w 21052572"/>
              <a:gd name="connsiteY5166" fmla="*/ 815200 h 8402012"/>
              <a:gd name="connsiteX5167" fmla="*/ 17402940 w 21052572"/>
              <a:gd name="connsiteY5167" fmla="*/ 834463 h 8402012"/>
              <a:gd name="connsiteX5168" fmla="*/ 17391356 w 21052572"/>
              <a:gd name="connsiteY5168" fmla="*/ 847305 h 8402012"/>
              <a:gd name="connsiteX5169" fmla="*/ 17390976 w 21052572"/>
              <a:gd name="connsiteY5169" fmla="*/ 846016 h 8402012"/>
              <a:gd name="connsiteX5170" fmla="*/ 17380088 w 21052572"/>
              <a:gd name="connsiteY5170" fmla="*/ 851544 h 8402012"/>
              <a:gd name="connsiteX5171" fmla="*/ 17342380 w 21052572"/>
              <a:gd name="connsiteY5171" fmla="*/ 832348 h 8402012"/>
              <a:gd name="connsiteX5172" fmla="*/ 17367916 w 21052572"/>
              <a:gd name="connsiteY5172" fmla="*/ 829245 h 8402012"/>
              <a:gd name="connsiteX5173" fmla="*/ 17381884 w 21052572"/>
              <a:gd name="connsiteY5173" fmla="*/ 832348 h 8402012"/>
              <a:gd name="connsiteX5174" fmla="*/ 17389280 w 21052572"/>
              <a:gd name="connsiteY5174" fmla="*/ 840284 h 8402012"/>
              <a:gd name="connsiteX5175" fmla="*/ 17386616 w 21052572"/>
              <a:gd name="connsiteY5175" fmla="*/ 831253 h 8402012"/>
              <a:gd name="connsiteX5176" fmla="*/ 17391356 w 21052572"/>
              <a:gd name="connsiteY5176" fmla="*/ 815200 h 8402012"/>
              <a:gd name="connsiteX5177" fmla="*/ 13682197 w 21052572"/>
              <a:gd name="connsiteY5177" fmla="*/ 813388 h 8402012"/>
              <a:gd name="connsiteX5178" fmla="*/ 13602728 w 21052572"/>
              <a:gd name="connsiteY5178" fmla="*/ 856822 h 8402012"/>
              <a:gd name="connsiteX5179" fmla="*/ 13682197 w 21052572"/>
              <a:gd name="connsiteY5179" fmla="*/ 813388 h 8402012"/>
              <a:gd name="connsiteX5180" fmla="*/ 17431380 w 21052572"/>
              <a:gd name="connsiteY5180" fmla="*/ 800980 h 8402012"/>
              <a:gd name="connsiteX5181" fmla="*/ 17394520 w 21052572"/>
              <a:gd name="connsiteY5181" fmla="*/ 813824 h 8402012"/>
              <a:gd name="connsiteX5182" fmla="*/ 17431380 w 21052572"/>
              <a:gd name="connsiteY5182" fmla="*/ 800980 h 8402012"/>
              <a:gd name="connsiteX5183" fmla="*/ 11450884 w 21052572"/>
              <a:gd name="connsiteY5183" fmla="*/ 800980 h 8402012"/>
              <a:gd name="connsiteX5184" fmla="*/ 11468846 w 21052572"/>
              <a:gd name="connsiteY5184" fmla="*/ 833089 h 8402012"/>
              <a:gd name="connsiteX5185" fmla="*/ 11450884 w 21052572"/>
              <a:gd name="connsiteY5185" fmla="*/ 800980 h 8402012"/>
              <a:gd name="connsiteX5186" fmla="*/ 16628722 w 21052572"/>
              <a:gd name="connsiteY5186" fmla="*/ 793569 h 8402012"/>
              <a:gd name="connsiteX5187" fmla="*/ 16663492 w 21052572"/>
              <a:gd name="connsiteY5187" fmla="*/ 833125 h 8402012"/>
              <a:gd name="connsiteX5188" fmla="*/ 16584018 w 21052572"/>
              <a:gd name="connsiteY5188" fmla="*/ 814510 h 8402012"/>
              <a:gd name="connsiteX5189" fmla="*/ 16628722 w 21052572"/>
              <a:gd name="connsiteY5189" fmla="*/ 793569 h 8402012"/>
              <a:gd name="connsiteX5190" fmla="*/ 12113375 w 21052572"/>
              <a:gd name="connsiteY5190" fmla="*/ 772545 h 8402012"/>
              <a:gd name="connsiteX5191" fmla="*/ 12100485 w 21052572"/>
              <a:gd name="connsiteY5191" fmla="*/ 837178 h 8402012"/>
              <a:gd name="connsiteX5192" fmla="*/ 12089727 w 21052572"/>
              <a:gd name="connsiteY5192" fmla="*/ 819808 h 8402012"/>
              <a:gd name="connsiteX5193" fmla="*/ 12085398 w 21052572"/>
              <a:gd name="connsiteY5193" fmla="*/ 821350 h 8402012"/>
              <a:gd name="connsiteX5194" fmla="*/ 12077256 w 21052572"/>
              <a:gd name="connsiteY5194" fmla="*/ 824251 h 8402012"/>
              <a:gd name="connsiteX5195" fmla="*/ 12049999 w 21052572"/>
              <a:gd name="connsiteY5195" fmla="*/ 830715 h 8402012"/>
              <a:gd name="connsiteX5196" fmla="*/ 12037109 w 21052572"/>
              <a:gd name="connsiteY5196" fmla="*/ 850104 h 8402012"/>
              <a:gd name="connsiteX5197" fmla="*/ 11735269 w 21052572"/>
              <a:gd name="connsiteY5197" fmla="*/ 901810 h 8402012"/>
              <a:gd name="connsiteX5198" fmla="*/ 11888874 w 21052572"/>
              <a:gd name="connsiteY5198" fmla="*/ 791935 h 8402012"/>
              <a:gd name="connsiteX5199" fmla="*/ 12113375 w 21052572"/>
              <a:gd name="connsiteY5199" fmla="*/ 772545 h 8402012"/>
              <a:gd name="connsiteX5200" fmla="*/ 15318510 w 21052572"/>
              <a:gd name="connsiteY5200" fmla="*/ 772543 h 8402012"/>
              <a:gd name="connsiteX5201" fmla="*/ 15336474 w 21052572"/>
              <a:gd name="connsiteY5201" fmla="*/ 804652 h 8402012"/>
              <a:gd name="connsiteX5202" fmla="*/ 15318510 w 21052572"/>
              <a:gd name="connsiteY5202" fmla="*/ 772543 h 8402012"/>
              <a:gd name="connsiteX5203" fmla="*/ 16489224 w 21052572"/>
              <a:gd name="connsiteY5203" fmla="*/ 772540 h 8402012"/>
              <a:gd name="connsiteX5204" fmla="*/ 16582966 w 21052572"/>
              <a:gd name="connsiteY5204" fmla="*/ 791154 h 8402012"/>
              <a:gd name="connsiteX5205" fmla="*/ 16489224 w 21052572"/>
              <a:gd name="connsiteY5205" fmla="*/ 772540 h 8402012"/>
              <a:gd name="connsiteX5206" fmla="*/ 14811358 w 21052572"/>
              <a:gd name="connsiteY5206" fmla="*/ 772540 h 8402012"/>
              <a:gd name="connsiteX5207" fmla="*/ 14843467 w 21052572"/>
              <a:gd name="connsiteY5207" fmla="*/ 790986 h 8402012"/>
              <a:gd name="connsiteX5208" fmla="*/ 14811358 w 21052572"/>
              <a:gd name="connsiteY5208" fmla="*/ 772540 h 8402012"/>
              <a:gd name="connsiteX5209" fmla="*/ 13019098 w 21052572"/>
              <a:gd name="connsiteY5209" fmla="*/ 745785 h 8402012"/>
              <a:gd name="connsiteX5210" fmla="*/ 13032933 w 21052572"/>
              <a:gd name="connsiteY5210" fmla="*/ 771469 h 8402012"/>
              <a:gd name="connsiteX5211" fmla="*/ 12996041 w 21052572"/>
              <a:gd name="connsiteY5211" fmla="*/ 758627 h 8402012"/>
              <a:gd name="connsiteX5212" fmla="*/ 13019098 w 21052572"/>
              <a:gd name="connsiteY5212" fmla="*/ 745785 h 8402012"/>
              <a:gd name="connsiteX5213" fmla="*/ 13493756 w 21052572"/>
              <a:gd name="connsiteY5213" fmla="*/ 739366 h 8402012"/>
              <a:gd name="connsiteX5214" fmla="*/ 13524975 w 21052572"/>
              <a:gd name="connsiteY5214" fmla="*/ 828888 h 8402012"/>
              <a:gd name="connsiteX5215" fmla="*/ 13563730 w 21052572"/>
              <a:gd name="connsiteY5215" fmla="*/ 860860 h 8402012"/>
              <a:gd name="connsiteX5216" fmla="*/ 13223545 w 21052572"/>
              <a:gd name="connsiteY5216" fmla="*/ 835282 h 8402012"/>
              <a:gd name="connsiteX5217" fmla="*/ 13262300 w 21052572"/>
              <a:gd name="connsiteY5217" fmla="*/ 835282 h 8402012"/>
              <a:gd name="connsiteX5218" fmla="*/ 13262300 w 21052572"/>
              <a:gd name="connsiteY5218" fmla="*/ 771338 h 8402012"/>
              <a:gd name="connsiteX5219" fmla="*/ 13319357 w 21052572"/>
              <a:gd name="connsiteY5219" fmla="*/ 784127 h 8402012"/>
              <a:gd name="connsiteX5220" fmla="*/ 13299979 w 21052572"/>
              <a:gd name="connsiteY5220" fmla="*/ 816099 h 8402012"/>
              <a:gd name="connsiteX5221" fmla="*/ 13435623 w 21052572"/>
              <a:gd name="connsiteY5221" fmla="*/ 816099 h 8402012"/>
              <a:gd name="connsiteX5222" fmla="*/ 13416245 w 21052572"/>
              <a:gd name="connsiteY5222" fmla="*/ 784127 h 8402012"/>
              <a:gd name="connsiteX5223" fmla="*/ 13493756 w 21052572"/>
              <a:gd name="connsiteY5223" fmla="*/ 739366 h 8402012"/>
              <a:gd name="connsiteX5224" fmla="*/ 15075758 w 21052572"/>
              <a:gd name="connsiteY5224" fmla="*/ 736500 h 8402012"/>
              <a:gd name="connsiteX5225" fmla="*/ 15038866 w 21052572"/>
              <a:gd name="connsiteY5225" fmla="*/ 769567 h 8402012"/>
              <a:gd name="connsiteX5226" fmla="*/ 15075758 w 21052572"/>
              <a:gd name="connsiteY5226" fmla="*/ 736500 h 8402012"/>
              <a:gd name="connsiteX5227" fmla="*/ 11568850 w 21052572"/>
              <a:gd name="connsiteY5227" fmla="*/ 733767 h 8402012"/>
              <a:gd name="connsiteX5228" fmla="*/ 11526130 w 21052572"/>
              <a:gd name="connsiteY5228" fmla="*/ 739005 h 8402012"/>
              <a:gd name="connsiteX5229" fmla="*/ 11597062 w 21052572"/>
              <a:gd name="connsiteY5229" fmla="*/ 771244 h 8402012"/>
              <a:gd name="connsiteX5230" fmla="*/ 11568850 w 21052572"/>
              <a:gd name="connsiteY5230" fmla="*/ 733767 h 8402012"/>
              <a:gd name="connsiteX5231" fmla="*/ 11744314 w 21052572"/>
              <a:gd name="connsiteY5231" fmla="*/ 726040 h 8402012"/>
              <a:gd name="connsiteX5232" fmla="*/ 11742534 w 21052572"/>
              <a:gd name="connsiteY5232" fmla="*/ 731101 h 8402012"/>
              <a:gd name="connsiteX5233" fmla="*/ 11740008 w 21052572"/>
              <a:gd name="connsiteY5233" fmla="*/ 738280 h 8402012"/>
              <a:gd name="connsiteX5234" fmla="*/ 13443216 w 21052572"/>
              <a:gd name="connsiteY5234" fmla="*/ 723397 h 8402012"/>
              <a:gd name="connsiteX5235" fmla="*/ 13454700 w 21052572"/>
              <a:gd name="connsiteY5235" fmla="*/ 726390 h 8402012"/>
              <a:gd name="connsiteX5236" fmla="*/ 13441575 w 21052572"/>
              <a:gd name="connsiteY5236" fmla="*/ 738365 h 8402012"/>
              <a:gd name="connsiteX5237" fmla="*/ 13443216 w 21052572"/>
              <a:gd name="connsiteY5237" fmla="*/ 723397 h 8402012"/>
              <a:gd name="connsiteX5238" fmla="*/ 11745513 w 21052572"/>
              <a:gd name="connsiteY5238" fmla="*/ 722634 h 8402012"/>
              <a:gd name="connsiteX5239" fmla="*/ 11744314 w 21052572"/>
              <a:gd name="connsiteY5239" fmla="*/ 726040 h 8402012"/>
              <a:gd name="connsiteX5240" fmla="*/ 11745165 w 21052572"/>
              <a:gd name="connsiteY5240" fmla="*/ 723622 h 8402012"/>
              <a:gd name="connsiteX5241" fmla="*/ 13946986 w 21052572"/>
              <a:gd name="connsiteY5241" fmla="*/ 715666 h 8402012"/>
              <a:gd name="connsiteX5242" fmla="*/ 13959889 w 21052572"/>
              <a:gd name="connsiteY5242" fmla="*/ 804040 h 8402012"/>
              <a:gd name="connsiteX5243" fmla="*/ 14005051 w 21052572"/>
              <a:gd name="connsiteY5243" fmla="*/ 804040 h 8402012"/>
              <a:gd name="connsiteX5244" fmla="*/ 14056665 w 21052572"/>
              <a:gd name="connsiteY5244" fmla="*/ 804040 h 8402012"/>
              <a:gd name="connsiteX5245" fmla="*/ 14056665 w 21052572"/>
              <a:gd name="connsiteY5245" fmla="*/ 861535 h 8402012"/>
              <a:gd name="connsiteX5246" fmla="*/ 13902899 w 21052572"/>
              <a:gd name="connsiteY5246" fmla="*/ 835982 h 8402012"/>
              <a:gd name="connsiteX5247" fmla="*/ 13697520 w 21052572"/>
              <a:gd name="connsiteY5247" fmla="*/ 861535 h 8402012"/>
              <a:gd name="connsiteX5248" fmla="*/ 13799672 w 21052572"/>
              <a:gd name="connsiteY5248" fmla="*/ 797651 h 8402012"/>
              <a:gd name="connsiteX5249" fmla="*/ 13946986 w 21052572"/>
              <a:gd name="connsiteY5249" fmla="*/ 715666 h 8402012"/>
              <a:gd name="connsiteX5250" fmla="*/ 12397752 w 21052572"/>
              <a:gd name="connsiteY5250" fmla="*/ 706185 h 8402012"/>
              <a:gd name="connsiteX5251" fmla="*/ 12320067 w 21052572"/>
              <a:gd name="connsiteY5251" fmla="*/ 738921 h 8402012"/>
              <a:gd name="connsiteX5252" fmla="*/ 12300645 w 21052572"/>
              <a:gd name="connsiteY5252" fmla="*/ 810938 h 8402012"/>
              <a:gd name="connsiteX5253" fmla="*/ 12236986 w 21052572"/>
              <a:gd name="connsiteY5253" fmla="*/ 837126 h 8402012"/>
              <a:gd name="connsiteX5254" fmla="*/ 12152827 w 21052572"/>
              <a:gd name="connsiteY5254" fmla="*/ 810938 h 8402012"/>
              <a:gd name="connsiteX5255" fmla="*/ 12224039 w 21052572"/>
              <a:gd name="connsiteY5255" fmla="*/ 725827 h 8402012"/>
              <a:gd name="connsiteX5256" fmla="*/ 12397752 w 21052572"/>
              <a:gd name="connsiteY5256" fmla="*/ 706185 h 8402012"/>
              <a:gd name="connsiteX5257" fmla="*/ 14768702 w 21052572"/>
              <a:gd name="connsiteY5257" fmla="*/ 706184 h 8402012"/>
              <a:gd name="connsiteX5258" fmla="*/ 14789177 w 21052572"/>
              <a:gd name="connsiteY5258" fmla="*/ 771455 h 8402012"/>
              <a:gd name="connsiteX5259" fmla="*/ 14768702 w 21052572"/>
              <a:gd name="connsiteY5259" fmla="*/ 706184 h 8402012"/>
              <a:gd name="connsiteX5260" fmla="*/ 14056741 w 21052572"/>
              <a:gd name="connsiteY5260" fmla="*/ 706184 h 8402012"/>
              <a:gd name="connsiteX5261" fmla="*/ 14038779 w 21052572"/>
              <a:gd name="connsiteY5261" fmla="*/ 738292 h 8402012"/>
              <a:gd name="connsiteX5262" fmla="*/ 14056741 w 21052572"/>
              <a:gd name="connsiteY5262" fmla="*/ 706184 h 8402012"/>
              <a:gd name="connsiteX5263" fmla="*/ 13849192 w 21052572"/>
              <a:gd name="connsiteY5263" fmla="*/ 706184 h 8402012"/>
              <a:gd name="connsiteX5264" fmla="*/ 13862317 w 21052572"/>
              <a:gd name="connsiteY5264" fmla="*/ 738292 h 8402012"/>
              <a:gd name="connsiteX5265" fmla="*/ 13849192 w 21052572"/>
              <a:gd name="connsiteY5265" fmla="*/ 706184 h 8402012"/>
              <a:gd name="connsiteX5266" fmla="*/ 14882454 w 21052572"/>
              <a:gd name="connsiteY5266" fmla="*/ 706183 h 8402012"/>
              <a:gd name="connsiteX5267" fmla="*/ 14900416 w 21052572"/>
              <a:gd name="connsiteY5267" fmla="*/ 738292 h 8402012"/>
              <a:gd name="connsiteX5268" fmla="*/ 14882454 w 21052572"/>
              <a:gd name="connsiteY5268" fmla="*/ 706183 h 8402012"/>
              <a:gd name="connsiteX5269" fmla="*/ 14602811 w 21052572"/>
              <a:gd name="connsiteY5269" fmla="*/ 673007 h 8402012"/>
              <a:gd name="connsiteX5270" fmla="*/ 14674560 w 21052572"/>
              <a:gd name="connsiteY5270" fmla="*/ 673007 h 8402012"/>
              <a:gd name="connsiteX5271" fmla="*/ 14720218 w 21052572"/>
              <a:gd name="connsiteY5271" fmla="*/ 673007 h 8402012"/>
              <a:gd name="connsiteX5272" fmla="*/ 14720218 w 21052572"/>
              <a:gd name="connsiteY5272" fmla="*/ 705077 h 8402012"/>
              <a:gd name="connsiteX5273" fmla="*/ 14648469 w 21052572"/>
              <a:gd name="connsiteY5273" fmla="*/ 705077 h 8402012"/>
              <a:gd name="connsiteX5274" fmla="*/ 14602811 w 21052572"/>
              <a:gd name="connsiteY5274" fmla="*/ 705077 h 8402012"/>
              <a:gd name="connsiteX5275" fmla="*/ 14602811 w 21052572"/>
              <a:gd name="connsiteY5275" fmla="*/ 673007 h 8402012"/>
              <a:gd name="connsiteX5276" fmla="*/ 13223548 w 21052572"/>
              <a:gd name="connsiteY5276" fmla="*/ 673006 h 8402012"/>
              <a:gd name="connsiteX5277" fmla="*/ 13260440 w 21052572"/>
              <a:gd name="connsiteY5277" fmla="*/ 673006 h 8402012"/>
              <a:gd name="connsiteX5278" fmla="*/ 13223548 w 21052572"/>
              <a:gd name="connsiteY5278" fmla="*/ 766747 h 8402012"/>
              <a:gd name="connsiteX5279" fmla="*/ 13223548 w 21052572"/>
              <a:gd name="connsiteY5279" fmla="*/ 673006 h 8402012"/>
              <a:gd name="connsiteX5280" fmla="*/ 14414802 w 21052572"/>
              <a:gd name="connsiteY5280" fmla="*/ 673004 h 8402012"/>
              <a:gd name="connsiteX5281" fmla="*/ 14502224 w 21052572"/>
              <a:gd name="connsiteY5281" fmla="*/ 673004 h 8402012"/>
              <a:gd name="connsiteX5282" fmla="*/ 14465359 w 21052572"/>
              <a:gd name="connsiteY5282" fmla="*/ 716959 h 8402012"/>
              <a:gd name="connsiteX5283" fmla="*/ 14421121 w 21052572"/>
              <a:gd name="connsiteY5283" fmla="*/ 736256 h 8402012"/>
              <a:gd name="connsiteX5284" fmla="*/ 14414802 w 21052572"/>
              <a:gd name="connsiteY5284" fmla="*/ 673004 h 8402012"/>
              <a:gd name="connsiteX5285" fmla="*/ 16178126 w 21052572"/>
              <a:gd name="connsiteY5285" fmla="*/ 671295 h 8402012"/>
              <a:gd name="connsiteX5286" fmla="*/ 16450238 w 21052572"/>
              <a:gd name="connsiteY5286" fmla="*/ 758286 h 8402012"/>
              <a:gd name="connsiteX5287" fmla="*/ 16252242 w 21052572"/>
              <a:gd name="connsiteY5287" fmla="*/ 771062 h 8402012"/>
              <a:gd name="connsiteX5288" fmla="*/ 16086350 w 21052572"/>
              <a:gd name="connsiteY5288" fmla="*/ 676302 h 8402012"/>
              <a:gd name="connsiteX5289" fmla="*/ 16178126 w 21052572"/>
              <a:gd name="connsiteY5289" fmla="*/ 671295 h 8402012"/>
              <a:gd name="connsiteX5290" fmla="*/ 13732922 w 21052572"/>
              <a:gd name="connsiteY5290" fmla="*/ 660993 h 8402012"/>
              <a:gd name="connsiteX5291" fmla="*/ 13805450 w 21052572"/>
              <a:gd name="connsiteY5291" fmla="*/ 739400 h 8402012"/>
              <a:gd name="connsiteX5292" fmla="*/ 13708024 w 21052572"/>
              <a:gd name="connsiteY5292" fmla="*/ 739400 h 8402012"/>
              <a:gd name="connsiteX5293" fmla="*/ 13631165 w 21052572"/>
              <a:gd name="connsiteY5293" fmla="*/ 675038 h 8402012"/>
              <a:gd name="connsiteX5294" fmla="*/ 13732922 w 21052572"/>
              <a:gd name="connsiteY5294" fmla="*/ 660993 h 8402012"/>
              <a:gd name="connsiteX5295" fmla="*/ 14270365 w 21052572"/>
              <a:gd name="connsiteY5295" fmla="*/ 655771 h 8402012"/>
              <a:gd name="connsiteX5296" fmla="*/ 14289718 w 21052572"/>
              <a:gd name="connsiteY5296" fmla="*/ 668673 h 8402012"/>
              <a:gd name="connsiteX5297" fmla="*/ 14251011 w 21052572"/>
              <a:gd name="connsiteY5297" fmla="*/ 681575 h 8402012"/>
              <a:gd name="connsiteX5298" fmla="*/ 14289718 w 21052572"/>
              <a:gd name="connsiteY5298" fmla="*/ 713830 h 8402012"/>
              <a:gd name="connsiteX5299" fmla="*/ 14340252 w 21052572"/>
              <a:gd name="connsiteY5299" fmla="*/ 725657 h 8402012"/>
              <a:gd name="connsiteX5300" fmla="*/ 14309071 w 21052572"/>
              <a:gd name="connsiteY5300" fmla="*/ 738559 h 8402012"/>
              <a:gd name="connsiteX5301" fmla="*/ 14263913 w 21052572"/>
              <a:gd name="connsiteY5301" fmla="*/ 738559 h 8402012"/>
              <a:gd name="connsiteX5302" fmla="*/ 14251011 w 21052572"/>
              <a:gd name="connsiteY5302" fmla="*/ 809520 h 8402012"/>
              <a:gd name="connsiteX5303" fmla="*/ 14320898 w 21052572"/>
              <a:gd name="connsiteY5303" fmla="*/ 835324 h 8402012"/>
              <a:gd name="connsiteX5304" fmla="*/ 14327350 w 21052572"/>
              <a:gd name="connsiteY5304" fmla="*/ 770814 h 8402012"/>
              <a:gd name="connsiteX5305" fmla="*/ 14359605 w 21052572"/>
              <a:gd name="connsiteY5305" fmla="*/ 770814 h 8402012"/>
              <a:gd name="connsiteX5306" fmla="*/ 14359605 w 21052572"/>
              <a:gd name="connsiteY5306" fmla="*/ 828873 h 8402012"/>
              <a:gd name="connsiteX5307" fmla="*/ 14398312 w 21052572"/>
              <a:gd name="connsiteY5307" fmla="*/ 835324 h 8402012"/>
              <a:gd name="connsiteX5308" fmla="*/ 14456372 w 21052572"/>
              <a:gd name="connsiteY5308" fmla="*/ 751461 h 8402012"/>
              <a:gd name="connsiteX5309" fmla="*/ 14506906 w 21052572"/>
              <a:gd name="connsiteY5309" fmla="*/ 783716 h 8402012"/>
              <a:gd name="connsiteX5310" fmla="*/ 14488628 w 21052572"/>
              <a:gd name="connsiteY5310" fmla="*/ 815971 h 8402012"/>
              <a:gd name="connsiteX5311" fmla="*/ 14545613 w 21052572"/>
              <a:gd name="connsiteY5311" fmla="*/ 835324 h 8402012"/>
              <a:gd name="connsiteX5312" fmla="*/ 14571417 w 21052572"/>
              <a:gd name="connsiteY5312" fmla="*/ 764363 h 8402012"/>
              <a:gd name="connsiteX5313" fmla="*/ 14635929 w 21052572"/>
              <a:gd name="connsiteY5313" fmla="*/ 757912 h 8402012"/>
              <a:gd name="connsiteX5314" fmla="*/ 14712267 w 21052572"/>
              <a:gd name="connsiteY5314" fmla="*/ 764363 h 8402012"/>
              <a:gd name="connsiteX5315" fmla="*/ 14681087 w 21052572"/>
              <a:gd name="connsiteY5315" fmla="*/ 777265 h 8402012"/>
              <a:gd name="connsiteX5316" fmla="*/ 14661733 w 21052572"/>
              <a:gd name="connsiteY5316" fmla="*/ 841775 h 8402012"/>
              <a:gd name="connsiteX5317" fmla="*/ 14847741 w 21052572"/>
              <a:gd name="connsiteY5317" fmla="*/ 861128 h 8402012"/>
              <a:gd name="connsiteX5318" fmla="*/ 14860643 w 21052572"/>
              <a:gd name="connsiteY5318" fmla="*/ 803069 h 8402012"/>
              <a:gd name="connsiteX5319" fmla="*/ 14925154 w 21052572"/>
              <a:gd name="connsiteY5319" fmla="*/ 815971 h 8402012"/>
              <a:gd name="connsiteX5320" fmla="*/ 14912252 w 21052572"/>
              <a:gd name="connsiteY5320" fmla="*/ 861128 h 8402012"/>
              <a:gd name="connsiteX5321" fmla="*/ 14988590 w 21052572"/>
              <a:gd name="connsiteY5321" fmla="*/ 893383 h 8402012"/>
              <a:gd name="connsiteX5322" fmla="*/ 15026692 w 21052572"/>
              <a:gd name="connsiteY5322" fmla="*/ 867982 h 8402012"/>
              <a:gd name="connsiteX5323" fmla="*/ 15031764 w 21052572"/>
              <a:gd name="connsiteY5323" fmla="*/ 872674 h 8402012"/>
              <a:gd name="connsiteX5324" fmla="*/ 15024646 w 21052572"/>
              <a:gd name="connsiteY5324" fmla="*/ 861223 h 8402012"/>
              <a:gd name="connsiteX5325" fmla="*/ 15042608 w 21052572"/>
              <a:gd name="connsiteY5325" fmla="*/ 861223 h 8402012"/>
              <a:gd name="connsiteX5326" fmla="*/ 15037422 w 21052572"/>
              <a:gd name="connsiteY5326" fmla="*/ 877910 h 8402012"/>
              <a:gd name="connsiteX5327" fmla="*/ 15040200 w 21052572"/>
              <a:gd name="connsiteY5327" fmla="*/ 880481 h 8402012"/>
              <a:gd name="connsiteX5328" fmla="*/ 15040200 w 21052572"/>
              <a:gd name="connsiteY5328" fmla="*/ 848226 h 8402012"/>
              <a:gd name="connsiteX5329" fmla="*/ 15091808 w 21052572"/>
              <a:gd name="connsiteY5329" fmla="*/ 848226 h 8402012"/>
              <a:gd name="connsiteX5330" fmla="*/ 15122990 w 21052572"/>
              <a:gd name="connsiteY5330" fmla="*/ 886932 h 8402012"/>
              <a:gd name="connsiteX5331" fmla="*/ 15277816 w 21052572"/>
              <a:gd name="connsiteY5331" fmla="*/ 899834 h 8402012"/>
              <a:gd name="connsiteX5332" fmla="*/ 15277816 w 21052572"/>
              <a:gd name="connsiteY5332" fmla="*/ 841775 h 8402012"/>
              <a:gd name="connsiteX5333" fmla="*/ 15328350 w 21052572"/>
              <a:gd name="connsiteY5333" fmla="*/ 854677 h 8402012"/>
              <a:gd name="connsiteX5334" fmla="*/ 15335876 w 21052572"/>
              <a:gd name="connsiteY5334" fmla="*/ 937465 h 8402012"/>
              <a:gd name="connsiteX5335" fmla="*/ 15476726 w 21052572"/>
              <a:gd name="connsiteY5335" fmla="*/ 969720 h 8402012"/>
              <a:gd name="connsiteX5336" fmla="*/ 15578870 w 21052572"/>
              <a:gd name="connsiteY5336" fmla="*/ 982622 h 8402012"/>
              <a:gd name="connsiteX5337" fmla="*/ 15636930 w 21052572"/>
              <a:gd name="connsiteY5337" fmla="*/ 1014876 h 8402012"/>
              <a:gd name="connsiteX5338" fmla="*/ 15764876 w 21052572"/>
              <a:gd name="connsiteY5338" fmla="*/ 989073 h 8402012"/>
              <a:gd name="connsiteX5339" fmla="*/ 15803584 w 21052572"/>
              <a:gd name="connsiteY5339" fmla="*/ 1040681 h 8402012"/>
              <a:gd name="connsiteX5340" fmla="*/ 15880998 w 21052572"/>
              <a:gd name="connsiteY5340" fmla="*/ 1014876 h 8402012"/>
              <a:gd name="connsiteX5341" fmla="*/ 15958410 w 21052572"/>
              <a:gd name="connsiteY5341" fmla="*/ 1014876 h 8402012"/>
              <a:gd name="connsiteX5342" fmla="*/ 16015396 w 21052572"/>
              <a:gd name="connsiteY5342" fmla="*/ 1085839 h 8402012"/>
              <a:gd name="connsiteX5343" fmla="*/ 16343328 w 21052572"/>
              <a:gd name="connsiteY5343" fmla="*/ 1168627 h 8402012"/>
              <a:gd name="connsiteX5344" fmla="*/ 16356230 w 21052572"/>
              <a:gd name="connsiteY5344" fmla="*/ 1111643 h 8402012"/>
              <a:gd name="connsiteX5345" fmla="*/ 16356230 w 21052572"/>
              <a:gd name="connsiteY5345" fmla="*/ 1168627 h 8402012"/>
              <a:gd name="connsiteX5346" fmla="*/ 16400314 w 21052572"/>
              <a:gd name="connsiteY5346" fmla="*/ 1168627 h 8402012"/>
              <a:gd name="connsiteX5347" fmla="*/ 16432568 w 21052572"/>
              <a:gd name="connsiteY5347" fmla="*/ 1200882 h 8402012"/>
              <a:gd name="connsiteX5348" fmla="*/ 16484178 w 21052572"/>
              <a:gd name="connsiteY5348" fmla="*/ 1175078 h 8402012"/>
              <a:gd name="connsiteX5349" fmla="*/ 16490630 w 21052572"/>
              <a:gd name="connsiteY5349" fmla="*/ 1124546 h 8402012"/>
              <a:gd name="connsiteX5350" fmla="*/ 16509982 w 21052572"/>
              <a:gd name="connsiteY5350" fmla="*/ 1200882 h 8402012"/>
              <a:gd name="connsiteX5351" fmla="*/ 16555140 w 21052572"/>
              <a:gd name="connsiteY5351" fmla="*/ 1213784 h 8402012"/>
              <a:gd name="connsiteX5352" fmla="*/ 16605674 w 21052572"/>
              <a:gd name="connsiteY5352" fmla="*/ 1233137 h 8402012"/>
              <a:gd name="connsiteX5353" fmla="*/ 16612126 w 21052572"/>
              <a:gd name="connsiteY5353" fmla="*/ 1168627 h 8402012"/>
              <a:gd name="connsiteX5354" fmla="*/ 16644382 w 21052572"/>
              <a:gd name="connsiteY5354" fmla="*/ 1258942 h 8402012"/>
              <a:gd name="connsiteX5355" fmla="*/ 16741148 w 21052572"/>
              <a:gd name="connsiteY5355" fmla="*/ 1200882 h 8402012"/>
              <a:gd name="connsiteX5356" fmla="*/ 16734696 w 21052572"/>
              <a:gd name="connsiteY5356" fmla="*/ 1265392 h 8402012"/>
              <a:gd name="connsiteX5357" fmla="*/ 16811036 w 21052572"/>
              <a:gd name="connsiteY5357" fmla="*/ 1291197 h 8402012"/>
              <a:gd name="connsiteX5358" fmla="*/ 16907804 w 21052572"/>
              <a:gd name="connsiteY5358" fmla="*/ 1317000 h 8402012"/>
              <a:gd name="connsiteX5359" fmla="*/ 16990592 w 21052572"/>
              <a:gd name="connsiteY5359" fmla="*/ 1322376 h 8402012"/>
              <a:gd name="connsiteX5360" fmla="*/ 17048652 w 21052572"/>
              <a:gd name="connsiteY5360" fmla="*/ 1393337 h 8402012"/>
              <a:gd name="connsiteX5361" fmla="*/ 17158324 w 21052572"/>
              <a:gd name="connsiteY5361" fmla="*/ 1425592 h 8402012"/>
              <a:gd name="connsiteX5362" fmla="*/ 17350780 w 21052572"/>
              <a:gd name="connsiteY5362" fmla="*/ 1509455 h 8402012"/>
              <a:gd name="connsiteX5363" fmla="*/ 17331428 w 21052572"/>
              <a:gd name="connsiteY5363" fmla="*/ 1553537 h 8402012"/>
              <a:gd name="connsiteX5364" fmla="*/ 17286268 w 21052572"/>
              <a:gd name="connsiteY5364" fmla="*/ 1540635 h 8402012"/>
              <a:gd name="connsiteX5365" fmla="*/ 17195952 w 21052572"/>
              <a:gd name="connsiteY5365" fmla="*/ 1515907 h 8402012"/>
              <a:gd name="connsiteX5366" fmla="*/ 17022848 w 21052572"/>
              <a:gd name="connsiteY5366" fmla="*/ 1464298 h 8402012"/>
              <a:gd name="connsiteX5367" fmla="*/ 16676636 w 21052572"/>
              <a:gd name="connsiteY5367" fmla="*/ 1367533 h 8402012"/>
              <a:gd name="connsiteX5368" fmla="*/ 16317524 w 21052572"/>
              <a:gd name="connsiteY5368" fmla="*/ 1278294 h 8402012"/>
              <a:gd name="connsiteX5369" fmla="*/ 16137968 w 21052572"/>
              <a:gd name="connsiteY5369" fmla="*/ 1239589 h 8402012"/>
              <a:gd name="connsiteX5370" fmla="*/ 16079906 w 21052572"/>
              <a:gd name="connsiteY5370" fmla="*/ 1200882 h 8402012"/>
              <a:gd name="connsiteX5371" fmla="*/ 16021846 w 21052572"/>
              <a:gd name="connsiteY5371" fmla="*/ 1181529 h 8402012"/>
              <a:gd name="connsiteX5372" fmla="*/ 16041200 w 21052572"/>
              <a:gd name="connsiteY5372" fmla="*/ 1149274 h 8402012"/>
              <a:gd name="connsiteX5373" fmla="*/ 15822936 w 21052572"/>
              <a:gd name="connsiteY5373" fmla="*/ 1136372 h 8402012"/>
              <a:gd name="connsiteX5374" fmla="*/ 15829388 w 21052572"/>
              <a:gd name="connsiteY5374" fmla="*/ 1092290 h 8402012"/>
              <a:gd name="connsiteX5375" fmla="*/ 15682088 w 21052572"/>
              <a:gd name="connsiteY5375" fmla="*/ 1092290 h 8402012"/>
              <a:gd name="connsiteX5376" fmla="*/ 15701440 w 21052572"/>
              <a:gd name="connsiteY5376" fmla="*/ 1124546 h 8402012"/>
              <a:gd name="connsiteX5377" fmla="*/ 15604674 w 21052572"/>
              <a:gd name="connsiteY5377" fmla="*/ 1136372 h 8402012"/>
              <a:gd name="connsiteX5378" fmla="*/ 15604674 w 21052572"/>
              <a:gd name="connsiteY5378" fmla="*/ 1079389 h 8402012"/>
              <a:gd name="connsiteX5379" fmla="*/ 15643380 w 21052572"/>
              <a:gd name="connsiteY5379" fmla="*/ 1105192 h 8402012"/>
              <a:gd name="connsiteX5380" fmla="*/ 15662734 w 21052572"/>
              <a:gd name="connsiteY5380" fmla="*/ 1047134 h 8402012"/>
              <a:gd name="connsiteX5381" fmla="*/ 15547688 w 21052572"/>
              <a:gd name="connsiteY5381" fmla="*/ 1047134 h 8402012"/>
              <a:gd name="connsiteX5382" fmla="*/ 15585320 w 21052572"/>
              <a:gd name="connsiteY5382" fmla="*/ 1079389 h 8402012"/>
              <a:gd name="connsiteX5383" fmla="*/ 15547688 w 21052572"/>
              <a:gd name="connsiteY5383" fmla="*/ 1111643 h 8402012"/>
              <a:gd name="connsiteX5384" fmla="*/ 15515432 w 21052572"/>
              <a:gd name="connsiteY5384" fmla="*/ 1047134 h 8402012"/>
              <a:gd name="connsiteX5385" fmla="*/ 14828387 w 21052572"/>
              <a:gd name="connsiteY5385" fmla="*/ 931014 h 8402012"/>
              <a:gd name="connsiteX5386" fmla="*/ 14775770 w 21052572"/>
              <a:gd name="connsiteY5386" fmla="*/ 910149 h 8402012"/>
              <a:gd name="connsiteX5387" fmla="*/ 14770946 w 21052572"/>
              <a:gd name="connsiteY5387" fmla="*/ 909133 h 8402012"/>
              <a:gd name="connsiteX5388" fmla="*/ 14781783 w 21052572"/>
              <a:gd name="connsiteY5388" fmla="*/ 924059 h 8402012"/>
              <a:gd name="connsiteX5389" fmla="*/ 14767280 w 21052572"/>
              <a:gd name="connsiteY5389" fmla="*/ 926686 h 8402012"/>
              <a:gd name="connsiteX5390" fmla="*/ 14768003 w 21052572"/>
              <a:gd name="connsiteY5390" fmla="*/ 908513 h 8402012"/>
              <a:gd name="connsiteX5391" fmla="*/ 14757425 w 21052572"/>
              <a:gd name="connsiteY5391" fmla="*/ 906285 h 8402012"/>
              <a:gd name="connsiteX5392" fmla="*/ 14668184 w 21052572"/>
              <a:gd name="connsiteY5392" fmla="*/ 899834 h 8402012"/>
              <a:gd name="connsiteX5393" fmla="*/ 14501530 w 21052572"/>
              <a:gd name="connsiteY5393" fmla="*/ 886932 h 8402012"/>
              <a:gd name="connsiteX5394" fmla="*/ 14147793 w 21052572"/>
              <a:gd name="connsiteY5394" fmla="*/ 861128 h 8402012"/>
              <a:gd name="connsiteX5395" fmla="*/ 14192951 w 21052572"/>
              <a:gd name="connsiteY5395" fmla="*/ 783716 h 8402012"/>
              <a:gd name="connsiteX5396" fmla="*/ 14225207 w 21052572"/>
              <a:gd name="connsiteY5396" fmla="*/ 738559 h 8402012"/>
              <a:gd name="connsiteX5397" fmla="*/ 14167146 w 21052572"/>
              <a:gd name="connsiteY5397" fmla="*/ 738559 h 8402012"/>
              <a:gd name="connsiteX5398" fmla="*/ 14251011 w 21052572"/>
              <a:gd name="connsiteY5398" fmla="*/ 662222 h 8402012"/>
              <a:gd name="connsiteX5399" fmla="*/ 14270365 w 21052572"/>
              <a:gd name="connsiteY5399" fmla="*/ 655771 h 8402012"/>
              <a:gd name="connsiteX5400" fmla="*/ 12014056 w 21052572"/>
              <a:gd name="connsiteY5400" fmla="*/ 649811 h 8402012"/>
              <a:gd name="connsiteX5401" fmla="*/ 12033401 w 21052572"/>
              <a:gd name="connsiteY5401" fmla="*/ 675602 h 8402012"/>
              <a:gd name="connsiteX5402" fmla="*/ 12014056 w 21052572"/>
              <a:gd name="connsiteY5402" fmla="*/ 649811 h 8402012"/>
              <a:gd name="connsiteX5403" fmla="*/ 11897986 w 21052572"/>
              <a:gd name="connsiteY5403" fmla="*/ 649811 h 8402012"/>
              <a:gd name="connsiteX5404" fmla="*/ 11923779 w 21052572"/>
              <a:gd name="connsiteY5404" fmla="*/ 675602 h 8402012"/>
              <a:gd name="connsiteX5405" fmla="*/ 11897986 w 21052572"/>
              <a:gd name="connsiteY5405" fmla="*/ 649811 h 8402012"/>
              <a:gd name="connsiteX5406" fmla="*/ 14113619 w 21052572"/>
              <a:gd name="connsiteY5406" fmla="*/ 649309 h 8402012"/>
              <a:gd name="connsiteX5407" fmla="*/ 14095657 w 21052572"/>
              <a:gd name="connsiteY5407" fmla="*/ 676608 h 8402012"/>
              <a:gd name="connsiteX5408" fmla="*/ 14113619 w 21052572"/>
              <a:gd name="connsiteY5408" fmla="*/ 649309 h 8402012"/>
              <a:gd name="connsiteX5409" fmla="*/ 13988245 w 21052572"/>
              <a:gd name="connsiteY5409" fmla="*/ 638642 h 8402012"/>
              <a:gd name="connsiteX5410" fmla="*/ 14075621 w 21052572"/>
              <a:gd name="connsiteY5410" fmla="*/ 649865 h 8402012"/>
              <a:gd name="connsiteX5411" fmla="*/ 13920286 w 21052572"/>
              <a:gd name="connsiteY5411" fmla="*/ 675516 h 8402012"/>
              <a:gd name="connsiteX5412" fmla="*/ 13988245 w 21052572"/>
              <a:gd name="connsiteY5412" fmla="*/ 638642 h 8402012"/>
              <a:gd name="connsiteX5413" fmla="*/ 14966848 w 21052572"/>
              <a:gd name="connsiteY5413" fmla="*/ 632600 h 8402012"/>
              <a:gd name="connsiteX5414" fmla="*/ 15018854 w 21052572"/>
              <a:gd name="connsiteY5414" fmla="*/ 676658 h 8402012"/>
              <a:gd name="connsiteX5415" fmla="*/ 14906153 w 21052572"/>
              <a:gd name="connsiteY5415" fmla="*/ 676658 h 8402012"/>
              <a:gd name="connsiteX5416" fmla="*/ 14966848 w 21052572"/>
              <a:gd name="connsiteY5416" fmla="*/ 632600 h 8402012"/>
              <a:gd name="connsiteX5417" fmla="*/ 13454765 w 21052572"/>
              <a:gd name="connsiteY5417" fmla="*/ 625642 h 8402012"/>
              <a:gd name="connsiteX5418" fmla="*/ 13521084 w 21052572"/>
              <a:gd name="connsiteY5418" fmla="*/ 673754 h 8402012"/>
              <a:gd name="connsiteX5419" fmla="*/ 13349640 w 21052572"/>
              <a:gd name="connsiteY5419" fmla="*/ 705102 h 8402012"/>
              <a:gd name="connsiteX5420" fmla="*/ 13280423 w 21052572"/>
              <a:gd name="connsiteY5420" fmla="*/ 647810 h 8402012"/>
              <a:gd name="connsiteX5421" fmla="*/ 13454765 w 21052572"/>
              <a:gd name="connsiteY5421" fmla="*/ 625642 h 8402012"/>
              <a:gd name="connsiteX5422" fmla="*/ 12167742 w 21052572"/>
              <a:gd name="connsiteY5422" fmla="*/ 617572 h 8402012"/>
              <a:gd name="connsiteX5423" fmla="*/ 12187087 w 21052572"/>
              <a:gd name="connsiteY5423" fmla="*/ 649811 h 8402012"/>
              <a:gd name="connsiteX5424" fmla="*/ 12167742 w 21052572"/>
              <a:gd name="connsiteY5424" fmla="*/ 617572 h 8402012"/>
              <a:gd name="connsiteX5425" fmla="*/ 15944156 w 21052572"/>
              <a:gd name="connsiteY5425" fmla="*/ 616130 h 8402012"/>
              <a:gd name="connsiteX5426" fmla="*/ 16037898 w 21052572"/>
              <a:gd name="connsiteY5426" fmla="*/ 648292 h 8402012"/>
              <a:gd name="connsiteX5427" fmla="*/ 15981020 w 21052572"/>
              <a:gd name="connsiteY5427" fmla="*/ 705111 h 8402012"/>
              <a:gd name="connsiteX5428" fmla="*/ 15944156 w 21052572"/>
              <a:gd name="connsiteY5428" fmla="*/ 674021 h 8402012"/>
              <a:gd name="connsiteX5429" fmla="*/ 15944156 w 21052572"/>
              <a:gd name="connsiteY5429" fmla="*/ 616130 h 8402012"/>
              <a:gd name="connsiteX5430" fmla="*/ 14844536 w 21052572"/>
              <a:gd name="connsiteY5430" fmla="*/ 616129 h 8402012"/>
              <a:gd name="connsiteX5431" fmla="*/ 14862498 w 21052572"/>
              <a:gd name="connsiteY5431" fmla="*/ 648235 h 8402012"/>
              <a:gd name="connsiteX5432" fmla="*/ 14844536 w 21052572"/>
              <a:gd name="connsiteY5432" fmla="*/ 616129 h 8402012"/>
              <a:gd name="connsiteX5433" fmla="*/ 14474837 w 21052572"/>
              <a:gd name="connsiteY5433" fmla="*/ 582950 h 8402012"/>
              <a:gd name="connsiteX5434" fmla="*/ 14487962 w 21052572"/>
              <a:gd name="connsiteY5434" fmla="*/ 615059 h 8402012"/>
              <a:gd name="connsiteX5435" fmla="*/ 14474837 w 21052572"/>
              <a:gd name="connsiteY5435" fmla="*/ 582950 h 8402012"/>
              <a:gd name="connsiteX5436" fmla="*/ 12242167 w 21052572"/>
              <a:gd name="connsiteY5436" fmla="*/ 582109 h 8402012"/>
              <a:gd name="connsiteX5437" fmla="*/ 12206433 w 21052572"/>
              <a:gd name="connsiteY5437" fmla="*/ 585333 h 8402012"/>
              <a:gd name="connsiteX5438" fmla="*/ 12263393 w 21052572"/>
              <a:gd name="connsiteY5438" fmla="*/ 617572 h 8402012"/>
              <a:gd name="connsiteX5439" fmla="*/ 12242167 w 21052572"/>
              <a:gd name="connsiteY5439" fmla="*/ 582109 h 8402012"/>
              <a:gd name="connsiteX5440" fmla="*/ 14199329 w 21052572"/>
              <a:gd name="connsiteY5440" fmla="*/ 577557 h 8402012"/>
              <a:gd name="connsiteX5441" fmla="*/ 14222597 w 21052572"/>
              <a:gd name="connsiteY5441" fmla="*/ 615065 h 8402012"/>
              <a:gd name="connsiteX5442" fmla="*/ 14166753 w 21052572"/>
              <a:gd name="connsiteY5442" fmla="*/ 602296 h 8402012"/>
              <a:gd name="connsiteX5443" fmla="*/ 14199329 w 21052572"/>
              <a:gd name="connsiteY5443" fmla="*/ 577557 h 8402012"/>
              <a:gd name="connsiteX5444" fmla="*/ 13668243 w 21052572"/>
              <a:gd name="connsiteY5444" fmla="*/ 571593 h 8402012"/>
              <a:gd name="connsiteX5445" fmla="*/ 13688143 w 21052572"/>
              <a:gd name="connsiteY5445" fmla="*/ 572052 h 8402012"/>
              <a:gd name="connsiteX5446" fmla="*/ 13711239 w 21052572"/>
              <a:gd name="connsiteY5446" fmla="*/ 574091 h 8402012"/>
              <a:gd name="connsiteX5447" fmla="*/ 13886031 w 21052572"/>
              <a:gd name="connsiteY5447" fmla="*/ 574091 h 8402012"/>
              <a:gd name="connsiteX5448" fmla="*/ 13621685 w 21052572"/>
              <a:gd name="connsiteY5448" fmla="*/ 619780 h 8402012"/>
              <a:gd name="connsiteX5449" fmla="*/ 13668243 w 21052572"/>
              <a:gd name="connsiteY5449" fmla="*/ 571593 h 8402012"/>
              <a:gd name="connsiteX5450" fmla="*/ 14158289 w 21052572"/>
              <a:gd name="connsiteY5450" fmla="*/ 566983 h 8402012"/>
              <a:gd name="connsiteX5451" fmla="*/ 14165399 w 21052572"/>
              <a:gd name="connsiteY5451" fmla="*/ 569977 h 8402012"/>
              <a:gd name="connsiteX5452" fmla="*/ 14157273 w 21052572"/>
              <a:gd name="connsiteY5452" fmla="*/ 581951 h 8402012"/>
              <a:gd name="connsiteX5453" fmla="*/ 14158289 w 21052572"/>
              <a:gd name="connsiteY5453" fmla="*/ 566983 h 8402012"/>
              <a:gd name="connsiteX5454" fmla="*/ 11506785 w 21052572"/>
              <a:gd name="connsiteY5454" fmla="*/ 559541 h 8402012"/>
              <a:gd name="connsiteX5455" fmla="*/ 11526130 w 21052572"/>
              <a:gd name="connsiteY5455" fmla="*/ 585333 h 8402012"/>
              <a:gd name="connsiteX5456" fmla="*/ 11506785 w 21052572"/>
              <a:gd name="connsiteY5456" fmla="*/ 559541 h 8402012"/>
              <a:gd name="connsiteX5457" fmla="*/ 13920286 w 21052572"/>
              <a:gd name="connsiteY5457" fmla="*/ 559254 h 8402012"/>
              <a:gd name="connsiteX5458" fmla="*/ 13938248 w 21052572"/>
              <a:gd name="connsiteY5458" fmla="*/ 586553 h 8402012"/>
              <a:gd name="connsiteX5459" fmla="*/ 13920286 w 21052572"/>
              <a:gd name="connsiteY5459" fmla="*/ 559254 h 8402012"/>
              <a:gd name="connsiteX5460" fmla="*/ 15604568 w 21052572"/>
              <a:gd name="connsiteY5460" fmla="*/ 559251 h 8402012"/>
              <a:gd name="connsiteX5461" fmla="*/ 15924130 w 21052572"/>
              <a:gd name="connsiteY5461" fmla="*/ 616362 h 8402012"/>
              <a:gd name="connsiteX5462" fmla="*/ 15802290 w 21052572"/>
              <a:gd name="connsiteY5462" fmla="*/ 648091 h 8402012"/>
              <a:gd name="connsiteX5463" fmla="*/ 15662282 w 21052572"/>
              <a:gd name="connsiteY5463" fmla="*/ 622708 h 8402012"/>
              <a:gd name="connsiteX5464" fmla="*/ 15610980 w 21052572"/>
              <a:gd name="connsiteY5464" fmla="*/ 622708 h 8402012"/>
              <a:gd name="connsiteX5465" fmla="*/ 15604568 w 21052572"/>
              <a:gd name="connsiteY5465" fmla="*/ 559251 h 8402012"/>
              <a:gd name="connsiteX5466" fmla="*/ 14308592 w 21052572"/>
              <a:gd name="connsiteY5466" fmla="*/ 558611 h 8402012"/>
              <a:gd name="connsiteX5467" fmla="*/ 14402667 w 21052572"/>
              <a:gd name="connsiteY5467" fmla="*/ 581883 h 8402012"/>
              <a:gd name="connsiteX5468" fmla="*/ 14242591 w 21052572"/>
              <a:gd name="connsiteY5468" fmla="*/ 581883 h 8402012"/>
              <a:gd name="connsiteX5469" fmla="*/ 14275761 w 21052572"/>
              <a:gd name="connsiteY5469" fmla="*/ 559439 h 8402012"/>
              <a:gd name="connsiteX5470" fmla="*/ 14308592 w 21052572"/>
              <a:gd name="connsiteY5470" fmla="*/ 558611 h 8402012"/>
              <a:gd name="connsiteX5471" fmla="*/ 14038648 w 21052572"/>
              <a:gd name="connsiteY5471" fmla="*/ 548746 h 8402012"/>
              <a:gd name="connsiteX5472" fmla="*/ 14094604 w 21052572"/>
              <a:gd name="connsiteY5472" fmla="*/ 560033 h 8402012"/>
              <a:gd name="connsiteX5473" fmla="*/ 14000862 w 21052572"/>
              <a:gd name="connsiteY5473" fmla="*/ 585833 h 8402012"/>
              <a:gd name="connsiteX5474" fmla="*/ 14038648 w 21052572"/>
              <a:gd name="connsiteY5474" fmla="*/ 548746 h 8402012"/>
              <a:gd name="connsiteX5475" fmla="*/ 13957208 w 21052572"/>
              <a:gd name="connsiteY5475" fmla="*/ 497634 h 8402012"/>
              <a:gd name="connsiteX5476" fmla="*/ 13939246 w 21052572"/>
              <a:gd name="connsiteY5476" fmla="*/ 529707 h 8402012"/>
              <a:gd name="connsiteX5477" fmla="*/ 13957208 w 21052572"/>
              <a:gd name="connsiteY5477" fmla="*/ 497634 h 8402012"/>
              <a:gd name="connsiteX5478" fmla="*/ 13563987 w 21052572"/>
              <a:gd name="connsiteY5478" fmla="*/ 483352 h 8402012"/>
              <a:gd name="connsiteX5479" fmla="*/ 13620591 w 21052572"/>
              <a:gd name="connsiteY5479" fmla="*/ 494078 h 8402012"/>
              <a:gd name="connsiteX5480" fmla="*/ 13522149 w 21052572"/>
              <a:gd name="connsiteY5480" fmla="*/ 525578 h 8402012"/>
              <a:gd name="connsiteX5481" fmla="*/ 13563987 w 21052572"/>
              <a:gd name="connsiteY5481" fmla="*/ 483352 h 8402012"/>
              <a:gd name="connsiteX5482" fmla="*/ 13394797 w 21052572"/>
              <a:gd name="connsiteY5482" fmla="*/ 464807 h 8402012"/>
              <a:gd name="connsiteX5483" fmla="*/ 13427727 w 21052572"/>
              <a:gd name="connsiteY5483" fmla="*/ 467969 h 8402012"/>
              <a:gd name="connsiteX5484" fmla="*/ 13503531 w 21052572"/>
              <a:gd name="connsiteY5484" fmla="*/ 493950 h 8402012"/>
              <a:gd name="connsiteX5485" fmla="*/ 13503531 w 21052572"/>
              <a:gd name="connsiteY5485" fmla="*/ 557819 h 8402012"/>
              <a:gd name="connsiteX5486" fmla="*/ 13382886 w 21052572"/>
              <a:gd name="connsiteY5486" fmla="*/ 603284 h 8402012"/>
              <a:gd name="connsiteX5487" fmla="*/ 13204588 w 21052572"/>
              <a:gd name="connsiteY5487" fmla="*/ 616274 h 8402012"/>
              <a:gd name="connsiteX5488" fmla="*/ 13338044 w 21052572"/>
              <a:gd name="connsiteY5488" fmla="*/ 557819 h 8402012"/>
              <a:gd name="connsiteX5489" fmla="*/ 13394797 w 21052572"/>
              <a:gd name="connsiteY5489" fmla="*/ 464807 h 8402012"/>
              <a:gd name="connsiteX5490" fmla="*/ 15519158 w 21052572"/>
              <a:gd name="connsiteY5490" fmla="*/ 464455 h 8402012"/>
              <a:gd name="connsiteX5491" fmla="*/ 15525636 w 21052572"/>
              <a:gd name="connsiteY5491" fmla="*/ 527512 h 8402012"/>
              <a:gd name="connsiteX5492" fmla="*/ 15582856 w 21052572"/>
              <a:gd name="connsiteY5492" fmla="*/ 527512 h 8402012"/>
              <a:gd name="connsiteX5493" fmla="*/ 15556944 w 21052572"/>
              <a:gd name="connsiteY5493" fmla="*/ 572400 h 8402012"/>
              <a:gd name="connsiteX5494" fmla="*/ 15506202 w 21052572"/>
              <a:gd name="connsiteY5494" fmla="*/ 565988 h 8402012"/>
              <a:gd name="connsiteX5495" fmla="*/ 15389604 w 21052572"/>
              <a:gd name="connsiteY5495" fmla="*/ 509343 h 8402012"/>
              <a:gd name="connsiteX5496" fmla="*/ 15467336 w 21052572"/>
              <a:gd name="connsiteY5496" fmla="*/ 509343 h 8402012"/>
              <a:gd name="connsiteX5497" fmla="*/ 15519158 w 21052572"/>
              <a:gd name="connsiteY5497" fmla="*/ 464455 h 8402012"/>
              <a:gd name="connsiteX5498" fmla="*/ 13765350 w 21052572"/>
              <a:gd name="connsiteY5498" fmla="*/ 461326 h 8402012"/>
              <a:gd name="connsiteX5499" fmla="*/ 13791290 w 21052572"/>
              <a:gd name="connsiteY5499" fmla="*/ 495604 h 8402012"/>
              <a:gd name="connsiteX5500" fmla="*/ 13754398 w 21052572"/>
              <a:gd name="connsiteY5500" fmla="*/ 461749 h 8402012"/>
              <a:gd name="connsiteX5501" fmla="*/ 13765350 w 21052572"/>
              <a:gd name="connsiteY5501" fmla="*/ 461326 h 8402012"/>
              <a:gd name="connsiteX5502" fmla="*/ 15318510 w 21052572"/>
              <a:gd name="connsiteY5502" fmla="*/ 398101 h 8402012"/>
              <a:gd name="connsiteX5503" fmla="*/ 15336474 w 21052572"/>
              <a:gd name="connsiteY5503" fmla="*/ 430207 h 8402012"/>
              <a:gd name="connsiteX5504" fmla="*/ 15318510 w 21052572"/>
              <a:gd name="connsiteY5504" fmla="*/ 398101 h 8402012"/>
              <a:gd name="connsiteX5505" fmla="*/ 12650983 w 21052572"/>
              <a:gd name="connsiteY5505" fmla="*/ 396298 h 8402012"/>
              <a:gd name="connsiteX5506" fmla="*/ 12558943 w 21052572"/>
              <a:gd name="connsiteY5506" fmla="*/ 431660 h 8402012"/>
              <a:gd name="connsiteX5507" fmla="*/ 12699732 w 21052572"/>
              <a:gd name="connsiteY5507" fmla="*/ 399421 h 8402012"/>
              <a:gd name="connsiteX5508" fmla="*/ 12650983 w 21052572"/>
              <a:gd name="connsiteY5508" fmla="*/ 396298 h 8402012"/>
              <a:gd name="connsiteX5509" fmla="*/ 12437499 w 21052572"/>
              <a:gd name="connsiteY5509" fmla="*/ 386525 h 8402012"/>
              <a:gd name="connsiteX5510" fmla="*/ 12398809 w 21052572"/>
              <a:gd name="connsiteY5510" fmla="*/ 438108 h 8402012"/>
              <a:gd name="connsiteX5511" fmla="*/ 12295635 w 21052572"/>
              <a:gd name="connsiteY5511" fmla="*/ 431660 h 8402012"/>
              <a:gd name="connsiteX5512" fmla="*/ 12295635 w 21052572"/>
              <a:gd name="connsiteY5512" fmla="*/ 463899 h 8402012"/>
              <a:gd name="connsiteX5513" fmla="*/ 12500908 w 21052572"/>
              <a:gd name="connsiteY5513" fmla="*/ 412316 h 8402012"/>
              <a:gd name="connsiteX5514" fmla="*/ 12437499 w 21052572"/>
              <a:gd name="connsiteY5514" fmla="*/ 386525 h 8402012"/>
              <a:gd name="connsiteX5515" fmla="*/ 12353670 w 21052572"/>
              <a:gd name="connsiteY5515" fmla="*/ 373629 h 8402012"/>
              <a:gd name="connsiteX5516" fmla="*/ 12392360 w 21052572"/>
              <a:gd name="connsiteY5516" fmla="*/ 399421 h 8402012"/>
              <a:gd name="connsiteX5517" fmla="*/ 12353670 w 21052572"/>
              <a:gd name="connsiteY5517" fmla="*/ 373629 h 8402012"/>
              <a:gd name="connsiteX5518" fmla="*/ 12558943 w 21052572"/>
              <a:gd name="connsiteY5518" fmla="*/ 341390 h 8402012"/>
              <a:gd name="connsiteX5519" fmla="*/ 12578288 w 21052572"/>
              <a:gd name="connsiteY5519" fmla="*/ 373629 h 8402012"/>
              <a:gd name="connsiteX5520" fmla="*/ 12558943 w 21052572"/>
              <a:gd name="connsiteY5520" fmla="*/ 341390 h 8402012"/>
              <a:gd name="connsiteX5521" fmla="*/ 14713667 w 21052572"/>
              <a:gd name="connsiteY5521" fmla="*/ 304568 h 8402012"/>
              <a:gd name="connsiteX5522" fmla="*/ 14734470 w 21052572"/>
              <a:gd name="connsiteY5522" fmla="*/ 339712 h 8402012"/>
              <a:gd name="connsiteX5523" fmla="*/ 14678645 w 21052572"/>
              <a:gd name="connsiteY5523" fmla="*/ 307396 h 8402012"/>
              <a:gd name="connsiteX5524" fmla="*/ 14713667 w 21052572"/>
              <a:gd name="connsiteY5524" fmla="*/ 304568 h 8402012"/>
              <a:gd name="connsiteX5525" fmla="*/ 14337383 w 21052572"/>
              <a:gd name="connsiteY5525" fmla="*/ 284347 h 8402012"/>
              <a:gd name="connsiteX5526" fmla="*/ 14409132 w 21052572"/>
              <a:gd name="connsiteY5526" fmla="*/ 284347 h 8402012"/>
              <a:gd name="connsiteX5527" fmla="*/ 14454790 w 21052572"/>
              <a:gd name="connsiteY5527" fmla="*/ 284347 h 8402012"/>
              <a:gd name="connsiteX5528" fmla="*/ 14454790 w 21052572"/>
              <a:gd name="connsiteY5528" fmla="*/ 307056 h 8402012"/>
              <a:gd name="connsiteX5529" fmla="*/ 14383041 w 21052572"/>
              <a:gd name="connsiteY5529" fmla="*/ 307056 h 8402012"/>
              <a:gd name="connsiteX5530" fmla="*/ 14337383 w 21052572"/>
              <a:gd name="connsiteY5530" fmla="*/ 307056 h 8402012"/>
              <a:gd name="connsiteX5531" fmla="*/ 14337383 w 21052572"/>
              <a:gd name="connsiteY5531" fmla="*/ 284347 h 8402012"/>
              <a:gd name="connsiteX5532" fmla="*/ 13436834 w 21052572"/>
              <a:gd name="connsiteY5532" fmla="*/ 284347 h 8402012"/>
              <a:gd name="connsiteX5533" fmla="*/ 13454796 w 21052572"/>
              <a:gd name="connsiteY5533" fmla="*/ 307056 h 8402012"/>
              <a:gd name="connsiteX5534" fmla="*/ 13436834 w 21052572"/>
              <a:gd name="connsiteY5534" fmla="*/ 284347 h 8402012"/>
              <a:gd name="connsiteX5535" fmla="*/ 13691975 w 21052572"/>
              <a:gd name="connsiteY5535" fmla="*/ 240912 h 8402012"/>
              <a:gd name="connsiteX5536" fmla="*/ 13687810 w 21052572"/>
              <a:gd name="connsiteY5536" fmla="*/ 245748 h 8402012"/>
              <a:gd name="connsiteX5537" fmla="*/ 13688089 w 21052572"/>
              <a:gd name="connsiteY5537" fmla="*/ 246505 h 8402012"/>
              <a:gd name="connsiteX5538" fmla="*/ 13694072 w 21052572"/>
              <a:gd name="connsiteY5538" fmla="*/ 241390 h 8402012"/>
              <a:gd name="connsiteX5539" fmla="*/ 13855064 w 21052572"/>
              <a:gd name="connsiteY5539" fmla="*/ 1806 h 8402012"/>
              <a:gd name="connsiteX5540" fmla="*/ 13880858 w 21052572"/>
              <a:gd name="connsiteY5540" fmla="*/ 34045 h 8402012"/>
              <a:gd name="connsiteX5541" fmla="*/ 13931370 w 21052572"/>
              <a:gd name="connsiteY5541" fmla="*/ 34045 h 8402012"/>
              <a:gd name="connsiteX5542" fmla="*/ 14021647 w 21052572"/>
              <a:gd name="connsiteY5542" fmla="*/ 34045 h 8402012"/>
              <a:gd name="connsiteX5543" fmla="*/ 14393503 w 21052572"/>
              <a:gd name="connsiteY5543" fmla="*/ 98523 h 8402012"/>
              <a:gd name="connsiteX5544" fmla="*/ 14393503 w 21052572"/>
              <a:gd name="connsiteY5544" fmla="*/ 34045 h 8402012"/>
              <a:gd name="connsiteX5545" fmla="*/ 14451538 w 21052572"/>
              <a:gd name="connsiteY5545" fmla="*/ 40493 h 8402012"/>
              <a:gd name="connsiteX5546" fmla="*/ 14836290 w 21052572"/>
              <a:gd name="connsiteY5546" fmla="*/ 72732 h 8402012"/>
              <a:gd name="connsiteX5547" fmla="*/ 15022218 w 21052572"/>
              <a:gd name="connsiteY5547" fmla="*/ 116792 h 8402012"/>
              <a:gd name="connsiteX5548" fmla="*/ 15188802 w 21052572"/>
              <a:gd name="connsiteY5548" fmla="*/ 187718 h 8402012"/>
              <a:gd name="connsiteX5549" fmla="*/ 15567106 w 21052572"/>
              <a:gd name="connsiteY5549" fmla="*/ 252196 h 8402012"/>
              <a:gd name="connsiteX5550" fmla="*/ 15946484 w 21052572"/>
              <a:gd name="connsiteY5550" fmla="*/ 334943 h 8402012"/>
              <a:gd name="connsiteX5551" fmla="*/ 16331236 w 21052572"/>
              <a:gd name="connsiteY5551" fmla="*/ 425212 h 8402012"/>
              <a:gd name="connsiteX5552" fmla="*/ 16703092 w 21052572"/>
              <a:gd name="connsiteY5552" fmla="*/ 520854 h 8402012"/>
              <a:gd name="connsiteX5553" fmla="*/ 17074948 w 21052572"/>
              <a:gd name="connsiteY5553" fmla="*/ 675602 h 8402012"/>
              <a:gd name="connsiteX5554" fmla="*/ 17260876 w 21052572"/>
              <a:gd name="connsiteY5554" fmla="*/ 751901 h 8402012"/>
              <a:gd name="connsiteX5555" fmla="*/ 17338256 w 21052572"/>
              <a:gd name="connsiteY5555" fmla="*/ 835722 h 8402012"/>
              <a:gd name="connsiteX5556" fmla="*/ 17139432 w 21052572"/>
              <a:gd name="connsiteY5556" fmla="*/ 777692 h 8402012"/>
              <a:gd name="connsiteX5557" fmla="*/ 15605794 w 21052572"/>
              <a:gd name="connsiteY5557" fmla="*/ 392973 h 8402012"/>
              <a:gd name="connsiteX5558" fmla="*/ 14053889 w 21052572"/>
              <a:gd name="connsiteY5558" fmla="*/ 219957 h 8402012"/>
              <a:gd name="connsiteX5559" fmla="*/ 14040992 w 21052572"/>
              <a:gd name="connsiteY5559" fmla="*/ 284435 h 8402012"/>
              <a:gd name="connsiteX5560" fmla="*/ 14021647 w 21052572"/>
              <a:gd name="connsiteY5560" fmla="*/ 219957 h 8402012"/>
              <a:gd name="connsiteX5561" fmla="*/ 13809926 w 21052572"/>
              <a:gd name="connsiteY5561" fmla="*/ 219957 h 8402012"/>
              <a:gd name="connsiteX5562" fmla="*/ 13713200 w 21052572"/>
              <a:gd name="connsiteY5562" fmla="*/ 245748 h 8402012"/>
              <a:gd name="connsiteX5563" fmla="*/ 13696151 w 21052572"/>
              <a:gd name="connsiteY5563" fmla="*/ 241864 h 8402012"/>
              <a:gd name="connsiteX5564" fmla="*/ 13701260 w 21052572"/>
              <a:gd name="connsiteY5564" fmla="*/ 250600 h 8402012"/>
              <a:gd name="connsiteX5565" fmla="*/ 13695273 w 21052572"/>
              <a:gd name="connsiteY5565" fmla="*/ 258278 h 8402012"/>
              <a:gd name="connsiteX5566" fmla="*/ 13692173 w 21052572"/>
              <a:gd name="connsiteY5566" fmla="*/ 257601 h 8402012"/>
              <a:gd name="connsiteX5567" fmla="*/ 13694930 w 21052572"/>
              <a:gd name="connsiteY5567" fmla="*/ 265091 h 8402012"/>
              <a:gd name="connsiteX5568" fmla="*/ 13412277 w 21052572"/>
              <a:gd name="connsiteY5568" fmla="*/ 252196 h 8402012"/>
              <a:gd name="connsiteX5569" fmla="*/ 13412277 w 21052572"/>
              <a:gd name="connsiteY5569" fmla="*/ 303778 h 8402012"/>
              <a:gd name="connsiteX5570" fmla="*/ 13360690 w 21052572"/>
              <a:gd name="connsiteY5570" fmla="*/ 315599 h 8402012"/>
              <a:gd name="connsiteX5571" fmla="*/ 13322000 w 21052572"/>
              <a:gd name="connsiteY5571" fmla="*/ 258644 h 8402012"/>
              <a:gd name="connsiteX5572" fmla="*/ 13277936 w 21052572"/>
              <a:gd name="connsiteY5572" fmla="*/ 284435 h 8402012"/>
              <a:gd name="connsiteX5573" fmla="*/ 13315551 w 21052572"/>
              <a:gd name="connsiteY5573" fmla="*/ 284435 h 8402012"/>
              <a:gd name="connsiteX5574" fmla="*/ 13270413 w 21052572"/>
              <a:gd name="connsiteY5574" fmla="*/ 309151 h 8402012"/>
              <a:gd name="connsiteX5575" fmla="*/ 13258591 w 21052572"/>
              <a:gd name="connsiteY5575" fmla="*/ 252196 h 8402012"/>
              <a:gd name="connsiteX5576" fmla="*/ 13116727 w 21052572"/>
              <a:gd name="connsiteY5576" fmla="*/ 290883 h 8402012"/>
              <a:gd name="connsiteX5577" fmla="*/ 13079111 w 21052572"/>
              <a:gd name="connsiteY5577" fmla="*/ 303778 h 8402012"/>
              <a:gd name="connsiteX5578" fmla="*/ 13046869 w 21052572"/>
              <a:gd name="connsiteY5578" fmla="*/ 347838 h 8402012"/>
              <a:gd name="connsiteX5579" fmla="*/ 12924350 w 21052572"/>
              <a:gd name="connsiteY5579" fmla="*/ 360734 h 8402012"/>
              <a:gd name="connsiteX5580" fmla="*/ 12770664 w 21052572"/>
              <a:gd name="connsiteY5580" fmla="*/ 386525 h 8402012"/>
              <a:gd name="connsiteX5581" fmla="*/ 13148968 w 21052572"/>
              <a:gd name="connsiteY5581" fmla="*/ 373629 h 8402012"/>
              <a:gd name="connsiteX5582" fmla="*/ 13252142 w 21052572"/>
              <a:gd name="connsiteY5582" fmla="*/ 380077 h 8402012"/>
              <a:gd name="connsiteX5583" fmla="*/ 13322000 w 21052572"/>
              <a:gd name="connsiteY5583" fmla="*/ 347838 h 8402012"/>
              <a:gd name="connsiteX5584" fmla="*/ 13470312 w 21052572"/>
              <a:gd name="connsiteY5584" fmla="*/ 341390 h 8402012"/>
              <a:gd name="connsiteX5585" fmla="*/ 13855064 w 21052572"/>
              <a:gd name="connsiteY5585" fmla="*/ 347838 h 8402012"/>
              <a:gd name="connsiteX5586" fmla="*/ 14175333 w 21052572"/>
              <a:gd name="connsiteY5586" fmla="*/ 373629 h 8402012"/>
              <a:gd name="connsiteX5587" fmla="*/ 14226920 w 21052572"/>
              <a:gd name="connsiteY5587" fmla="*/ 360734 h 8402012"/>
              <a:gd name="connsiteX5588" fmla="*/ 14252713 w 21052572"/>
              <a:gd name="connsiteY5588" fmla="*/ 322047 h 8402012"/>
              <a:gd name="connsiteX5589" fmla="*/ 14361261 w 21052572"/>
              <a:gd name="connsiteY5589" fmla="*/ 373629 h 8402012"/>
              <a:gd name="connsiteX5590" fmla="*/ 14540740 w 21052572"/>
              <a:gd name="connsiteY5590" fmla="*/ 392973 h 8402012"/>
              <a:gd name="connsiteX5591" fmla="*/ 14726668 w 21052572"/>
              <a:gd name="connsiteY5591" fmla="*/ 412316 h 8402012"/>
              <a:gd name="connsiteX5592" fmla="*/ 15117870 w 21052572"/>
              <a:gd name="connsiteY5592" fmla="*/ 463899 h 8402012"/>
              <a:gd name="connsiteX5593" fmla="*/ 15266182 w 21052572"/>
              <a:gd name="connsiteY5593" fmla="*/ 476794 h 8402012"/>
              <a:gd name="connsiteX5594" fmla="*/ 15337114 w 21052572"/>
              <a:gd name="connsiteY5594" fmla="*/ 527302 h 8402012"/>
              <a:gd name="connsiteX5595" fmla="*/ 14977080 w 21052572"/>
              <a:gd name="connsiteY5595" fmla="*/ 509033 h 8402012"/>
              <a:gd name="connsiteX5596" fmla="*/ 14926568 w 21052572"/>
              <a:gd name="connsiteY5596" fmla="*/ 496138 h 8402012"/>
              <a:gd name="connsiteX5597" fmla="*/ 14874981 w 21052572"/>
              <a:gd name="connsiteY5597" fmla="*/ 470347 h 8402012"/>
              <a:gd name="connsiteX5598" fmla="*/ 14701950 w 21052572"/>
              <a:gd name="connsiteY5598" fmla="*/ 476794 h 8402012"/>
              <a:gd name="connsiteX5599" fmla="*/ 13931370 w 21052572"/>
              <a:gd name="connsiteY5599" fmla="*/ 438108 h 8402012"/>
              <a:gd name="connsiteX5600" fmla="*/ 13540169 w 21052572"/>
              <a:gd name="connsiteY5600" fmla="*/ 438108 h 8402012"/>
              <a:gd name="connsiteX5601" fmla="*/ 13380035 w 21052572"/>
              <a:gd name="connsiteY5601" fmla="*/ 438108 h 8402012"/>
              <a:gd name="connsiteX5602" fmla="*/ 13334896 w 21052572"/>
              <a:gd name="connsiteY5602" fmla="*/ 463899 h 8402012"/>
              <a:gd name="connsiteX5603" fmla="*/ 13289758 w 21052572"/>
              <a:gd name="connsiteY5603" fmla="*/ 457451 h 8402012"/>
              <a:gd name="connsiteX5604" fmla="*/ 12956592 w 21052572"/>
              <a:gd name="connsiteY5604" fmla="*/ 501511 h 8402012"/>
              <a:gd name="connsiteX5605" fmla="*/ 12571840 w 21052572"/>
              <a:gd name="connsiteY5605" fmla="*/ 546646 h 8402012"/>
              <a:gd name="connsiteX5606" fmla="*/ 12373015 w 21052572"/>
              <a:gd name="connsiteY5606" fmla="*/ 572437 h 8402012"/>
              <a:gd name="connsiteX5607" fmla="*/ 12302083 w 21052572"/>
              <a:gd name="connsiteY5607" fmla="*/ 585333 h 8402012"/>
              <a:gd name="connsiteX5608" fmla="*/ 12295635 w 21052572"/>
              <a:gd name="connsiteY5608" fmla="*/ 636915 h 8402012"/>
              <a:gd name="connsiteX5609" fmla="*/ 12148397 w 21052572"/>
              <a:gd name="connsiteY5609" fmla="*/ 675602 h 8402012"/>
              <a:gd name="connsiteX5610" fmla="*/ 12129052 w 21052572"/>
              <a:gd name="connsiteY5610" fmla="*/ 617572 h 8402012"/>
              <a:gd name="connsiteX5611" fmla="*/ 12071017 w 21052572"/>
              <a:gd name="connsiteY5611" fmla="*/ 617572 h 8402012"/>
              <a:gd name="connsiteX5612" fmla="*/ 12109707 w 21052572"/>
              <a:gd name="connsiteY5612" fmla="*/ 675602 h 8402012"/>
              <a:gd name="connsiteX5613" fmla="*/ 11994711 w 21052572"/>
              <a:gd name="connsiteY5613" fmla="*/ 706766 h 8402012"/>
              <a:gd name="connsiteX5614" fmla="*/ 11994711 w 21052572"/>
              <a:gd name="connsiteY5614" fmla="*/ 649811 h 8402012"/>
              <a:gd name="connsiteX5615" fmla="*/ 11897986 w 21052572"/>
              <a:gd name="connsiteY5615" fmla="*/ 732557 h 8402012"/>
              <a:gd name="connsiteX5616" fmla="*/ 11782990 w 21052572"/>
              <a:gd name="connsiteY5616" fmla="*/ 675602 h 8402012"/>
              <a:gd name="connsiteX5617" fmla="*/ 11776542 w 21052572"/>
              <a:gd name="connsiteY5617" fmla="*/ 706766 h 8402012"/>
              <a:gd name="connsiteX5618" fmla="*/ 11841025 w 21052572"/>
              <a:gd name="connsiteY5618" fmla="*/ 706766 h 8402012"/>
              <a:gd name="connsiteX5619" fmla="*/ 11865744 w 21052572"/>
              <a:gd name="connsiteY5619" fmla="*/ 739005 h 8402012"/>
              <a:gd name="connsiteX5620" fmla="*/ 11795887 w 21052572"/>
              <a:gd name="connsiteY5620" fmla="*/ 739005 h 8402012"/>
              <a:gd name="connsiteX5621" fmla="*/ 11757197 w 21052572"/>
              <a:gd name="connsiteY5621" fmla="*/ 726244 h 8402012"/>
              <a:gd name="connsiteX5622" fmla="*/ 11745513 w 21052572"/>
              <a:gd name="connsiteY5622" fmla="*/ 722634 h 8402012"/>
              <a:gd name="connsiteX5623" fmla="*/ 11718506 w 21052572"/>
              <a:gd name="connsiteY5623" fmla="*/ 714289 h 8402012"/>
              <a:gd name="connsiteX5624" fmla="*/ 11635752 w 21052572"/>
              <a:gd name="connsiteY5624" fmla="*/ 706766 h 8402012"/>
              <a:gd name="connsiteX5625" fmla="*/ 11673368 w 21052572"/>
              <a:gd name="connsiteY5625" fmla="*/ 803483 h 8402012"/>
              <a:gd name="connsiteX5626" fmla="*/ 11603510 w 21052572"/>
              <a:gd name="connsiteY5626" fmla="*/ 809931 h 8402012"/>
              <a:gd name="connsiteX5627" fmla="*/ 11519682 w 21052572"/>
              <a:gd name="connsiteY5627" fmla="*/ 822827 h 8402012"/>
              <a:gd name="connsiteX5628" fmla="*/ 11468095 w 21052572"/>
              <a:gd name="connsiteY5628" fmla="*/ 771244 h 8402012"/>
              <a:gd name="connsiteX5629" fmla="*/ 11417583 w 21052572"/>
              <a:gd name="connsiteY5629" fmla="*/ 809931 h 8402012"/>
              <a:gd name="connsiteX5630" fmla="*/ 11327306 w 21052572"/>
              <a:gd name="connsiteY5630" fmla="*/ 848618 h 8402012"/>
              <a:gd name="connsiteX5631" fmla="*/ 11314409 w 21052572"/>
              <a:gd name="connsiteY5631" fmla="*/ 803483 h 8402012"/>
              <a:gd name="connsiteX5632" fmla="*/ 11275719 w 21052572"/>
              <a:gd name="connsiteY5632" fmla="*/ 816379 h 8402012"/>
              <a:gd name="connsiteX5633" fmla="*/ 11288615 w 21052572"/>
              <a:gd name="connsiteY5633" fmla="*/ 861514 h 8402012"/>
              <a:gd name="connsiteX5634" fmla="*/ 11051101 w 21052572"/>
              <a:gd name="connsiteY5634" fmla="*/ 937813 h 8402012"/>
              <a:gd name="connsiteX5635" fmla="*/ 11147826 w 21052572"/>
              <a:gd name="connsiteY5635" fmla="*/ 874409 h 8402012"/>
              <a:gd name="connsiteX5636" fmla="*/ 11012410 w 21052572"/>
              <a:gd name="connsiteY5636" fmla="*/ 900201 h 8402012"/>
              <a:gd name="connsiteX5637" fmla="*/ 10890966 w 21052572"/>
              <a:gd name="connsiteY5637" fmla="*/ 957156 h 8402012"/>
              <a:gd name="connsiteX5638" fmla="*/ 10756625 w 21052572"/>
              <a:gd name="connsiteY5638" fmla="*/ 1015186 h 8402012"/>
              <a:gd name="connsiteX5639" fmla="*/ 10653451 w 21052572"/>
              <a:gd name="connsiteY5639" fmla="*/ 1079682 h 8402012"/>
              <a:gd name="connsiteX5640" fmla="*/ 10640555 w 21052572"/>
              <a:gd name="connsiteY5640" fmla="*/ 1021634 h 8402012"/>
              <a:gd name="connsiteX5641" fmla="*/ 10544904 w 21052572"/>
              <a:gd name="connsiteY5641" fmla="*/ 1092579 h 8402012"/>
              <a:gd name="connsiteX5642" fmla="*/ 10475047 w 21052572"/>
              <a:gd name="connsiteY5642" fmla="*/ 1124818 h 8402012"/>
              <a:gd name="connsiteX5643" fmla="*/ 10327809 w 21052572"/>
              <a:gd name="connsiteY5643" fmla="*/ 1214014 h 8402012"/>
              <a:gd name="connsiteX5644" fmla="*/ 10231084 w 21052572"/>
              <a:gd name="connsiteY5644" fmla="*/ 1259150 h 8402012"/>
              <a:gd name="connsiteX5645" fmla="*/ 10135433 w 21052572"/>
              <a:gd name="connsiteY5645" fmla="*/ 1278493 h 8402012"/>
              <a:gd name="connsiteX5646" fmla="*/ 9943057 w 21052572"/>
              <a:gd name="connsiteY5646" fmla="*/ 1367690 h 8402012"/>
              <a:gd name="connsiteX5647" fmla="*/ 10174123 w 21052572"/>
              <a:gd name="connsiteY5647" fmla="*/ 1335450 h 8402012"/>
              <a:gd name="connsiteX5648" fmla="*/ 10237532 w 21052572"/>
              <a:gd name="connsiteY5648" fmla="*/ 1317181 h 8402012"/>
              <a:gd name="connsiteX5649" fmla="*/ 10263325 w 21052572"/>
              <a:gd name="connsiteY5649" fmla="*/ 1265598 h 8402012"/>
              <a:gd name="connsiteX5650" fmla="*/ 10372948 w 21052572"/>
              <a:gd name="connsiteY5650" fmla="*/ 1259150 h 8402012"/>
              <a:gd name="connsiteX5651" fmla="*/ 10475047 w 21052572"/>
              <a:gd name="connsiteY5651" fmla="*/ 1233358 h 8402012"/>
              <a:gd name="connsiteX5652" fmla="*/ 10583594 w 21052572"/>
              <a:gd name="connsiteY5652" fmla="*/ 1214014 h 8402012"/>
              <a:gd name="connsiteX5653" fmla="*/ 10621210 w 21052572"/>
              <a:gd name="connsiteY5653" fmla="*/ 1201118 h 8402012"/>
              <a:gd name="connsiteX5654" fmla="*/ 10596760 w 21052572"/>
              <a:gd name="connsiteY5654" fmla="*/ 1198700 h 8402012"/>
              <a:gd name="connsiteX5655" fmla="*/ 10582800 w 21052572"/>
              <a:gd name="connsiteY5655" fmla="*/ 1186653 h 8402012"/>
              <a:gd name="connsiteX5656" fmla="*/ 10591854 w 21052572"/>
              <a:gd name="connsiteY5656" fmla="*/ 1199432 h 8402012"/>
              <a:gd name="connsiteX5657" fmla="*/ 10577351 w 21052572"/>
              <a:gd name="connsiteY5657" fmla="*/ 1204248 h 8402012"/>
              <a:gd name="connsiteX5658" fmla="*/ 10578117 w 21052572"/>
              <a:gd name="connsiteY5658" fmla="*/ 1182613 h 8402012"/>
              <a:gd name="connsiteX5659" fmla="*/ 10577146 w 21052572"/>
              <a:gd name="connsiteY5659" fmla="*/ 1181774 h 8402012"/>
              <a:gd name="connsiteX5660" fmla="*/ 10578145 w 21052572"/>
              <a:gd name="connsiteY5660" fmla="*/ 1181822 h 8402012"/>
              <a:gd name="connsiteX5661" fmla="*/ 10578204 w 21052572"/>
              <a:gd name="connsiteY5661" fmla="*/ 1180167 h 8402012"/>
              <a:gd name="connsiteX5662" fmla="*/ 10579420 w 21052572"/>
              <a:gd name="connsiteY5662" fmla="*/ 1181883 h 8402012"/>
              <a:gd name="connsiteX5663" fmla="*/ 10610866 w 21052572"/>
              <a:gd name="connsiteY5663" fmla="*/ 1183386 h 8402012"/>
              <a:gd name="connsiteX5664" fmla="*/ 10640555 w 21052572"/>
              <a:gd name="connsiteY5664" fmla="*/ 1175327 h 8402012"/>
              <a:gd name="connsiteX5665" fmla="*/ 10653451 w 21052572"/>
              <a:gd name="connsiteY5665" fmla="*/ 1111922 h 8402012"/>
              <a:gd name="connsiteX5666" fmla="*/ 10692142 w 21052572"/>
              <a:gd name="connsiteY5666" fmla="*/ 1259150 h 8402012"/>
              <a:gd name="connsiteX5667" fmla="*/ 10526634 w 21052572"/>
              <a:gd name="connsiteY5667" fmla="*/ 1322555 h 8402012"/>
              <a:gd name="connsiteX5668" fmla="*/ 10507289 w 21052572"/>
              <a:gd name="connsiteY5668" fmla="*/ 1265598 h 8402012"/>
              <a:gd name="connsiteX5669" fmla="*/ 10507289 w 21052572"/>
              <a:gd name="connsiteY5669" fmla="*/ 1341898 h 8402012"/>
              <a:gd name="connsiteX5670" fmla="*/ 10442805 w 21052572"/>
              <a:gd name="connsiteY5670" fmla="*/ 1354794 h 8402012"/>
              <a:gd name="connsiteX5671" fmla="*/ 10353603 w 21052572"/>
              <a:gd name="connsiteY5671" fmla="*/ 1354794 h 8402012"/>
              <a:gd name="connsiteX5672" fmla="*/ 10314912 w 21052572"/>
              <a:gd name="connsiteY5672" fmla="*/ 1419273 h 8402012"/>
              <a:gd name="connsiteX5673" fmla="*/ 10250429 w 21052572"/>
              <a:gd name="connsiteY5673" fmla="*/ 1451512 h 8402012"/>
              <a:gd name="connsiteX5674" fmla="*/ 10174123 w 21052572"/>
              <a:gd name="connsiteY5674" fmla="*/ 1490200 h 8402012"/>
              <a:gd name="connsiteX5675" fmla="*/ 10090294 w 21052572"/>
              <a:gd name="connsiteY5675" fmla="*/ 1509543 h 8402012"/>
              <a:gd name="connsiteX5676" fmla="*/ 10051604 w 21052572"/>
              <a:gd name="connsiteY5676" fmla="*/ 1540708 h 8402012"/>
              <a:gd name="connsiteX5677" fmla="*/ 10379396 w 21052572"/>
              <a:gd name="connsiteY5677" fmla="*/ 1457960 h 8402012"/>
              <a:gd name="connsiteX5678" fmla="*/ 10717935 w 21052572"/>
              <a:gd name="connsiteY5678" fmla="*/ 1361242 h 8402012"/>
              <a:gd name="connsiteX5679" fmla="*/ 10795316 w 21052572"/>
              <a:gd name="connsiteY5679" fmla="*/ 1317181 h 8402012"/>
              <a:gd name="connsiteX5680" fmla="*/ 10878070 w 21052572"/>
              <a:gd name="connsiteY5680" fmla="*/ 1297837 h 8402012"/>
              <a:gd name="connsiteX5681" fmla="*/ 11044652 w 21052572"/>
              <a:gd name="connsiteY5681" fmla="*/ 1252702 h 8402012"/>
              <a:gd name="connsiteX5682" fmla="*/ 11378892 w 21052572"/>
              <a:gd name="connsiteY5682" fmla="*/ 1168880 h 8402012"/>
              <a:gd name="connsiteX5683" fmla="*/ 12790010 w 21052572"/>
              <a:gd name="connsiteY5683" fmla="*/ 893753 h 8402012"/>
              <a:gd name="connsiteX5684" fmla="*/ 12751319 w 21052572"/>
              <a:gd name="connsiteY5684" fmla="*/ 957156 h 8402012"/>
              <a:gd name="connsiteX5685" fmla="*/ 12809355 w 21052572"/>
              <a:gd name="connsiteY5685" fmla="*/ 957156 h 8402012"/>
              <a:gd name="connsiteX5686" fmla="*/ 12809355 w 21052572"/>
              <a:gd name="connsiteY5686" fmla="*/ 893753 h 8402012"/>
              <a:gd name="connsiteX5687" fmla="*/ 12885660 w 21052572"/>
              <a:gd name="connsiteY5687" fmla="*/ 919544 h 8402012"/>
              <a:gd name="connsiteX5688" fmla="*/ 12885660 w 21052572"/>
              <a:gd name="connsiteY5688" fmla="*/ 822827 h 8402012"/>
              <a:gd name="connsiteX5689" fmla="*/ 12917902 w 21052572"/>
              <a:gd name="connsiteY5689" fmla="*/ 784140 h 8402012"/>
              <a:gd name="connsiteX5690" fmla="*/ 12859867 w 21052572"/>
              <a:gd name="connsiteY5690" fmla="*/ 726110 h 8402012"/>
              <a:gd name="connsiteX5691" fmla="*/ 12917902 w 21052572"/>
              <a:gd name="connsiteY5691" fmla="*/ 675602 h 8402012"/>
              <a:gd name="connsiteX5692" fmla="*/ 12809355 w 21052572"/>
              <a:gd name="connsiteY5692" fmla="*/ 701393 h 8402012"/>
              <a:gd name="connsiteX5693" fmla="*/ 12719078 w 21052572"/>
              <a:gd name="connsiteY5693" fmla="*/ 784140 h 8402012"/>
              <a:gd name="connsiteX5694" fmla="*/ 12431051 w 21052572"/>
              <a:gd name="connsiteY5694" fmla="*/ 861514 h 8402012"/>
              <a:gd name="connsiteX5695" fmla="*/ 12437499 w 21052572"/>
              <a:gd name="connsiteY5695" fmla="*/ 719662 h 8402012"/>
              <a:gd name="connsiteX5696" fmla="*/ 12500908 w 21052572"/>
              <a:gd name="connsiteY5696" fmla="*/ 682050 h 8402012"/>
              <a:gd name="connsiteX5697" fmla="*/ 12578288 w 21052572"/>
              <a:gd name="connsiteY5697" fmla="*/ 662706 h 8402012"/>
              <a:gd name="connsiteX5698" fmla="*/ 12905005 w 21052572"/>
              <a:gd name="connsiteY5698" fmla="*/ 598228 h 8402012"/>
              <a:gd name="connsiteX5699" fmla="*/ 13065140 w 21052572"/>
              <a:gd name="connsiteY5699" fmla="*/ 611124 h 8402012"/>
              <a:gd name="connsiteX5700" fmla="*/ 13123175 w 21052572"/>
              <a:gd name="connsiteY5700" fmla="*/ 630467 h 8402012"/>
              <a:gd name="connsiteX5701" fmla="*/ 13097382 w 21052572"/>
              <a:gd name="connsiteY5701" fmla="*/ 656258 h 8402012"/>
              <a:gd name="connsiteX5702" fmla="*/ 12995282 w 21052572"/>
              <a:gd name="connsiteY5702" fmla="*/ 706766 h 8402012"/>
              <a:gd name="connsiteX5703" fmla="*/ 12956592 w 21052572"/>
              <a:gd name="connsiteY5703" fmla="*/ 739005 h 8402012"/>
              <a:gd name="connsiteX5704" fmla="*/ 12943696 w 21052572"/>
              <a:gd name="connsiteY5704" fmla="*/ 842170 h 8402012"/>
              <a:gd name="connsiteX5705" fmla="*/ 13027524 w 21052572"/>
              <a:gd name="connsiteY5705" fmla="*/ 848618 h 8402012"/>
              <a:gd name="connsiteX5706" fmla="*/ 13103830 w 21052572"/>
              <a:gd name="connsiteY5706" fmla="*/ 861514 h 8402012"/>
              <a:gd name="connsiteX5707" fmla="*/ 13079111 w 21052572"/>
              <a:gd name="connsiteY5707" fmla="*/ 900201 h 8402012"/>
              <a:gd name="connsiteX5708" fmla="*/ 13001731 w 21052572"/>
              <a:gd name="connsiteY5708" fmla="*/ 893753 h 8402012"/>
              <a:gd name="connsiteX5709" fmla="*/ 12937247 w 21052572"/>
              <a:gd name="connsiteY5709" fmla="*/ 906648 h 8402012"/>
              <a:gd name="connsiteX5710" fmla="*/ 12975937 w 21052572"/>
              <a:gd name="connsiteY5710" fmla="*/ 931365 h 8402012"/>
              <a:gd name="connsiteX5711" fmla="*/ 13142520 w 21052572"/>
              <a:gd name="connsiteY5711" fmla="*/ 924917 h 8402012"/>
              <a:gd name="connsiteX5712" fmla="*/ 13855064 w 21052572"/>
              <a:gd name="connsiteY5712" fmla="*/ 912021 h 8402012"/>
              <a:gd name="connsiteX5713" fmla="*/ 14585879 w 21052572"/>
              <a:gd name="connsiteY5713" fmla="*/ 919544 h 8402012"/>
              <a:gd name="connsiteX5714" fmla="*/ 14739565 w 21052572"/>
              <a:gd name="connsiteY5714" fmla="*/ 924917 h 8402012"/>
              <a:gd name="connsiteX5715" fmla="*/ 14810497 w 21052572"/>
              <a:gd name="connsiteY5715" fmla="*/ 950708 h 8402012"/>
              <a:gd name="connsiteX5716" fmla="*/ 14874981 w 21052572"/>
              <a:gd name="connsiteY5716" fmla="*/ 944261 h 8402012"/>
              <a:gd name="connsiteX5717" fmla="*/ 14944838 w 21052572"/>
              <a:gd name="connsiteY5717" fmla="*/ 982947 h 8402012"/>
              <a:gd name="connsiteX5718" fmla="*/ 15028666 w 21052572"/>
              <a:gd name="connsiteY5718" fmla="*/ 995843 h 8402012"/>
              <a:gd name="connsiteX5719" fmla="*/ 15150110 w 21052572"/>
              <a:gd name="connsiteY5719" fmla="*/ 1034530 h 8402012"/>
              <a:gd name="connsiteX5720" fmla="*/ 14220472 w 21052572"/>
              <a:gd name="connsiteY5720" fmla="*/ 1002291 h 8402012"/>
              <a:gd name="connsiteX5721" fmla="*/ 14669708 w 21052572"/>
              <a:gd name="connsiteY5721" fmla="*/ 1079682 h 8402012"/>
              <a:gd name="connsiteX5722" fmla="*/ 14887877 w 21052572"/>
              <a:gd name="connsiteY5722" fmla="*/ 1124818 h 8402012"/>
              <a:gd name="connsiteX5723" fmla="*/ 15080254 w 21052572"/>
              <a:gd name="connsiteY5723" fmla="*/ 1188223 h 8402012"/>
              <a:gd name="connsiteX5724" fmla="*/ 15528414 w 21052572"/>
              <a:gd name="connsiteY5724" fmla="*/ 1272046 h 8402012"/>
              <a:gd name="connsiteX5725" fmla="*/ 15747658 w 21052572"/>
              <a:gd name="connsiteY5725" fmla="*/ 1317181 h 8402012"/>
              <a:gd name="connsiteX5726" fmla="*/ 15849758 w 21052572"/>
              <a:gd name="connsiteY5726" fmla="*/ 1341898 h 8402012"/>
              <a:gd name="connsiteX5727" fmla="*/ 15882000 w 21052572"/>
              <a:gd name="connsiteY5727" fmla="*/ 1322555 h 8402012"/>
              <a:gd name="connsiteX5728" fmla="*/ 15920690 w 21052572"/>
              <a:gd name="connsiteY5728" fmla="*/ 1322555 h 8402012"/>
              <a:gd name="connsiteX5729" fmla="*/ 15882000 w 21052572"/>
              <a:gd name="connsiteY5729" fmla="*/ 1387034 h 8402012"/>
              <a:gd name="connsiteX5730" fmla="*/ 16439784 w 21052572"/>
              <a:gd name="connsiteY5730" fmla="*/ 1547156 h 8402012"/>
              <a:gd name="connsiteX5731" fmla="*/ 16709540 w 21052572"/>
              <a:gd name="connsiteY5731" fmla="*/ 1637427 h 8402012"/>
              <a:gd name="connsiteX5732" fmla="*/ 16830988 w 21052572"/>
              <a:gd name="connsiteY5732" fmla="*/ 1689010 h 8402012"/>
              <a:gd name="connsiteX5733" fmla="*/ 16863228 w 21052572"/>
              <a:gd name="connsiteY5733" fmla="*/ 1758863 h 8402012"/>
              <a:gd name="connsiteX5734" fmla="*/ 16882572 w 21052572"/>
              <a:gd name="connsiteY5734" fmla="*/ 1689010 h 8402012"/>
              <a:gd name="connsiteX5735" fmla="*/ 16901920 w 21052572"/>
              <a:gd name="connsiteY5735" fmla="*/ 1630979 h 8402012"/>
              <a:gd name="connsiteX5736" fmla="*/ 17254428 w 21052572"/>
              <a:gd name="connsiteY5736" fmla="*/ 1695459 h 8402012"/>
              <a:gd name="connsiteX5737" fmla="*/ 17409188 w 21052572"/>
              <a:gd name="connsiteY5737" fmla="*/ 1784655 h 8402012"/>
              <a:gd name="connsiteX5738" fmla="*/ 17562876 w 21052572"/>
              <a:gd name="connsiteY5738" fmla="*/ 1816895 h 8402012"/>
              <a:gd name="connsiteX5739" fmla="*/ 18248552 w 21052572"/>
              <a:gd name="connsiteY5739" fmla="*/ 2054393 h 8402012"/>
              <a:gd name="connsiteX5740" fmla="*/ 19576916 w 21052572"/>
              <a:gd name="connsiteY5740" fmla="*/ 2843195 h 8402012"/>
              <a:gd name="connsiteX5741" fmla="*/ 19551120 w 21052572"/>
              <a:gd name="connsiteY5741" fmla="*/ 2888327 h 8402012"/>
              <a:gd name="connsiteX5742" fmla="*/ 19550420 w 21052572"/>
              <a:gd name="connsiteY5742" fmla="*/ 2888216 h 8402012"/>
              <a:gd name="connsiteX5743" fmla="*/ 19551100 w 21052572"/>
              <a:gd name="connsiteY5743" fmla="*/ 2893081 h 8402012"/>
              <a:gd name="connsiteX5744" fmla="*/ 19548852 w 21052572"/>
              <a:gd name="connsiteY5744" fmla="*/ 2909137 h 8402012"/>
              <a:gd name="connsiteX5745" fmla="*/ 19542120 w 21052572"/>
              <a:gd name="connsiteY5745" fmla="*/ 2893081 h 8402012"/>
              <a:gd name="connsiteX5746" fmla="*/ 19544548 w 21052572"/>
              <a:gd name="connsiteY5746" fmla="*/ 2887289 h 8402012"/>
              <a:gd name="connsiteX5747" fmla="*/ 19535804 w 21052572"/>
              <a:gd name="connsiteY5747" fmla="*/ 2885909 h 8402012"/>
              <a:gd name="connsiteX5748" fmla="*/ 19525328 w 21052572"/>
              <a:gd name="connsiteY5748" fmla="*/ 2888327 h 8402012"/>
              <a:gd name="connsiteX5749" fmla="*/ 19583364 w 21052572"/>
              <a:gd name="connsiteY5749" fmla="*/ 2946355 h 8402012"/>
              <a:gd name="connsiteX5750" fmla="*/ 19654296 w 21052572"/>
              <a:gd name="connsiteY5750" fmla="*/ 3003312 h 8402012"/>
              <a:gd name="connsiteX5751" fmla="*/ 19564020 w 21052572"/>
              <a:gd name="connsiteY5751" fmla="*/ 2958175 h 8402012"/>
              <a:gd name="connsiteX5752" fmla="*/ 19436124 w 21052572"/>
              <a:gd name="connsiteY5752" fmla="*/ 2888327 h 8402012"/>
              <a:gd name="connsiteX5753" fmla="*/ 19423228 w 21052572"/>
              <a:gd name="connsiteY5753" fmla="*/ 2810946 h 8402012"/>
              <a:gd name="connsiteX5754" fmla="*/ 19384540 w 21052572"/>
              <a:gd name="connsiteY5754" fmla="*/ 2759362 h 8402012"/>
              <a:gd name="connsiteX5755" fmla="*/ 19243748 w 21052572"/>
              <a:gd name="connsiteY5755" fmla="*/ 2695958 h 8402012"/>
              <a:gd name="connsiteX5756" fmla="*/ 19088988 w 21052572"/>
              <a:gd name="connsiteY5756" fmla="*/ 2631480 h 8402012"/>
              <a:gd name="connsiteX5757" fmla="*/ 18961096 w 21052572"/>
              <a:gd name="connsiteY5757" fmla="*/ 2547657 h 8402012"/>
              <a:gd name="connsiteX5758" fmla="*/ 18883716 w 21052572"/>
              <a:gd name="connsiteY5758" fmla="*/ 2510046 h 8402012"/>
              <a:gd name="connsiteX5759" fmla="*/ 18775168 w 21052572"/>
              <a:gd name="connsiteY5759" fmla="*/ 2445566 h 8402012"/>
              <a:gd name="connsiteX5760" fmla="*/ 18127108 w 21052572"/>
              <a:gd name="connsiteY5760" fmla="*/ 2162932 h 8402012"/>
              <a:gd name="connsiteX5761" fmla="*/ 17978276 w 21052572"/>
              <a:gd name="connsiteY5761" fmla="*/ 2099225 h 8402012"/>
              <a:gd name="connsiteX5762" fmla="*/ 17977048 w 21052572"/>
              <a:gd name="connsiteY5762" fmla="*/ 2101046 h 8402012"/>
              <a:gd name="connsiteX5763" fmla="*/ 17968024 w 21052572"/>
              <a:gd name="connsiteY5763" fmla="*/ 2094952 h 8402012"/>
              <a:gd name="connsiteX5764" fmla="*/ 17968336 w 21052572"/>
              <a:gd name="connsiteY5764" fmla="*/ 2094952 h 8402012"/>
              <a:gd name="connsiteX5765" fmla="*/ 17805764 w 21052572"/>
              <a:gd name="connsiteY5765" fmla="*/ 2022153 h 8402012"/>
              <a:gd name="connsiteX5766" fmla="*/ 17658528 w 21052572"/>
              <a:gd name="connsiteY5766" fmla="*/ 1957674 h 8402012"/>
              <a:gd name="connsiteX5767" fmla="*/ 17511288 w 21052572"/>
              <a:gd name="connsiteY5767" fmla="*/ 1970570 h 8402012"/>
              <a:gd name="connsiteX5768" fmla="*/ 17934732 w 21052572"/>
              <a:gd name="connsiteY5768" fmla="*/ 2156485 h 8402012"/>
              <a:gd name="connsiteX5769" fmla="*/ 18127108 w 21052572"/>
              <a:gd name="connsiteY5769" fmla="*/ 2253207 h 8402012"/>
              <a:gd name="connsiteX5770" fmla="*/ 18165796 w 21052572"/>
              <a:gd name="connsiteY5770" fmla="*/ 2285443 h 8402012"/>
              <a:gd name="connsiteX5771" fmla="*/ 18127108 w 21052572"/>
              <a:gd name="connsiteY5771" fmla="*/ 2337027 h 8402012"/>
              <a:gd name="connsiteX5772" fmla="*/ 18185144 w 21052572"/>
              <a:gd name="connsiteY5772" fmla="*/ 2361740 h 8402012"/>
              <a:gd name="connsiteX5773" fmla="*/ 18191592 w 21052572"/>
              <a:gd name="connsiteY5773" fmla="*/ 2304791 h 8402012"/>
              <a:gd name="connsiteX5774" fmla="*/ 18242104 w 21052572"/>
              <a:gd name="connsiteY5774" fmla="*/ 2291889 h 8402012"/>
              <a:gd name="connsiteX5775" fmla="*/ 18238072 w 21052572"/>
              <a:gd name="connsiteY5775" fmla="*/ 2335818 h 8402012"/>
              <a:gd name="connsiteX5776" fmla="*/ 18239140 w 21052572"/>
              <a:gd name="connsiteY5776" fmla="*/ 2336553 h 8402012"/>
              <a:gd name="connsiteX5777" fmla="*/ 18245036 w 21052572"/>
              <a:gd name="connsiteY5777" fmla="*/ 2322465 h 8402012"/>
              <a:gd name="connsiteX5778" fmla="*/ 18247404 w 21052572"/>
              <a:gd name="connsiteY5778" fmla="*/ 2338518 h 8402012"/>
              <a:gd name="connsiteX5779" fmla="*/ 18246904 w 21052572"/>
              <a:gd name="connsiteY5779" fmla="*/ 2341904 h 8402012"/>
              <a:gd name="connsiteX5780" fmla="*/ 18267896 w 21052572"/>
              <a:gd name="connsiteY5780" fmla="*/ 2356369 h 8402012"/>
              <a:gd name="connsiteX5781" fmla="*/ 18306588 w 21052572"/>
              <a:gd name="connsiteY5781" fmla="*/ 2343474 h 8402012"/>
              <a:gd name="connsiteX5782" fmla="*/ 18351724 w 21052572"/>
              <a:gd name="connsiteY5782" fmla="*/ 2356369 h 8402012"/>
              <a:gd name="connsiteX5783" fmla="*/ 18300140 w 21052572"/>
              <a:gd name="connsiteY5783" fmla="*/ 2413338 h 8402012"/>
              <a:gd name="connsiteX5784" fmla="*/ 18371072 w 21052572"/>
              <a:gd name="connsiteY5784" fmla="*/ 2477804 h 8402012"/>
              <a:gd name="connsiteX5785" fmla="*/ 18293692 w 21052572"/>
              <a:gd name="connsiteY5785" fmla="*/ 2458463 h 8402012"/>
              <a:gd name="connsiteX5786" fmla="*/ 18204488 w 21052572"/>
              <a:gd name="connsiteY5786" fmla="*/ 2413338 h 8402012"/>
              <a:gd name="connsiteX5787" fmla="*/ 18005664 w 21052572"/>
              <a:gd name="connsiteY5787" fmla="*/ 2311236 h 8402012"/>
              <a:gd name="connsiteX5788" fmla="*/ 17838008 w 21052572"/>
              <a:gd name="connsiteY5788" fmla="*/ 2220961 h 8402012"/>
              <a:gd name="connsiteX5789" fmla="*/ 17652080 w 21052572"/>
              <a:gd name="connsiteY5789" fmla="*/ 2162932 h 8402012"/>
              <a:gd name="connsiteX5790" fmla="*/ 16811640 w 21052572"/>
              <a:gd name="connsiteY5790" fmla="*/ 1894269 h 8402012"/>
              <a:gd name="connsiteX5791" fmla="*/ 16055030 w 21052572"/>
              <a:gd name="connsiteY5791" fmla="*/ 1663219 h 8402012"/>
              <a:gd name="connsiteX5792" fmla="*/ 15683176 w 21052572"/>
              <a:gd name="connsiteY5792" fmla="*/ 1560052 h 8402012"/>
              <a:gd name="connsiteX5793" fmla="*/ 15503696 w 21052572"/>
              <a:gd name="connsiteY5793" fmla="*/ 1503096 h 8402012"/>
              <a:gd name="connsiteX5794" fmla="*/ 15355384 w 21052572"/>
              <a:gd name="connsiteY5794" fmla="*/ 1451512 h 8402012"/>
              <a:gd name="connsiteX5795" fmla="*/ 15201698 w 21052572"/>
              <a:gd name="connsiteY5795" fmla="*/ 1432169 h 8402012"/>
              <a:gd name="connsiteX5796" fmla="*/ 15035114 w 21052572"/>
              <a:gd name="connsiteY5796" fmla="*/ 1380585 h 8402012"/>
              <a:gd name="connsiteX5797" fmla="*/ 14682604 w 21052572"/>
              <a:gd name="connsiteY5797" fmla="*/ 1335450 h 8402012"/>
              <a:gd name="connsiteX5798" fmla="*/ 14393503 w 21052572"/>
              <a:gd name="connsiteY5798" fmla="*/ 1322555 h 8402012"/>
              <a:gd name="connsiteX5799" fmla="*/ 14553637 w 21052572"/>
              <a:gd name="connsiteY5799" fmla="*/ 1322555 h 8402012"/>
              <a:gd name="connsiteX5800" fmla="*/ 14578113 w 21052572"/>
              <a:gd name="connsiteY5800" fmla="*/ 1332752 h 8402012"/>
              <a:gd name="connsiteX5801" fmla="*/ 14574370 w 21052572"/>
              <a:gd name="connsiteY5801" fmla="*/ 1320307 h 8402012"/>
              <a:gd name="connsiteX5802" fmla="*/ 14592332 w 21052572"/>
              <a:gd name="connsiteY5802" fmla="*/ 1320307 h 8402012"/>
              <a:gd name="connsiteX5803" fmla="*/ 14583496 w 21052572"/>
              <a:gd name="connsiteY5803" fmla="*/ 1334995 h 8402012"/>
              <a:gd name="connsiteX5804" fmla="*/ 14621345 w 21052572"/>
              <a:gd name="connsiteY5804" fmla="*/ 1350764 h 8402012"/>
              <a:gd name="connsiteX5805" fmla="*/ 14689053 w 21052572"/>
              <a:gd name="connsiteY5805" fmla="*/ 1374138 h 8402012"/>
              <a:gd name="connsiteX5806" fmla="*/ 15009322 w 21052572"/>
              <a:gd name="connsiteY5806" fmla="*/ 1457960 h 8402012"/>
              <a:gd name="connsiteX5807" fmla="*/ 15644486 w 21052572"/>
              <a:gd name="connsiteY5807" fmla="*/ 1637427 h 8402012"/>
              <a:gd name="connsiteX5808" fmla="*/ 16273202 w 21052572"/>
              <a:gd name="connsiteY5808" fmla="*/ 1823342 h 8402012"/>
              <a:gd name="connsiteX5809" fmla="*/ 16599918 w 21052572"/>
              <a:gd name="connsiteY5809" fmla="*/ 1920063 h 8402012"/>
              <a:gd name="connsiteX5810" fmla="*/ 16741782 w 21052572"/>
              <a:gd name="connsiteY5810" fmla="*/ 1957674 h 8402012"/>
              <a:gd name="connsiteX5811" fmla="*/ 16767576 w 21052572"/>
              <a:gd name="connsiteY5811" fmla="*/ 2060841 h 8402012"/>
              <a:gd name="connsiteX5812" fmla="*/ 16811640 w 21052572"/>
              <a:gd name="connsiteY5812" fmla="*/ 2060841 h 8402012"/>
              <a:gd name="connsiteX5813" fmla="*/ 16818088 w 21052572"/>
              <a:gd name="connsiteY5813" fmla="*/ 2093081 h 8402012"/>
              <a:gd name="connsiteX5814" fmla="*/ 16696644 w 21052572"/>
              <a:gd name="connsiteY5814" fmla="*/ 2060841 h 8402012"/>
              <a:gd name="connsiteX5815" fmla="*/ 16350582 w 21052572"/>
              <a:gd name="connsiteY5815" fmla="*/ 1957674 h 8402012"/>
              <a:gd name="connsiteX5816" fmla="*/ 15657382 w 21052572"/>
              <a:gd name="connsiteY5816" fmla="*/ 1816895 h 8402012"/>
              <a:gd name="connsiteX5817" fmla="*/ 15644486 w 21052572"/>
              <a:gd name="connsiteY5817" fmla="*/ 1874926 h 8402012"/>
              <a:gd name="connsiteX5818" fmla="*/ 15599346 w 21052572"/>
              <a:gd name="connsiteY5818" fmla="*/ 1797550 h 8402012"/>
              <a:gd name="connsiteX5819" fmla="*/ 15542386 w 21052572"/>
              <a:gd name="connsiteY5819" fmla="*/ 1784655 h 8402012"/>
              <a:gd name="connsiteX5820" fmla="*/ 15368280 w 21052572"/>
              <a:gd name="connsiteY5820" fmla="*/ 1771759 h 8402012"/>
              <a:gd name="connsiteX5821" fmla="*/ 15035114 w 21052572"/>
              <a:gd name="connsiteY5821" fmla="*/ 1727698 h 8402012"/>
              <a:gd name="connsiteX5822" fmla="*/ 14354813 w 21052572"/>
              <a:gd name="connsiteY5822" fmla="*/ 1598740 h 8402012"/>
              <a:gd name="connsiteX5823" fmla="*/ 14259162 w 21052572"/>
              <a:gd name="connsiteY5823" fmla="*/ 1708354 h 8402012"/>
              <a:gd name="connsiteX5824" fmla="*/ 14445090 w 21052572"/>
              <a:gd name="connsiteY5824" fmla="*/ 1752415 h 8402012"/>
              <a:gd name="connsiteX5825" fmla="*/ 14509573 w 21052572"/>
              <a:gd name="connsiteY5825" fmla="*/ 1758863 h 8402012"/>
              <a:gd name="connsiteX5826" fmla="*/ 14534292 w 21052572"/>
              <a:gd name="connsiteY5826" fmla="*/ 1701906 h 8402012"/>
              <a:gd name="connsiteX5827" fmla="*/ 14689053 w 21052572"/>
              <a:gd name="connsiteY5827" fmla="*/ 1740594 h 8402012"/>
              <a:gd name="connsiteX5828" fmla="*/ 14778255 w 21052572"/>
              <a:gd name="connsiteY5828" fmla="*/ 1778207 h 8402012"/>
              <a:gd name="connsiteX5829" fmla="*/ 14804049 w 21052572"/>
              <a:gd name="connsiteY5829" fmla="*/ 1727698 h 8402012"/>
              <a:gd name="connsiteX5830" fmla="*/ 15240388 w 21052572"/>
              <a:gd name="connsiteY5830" fmla="*/ 1862030 h 8402012"/>
              <a:gd name="connsiteX5831" fmla="*/ 15374730 w 21052572"/>
              <a:gd name="connsiteY5831" fmla="*/ 1855581 h 8402012"/>
              <a:gd name="connsiteX5832" fmla="*/ 15432764 w 21052572"/>
              <a:gd name="connsiteY5832" fmla="*/ 1849134 h 8402012"/>
              <a:gd name="connsiteX5833" fmla="*/ 15471454 w 21052572"/>
              <a:gd name="connsiteY5833" fmla="*/ 1881373 h 8402012"/>
              <a:gd name="connsiteX5834" fmla="*/ 15586450 w 21052572"/>
              <a:gd name="connsiteY5834" fmla="*/ 1887821 h 8402012"/>
              <a:gd name="connsiteX5835" fmla="*/ 15663830 w 21052572"/>
              <a:gd name="connsiteY5835" fmla="*/ 1874926 h 8402012"/>
              <a:gd name="connsiteX5836" fmla="*/ 15676726 w 21052572"/>
              <a:gd name="connsiteY5836" fmla="*/ 1938330 h 8402012"/>
              <a:gd name="connsiteX5837" fmla="*/ 15702522 w 21052572"/>
              <a:gd name="connsiteY5837" fmla="*/ 1945853 h 8402012"/>
              <a:gd name="connsiteX5838" fmla="*/ 15778826 w 21052572"/>
              <a:gd name="connsiteY5838" fmla="*/ 1964122 h 8402012"/>
              <a:gd name="connsiteX5839" fmla="*/ 15901346 w 21052572"/>
              <a:gd name="connsiteY5839" fmla="*/ 2015705 h 8402012"/>
              <a:gd name="connsiteX5840" fmla="*/ 15573554 w 21052572"/>
              <a:gd name="connsiteY5840" fmla="*/ 1977018 h 8402012"/>
              <a:gd name="connsiteX5841" fmla="*/ 15439212 w 21052572"/>
              <a:gd name="connsiteY5841" fmla="*/ 1964122 h 8402012"/>
              <a:gd name="connsiteX5842" fmla="*/ 15435056 w 21052572"/>
              <a:gd name="connsiteY5842" fmla="*/ 1958224 h 8402012"/>
              <a:gd name="connsiteX5843" fmla="*/ 15436004 w 21052572"/>
              <a:gd name="connsiteY5843" fmla="*/ 1965833 h 8402012"/>
              <a:gd name="connsiteX5844" fmla="*/ 15432090 w 21052572"/>
              <a:gd name="connsiteY5844" fmla="*/ 1964842 h 8402012"/>
              <a:gd name="connsiteX5845" fmla="*/ 15436004 w 21052572"/>
              <a:gd name="connsiteY5845" fmla="*/ 1970714 h 8402012"/>
              <a:gd name="connsiteX5846" fmla="*/ 15418042 w 21052572"/>
              <a:gd name="connsiteY5846" fmla="*/ 1970714 h 8402012"/>
              <a:gd name="connsiteX5847" fmla="*/ 15423422 w 21052572"/>
              <a:gd name="connsiteY5847" fmla="*/ 1962646 h 8402012"/>
              <a:gd name="connsiteX5848" fmla="*/ 15422532 w 21052572"/>
              <a:gd name="connsiteY5848" fmla="*/ 1962421 h 8402012"/>
              <a:gd name="connsiteX5849" fmla="*/ 15419164 w 21052572"/>
              <a:gd name="connsiteY5849" fmla="*/ 1954316 h 8402012"/>
              <a:gd name="connsiteX5850" fmla="*/ 15418200 w 21052572"/>
              <a:gd name="connsiteY5850" fmla="*/ 1940768 h 8402012"/>
              <a:gd name="connsiteX5851" fmla="*/ 15413418 w 21052572"/>
              <a:gd name="connsiteY5851" fmla="*/ 1945853 h 8402012"/>
              <a:gd name="connsiteX5852" fmla="*/ 15374730 w 21052572"/>
              <a:gd name="connsiteY5852" fmla="*/ 1957674 h 8402012"/>
              <a:gd name="connsiteX5853" fmla="*/ 15285526 w 21052572"/>
              <a:gd name="connsiteY5853" fmla="*/ 1951226 h 8402012"/>
              <a:gd name="connsiteX5854" fmla="*/ 15259734 w 21052572"/>
              <a:gd name="connsiteY5854" fmla="*/ 1894269 h 8402012"/>
              <a:gd name="connsiteX5855" fmla="*/ 15221042 w 21052572"/>
              <a:gd name="connsiteY5855" fmla="*/ 1868478 h 8402012"/>
              <a:gd name="connsiteX5856" fmla="*/ 15163008 w 21052572"/>
              <a:gd name="connsiteY5856" fmla="*/ 1907166 h 8402012"/>
              <a:gd name="connsiteX5857" fmla="*/ 15221042 w 21052572"/>
              <a:gd name="connsiteY5857" fmla="*/ 1938330 h 8402012"/>
              <a:gd name="connsiteX5858" fmla="*/ 14194678 w 21052572"/>
              <a:gd name="connsiteY5858" fmla="*/ 1791103 h 8402012"/>
              <a:gd name="connsiteX5859" fmla="*/ 14233368 w 21052572"/>
              <a:gd name="connsiteY5859" fmla="*/ 1714803 h 8402012"/>
              <a:gd name="connsiteX5860" fmla="*/ 13803477 w 21052572"/>
              <a:gd name="connsiteY5860" fmla="*/ 1663219 h 8402012"/>
              <a:gd name="connsiteX5861" fmla="*/ 13848616 w 21052572"/>
              <a:gd name="connsiteY5861" fmla="*/ 1598740 h 8402012"/>
              <a:gd name="connsiteX5862" fmla="*/ 13738994 w 21052572"/>
              <a:gd name="connsiteY5862" fmla="*/ 1598740 h 8402012"/>
              <a:gd name="connsiteX5863" fmla="*/ 13719649 w 21052572"/>
              <a:gd name="connsiteY5863" fmla="*/ 1535335 h 8402012"/>
              <a:gd name="connsiteX5864" fmla="*/ 13643343 w 21052572"/>
              <a:gd name="connsiteY5864" fmla="*/ 1496648 h 8402012"/>
              <a:gd name="connsiteX5865" fmla="*/ 13603847 w 21052572"/>
              <a:gd name="connsiteY5865" fmla="*/ 1470856 h 8402012"/>
              <a:gd name="connsiteX5866" fmla="*/ 13600816 w 21052572"/>
              <a:gd name="connsiteY5866" fmla="*/ 1469093 h 8402012"/>
              <a:gd name="connsiteX5867" fmla="*/ 13603909 w 21052572"/>
              <a:gd name="connsiteY5867" fmla="*/ 1483018 h 8402012"/>
              <a:gd name="connsiteX5868" fmla="*/ 13593245 w 21052572"/>
              <a:gd name="connsiteY5868" fmla="*/ 1477398 h 8402012"/>
              <a:gd name="connsiteX5869" fmla="*/ 13596527 w 21052572"/>
              <a:gd name="connsiteY5869" fmla="*/ 1468569 h 8402012"/>
              <a:gd name="connsiteX5870" fmla="*/ 13597619 w 21052572"/>
              <a:gd name="connsiteY5870" fmla="*/ 1467233 h 8402012"/>
              <a:gd name="connsiteX5871" fmla="*/ 13559514 w 21052572"/>
              <a:gd name="connsiteY5871" fmla="*/ 1445064 h 8402012"/>
              <a:gd name="connsiteX5872" fmla="*/ 13572411 w 21052572"/>
              <a:gd name="connsiteY5872" fmla="*/ 1477304 h 8402012"/>
              <a:gd name="connsiteX5873" fmla="*/ 13598205 w 21052572"/>
              <a:gd name="connsiteY5873" fmla="*/ 1483753 h 8402012"/>
              <a:gd name="connsiteX5874" fmla="*/ 13598205 w 21052572"/>
              <a:gd name="connsiteY5874" fmla="*/ 1540708 h 8402012"/>
              <a:gd name="connsiteX5875" fmla="*/ 13302654 w 21052572"/>
              <a:gd name="connsiteY5875" fmla="*/ 1509543 h 8402012"/>
              <a:gd name="connsiteX5876" fmla="*/ 13520824 w 21052572"/>
              <a:gd name="connsiteY5876" fmla="*/ 1477304 h 8402012"/>
              <a:gd name="connsiteX5877" fmla="*/ 13540169 w 21052572"/>
              <a:gd name="connsiteY5877" fmla="*/ 1412826 h 8402012"/>
              <a:gd name="connsiteX5878" fmla="*/ 13591756 w 21052572"/>
              <a:gd name="connsiteY5878" fmla="*/ 1419273 h 8402012"/>
              <a:gd name="connsiteX5879" fmla="*/ 13656240 w 21052572"/>
              <a:gd name="connsiteY5879" fmla="*/ 1387034 h 8402012"/>
              <a:gd name="connsiteX5880" fmla="*/ 13200555 w 21052572"/>
              <a:gd name="connsiteY5880" fmla="*/ 1374138 h 8402012"/>
              <a:gd name="connsiteX5881" fmla="*/ 12777113 w 21052572"/>
              <a:gd name="connsiteY5881" fmla="*/ 1477304 h 8402012"/>
              <a:gd name="connsiteX5882" fmla="*/ 12898557 w 21052572"/>
              <a:gd name="connsiteY5882" fmla="*/ 1509543 h 8402012"/>
              <a:gd name="connsiteX5883" fmla="*/ 12892109 w 21052572"/>
              <a:gd name="connsiteY5883" fmla="*/ 1572949 h 8402012"/>
              <a:gd name="connsiteX5884" fmla="*/ 12848045 w 21052572"/>
              <a:gd name="connsiteY5884" fmla="*/ 1579396 h 8402012"/>
              <a:gd name="connsiteX5885" fmla="*/ 12898557 w 21052572"/>
              <a:gd name="connsiteY5885" fmla="*/ 1669667 h 8402012"/>
              <a:gd name="connsiteX5886" fmla="*/ 12822251 w 21052572"/>
              <a:gd name="connsiteY5886" fmla="*/ 1689010 h 8402012"/>
              <a:gd name="connsiteX5887" fmla="*/ 12744871 w 21052572"/>
              <a:gd name="connsiteY5887" fmla="*/ 1727698 h 8402012"/>
              <a:gd name="connsiteX5888" fmla="*/ 12629875 w 21052572"/>
              <a:gd name="connsiteY5888" fmla="*/ 1740594 h 8402012"/>
              <a:gd name="connsiteX5889" fmla="*/ 12526701 w 21052572"/>
              <a:gd name="connsiteY5889" fmla="*/ 1745967 h 8402012"/>
              <a:gd name="connsiteX5890" fmla="*/ 12302083 w 21052572"/>
              <a:gd name="connsiteY5890" fmla="*/ 1778207 h 8402012"/>
              <a:gd name="connsiteX5891" fmla="*/ 12077465 w 21052572"/>
              <a:gd name="connsiteY5891" fmla="*/ 1816895 h 8402012"/>
              <a:gd name="connsiteX5892" fmla="*/ 11988263 w 21052572"/>
              <a:gd name="connsiteY5892" fmla="*/ 1849134 h 8402012"/>
              <a:gd name="connsiteX5893" fmla="*/ 11897986 w 21052572"/>
              <a:gd name="connsiteY5893" fmla="*/ 1862030 h 8402012"/>
              <a:gd name="connsiteX5894" fmla="*/ 11699161 w 21052572"/>
              <a:gd name="connsiteY5894" fmla="*/ 1920063 h 8402012"/>
              <a:gd name="connsiteX5895" fmla="*/ 11635752 w 21052572"/>
              <a:gd name="connsiteY5895" fmla="*/ 1920063 h 8402012"/>
              <a:gd name="connsiteX5896" fmla="*/ 11635483 w 21052572"/>
              <a:gd name="connsiteY5896" fmla="*/ 1919987 h 8402012"/>
              <a:gd name="connsiteX5897" fmla="*/ 11616508 w 21052572"/>
              <a:gd name="connsiteY5897" fmla="*/ 1914622 h 8402012"/>
              <a:gd name="connsiteX5898" fmla="*/ 11564820 w 21052572"/>
              <a:gd name="connsiteY5898" fmla="*/ 1920063 h 8402012"/>
              <a:gd name="connsiteX5899" fmla="*/ 11692713 w 21052572"/>
              <a:gd name="connsiteY5899" fmla="*/ 1989913 h 8402012"/>
              <a:gd name="connsiteX5900" fmla="*/ 11019934 w 21052572"/>
              <a:gd name="connsiteY5900" fmla="*/ 2195172 h 8402012"/>
              <a:gd name="connsiteX5901" fmla="*/ 10692142 w 21052572"/>
              <a:gd name="connsiteY5901" fmla="*/ 2311236 h 8402012"/>
              <a:gd name="connsiteX5902" fmla="*/ 10538456 w 21052572"/>
              <a:gd name="connsiteY5902" fmla="*/ 2393980 h 8402012"/>
              <a:gd name="connsiteX5903" fmla="*/ 10468598 w 21052572"/>
              <a:gd name="connsiteY5903" fmla="*/ 2406870 h 8402012"/>
              <a:gd name="connsiteX5904" fmla="*/ 10449253 w 21052572"/>
              <a:gd name="connsiteY5904" fmla="*/ 2464911 h 8402012"/>
              <a:gd name="connsiteX5905" fmla="*/ 11070446 w 21052572"/>
              <a:gd name="connsiteY5905" fmla="*/ 2246753 h 8402012"/>
              <a:gd name="connsiteX5906" fmla="*/ 11070446 w 21052572"/>
              <a:gd name="connsiteY5906" fmla="*/ 2311236 h 8402012"/>
              <a:gd name="connsiteX5907" fmla="*/ 11545475 w 21052572"/>
              <a:gd name="connsiteY5907" fmla="*/ 2169380 h 8402012"/>
              <a:gd name="connsiteX5908" fmla="*/ 11763645 w 21052572"/>
              <a:gd name="connsiteY5908" fmla="*/ 2156485 h 8402012"/>
              <a:gd name="connsiteX5909" fmla="*/ 11815232 w 21052572"/>
              <a:gd name="connsiteY5909" fmla="*/ 2125320 h 8402012"/>
              <a:gd name="connsiteX5910" fmla="*/ 11846399 w 21052572"/>
              <a:gd name="connsiteY5910" fmla="*/ 2080184 h 8402012"/>
              <a:gd name="connsiteX5911" fmla="*/ 11943124 w 21052572"/>
              <a:gd name="connsiteY5911" fmla="*/ 2099528 h 8402012"/>
              <a:gd name="connsiteX5912" fmla="*/ 11968918 w 21052572"/>
              <a:gd name="connsiteY5912" fmla="*/ 2125320 h 8402012"/>
              <a:gd name="connsiteX5913" fmla="*/ 12026953 w 21052572"/>
              <a:gd name="connsiteY5913" fmla="*/ 2125320 h 8402012"/>
              <a:gd name="connsiteX5914" fmla="*/ 12033401 w 21052572"/>
              <a:gd name="connsiteY5914" fmla="*/ 2099528 h 8402012"/>
              <a:gd name="connsiteX5915" fmla="*/ 12058120 w 21052572"/>
              <a:gd name="connsiteY5915" fmla="*/ 2086632 h 8402012"/>
              <a:gd name="connsiteX5916" fmla="*/ 12116155 w 21052572"/>
              <a:gd name="connsiteY5916" fmla="*/ 2086632 h 8402012"/>
              <a:gd name="connsiteX5917" fmla="*/ 12212881 w 21052572"/>
              <a:gd name="connsiteY5917" fmla="*/ 2035049 h 8402012"/>
              <a:gd name="connsiteX5918" fmla="*/ 12135501 w 21052572"/>
              <a:gd name="connsiteY5918" fmla="*/ 1907166 h 8402012"/>
              <a:gd name="connsiteX5919" fmla="*/ 12129052 w 21052572"/>
              <a:gd name="connsiteY5919" fmla="*/ 1849134 h 8402012"/>
              <a:gd name="connsiteX5920" fmla="*/ 12431051 w 21052572"/>
              <a:gd name="connsiteY5920" fmla="*/ 1829790 h 8402012"/>
              <a:gd name="connsiteX5921" fmla="*/ 12276290 w 21052572"/>
              <a:gd name="connsiteY5921" fmla="*/ 1868478 h 8402012"/>
              <a:gd name="connsiteX5922" fmla="*/ 12353670 w 21052572"/>
              <a:gd name="connsiteY5922" fmla="*/ 1920063 h 8402012"/>
              <a:gd name="connsiteX5923" fmla="*/ 12276290 w 21052572"/>
              <a:gd name="connsiteY5923" fmla="*/ 1983465 h 8402012"/>
              <a:gd name="connsiteX5924" fmla="*/ 12327877 w 21052572"/>
              <a:gd name="connsiteY5924" fmla="*/ 2041497 h 8402012"/>
              <a:gd name="connsiteX5925" fmla="*/ 12623427 w 21052572"/>
              <a:gd name="connsiteY5925" fmla="*/ 2002809 h 8402012"/>
              <a:gd name="connsiteX5926" fmla="*/ 12802906 w 21052572"/>
              <a:gd name="connsiteY5926" fmla="*/ 1989913 h 8402012"/>
              <a:gd name="connsiteX5927" fmla="*/ 13001731 w 21052572"/>
              <a:gd name="connsiteY5927" fmla="*/ 1977018 h 8402012"/>
              <a:gd name="connsiteX5928" fmla="*/ 13103830 w 21052572"/>
              <a:gd name="connsiteY5928" fmla="*/ 1977018 h 8402012"/>
              <a:gd name="connsiteX5929" fmla="*/ 13168314 w 21052572"/>
              <a:gd name="connsiteY5929" fmla="*/ 1970570 h 8402012"/>
              <a:gd name="connsiteX5930" fmla="*/ 13174762 w 21052572"/>
              <a:gd name="connsiteY5930" fmla="*/ 2002809 h 8402012"/>
              <a:gd name="connsiteX5931" fmla="*/ 13123175 w 21052572"/>
              <a:gd name="connsiteY5931" fmla="*/ 2002809 h 8402012"/>
              <a:gd name="connsiteX5932" fmla="*/ 13213452 w 21052572"/>
              <a:gd name="connsiteY5932" fmla="*/ 2054393 h 8402012"/>
              <a:gd name="connsiteX5933" fmla="*/ 13252142 w 21052572"/>
              <a:gd name="connsiteY5933" fmla="*/ 2073737 h 8402012"/>
              <a:gd name="connsiteX5934" fmla="*/ 13309103 w 21052572"/>
              <a:gd name="connsiteY5934" fmla="*/ 2086632 h 8402012"/>
              <a:gd name="connsiteX5935" fmla="*/ 13399380 w 21052572"/>
              <a:gd name="connsiteY5935" fmla="*/ 2067288 h 8402012"/>
              <a:gd name="connsiteX5936" fmla="*/ 13470312 w 21052572"/>
              <a:gd name="connsiteY5936" fmla="*/ 2054393 h 8402012"/>
              <a:gd name="connsiteX5937" fmla="*/ 13617550 w 21052572"/>
              <a:gd name="connsiteY5937" fmla="*/ 2035049 h 8402012"/>
              <a:gd name="connsiteX5938" fmla="*/ 13572411 w 21052572"/>
              <a:gd name="connsiteY5938" fmla="*/ 1970570 h 8402012"/>
              <a:gd name="connsiteX5939" fmla="*/ 13675585 w 21052572"/>
              <a:gd name="connsiteY5939" fmla="*/ 1983465 h 8402012"/>
              <a:gd name="connsiteX5940" fmla="*/ 13636895 w 21052572"/>
              <a:gd name="connsiteY5940" fmla="*/ 2015705 h 8402012"/>
              <a:gd name="connsiteX5941" fmla="*/ 13675585 w 21052572"/>
              <a:gd name="connsiteY5941" fmla="*/ 2060841 h 8402012"/>
              <a:gd name="connsiteX5942" fmla="*/ 13713200 w 21052572"/>
              <a:gd name="connsiteY5942" fmla="*/ 2035049 h 8402012"/>
              <a:gd name="connsiteX5943" fmla="*/ 13751891 w 21052572"/>
              <a:gd name="connsiteY5943" fmla="*/ 2060841 h 8402012"/>
              <a:gd name="connsiteX5944" fmla="*/ 13797029 w 21052572"/>
              <a:gd name="connsiteY5944" fmla="*/ 2067288 h 8402012"/>
              <a:gd name="connsiteX5945" fmla="*/ 13777684 w 21052572"/>
              <a:gd name="connsiteY5945" fmla="*/ 2093081 h 8402012"/>
              <a:gd name="connsiteX5946" fmla="*/ 13680959 w 21052572"/>
              <a:gd name="connsiteY5946" fmla="*/ 2099528 h 8402012"/>
              <a:gd name="connsiteX5947" fmla="*/ 13444518 w 21052572"/>
              <a:gd name="connsiteY5947" fmla="*/ 2112430 h 8402012"/>
              <a:gd name="connsiteX5948" fmla="*/ 13328448 w 21052572"/>
              <a:gd name="connsiteY5948" fmla="*/ 2118874 h 8402012"/>
              <a:gd name="connsiteX5949" fmla="*/ 13239246 w 21052572"/>
              <a:gd name="connsiteY5949" fmla="*/ 2151111 h 8402012"/>
              <a:gd name="connsiteX5950" fmla="*/ 13322000 w 21052572"/>
              <a:gd name="connsiteY5950" fmla="*/ 2195172 h 8402012"/>
              <a:gd name="connsiteX5951" fmla="*/ 13284384 w 21052572"/>
              <a:gd name="connsiteY5951" fmla="*/ 2220961 h 8402012"/>
              <a:gd name="connsiteX5952" fmla="*/ 13207004 w 21052572"/>
              <a:gd name="connsiteY5952" fmla="*/ 2220961 h 8402012"/>
              <a:gd name="connsiteX5953" fmla="*/ 13181210 w 21052572"/>
              <a:gd name="connsiteY5953" fmla="*/ 2151111 h 8402012"/>
              <a:gd name="connsiteX5954" fmla="*/ 12859867 w 21052572"/>
              <a:gd name="connsiteY5954" fmla="*/ 2188728 h 8402012"/>
              <a:gd name="connsiteX5955" fmla="*/ 12693284 w 21052572"/>
              <a:gd name="connsiteY5955" fmla="*/ 2208069 h 8402012"/>
              <a:gd name="connsiteX5956" fmla="*/ 12597633 w 21052572"/>
              <a:gd name="connsiteY5956" fmla="*/ 2240307 h 8402012"/>
              <a:gd name="connsiteX5957" fmla="*/ 12591185 w 21052572"/>
              <a:gd name="connsiteY5957" fmla="*/ 2311236 h 8402012"/>
              <a:gd name="connsiteX5958" fmla="*/ 12546046 w 21052572"/>
              <a:gd name="connsiteY5958" fmla="*/ 2324131 h 8402012"/>
              <a:gd name="connsiteX5959" fmla="*/ 12385912 w 21052572"/>
              <a:gd name="connsiteY5959" fmla="*/ 2343474 h 8402012"/>
              <a:gd name="connsiteX5960" fmla="*/ 12071017 w 21052572"/>
              <a:gd name="connsiteY5960" fmla="*/ 2406870 h 8402012"/>
              <a:gd name="connsiteX5961" fmla="*/ 11430479 w 21052572"/>
              <a:gd name="connsiteY5961" fmla="*/ 2561628 h 8402012"/>
              <a:gd name="connsiteX5962" fmla="*/ 11141378 w 21052572"/>
              <a:gd name="connsiteY5962" fmla="*/ 2618587 h 8402012"/>
              <a:gd name="connsiteX5963" fmla="*/ 11089791 w 21052572"/>
              <a:gd name="connsiteY5963" fmla="*/ 2631480 h 8402012"/>
              <a:gd name="connsiteX5964" fmla="*/ 11070446 w 21052572"/>
              <a:gd name="connsiteY5964" fmla="*/ 2689511 h 8402012"/>
              <a:gd name="connsiteX5965" fmla="*/ 10961898 w 21052572"/>
              <a:gd name="connsiteY5965" fmla="*/ 2676615 h 8402012"/>
              <a:gd name="connsiteX5966" fmla="*/ 10961898 w 21052572"/>
              <a:gd name="connsiteY5966" fmla="*/ 2741094 h 8402012"/>
              <a:gd name="connsiteX5967" fmla="*/ 10750177 w 21052572"/>
              <a:gd name="connsiteY5967" fmla="*/ 2785149 h 8402012"/>
              <a:gd name="connsiteX5968" fmla="*/ 10916760 w 21052572"/>
              <a:gd name="connsiteY5968" fmla="*/ 2752914 h 8402012"/>
              <a:gd name="connsiteX5969" fmla="*/ 11070446 w 21052572"/>
              <a:gd name="connsiteY5969" fmla="*/ 2715302 h 8402012"/>
              <a:gd name="connsiteX5970" fmla="*/ 11398238 w 21052572"/>
              <a:gd name="connsiteY5970" fmla="*/ 2650824 h 8402012"/>
              <a:gd name="connsiteX5971" fmla="*/ 12071017 w 21052572"/>
              <a:gd name="connsiteY5971" fmla="*/ 2497149 h 8402012"/>
              <a:gd name="connsiteX5972" fmla="*/ 12090362 w 21052572"/>
              <a:gd name="connsiteY5972" fmla="*/ 2554106 h 8402012"/>
              <a:gd name="connsiteX5973" fmla="*/ 12090362 w 21052572"/>
              <a:gd name="connsiteY5973" fmla="*/ 2497149 h 8402012"/>
              <a:gd name="connsiteX5974" fmla="*/ 12135501 w 21052572"/>
              <a:gd name="connsiteY5974" fmla="*/ 2484256 h 8402012"/>
              <a:gd name="connsiteX5975" fmla="*/ 12206433 w 21052572"/>
              <a:gd name="connsiteY5975" fmla="*/ 2477804 h 8402012"/>
              <a:gd name="connsiteX5976" fmla="*/ 12187087 w 21052572"/>
              <a:gd name="connsiteY5976" fmla="*/ 2510046 h 8402012"/>
              <a:gd name="connsiteX5977" fmla="*/ 12219329 w 21052572"/>
              <a:gd name="connsiteY5977" fmla="*/ 2522941 h 8402012"/>
              <a:gd name="connsiteX5978" fmla="*/ 12340773 w 21052572"/>
              <a:gd name="connsiteY5978" fmla="*/ 2432672 h 8402012"/>
              <a:gd name="connsiteX5979" fmla="*/ 12565391 w 21052572"/>
              <a:gd name="connsiteY5979" fmla="*/ 2387533 h 8402012"/>
              <a:gd name="connsiteX5980" fmla="*/ 12654594 w 21052572"/>
              <a:gd name="connsiteY5980" fmla="*/ 2374638 h 8402012"/>
              <a:gd name="connsiteX5981" fmla="*/ 12719078 w 21052572"/>
              <a:gd name="connsiteY5981" fmla="*/ 2400427 h 8402012"/>
              <a:gd name="connsiteX5982" fmla="*/ 12950144 w 21052572"/>
              <a:gd name="connsiteY5982" fmla="*/ 2374638 h 8402012"/>
              <a:gd name="connsiteX5983" fmla="*/ 13880858 w 21052572"/>
              <a:gd name="connsiteY5983" fmla="*/ 2337027 h 8402012"/>
              <a:gd name="connsiteX5984" fmla="*/ 13803477 w 21052572"/>
              <a:gd name="connsiteY5984" fmla="*/ 2348847 h 8402012"/>
              <a:gd name="connsiteX5985" fmla="*/ 13822823 w 21052572"/>
              <a:gd name="connsiteY5985" fmla="*/ 2381086 h 8402012"/>
              <a:gd name="connsiteX5986" fmla="*/ 13732545 w 21052572"/>
              <a:gd name="connsiteY5986" fmla="*/ 2445566 h 8402012"/>
              <a:gd name="connsiteX5987" fmla="*/ 13694930 w 21052572"/>
              <a:gd name="connsiteY5987" fmla="*/ 2497149 h 8402012"/>
              <a:gd name="connsiteX5988" fmla="*/ 13738994 w 21052572"/>
              <a:gd name="connsiteY5988" fmla="*/ 2471358 h 8402012"/>
              <a:gd name="connsiteX5989" fmla="*/ 13784132 w 21052572"/>
              <a:gd name="connsiteY5989" fmla="*/ 2497149 h 8402012"/>
              <a:gd name="connsiteX5990" fmla="*/ 13848616 w 21052572"/>
              <a:gd name="connsiteY5990" fmla="*/ 2471358 h 8402012"/>
              <a:gd name="connsiteX5991" fmla="*/ 13867961 w 21052572"/>
              <a:gd name="connsiteY5991" fmla="*/ 2381086 h 8402012"/>
              <a:gd name="connsiteX5992" fmla="*/ 13893755 w 21052572"/>
              <a:gd name="connsiteY5992" fmla="*/ 2361740 h 8402012"/>
              <a:gd name="connsiteX5993" fmla="*/ 13905577 w 21052572"/>
              <a:gd name="connsiteY5993" fmla="*/ 2317683 h 8402012"/>
              <a:gd name="connsiteX5994" fmla="*/ 13976509 w 21052572"/>
              <a:gd name="connsiteY5994" fmla="*/ 2304791 h 8402012"/>
              <a:gd name="connsiteX5995" fmla="*/ 14099027 w 21052572"/>
              <a:gd name="connsiteY5995" fmla="*/ 2291889 h 8402012"/>
              <a:gd name="connsiteX5996" fmla="*/ 14201127 w 21052572"/>
              <a:gd name="connsiteY5996" fmla="*/ 2285443 h 8402012"/>
              <a:gd name="connsiteX5997" fmla="*/ 14212411 w 21052572"/>
              <a:gd name="connsiteY5997" fmla="*/ 2324803 h 8402012"/>
              <a:gd name="connsiteX5998" fmla="*/ 14213855 w 21052572"/>
              <a:gd name="connsiteY5998" fmla="*/ 2363672 h 8402012"/>
              <a:gd name="connsiteX5999" fmla="*/ 14217894 w 21052572"/>
              <a:gd name="connsiteY5999" fmla="*/ 2366503 h 8402012"/>
              <a:gd name="connsiteX6000" fmla="*/ 14199932 w 21052572"/>
              <a:gd name="connsiteY6000" fmla="*/ 2366503 h 8402012"/>
              <a:gd name="connsiteX6001" fmla="*/ 14204446 w 21052572"/>
              <a:gd name="connsiteY6001" fmla="*/ 2363340 h 8402012"/>
              <a:gd name="connsiteX6002" fmla="*/ 14169506 w 21052572"/>
              <a:gd name="connsiteY6002" fmla="*/ 2345640 h 8402012"/>
              <a:gd name="connsiteX6003" fmla="*/ 14034544 w 21052572"/>
              <a:gd name="connsiteY6003" fmla="*/ 2337027 h 8402012"/>
              <a:gd name="connsiteX6004" fmla="*/ 14110849 w 21052572"/>
              <a:gd name="connsiteY6004" fmla="*/ 2368190 h 8402012"/>
              <a:gd name="connsiteX6005" fmla="*/ 14073234 w 21052572"/>
              <a:gd name="connsiteY6005" fmla="*/ 2419778 h 8402012"/>
              <a:gd name="connsiteX6006" fmla="*/ 14015199 w 21052572"/>
              <a:gd name="connsiteY6006" fmla="*/ 2497149 h 8402012"/>
              <a:gd name="connsiteX6007" fmla="*/ 14073234 w 21052572"/>
              <a:gd name="connsiteY6007" fmla="*/ 2522941 h 8402012"/>
              <a:gd name="connsiteX6008" fmla="*/ 14091504 w 21052572"/>
              <a:gd name="connsiteY6008" fmla="*/ 2464911 h 8402012"/>
              <a:gd name="connsiteX6009" fmla="*/ 14130195 w 21052572"/>
              <a:gd name="connsiteY6009" fmla="*/ 2529389 h 8402012"/>
              <a:gd name="connsiteX6010" fmla="*/ 14188230 w 21052572"/>
              <a:gd name="connsiteY6010" fmla="*/ 2497149 h 8402012"/>
              <a:gd name="connsiteX6011" fmla="*/ 14143091 w 21052572"/>
              <a:gd name="connsiteY6011" fmla="*/ 2497149 h 8402012"/>
              <a:gd name="connsiteX6012" fmla="*/ 14143091 w 21052572"/>
              <a:gd name="connsiteY6012" fmla="*/ 2432672 h 8402012"/>
              <a:gd name="connsiteX6013" fmla="*/ 14259162 w 21052572"/>
              <a:gd name="connsiteY6013" fmla="*/ 2477804 h 8402012"/>
              <a:gd name="connsiteX6014" fmla="*/ 14233368 w 21052572"/>
              <a:gd name="connsiteY6014" fmla="*/ 2522941 h 8402012"/>
              <a:gd name="connsiteX6015" fmla="*/ 14278507 w 21052572"/>
              <a:gd name="connsiteY6015" fmla="*/ 2542284 h 8402012"/>
              <a:gd name="connsiteX6016" fmla="*/ 14284955 w 21052572"/>
              <a:gd name="connsiteY6016" fmla="*/ 2464911 h 8402012"/>
              <a:gd name="connsiteX6017" fmla="*/ 14348364 w 21052572"/>
              <a:gd name="connsiteY6017" fmla="*/ 2458463 h 8402012"/>
              <a:gd name="connsiteX6018" fmla="*/ 14374158 w 21052572"/>
              <a:gd name="connsiteY6018" fmla="*/ 2484256 h 8402012"/>
              <a:gd name="connsiteX6019" fmla="*/ 14316122 w 21052572"/>
              <a:gd name="connsiteY6019" fmla="*/ 2497149 h 8402012"/>
              <a:gd name="connsiteX6020" fmla="*/ 14322571 w 21052572"/>
              <a:gd name="connsiteY6020" fmla="*/ 2554106 h 8402012"/>
              <a:gd name="connsiteX6021" fmla="*/ 14534292 w 21052572"/>
              <a:gd name="connsiteY6021" fmla="*/ 2547657 h 8402012"/>
              <a:gd name="connsiteX6022" fmla="*/ 14393503 w 21052572"/>
              <a:gd name="connsiteY6022" fmla="*/ 2510046 h 8402012"/>
              <a:gd name="connsiteX6023" fmla="*/ 14637466 w 21052572"/>
              <a:gd name="connsiteY6023" fmla="*/ 2510046 h 8402012"/>
              <a:gd name="connsiteX6024" fmla="*/ 14579431 w 21052572"/>
              <a:gd name="connsiteY6024" fmla="*/ 2605690 h 8402012"/>
              <a:gd name="connsiteX6025" fmla="*/ 14637466 w 21052572"/>
              <a:gd name="connsiteY6025" fmla="*/ 2644376 h 8402012"/>
              <a:gd name="connsiteX6026" fmla="*/ 14079682 w 21052572"/>
              <a:gd name="connsiteY6026" fmla="*/ 2561628 h 8402012"/>
              <a:gd name="connsiteX6027" fmla="*/ 13809926 w 21052572"/>
              <a:gd name="connsiteY6027" fmla="*/ 2535836 h 8402012"/>
              <a:gd name="connsiteX6028" fmla="*/ 13700304 w 21052572"/>
              <a:gd name="connsiteY6028" fmla="*/ 2535836 h 8402012"/>
              <a:gd name="connsiteX6029" fmla="*/ 13688482 w 21052572"/>
              <a:gd name="connsiteY6029" fmla="*/ 2419778 h 8402012"/>
              <a:gd name="connsiteX6030" fmla="*/ 13438070 w 21052572"/>
              <a:gd name="connsiteY6030" fmla="*/ 2432672 h 8402012"/>
              <a:gd name="connsiteX6031" fmla="*/ 13499431 w 21052572"/>
              <a:gd name="connsiteY6031" fmla="*/ 2462859 h 8402012"/>
              <a:gd name="connsiteX6032" fmla="*/ 13505185 w 21052572"/>
              <a:gd name="connsiteY6032" fmla="*/ 2450516 h 8402012"/>
              <a:gd name="connsiteX6033" fmla="*/ 13516412 w 21052572"/>
              <a:gd name="connsiteY6033" fmla="*/ 2464962 h 8402012"/>
              <a:gd name="connsiteX6034" fmla="*/ 13512292 w 21052572"/>
              <a:gd name="connsiteY6034" fmla="*/ 2468496 h 8402012"/>
              <a:gd name="connsiteX6035" fmla="*/ 13538725 w 21052572"/>
              <a:gd name="connsiteY6035" fmla="*/ 2478915 h 8402012"/>
              <a:gd name="connsiteX6036" fmla="*/ 13572411 w 21052572"/>
              <a:gd name="connsiteY6036" fmla="*/ 2484256 h 8402012"/>
              <a:gd name="connsiteX6037" fmla="*/ 13636895 w 21052572"/>
              <a:gd name="connsiteY6037" fmla="*/ 2522941 h 8402012"/>
              <a:gd name="connsiteX6038" fmla="*/ 13392932 w 21052572"/>
              <a:gd name="connsiteY6038" fmla="*/ 2522941 h 8402012"/>
              <a:gd name="connsiteX6039" fmla="*/ 13399380 w 21052572"/>
              <a:gd name="connsiteY6039" fmla="*/ 2464911 h 8402012"/>
              <a:gd name="connsiteX6040" fmla="*/ 13403724 w 21052572"/>
              <a:gd name="connsiteY6040" fmla="*/ 2467517 h 8402012"/>
              <a:gd name="connsiteX6041" fmla="*/ 13403655 w 21052572"/>
              <a:gd name="connsiteY6041" fmla="*/ 2467412 h 8402012"/>
              <a:gd name="connsiteX6042" fmla="*/ 13412636 w 21052572"/>
              <a:gd name="connsiteY6042" fmla="*/ 2452532 h 8402012"/>
              <a:gd name="connsiteX6043" fmla="*/ 13413461 w 21052572"/>
              <a:gd name="connsiteY6043" fmla="*/ 2453899 h 8402012"/>
              <a:gd name="connsiteX6044" fmla="*/ 13409959 w 21052572"/>
              <a:gd name="connsiteY6044" fmla="*/ 2446573 h 8402012"/>
              <a:gd name="connsiteX6045" fmla="*/ 13380035 w 21052572"/>
              <a:gd name="connsiteY6045" fmla="*/ 2393980 h 8402012"/>
              <a:gd name="connsiteX6046" fmla="*/ 13302654 w 21052572"/>
              <a:gd name="connsiteY6046" fmla="*/ 2400427 h 8402012"/>
              <a:gd name="connsiteX6047" fmla="*/ 13252142 w 21052572"/>
              <a:gd name="connsiteY6047" fmla="*/ 2400427 h 8402012"/>
              <a:gd name="connsiteX6048" fmla="*/ 13239246 w 21052572"/>
              <a:gd name="connsiteY6048" fmla="*/ 2497149 h 8402012"/>
              <a:gd name="connsiteX6049" fmla="*/ 13284384 w 21052572"/>
              <a:gd name="connsiteY6049" fmla="*/ 2464911 h 8402012"/>
              <a:gd name="connsiteX6050" fmla="*/ 13296206 w 21052572"/>
              <a:gd name="connsiteY6050" fmla="*/ 2522941 h 8402012"/>
              <a:gd name="connsiteX6051" fmla="*/ 13200555 w 21052572"/>
              <a:gd name="connsiteY6051" fmla="*/ 2510046 h 8402012"/>
              <a:gd name="connsiteX6052" fmla="*/ 13213452 w 21052572"/>
              <a:gd name="connsiteY6052" fmla="*/ 2452014 h 8402012"/>
              <a:gd name="connsiteX6053" fmla="*/ 13174762 w 21052572"/>
              <a:gd name="connsiteY6053" fmla="*/ 2406870 h 8402012"/>
              <a:gd name="connsiteX6054" fmla="*/ 13090933 w 21052572"/>
              <a:gd name="connsiteY6054" fmla="*/ 2426225 h 8402012"/>
              <a:gd name="connsiteX6055" fmla="*/ 12892109 w 21052572"/>
              <a:gd name="connsiteY6055" fmla="*/ 2464911 h 8402012"/>
              <a:gd name="connsiteX6056" fmla="*/ 12680387 w 21052572"/>
              <a:gd name="connsiteY6056" fmla="*/ 2484256 h 8402012"/>
              <a:gd name="connsiteX6057" fmla="*/ 12500908 w 21052572"/>
              <a:gd name="connsiteY6057" fmla="*/ 2535836 h 8402012"/>
              <a:gd name="connsiteX6058" fmla="*/ 12546046 w 21052572"/>
              <a:gd name="connsiteY6058" fmla="*/ 2566999 h 8402012"/>
              <a:gd name="connsiteX6059" fmla="*/ 12526701 w 21052572"/>
              <a:gd name="connsiteY6059" fmla="*/ 2599243 h 8402012"/>
              <a:gd name="connsiteX6060" fmla="*/ 13675585 w 21052572"/>
              <a:gd name="connsiteY6060" fmla="*/ 2612137 h 8402012"/>
              <a:gd name="connsiteX6061" fmla="*/ 13483209 w 21052572"/>
              <a:gd name="connsiteY6061" fmla="*/ 2631480 h 8402012"/>
              <a:gd name="connsiteX6062" fmla="*/ 13405828 w 21052572"/>
              <a:gd name="connsiteY6062" fmla="*/ 2644376 h 8402012"/>
              <a:gd name="connsiteX6063" fmla="*/ 13392932 w 21052572"/>
              <a:gd name="connsiteY6063" fmla="*/ 2708855 h 8402012"/>
              <a:gd name="connsiteX6064" fmla="*/ 13598205 w 21052572"/>
              <a:gd name="connsiteY6064" fmla="*/ 2689511 h 8402012"/>
              <a:gd name="connsiteX6065" fmla="*/ 13675585 w 21052572"/>
              <a:gd name="connsiteY6065" fmla="*/ 2657271 h 8402012"/>
              <a:gd name="connsiteX6066" fmla="*/ 13764787 w 21052572"/>
              <a:gd name="connsiteY6066" fmla="*/ 2612137 h 8402012"/>
              <a:gd name="connsiteX6067" fmla="*/ 13867961 w 21052572"/>
              <a:gd name="connsiteY6067" fmla="*/ 2605690 h 8402012"/>
              <a:gd name="connsiteX6068" fmla="*/ 13950715 w 21052572"/>
              <a:gd name="connsiteY6068" fmla="*/ 2618587 h 8402012"/>
              <a:gd name="connsiteX6069" fmla="*/ 13893755 w 21052572"/>
              <a:gd name="connsiteY6069" fmla="*/ 2644376 h 8402012"/>
              <a:gd name="connsiteX6070" fmla="*/ 13829271 w 21052572"/>
              <a:gd name="connsiteY6070" fmla="*/ 2644376 h 8402012"/>
              <a:gd name="connsiteX6071" fmla="*/ 13732545 w 21052572"/>
              <a:gd name="connsiteY6071" fmla="*/ 2670168 h 8402012"/>
              <a:gd name="connsiteX6072" fmla="*/ 13764787 w 21052572"/>
              <a:gd name="connsiteY6072" fmla="*/ 2702408 h 8402012"/>
              <a:gd name="connsiteX6073" fmla="*/ 13874409 w 21052572"/>
              <a:gd name="connsiteY6073" fmla="*/ 2695958 h 8402012"/>
              <a:gd name="connsiteX6074" fmla="*/ 14110849 w 21052572"/>
              <a:gd name="connsiteY6074" fmla="*/ 2676615 h 8402012"/>
              <a:gd name="connsiteX6075" fmla="*/ 14110849 w 21052572"/>
              <a:gd name="connsiteY6075" fmla="*/ 2741094 h 8402012"/>
              <a:gd name="connsiteX6076" fmla="*/ 14155988 w 21052572"/>
              <a:gd name="connsiteY6076" fmla="*/ 2741094 h 8402012"/>
              <a:gd name="connsiteX6077" fmla="*/ 14246265 w 21052572"/>
              <a:gd name="connsiteY6077" fmla="*/ 2747539 h 8402012"/>
              <a:gd name="connsiteX6078" fmla="*/ 14425745 w 21052572"/>
              <a:gd name="connsiteY6078" fmla="*/ 2752914 h 8402012"/>
              <a:gd name="connsiteX6079" fmla="*/ 14592327 w 21052572"/>
              <a:gd name="connsiteY6079" fmla="*/ 2766883 h 8402012"/>
              <a:gd name="connsiteX6080" fmla="*/ 14637466 w 21052572"/>
              <a:gd name="connsiteY6080" fmla="*/ 2830301 h 8402012"/>
              <a:gd name="connsiteX6081" fmla="*/ 14326333 w 21052572"/>
              <a:gd name="connsiteY6081" fmla="*/ 2801257 h 8402012"/>
              <a:gd name="connsiteX6082" fmla="*/ 14262063 w 21052572"/>
              <a:gd name="connsiteY6082" fmla="*/ 2796778 h 8402012"/>
              <a:gd name="connsiteX6083" fmla="*/ 14275019 w 21052572"/>
              <a:gd name="connsiteY6083" fmla="*/ 2805263 h 8402012"/>
              <a:gd name="connsiteX6084" fmla="*/ 14279510 w 21052572"/>
              <a:gd name="connsiteY6084" fmla="*/ 2828558 h 8402012"/>
              <a:gd name="connsiteX6085" fmla="*/ 14266038 w 21052572"/>
              <a:gd name="connsiteY6085" fmla="*/ 2819735 h 8402012"/>
              <a:gd name="connsiteX6086" fmla="*/ 14261607 w 21052572"/>
              <a:gd name="connsiteY6086" fmla="*/ 2796747 h 8402012"/>
              <a:gd name="connsiteX6087" fmla="*/ 14170161 w 21052572"/>
              <a:gd name="connsiteY6087" fmla="*/ 2790378 h 8402012"/>
              <a:gd name="connsiteX6088" fmla="*/ 14015199 w 21052572"/>
              <a:gd name="connsiteY6088" fmla="*/ 2772256 h 8402012"/>
              <a:gd name="connsiteX6089" fmla="*/ 13758339 w 21052572"/>
              <a:gd name="connsiteY6089" fmla="*/ 2785149 h 8402012"/>
              <a:gd name="connsiteX6090" fmla="*/ 13713200 w 21052572"/>
              <a:gd name="connsiteY6090" fmla="*/ 2766883 h 8402012"/>
              <a:gd name="connsiteX6091" fmla="*/ 13662688 w 21052572"/>
              <a:gd name="connsiteY6091" fmla="*/ 2752914 h 8402012"/>
              <a:gd name="connsiteX6092" fmla="*/ 13598205 w 21052572"/>
              <a:gd name="connsiteY6092" fmla="*/ 2798035 h 8402012"/>
              <a:gd name="connsiteX6093" fmla="*/ 13572411 w 21052572"/>
              <a:gd name="connsiteY6093" fmla="*/ 2741094 h 8402012"/>
              <a:gd name="connsiteX6094" fmla="*/ 13431622 w 21052572"/>
              <a:gd name="connsiteY6094" fmla="*/ 2798035 h 8402012"/>
              <a:gd name="connsiteX6095" fmla="*/ 13239246 w 21052572"/>
              <a:gd name="connsiteY6095" fmla="*/ 2785149 h 8402012"/>
              <a:gd name="connsiteX6096" fmla="*/ 13252142 w 21052572"/>
              <a:gd name="connsiteY6096" fmla="*/ 2772256 h 8402012"/>
              <a:gd name="connsiteX6097" fmla="*/ 13194107 w 21052572"/>
              <a:gd name="connsiteY6097" fmla="*/ 2766883 h 8402012"/>
              <a:gd name="connsiteX6098" fmla="*/ 13103830 w 21052572"/>
              <a:gd name="connsiteY6098" fmla="*/ 2772256 h 8402012"/>
              <a:gd name="connsiteX6099" fmla="*/ 12982386 w 21052572"/>
              <a:gd name="connsiteY6099" fmla="*/ 2830301 h 8402012"/>
              <a:gd name="connsiteX6100" fmla="*/ 12790010 w 21052572"/>
              <a:gd name="connsiteY6100" fmla="*/ 2791595 h 8402012"/>
              <a:gd name="connsiteX6101" fmla="*/ 12654594 w 21052572"/>
              <a:gd name="connsiteY6101" fmla="*/ 2862535 h 8402012"/>
              <a:gd name="connsiteX6102" fmla="*/ 12546046 w 21052572"/>
              <a:gd name="connsiteY6102" fmla="*/ 2836748 h 8402012"/>
              <a:gd name="connsiteX6103" fmla="*/ 12456844 w 21052572"/>
              <a:gd name="connsiteY6103" fmla="*/ 2894774 h 8402012"/>
              <a:gd name="connsiteX6104" fmla="*/ 12340773 w 21052572"/>
              <a:gd name="connsiteY6104" fmla="*/ 2901221 h 8402012"/>
              <a:gd name="connsiteX6105" fmla="*/ 12219329 w 21052572"/>
              <a:gd name="connsiteY6105" fmla="*/ 2907666 h 8402012"/>
              <a:gd name="connsiteX6106" fmla="*/ 12232226 w 21052572"/>
              <a:gd name="connsiteY6106" fmla="*/ 2888327 h 8402012"/>
              <a:gd name="connsiteX6107" fmla="*/ 12090362 w 21052572"/>
              <a:gd name="connsiteY6107" fmla="*/ 2888327 h 8402012"/>
              <a:gd name="connsiteX6108" fmla="*/ 12058120 w 21052572"/>
              <a:gd name="connsiteY6108" fmla="*/ 2958175 h 8402012"/>
              <a:gd name="connsiteX6109" fmla="*/ 11981815 w 21052572"/>
              <a:gd name="connsiteY6109" fmla="*/ 2964624 h 8402012"/>
              <a:gd name="connsiteX6110" fmla="*/ 11808783 w 21052572"/>
              <a:gd name="connsiteY6110" fmla="*/ 3029103 h 8402012"/>
              <a:gd name="connsiteX6111" fmla="*/ 12167742 w 21052572"/>
              <a:gd name="connsiteY6111" fmla="*/ 3048447 h 8402012"/>
              <a:gd name="connsiteX6112" fmla="*/ 12174191 w 21052572"/>
              <a:gd name="connsiteY6112" fmla="*/ 2983968 h 8402012"/>
              <a:gd name="connsiteX6113" fmla="*/ 12238674 w 21052572"/>
              <a:gd name="connsiteY6113" fmla="*/ 2983968 h 8402012"/>
              <a:gd name="connsiteX6114" fmla="*/ 12219329 w 21052572"/>
              <a:gd name="connsiteY6114" fmla="*/ 3067798 h 8402012"/>
              <a:gd name="connsiteX6115" fmla="*/ 12295635 w 21052572"/>
              <a:gd name="connsiteY6115" fmla="*/ 3061340 h 8402012"/>
              <a:gd name="connsiteX6116" fmla="*/ 12539598 w 21052572"/>
              <a:gd name="connsiteY6116" fmla="*/ 2983968 h 8402012"/>
              <a:gd name="connsiteX6117" fmla="*/ 12662117 w 21052572"/>
              <a:gd name="connsiteY6117" fmla="*/ 2977523 h 8402012"/>
              <a:gd name="connsiteX6118" fmla="*/ 12764216 w 21052572"/>
              <a:gd name="connsiteY6118" fmla="*/ 3022655 h 8402012"/>
              <a:gd name="connsiteX6119" fmla="*/ 12769727 w 21052572"/>
              <a:gd name="connsiteY6119" fmla="*/ 3023950 h 8402012"/>
              <a:gd name="connsiteX6120" fmla="*/ 12759050 w 21052572"/>
              <a:gd name="connsiteY6120" fmla="*/ 3014790 h 8402012"/>
              <a:gd name="connsiteX6121" fmla="*/ 12777012 w 21052572"/>
              <a:gd name="connsiteY6121" fmla="*/ 3014790 h 8402012"/>
              <a:gd name="connsiteX6122" fmla="*/ 12770482 w 21052572"/>
              <a:gd name="connsiteY6122" fmla="*/ 3024128 h 8402012"/>
              <a:gd name="connsiteX6123" fmla="*/ 12794225 w 21052572"/>
              <a:gd name="connsiteY6123" fmla="*/ 3029707 h 8402012"/>
              <a:gd name="connsiteX6124" fmla="*/ 12885660 w 21052572"/>
              <a:gd name="connsiteY6124" fmla="*/ 3009759 h 8402012"/>
              <a:gd name="connsiteX6125" fmla="*/ 12956592 w 21052572"/>
              <a:gd name="connsiteY6125" fmla="*/ 2983968 h 8402012"/>
              <a:gd name="connsiteX6126" fmla="*/ 13001731 w 21052572"/>
              <a:gd name="connsiteY6126" fmla="*/ 2977523 h 8402012"/>
              <a:gd name="connsiteX6127" fmla="*/ 13021076 w 21052572"/>
              <a:gd name="connsiteY6127" fmla="*/ 2946355 h 8402012"/>
              <a:gd name="connsiteX6128" fmla="*/ 13052814 w 21052572"/>
              <a:gd name="connsiteY6128" fmla="*/ 2962222 h 8402012"/>
              <a:gd name="connsiteX6129" fmla="*/ 13056973 w 21052572"/>
              <a:gd name="connsiteY6129" fmla="*/ 2968159 h 8402012"/>
              <a:gd name="connsiteX6130" fmla="*/ 13059766 w 21052572"/>
              <a:gd name="connsiteY6130" fmla="*/ 2972146 h 8402012"/>
              <a:gd name="connsiteX6131" fmla="*/ 13110278 w 21052572"/>
              <a:gd name="connsiteY6131" fmla="*/ 2972146 h 8402012"/>
              <a:gd name="connsiteX6132" fmla="*/ 13373586 w 21052572"/>
              <a:gd name="connsiteY6132" fmla="*/ 2914116 h 8402012"/>
              <a:gd name="connsiteX6133" fmla="*/ 13636895 w 21052572"/>
              <a:gd name="connsiteY6133" fmla="*/ 2907666 h 8402012"/>
              <a:gd name="connsiteX6134" fmla="*/ 13676487 w 21052572"/>
              <a:gd name="connsiteY6134" fmla="*/ 2893083 h 8402012"/>
              <a:gd name="connsiteX6135" fmla="*/ 13680018 w 21052572"/>
              <a:gd name="connsiteY6135" fmla="*/ 2911699 h 8402012"/>
              <a:gd name="connsiteX6136" fmla="*/ 13694930 w 21052572"/>
              <a:gd name="connsiteY6136" fmla="*/ 2920566 h 8402012"/>
              <a:gd name="connsiteX6137" fmla="*/ 13690094 w 21052572"/>
              <a:gd name="connsiteY6137" fmla="*/ 2897191 h 8402012"/>
              <a:gd name="connsiteX6138" fmla="*/ 13680782 w 21052572"/>
              <a:gd name="connsiteY6138" fmla="*/ 2891501 h 8402012"/>
              <a:gd name="connsiteX6139" fmla="*/ 13695417 w 21052572"/>
              <a:gd name="connsiteY6139" fmla="*/ 2886110 h 8402012"/>
              <a:gd name="connsiteX6140" fmla="*/ 13880858 w 21052572"/>
              <a:gd name="connsiteY6140" fmla="*/ 2862535 h 8402012"/>
              <a:gd name="connsiteX6141" fmla="*/ 13880858 w 21052572"/>
              <a:gd name="connsiteY6141" fmla="*/ 2920566 h 8402012"/>
              <a:gd name="connsiteX6142" fmla="*/ 14393503 w 21052572"/>
              <a:gd name="connsiteY6142" fmla="*/ 2952806 h 8402012"/>
              <a:gd name="connsiteX6143" fmla="*/ 14335467 w 21052572"/>
              <a:gd name="connsiteY6143" fmla="*/ 2888327 h 8402012"/>
              <a:gd name="connsiteX6144" fmla="*/ 14432193 w 21052572"/>
              <a:gd name="connsiteY6144" fmla="*/ 2888327 h 8402012"/>
              <a:gd name="connsiteX6145" fmla="*/ 14470883 w 21052572"/>
              <a:gd name="connsiteY6145" fmla="*/ 2952806 h 8402012"/>
              <a:gd name="connsiteX6146" fmla="*/ 14553637 w 21052572"/>
              <a:gd name="connsiteY6146" fmla="*/ 2972146 h 8402012"/>
              <a:gd name="connsiteX6147" fmla="*/ 14701950 w 21052572"/>
              <a:gd name="connsiteY6147" fmla="*/ 2983968 h 8402012"/>
              <a:gd name="connsiteX6148" fmla="*/ 14938390 w 21052572"/>
              <a:gd name="connsiteY6148" fmla="*/ 3061340 h 8402012"/>
              <a:gd name="connsiteX6149" fmla="*/ 14374158 w 21052572"/>
              <a:gd name="connsiteY6149" fmla="*/ 3029103 h 8402012"/>
              <a:gd name="connsiteX6150" fmla="*/ 14399951 w 21052572"/>
              <a:gd name="connsiteY6150" fmla="*/ 3074240 h 8402012"/>
              <a:gd name="connsiteX6151" fmla="*/ 14220472 w 21052572"/>
              <a:gd name="connsiteY6151" fmla="*/ 3106481 h 8402012"/>
              <a:gd name="connsiteX6152" fmla="*/ 14278507 w 21052572"/>
              <a:gd name="connsiteY6152" fmla="*/ 3074240 h 8402012"/>
              <a:gd name="connsiteX6153" fmla="*/ 14259162 w 21052572"/>
              <a:gd name="connsiteY6153" fmla="*/ 3009759 h 8402012"/>
              <a:gd name="connsiteX6154" fmla="*/ 14194678 w 21052572"/>
              <a:gd name="connsiteY6154" fmla="*/ 3009759 h 8402012"/>
              <a:gd name="connsiteX6155" fmla="*/ 14040992 w 21052572"/>
              <a:gd name="connsiteY6155" fmla="*/ 3003312 h 8402012"/>
              <a:gd name="connsiteX6156" fmla="*/ 13993733 w 21052572"/>
              <a:gd name="connsiteY6156" fmla="*/ 3009219 h 8402012"/>
              <a:gd name="connsiteX6157" fmla="*/ 13976509 w 21052572"/>
              <a:gd name="connsiteY6157" fmla="*/ 3011371 h 8402012"/>
              <a:gd name="connsiteX6158" fmla="*/ 13912025 w 21052572"/>
              <a:gd name="connsiteY6158" fmla="*/ 3009759 h 8402012"/>
              <a:gd name="connsiteX6159" fmla="*/ 13880858 w 21052572"/>
              <a:gd name="connsiteY6159" fmla="*/ 3029103 h 8402012"/>
              <a:gd name="connsiteX6160" fmla="*/ 13816374 w 21052572"/>
              <a:gd name="connsiteY6160" fmla="*/ 3074240 h 8402012"/>
              <a:gd name="connsiteX6161" fmla="*/ 13784132 w 21052572"/>
              <a:gd name="connsiteY6161" fmla="*/ 3048447 h 8402012"/>
              <a:gd name="connsiteX6162" fmla="*/ 13758339 w 21052572"/>
              <a:gd name="connsiteY6162" fmla="*/ 3048447 h 8402012"/>
              <a:gd name="connsiteX6163" fmla="*/ 13662688 w 21052572"/>
              <a:gd name="connsiteY6163" fmla="*/ 3048447 h 8402012"/>
              <a:gd name="connsiteX6164" fmla="*/ 13656240 w 21052572"/>
              <a:gd name="connsiteY6164" fmla="*/ 2983968 h 8402012"/>
              <a:gd name="connsiteX6165" fmla="*/ 13598205 w 21052572"/>
              <a:gd name="connsiteY6165" fmla="*/ 3048447 h 8402012"/>
              <a:gd name="connsiteX6166" fmla="*/ 13598205 w 21052572"/>
              <a:gd name="connsiteY6166" fmla="*/ 2983968 h 8402012"/>
              <a:gd name="connsiteX6167" fmla="*/ 13252142 w 21052572"/>
              <a:gd name="connsiteY6167" fmla="*/ 3042000 h 8402012"/>
              <a:gd name="connsiteX6168" fmla="*/ 12905005 w 21052572"/>
              <a:gd name="connsiteY6168" fmla="*/ 3087134 h 8402012"/>
              <a:gd name="connsiteX6169" fmla="*/ 12263393 w 21052572"/>
              <a:gd name="connsiteY6169" fmla="*/ 3169883 h 8402012"/>
              <a:gd name="connsiteX6170" fmla="*/ 11750748 w 21052572"/>
              <a:gd name="connsiteY6170" fmla="*/ 3234361 h 8402012"/>
              <a:gd name="connsiteX6171" fmla="*/ 11770093 w 21052572"/>
              <a:gd name="connsiteY6171" fmla="*/ 3215019 h 8402012"/>
              <a:gd name="connsiteX6172" fmla="*/ 11737851 w 21052572"/>
              <a:gd name="connsiteY6172" fmla="*/ 3195674 h 8402012"/>
              <a:gd name="connsiteX6173" fmla="*/ 11686264 w 21052572"/>
              <a:gd name="connsiteY6173" fmla="*/ 3273049 h 8402012"/>
              <a:gd name="connsiteX6174" fmla="*/ 11597062 w 21052572"/>
              <a:gd name="connsiteY6174" fmla="*/ 3279496 h 8402012"/>
              <a:gd name="connsiteX6175" fmla="*/ 11564820 w 21052572"/>
              <a:gd name="connsiteY6175" fmla="*/ 3350421 h 8402012"/>
              <a:gd name="connsiteX6176" fmla="*/ 11564820 w 21052572"/>
              <a:gd name="connsiteY6176" fmla="*/ 3260153 h 8402012"/>
              <a:gd name="connsiteX6177" fmla="*/ 11295064 w 21052572"/>
              <a:gd name="connsiteY6177" fmla="*/ 3382670 h 8402012"/>
              <a:gd name="connsiteX6178" fmla="*/ 11199413 w 21052572"/>
              <a:gd name="connsiteY6178" fmla="*/ 3413830 h 8402012"/>
              <a:gd name="connsiteX6179" fmla="*/ 11160723 w 21052572"/>
              <a:gd name="connsiteY6179" fmla="*/ 3388041 h 8402012"/>
              <a:gd name="connsiteX6180" fmla="*/ 11147826 w 21052572"/>
              <a:gd name="connsiteY6180" fmla="*/ 3446069 h 8402012"/>
              <a:gd name="connsiteX6181" fmla="*/ 11083342 w 21052572"/>
              <a:gd name="connsiteY6181" fmla="*/ 3458965 h 8402012"/>
              <a:gd name="connsiteX6182" fmla="*/ 10942553 w 21052572"/>
              <a:gd name="connsiteY6182" fmla="*/ 3510547 h 8402012"/>
              <a:gd name="connsiteX6183" fmla="*/ 10659900 w 21052572"/>
              <a:gd name="connsiteY6183" fmla="*/ 3625537 h 8402012"/>
              <a:gd name="connsiteX6184" fmla="*/ 10058053 w 21052572"/>
              <a:gd name="connsiteY6184" fmla="*/ 3908169 h 8402012"/>
              <a:gd name="connsiteX6185" fmla="*/ 9448682 w 21052572"/>
              <a:gd name="connsiteY6185" fmla="*/ 4196035 h 8402012"/>
              <a:gd name="connsiteX6186" fmla="*/ 9147758 w 21052572"/>
              <a:gd name="connsiteY6186" fmla="*/ 4336814 h 8402012"/>
              <a:gd name="connsiteX6187" fmla="*/ 9025240 w 21052572"/>
              <a:gd name="connsiteY6187" fmla="*/ 4393771 h 8402012"/>
              <a:gd name="connsiteX6188" fmla="*/ 8968279 w 21052572"/>
              <a:gd name="connsiteY6188" fmla="*/ 4426011 h 8402012"/>
              <a:gd name="connsiteX6189" fmla="*/ 8941411 w 21052572"/>
              <a:gd name="connsiteY6189" fmla="*/ 4458250 h 8402012"/>
              <a:gd name="connsiteX6190" fmla="*/ 9243409 w 21052572"/>
              <a:gd name="connsiteY6190" fmla="*/ 4426011 h 8402012"/>
              <a:gd name="connsiteX6191" fmla="*/ 9185374 w 21052572"/>
              <a:gd name="connsiteY6191" fmla="*/ 4381950 h 8402012"/>
              <a:gd name="connsiteX6192" fmla="*/ 9307893 w 21052572"/>
              <a:gd name="connsiteY6192" fmla="*/ 4317471 h 8402012"/>
              <a:gd name="connsiteX6193" fmla="*/ 9435785 w 21052572"/>
              <a:gd name="connsiteY6193" fmla="*/ 4291679 h 8402012"/>
              <a:gd name="connsiteX6194" fmla="*/ 9422889 w 21052572"/>
              <a:gd name="connsiteY6194" fmla="*/ 4304575 h 8402012"/>
              <a:gd name="connsiteX6195" fmla="*/ 9487372 w 21052572"/>
              <a:gd name="connsiteY6195" fmla="*/ 4291679 h 8402012"/>
              <a:gd name="connsiteX6196" fmla="*/ 9584098 w 21052572"/>
              <a:gd name="connsiteY6196" fmla="*/ 4272335 h 8402012"/>
              <a:gd name="connsiteX6197" fmla="*/ 9564753 w 21052572"/>
              <a:gd name="connsiteY6197" fmla="*/ 4214304 h 8402012"/>
              <a:gd name="connsiteX6198" fmla="*/ 9526062 w 21052572"/>
              <a:gd name="connsiteY6198" fmla="*/ 4246544 h 8402012"/>
              <a:gd name="connsiteX6199" fmla="*/ 9551856 w 21052572"/>
              <a:gd name="connsiteY6199" fmla="*/ 4184354 h 8402012"/>
              <a:gd name="connsiteX6200" fmla="*/ 9628162 w 21052572"/>
              <a:gd name="connsiteY6200" fmla="*/ 4177906 h 8402012"/>
              <a:gd name="connsiteX6201" fmla="*/ 9686197 w 21052572"/>
              <a:gd name="connsiteY6201" fmla="*/ 4152114 h 8402012"/>
              <a:gd name="connsiteX6202" fmla="*/ 9705542 w 21052572"/>
              <a:gd name="connsiteY6202" fmla="*/ 4189587 h 8402012"/>
              <a:gd name="connsiteX6203" fmla="*/ 9776474 w 21052572"/>
              <a:gd name="connsiteY6203" fmla="*/ 4177906 h 8402012"/>
              <a:gd name="connsiteX6204" fmla="*/ 9865676 w 21052572"/>
              <a:gd name="connsiteY6204" fmla="*/ 4132769 h 8402012"/>
              <a:gd name="connsiteX6205" fmla="*/ 9904367 w 21052572"/>
              <a:gd name="connsiteY6205" fmla="*/ 4036052 h 8402012"/>
              <a:gd name="connsiteX6206" fmla="*/ 9930340 w 21052572"/>
              <a:gd name="connsiteY6206" fmla="*/ 4033882 h 8402012"/>
              <a:gd name="connsiteX6207" fmla="*/ 9952595 w 21052572"/>
              <a:gd name="connsiteY6207" fmla="*/ 4032023 h 8402012"/>
              <a:gd name="connsiteX6208" fmla="*/ 10000017 w 21052572"/>
              <a:gd name="connsiteY6208" fmla="*/ 4003812 h 8402012"/>
              <a:gd name="connsiteX6209" fmla="*/ 10103191 w 21052572"/>
              <a:gd name="connsiteY6209" fmla="*/ 3990915 h 8402012"/>
              <a:gd name="connsiteX6210" fmla="*/ 10174123 w 21052572"/>
              <a:gd name="connsiteY6210" fmla="*/ 4003812 h 8402012"/>
              <a:gd name="connsiteX6211" fmla="*/ 10462150 w 21052572"/>
              <a:gd name="connsiteY6211" fmla="*/ 3895275 h 8402012"/>
              <a:gd name="connsiteX6212" fmla="*/ 10289119 w 21052572"/>
              <a:gd name="connsiteY6212" fmla="*/ 3998439 h 8402012"/>
              <a:gd name="connsiteX6213" fmla="*/ 10224635 w 21052572"/>
              <a:gd name="connsiteY6213" fmla="*/ 4068293 h 8402012"/>
              <a:gd name="connsiteX6214" fmla="*/ 10148330 w 21052572"/>
              <a:gd name="connsiteY6214" fmla="*/ 4074739 h 8402012"/>
              <a:gd name="connsiteX6215" fmla="*/ 10077398 w 21052572"/>
              <a:gd name="connsiteY6215" fmla="*/ 4145668 h 8402012"/>
              <a:gd name="connsiteX6216" fmla="*/ 9975299 w 21052572"/>
              <a:gd name="connsiteY6216" fmla="*/ 4165011 h 8402012"/>
              <a:gd name="connsiteX6217" fmla="*/ 9904367 w 21052572"/>
              <a:gd name="connsiteY6217" fmla="*/ 4207856 h 8402012"/>
              <a:gd name="connsiteX6218" fmla="*/ 9876156 w 21052572"/>
              <a:gd name="connsiteY6218" fmla="*/ 4212020 h 8402012"/>
              <a:gd name="connsiteX6219" fmla="*/ 9865805 w 21052572"/>
              <a:gd name="connsiteY6219" fmla="*/ 4207797 h 8402012"/>
              <a:gd name="connsiteX6220" fmla="*/ 9866316 w 21052572"/>
              <a:gd name="connsiteY6220" fmla="*/ 4208037 h 8402012"/>
              <a:gd name="connsiteX6221" fmla="*/ 9865567 w 21052572"/>
              <a:gd name="connsiteY6221" fmla="*/ 4226700 h 8402012"/>
              <a:gd name="connsiteX6222" fmla="*/ 9864944 w 21052572"/>
              <a:gd name="connsiteY6222" fmla="*/ 4225750 h 8402012"/>
              <a:gd name="connsiteX6223" fmla="*/ 9865676 w 21052572"/>
              <a:gd name="connsiteY6223" fmla="*/ 4227200 h 8402012"/>
              <a:gd name="connsiteX6224" fmla="*/ 9794744 w 21052572"/>
              <a:gd name="connsiteY6224" fmla="*/ 4246544 h 8402012"/>
              <a:gd name="connsiteX6225" fmla="*/ 9781848 w 21052572"/>
              <a:gd name="connsiteY6225" fmla="*/ 4278783 h 8402012"/>
              <a:gd name="connsiteX6226" fmla="*/ 9653955 w 21052572"/>
              <a:gd name="connsiteY6226" fmla="*/ 4330366 h 8402012"/>
              <a:gd name="connsiteX6227" fmla="*/ 9397095 w 21052572"/>
              <a:gd name="connsiteY6227" fmla="*/ 4413115 h 8402012"/>
              <a:gd name="connsiteX6228" fmla="*/ 9416440 w 21052572"/>
              <a:gd name="connsiteY6228" fmla="*/ 4445354 h 8402012"/>
              <a:gd name="connsiteX6229" fmla="*/ 9353031 w 21052572"/>
              <a:gd name="connsiteY6229" fmla="*/ 4445354 h 8402012"/>
              <a:gd name="connsiteX6230" fmla="*/ 9294996 w 21052572"/>
              <a:gd name="connsiteY6230" fmla="*/ 4496938 h 8402012"/>
              <a:gd name="connsiteX6231" fmla="*/ 9173552 w 21052572"/>
              <a:gd name="connsiteY6231" fmla="*/ 4561417 h 8402012"/>
              <a:gd name="connsiteX6232" fmla="*/ 8916692 w 21052572"/>
              <a:gd name="connsiteY6232" fmla="*/ 4708644 h 8402012"/>
              <a:gd name="connsiteX6233" fmla="*/ 8390076 w 21052572"/>
              <a:gd name="connsiteY6233" fmla="*/ 4990203 h 8402012"/>
              <a:gd name="connsiteX6234" fmla="*/ 8133216 w 21052572"/>
              <a:gd name="connsiteY6234" fmla="*/ 5132057 h 8402012"/>
              <a:gd name="connsiteX6235" fmla="*/ 8011772 w 21052572"/>
              <a:gd name="connsiteY6235" fmla="*/ 5195462 h 8402012"/>
              <a:gd name="connsiteX6236" fmla="*/ 7909672 w 21052572"/>
              <a:gd name="connsiteY6236" fmla="*/ 5259941 h 8402012"/>
              <a:gd name="connsiteX6237" fmla="*/ 7966633 w 21052572"/>
              <a:gd name="connsiteY6237" fmla="*/ 5292180 h 8402012"/>
              <a:gd name="connsiteX6238" fmla="*/ 7979530 w 21052572"/>
              <a:gd name="connsiteY6238" fmla="*/ 5337316 h 8402012"/>
              <a:gd name="connsiteX6239" fmla="*/ 7992426 w 21052572"/>
              <a:gd name="connsiteY6239" fmla="*/ 5388899 h 8402012"/>
              <a:gd name="connsiteX6240" fmla="*/ 7934391 w 21052572"/>
              <a:gd name="connsiteY6240" fmla="*/ 5478095 h 8402012"/>
              <a:gd name="connsiteX6241" fmla="*/ 7864534 w 21052572"/>
              <a:gd name="connsiteY6241" fmla="*/ 5542574 h 8402012"/>
              <a:gd name="connsiteX6242" fmla="*/ 7909672 w 21052572"/>
              <a:gd name="connsiteY6242" fmla="*/ 5516783 h 8402012"/>
              <a:gd name="connsiteX6243" fmla="*/ 7973082 w 21052572"/>
              <a:gd name="connsiteY6243" fmla="*/ 5490991 h 8402012"/>
              <a:gd name="connsiteX6244" fmla="*/ 8031116 w 21052572"/>
              <a:gd name="connsiteY6244" fmla="*/ 5452304 h 8402012"/>
              <a:gd name="connsiteX6245" fmla="*/ 8069807 w 21052572"/>
              <a:gd name="connsiteY6245" fmla="*/ 5414691 h 8402012"/>
              <a:gd name="connsiteX6246" fmla="*/ 8089152 w 21052572"/>
              <a:gd name="connsiteY6246" fmla="*/ 5420064 h 8402012"/>
              <a:gd name="connsiteX6247" fmla="*/ 8121394 w 21052572"/>
              <a:gd name="connsiteY6247" fmla="*/ 5388899 h 8402012"/>
              <a:gd name="connsiteX6248" fmla="*/ 8184802 w 21052572"/>
              <a:gd name="connsiteY6248" fmla="*/ 5382451 h 8402012"/>
              <a:gd name="connsiteX6249" fmla="*/ 8281528 w 21052572"/>
              <a:gd name="connsiteY6249" fmla="*/ 5285733 h 8402012"/>
              <a:gd name="connsiteX6250" fmla="*/ 8182700 w 21052572"/>
              <a:gd name="connsiteY6250" fmla="*/ 5319320 h 8402012"/>
              <a:gd name="connsiteX6251" fmla="*/ 8173922 w 21052572"/>
              <a:gd name="connsiteY6251" fmla="*/ 5307736 h 8402012"/>
              <a:gd name="connsiteX6252" fmla="*/ 8174231 w 21052572"/>
              <a:gd name="connsiteY6252" fmla="*/ 5310551 h 8402012"/>
              <a:gd name="connsiteX6253" fmla="*/ 8179469 w 21052572"/>
              <a:gd name="connsiteY6253" fmla="*/ 5317376 h 8402012"/>
              <a:gd name="connsiteX6254" fmla="*/ 8167495 w 21052572"/>
              <a:gd name="connsiteY6254" fmla="*/ 5320789 h 8402012"/>
              <a:gd name="connsiteX6255" fmla="*/ 8172660 w 21052572"/>
              <a:gd name="connsiteY6255" fmla="*/ 5306070 h 8402012"/>
              <a:gd name="connsiteX6256" fmla="*/ 8171906 w 21052572"/>
              <a:gd name="connsiteY6256" fmla="*/ 5305076 h 8402012"/>
              <a:gd name="connsiteX6257" fmla="*/ 8320218 w 21052572"/>
              <a:gd name="connsiteY6257" fmla="*/ 5157849 h 8402012"/>
              <a:gd name="connsiteX6258" fmla="*/ 8396524 w 21052572"/>
              <a:gd name="connsiteY6258" fmla="*/ 5119161 h 8402012"/>
              <a:gd name="connsiteX6259" fmla="*/ 8398315 w 21052572"/>
              <a:gd name="connsiteY6259" fmla="*/ 5105641 h 8402012"/>
              <a:gd name="connsiteX6260" fmla="*/ 8397856 w 21052572"/>
              <a:gd name="connsiteY6260" fmla="*/ 5102556 h 8402012"/>
              <a:gd name="connsiteX6261" fmla="*/ 8397548 w 21052572"/>
              <a:gd name="connsiteY6261" fmla="*/ 5093425 h 8402012"/>
              <a:gd name="connsiteX6262" fmla="*/ 8398918 w 21052572"/>
              <a:gd name="connsiteY6262" fmla="*/ 5092780 h 8402012"/>
              <a:gd name="connsiteX6263" fmla="*/ 8409421 w 21052572"/>
              <a:gd name="connsiteY6263" fmla="*/ 5074026 h 8402012"/>
              <a:gd name="connsiteX6264" fmla="*/ 8441663 w 21052572"/>
              <a:gd name="connsiteY6264" fmla="*/ 5041786 h 8402012"/>
              <a:gd name="connsiteX6265" fmla="*/ 8530865 w 21052572"/>
              <a:gd name="connsiteY6265" fmla="*/ 4984830 h 8402012"/>
              <a:gd name="connsiteX6266" fmla="*/ 8530865 w 21052572"/>
              <a:gd name="connsiteY6266" fmla="*/ 5041786 h 8402012"/>
              <a:gd name="connsiteX6267" fmla="*/ 8486801 w 21052572"/>
              <a:gd name="connsiteY6267" fmla="*/ 5074026 h 8402012"/>
              <a:gd name="connsiteX6268" fmla="*/ 8543762 w 21052572"/>
              <a:gd name="connsiteY6268" fmla="*/ 5074026 h 8402012"/>
              <a:gd name="connsiteX6269" fmla="*/ 8563107 w 21052572"/>
              <a:gd name="connsiteY6269" fmla="*/ 4997726 h 8402012"/>
              <a:gd name="connsiteX6270" fmla="*/ 8595349 w 21052572"/>
              <a:gd name="connsiteY6270" fmla="*/ 5041786 h 8402012"/>
              <a:gd name="connsiteX6271" fmla="*/ 8679177 w 21052572"/>
              <a:gd name="connsiteY6271" fmla="*/ 4952590 h 8402012"/>
              <a:gd name="connsiteX6272" fmla="*/ 8685626 w 21052572"/>
              <a:gd name="connsiteY6272" fmla="*/ 5041786 h 8402012"/>
              <a:gd name="connsiteX6273" fmla="*/ 8698522 w 21052572"/>
              <a:gd name="connsiteY6273" fmla="*/ 5028891 h 8402012"/>
              <a:gd name="connsiteX6274" fmla="*/ 8698522 w 21052572"/>
              <a:gd name="connsiteY6274" fmla="*/ 4965486 h 8402012"/>
              <a:gd name="connsiteX6275" fmla="*/ 8749035 w 21052572"/>
              <a:gd name="connsiteY6275" fmla="*/ 4868767 h 8402012"/>
              <a:gd name="connsiteX6276" fmla="*/ 8871553 w 21052572"/>
              <a:gd name="connsiteY6276" fmla="*/ 4868767 h 8402012"/>
              <a:gd name="connsiteX6277" fmla="*/ 8813518 w 21052572"/>
              <a:gd name="connsiteY6277" fmla="*/ 4907455 h 8402012"/>
              <a:gd name="connsiteX6278" fmla="*/ 8960756 w 21052572"/>
              <a:gd name="connsiteY6278" fmla="*/ 4888111 h 8402012"/>
              <a:gd name="connsiteX6279" fmla="*/ 8960756 w 21052572"/>
              <a:gd name="connsiteY6279" fmla="*/ 4798915 h 8402012"/>
              <a:gd name="connsiteX6280" fmla="*/ 8929589 w 21052572"/>
              <a:gd name="connsiteY6280" fmla="*/ 4792467 h 8402012"/>
              <a:gd name="connsiteX6281" fmla="*/ 8948934 w 21052572"/>
              <a:gd name="connsiteY6281" fmla="*/ 4747332 h 8402012"/>
              <a:gd name="connsiteX6282" fmla="*/ 9063930 w 21052572"/>
              <a:gd name="connsiteY6282" fmla="*/ 4734436 h 8402012"/>
              <a:gd name="connsiteX6283" fmla="*/ 9076826 w 21052572"/>
              <a:gd name="connsiteY6283" fmla="*/ 4888111 h 8402012"/>
              <a:gd name="connsiteX6284" fmla="*/ 8903795 w 21052572"/>
              <a:gd name="connsiteY6284" fmla="*/ 4959038 h 8402012"/>
              <a:gd name="connsiteX6285" fmla="*/ 8832863 w 21052572"/>
              <a:gd name="connsiteY6285" fmla="*/ 5004174 h 8402012"/>
              <a:gd name="connsiteX6286" fmla="*/ 8781276 w 21052572"/>
              <a:gd name="connsiteY6286" fmla="*/ 5035338 h 8402012"/>
              <a:gd name="connsiteX6287" fmla="*/ 8773438 w 21052572"/>
              <a:gd name="connsiteY6287" fmla="*/ 5035965 h 8402012"/>
              <a:gd name="connsiteX6288" fmla="*/ 8781360 w 21052572"/>
              <a:gd name="connsiteY6288" fmla="*/ 5042472 h 8402012"/>
              <a:gd name="connsiteX6289" fmla="*/ 8772012 w 21052572"/>
              <a:gd name="connsiteY6289" fmla="*/ 5050150 h 8402012"/>
              <a:gd name="connsiteX6290" fmla="*/ 8767963 w 21052572"/>
              <a:gd name="connsiteY6290" fmla="*/ 5049272 h 8402012"/>
              <a:gd name="connsiteX6291" fmla="*/ 8770472 w 21052572"/>
              <a:gd name="connsiteY6291" fmla="*/ 5059093 h 8402012"/>
              <a:gd name="connsiteX6292" fmla="*/ 8766370 w 21052572"/>
              <a:gd name="connsiteY6292" fmla="*/ 5075146 h 8402012"/>
              <a:gd name="connsiteX6293" fmla="*/ 8758714 w 21052572"/>
              <a:gd name="connsiteY6293" fmla="*/ 5055883 h 8402012"/>
              <a:gd name="connsiteX6294" fmla="*/ 8762542 w 21052572"/>
              <a:gd name="connsiteY6294" fmla="*/ 5051869 h 8402012"/>
              <a:gd name="connsiteX6295" fmla="*/ 8765308 w 21052572"/>
              <a:gd name="connsiteY6295" fmla="*/ 5045489 h 8402012"/>
              <a:gd name="connsiteX6296" fmla="*/ 8763453 w 21052572"/>
              <a:gd name="connsiteY6296" fmla="*/ 5042472 h 8402012"/>
              <a:gd name="connsiteX6297" fmla="*/ 8767145 w 21052572"/>
              <a:gd name="connsiteY6297" fmla="*/ 5036469 h 8402012"/>
              <a:gd name="connsiteX6298" fmla="*/ 8761126 w 21052572"/>
              <a:gd name="connsiteY6298" fmla="*/ 5036950 h 8402012"/>
              <a:gd name="connsiteX6299" fmla="*/ 8736138 w 21052572"/>
              <a:gd name="connsiteY6299" fmla="*/ 5048234 h 8402012"/>
              <a:gd name="connsiteX6300" fmla="*/ 8736138 w 21052572"/>
              <a:gd name="connsiteY6300" fmla="*/ 5093370 h 8402012"/>
              <a:gd name="connsiteX6301" fmla="*/ 8794173 w 21052572"/>
              <a:gd name="connsiteY6301" fmla="*/ 5074026 h 8402012"/>
              <a:gd name="connsiteX6302" fmla="*/ 8852208 w 21052572"/>
              <a:gd name="connsiteY6302" fmla="*/ 5054682 h 8402012"/>
              <a:gd name="connsiteX6303" fmla="*/ 8923140 w 21052572"/>
              <a:gd name="connsiteY6303" fmla="*/ 5028891 h 8402012"/>
              <a:gd name="connsiteX6304" fmla="*/ 8980101 w 21052572"/>
              <a:gd name="connsiteY6304" fmla="*/ 4990203 h 8402012"/>
              <a:gd name="connsiteX6305" fmla="*/ 9089723 w 21052572"/>
              <a:gd name="connsiteY6305" fmla="*/ 4933247 h 8402012"/>
              <a:gd name="connsiteX6306" fmla="*/ 9134862 w 21052572"/>
              <a:gd name="connsiteY6306" fmla="*/ 4894559 h 8402012"/>
              <a:gd name="connsiteX6307" fmla="*/ 9128413 w 21052572"/>
              <a:gd name="connsiteY6307" fmla="*/ 4823632 h 8402012"/>
              <a:gd name="connsiteX6308" fmla="*/ 9166029 w 21052572"/>
              <a:gd name="connsiteY6308" fmla="*/ 4792467 h 8402012"/>
              <a:gd name="connsiteX6309" fmla="*/ 9178926 w 21052572"/>
              <a:gd name="connsiteY6309" fmla="*/ 4734436 h 8402012"/>
              <a:gd name="connsiteX6310" fmla="*/ 9198271 w 21052572"/>
              <a:gd name="connsiteY6310" fmla="*/ 4855872 h 8402012"/>
              <a:gd name="connsiteX6311" fmla="*/ 9288548 w 21052572"/>
              <a:gd name="connsiteY6311" fmla="*/ 4823632 h 8402012"/>
              <a:gd name="connsiteX6312" fmla="*/ 9448682 w 21052572"/>
              <a:gd name="connsiteY6312" fmla="*/ 4753780 h 8402012"/>
              <a:gd name="connsiteX6313" fmla="*/ 9589471 w 21052572"/>
              <a:gd name="connsiteY6313" fmla="*/ 4650613 h 8402012"/>
              <a:gd name="connsiteX6314" fmla="*/ 9718439 w 21052572"/>
              <a:gd name="connsiteY6314" fmla="*/ 4605477 h 8402012"/>
              <a:gd name="connsiteX6315" fmla="*/ 9852780 w 21052572"/>
              <a:gd name="connsiteY6315" fmla="*/ 4548521 h 8402012"/>
              <a:gd name="connsiteX6316" fmla="*/ 9833435 w 21052572"/>
              <a:gd name="connsiteY6316" fmla="*/ 4484042 h 8402012"/>
              <a:gd name="connsiteX6317" fmla="*/ 9826986 w 21052572"/>
              <a:gd name="connsiteY6317" fmla="*/ 4400219 h 8402012"/>
              <a:gd name="connsiteX6318" fmla="*/ 9846331 w 21052572"/>
              <a:gd name="connsiteY6318" fmla="*/ 4330366 h 8402012"/>
              <a:gd name="connsiteX6319" fmla="*/ 9910815 w 21052572"/>
              <a:gd name="connsiteY6319" fmla="*/ 4330366 h 8402012"/>
              <a:gd name="connsiteX6320" fmla="*/ 10038707 w 21052572"/>
              <a:gd name="connsiteY6320" fmla="*/ 4246544 h 8402012"/>
              <a:gd name="connsiteX6321" fmla="*/ 10025811 w 21052572"/>
              <a:gd name="connsiteY6321" fmla="*/ 4381950 h 8402012"/>
              <a:gd name="connsiteX6322" fmla="*/ 9962402 w 21052572"/>
              <a:gd name="connsiteY6322" fmla="*/ 4393771 h 8402012"/>
              <a:gd name="connsiteX6323" fmla="*/ 9943057 w 21052572"/>
              <a:gd name="connsiteY6323" fmla="*/ 4438906 h 8402012"/>
              <a:gd name="connsiteX6324" fmla="*/ 9917263 w 21052572"/>
              <a:gd name="connsiteY6324" fmla="*/ 4451802 h 8402012"/>
              <a:gd name="connsiteX6325" fmla="*/ 9904367 w 21052572"/>
              <a:gd name="connsiteY6325" fmla="*/ 4548521 h 8402012"/>
              <a:gd name="connsiteX6326" fmla="*/ 10487943 w 21052572"/>
              <a:gd name="connsiteY6326" fmla="*/ 4298127 h 8402012"/>
              <a:gd name="connsiteX6327" fmla="*/ 10775970 w 21052572"/>
              <a:gd name="connsiteY6327" fmla="*/ 4189587 h 8402012"/>
              <a:gd name="connsiteX6328" fmla="*/ 10903863 w 21052572"/>
              <a:gd name="connsiteY6328" fmla="*/ 4139219 h 8402012"/>
              <a:gd name="connsiteX6329" fmla="*/ 11031756 w 21052572"/>
              <a:gd name="connsiteY6329" fmla="*/ 4100532 h 8402012"/>
              <a:gd name="connsiteX6330" fmla="*/ 10730832 w 21052572"/>
              <a:gd name="connsiteY6330" fmla="*/ 4265887 h 8402012"/>
              <a:gd name="connsiteX6331" fmla="*/ 10436357 w 21052572"/>
              <a:gd name="connsiteY6331" fmla="*/ 4381950 h 8402012"/>
              <a:gd name="connsiteX6332" fmla="*/ 10282671 w 21052572"/>
              <a:gd name="connsiteY6332" fmla="*/ 4458250 h 8402012"/>
              <a:gd name="connsiteX6333" fmla="*/ 10148330 w 21052572"/>
              <a:gd name="connsiteY6333" fmla="*/ 4490490 h 8402012"/>
              <a:gd name="connsiteX6334" fmla="*/ 9852780 w 21052572"/>
              <a:gd name="connsiteY6334" fmla="*/ 4618373 h 8402012"/>
              <a:gd name="connsiteX6335" fmla="*/ 9705542 w 21052572"/>
              <a:gd name="connsiteY6335" fmla="*/ 4715092 h 8402012"/>
              <a:gd name="connsiteX6336" fmla="*/ 9571201 w 21052572"/>
              <a:gd name="connsiteY6336" fmla="*/ 4798915 h 8402012"/>
              <a:gd name="connsiteX6337" fmla="*/ 9429337 w 21052572"/>
              <a:gd name="connsiteY6337" fmla="*/ 4830080 h 8402012"/>
              <a:gd name="connsiteX6338" fmla="*/ 9288548 w 21052572"/>
              <a:gd name="connsiteY6338" fmla="*/ 4888111 h 8402012"/>
              <a:gd name="connsiteX6339" fmla="*/ 8992998 w 21052572"/>
              <a:gd name="connsiteY6339" fmla="*/ 5061130 h 8402012"/>
              <a:gd name="connsiteX6340" fmla="*/ 8832863 w 21052572"/>
              <a:gd name="connsiteY6340" fmla="*/ 5144953 h 8402012"/>
              <a:gd name="connsiteX6341" fmla="*/ 8698522 w 21052572"/>
              <a:gd name="connsiteY6341" fmla="*/ 5195462 h 8402012"/>
              <a:gd name="connsiteX6342" fmla="*/ 8711419 w 21052572"/>
              <a:gd name="connsiteY6342" fmla="*/ 5324420 h 8402012"/>
              <a:gd name="connsiteX6343" fmla="*/ 8653384 w 21052572"/>
              <a:gd name="connsiteY6343" fmla="*/ 5343764 h 8402012"/>
              <a:gd name="connsiteX6344" fmla="*/ 8569555 w 21052572"/>
              <a:gd name="connsiteY6344" fmla="*/ 5388899 h 8402012"/>
              <a:gd name="connsiteX6345" fmla="*/ 8506146 w 21052572"/>
              <a:gd name="connsiteY6345" fmla="*/ 5445856 h 8402012"/>
              <a:gd name="connsiteX6346" fmla="*/ 8313770 w 21052572"/>
              <a:gd name="connsiteY6346" fmla="*/ 5549022 h 8402012"/>
              <a:gd name="connsiteX6347" fmla="*/ 8139664 w 21052572"/>
              <a:gd name="connsiteY6347" fmla="*/ 5683354 h 8402012"/>
              <a:gd name="connsiteX6348" fmla="*/ 8396524 w 21052572"/>
              <a:gd name="connsiteY6348" fmla="*/ 5605979 h 8402012"/>
              <a:gd name="connsiteX6349" fmla="*/ 8467456 w 21052572"/>
              <a:gd name="connsiteY6349" fmla="*/ 5549022 h 8402012"/>
              <a:gd name="connsiteX6350" fmla="*/ 8506146 w 21052572"/>
              <a:gd name="connsiteY6350" fmla="*/ 5484543 h 8402012"/>
              <a:gd name="connsiteX6351" fmla="*/ 8486801 w 21052572"/>
              <a:gd name="connsiteY6351" fmla="*/ 5516783 h 8402012"/>
              <a:gd name="connsiteX6352" fmla="*/ 8538388 w 21052572"/>
              <a:gd name="connsiteY6352" fmla="*/ 5510335 h 8402012"/>
              <a:gd name="connsiteX6353" fmla="*/ 8582452 w 21052572"/>
              <a:gd name="connsiteY6353" fmla="*/ 5458752 h 8402012"/>
              <a:gd name="connsiteX6354" fmla="*/ 8576003 w 21052572"/>
              <a:gd name="connsiteY6354" fmla="*/ 5471647 h 8402012"/>
              <a:gd name="connsiteX6355" fmla="*/ 8582452 w 21052572"/>
              <a:gd name="connsiteY6355" fmla="*/ 5490991 h 8402012"/>
              <a:gd name="connsiteX6356" fmla="*/ 8692074 w 21052572"/>
              <a:gd name="connsiteY6356" fmla="*/ 5426512 h 8402012"/>
              <a:gd name="connsiteX6357" fmla="*/ 8865105 w 21052572"/>
              <a:gd name="connsiteY6357" fmla="*/ 5343764 h 8402012"/>
              <a:gd name="connsiteX6358" fmla="*/ 9191822 w 21052572"/>
              <a:gd name="connsiteY6358" fmla="*/ 5170745 h 8402012"/>
              <a:gd name="connsiteX6359" fmla="*/ 9538959 w 21052572"/>
              <a:gd name="connsiteY6359" fmla="*/ 4990203 h 8402012"/>
              <a:gd name="connsiteX6360" fmla="*/ 9686197 w 21052572"/>
              <a:gd name="connsiteY6360" fmla="*/ 4894559 h 8402012"/>
              <a:gd name="connsiteX6361" fmla="*/ 9744232 w 21052572"/>
              <a:gd name="connsiteY6361" fmla="*/ 4894559 h 8402012"/>
              <a:gd name="connsiteX6362" fmla="*/ 9750680 w 21052572"/>
              <a:gd name="connsiteY6362" fmla="*/ 4823632 h 8402012"/>
              <a:gd name="connsiteX6363" fmla="*/ 9500269 w 21052572"/>
              <a:gd name="connsiteY6363" fmla="*/ 4946142 h 8402012"/>
              <a:gd name="connsiteX6364" fmla="*/ 9390647 w 21052572"/>
              <a:gd name="connsiteY6364" fmla="*/ 4997726 h 8402012"/>
              <a:gd name="connsiteX6365" fmla="*/ 9346583 w 21052572"/>
              <a:gd name="connsiteY6365" fmla="*/ 5067578 h 8402012"/>
              <a:gd name="connsiteX6366" fmla="*/ 9275651 w 21052572"/>
              <a:gd name="connsiteY6366" fmla="*/ 5080474 h 8402012"/>
              <a:gd name="connsiteX6367" fmla="*/ 9147758 w 21052572"/>
              <a:gd name="connsiteY6367" fmla="*/ 5125609 h 8402012"/>
              <a:gd name="connsiteX6368" fmla="*/ 8916692 w 21052572"/>
              <a:gd name="connsiteY6368" fmla="*/ 5195462 h 8402012"/>
              <a:gd name="connsiteX6369" fmla="*/ 9005894 w 21052572"/>
              <a:gd name="connsiteY6369" fmla="*/ 5119161 h 8402012"/>
              <a:gd name="connsiteX6370" fmla="*/ 9134862 w 21052572"/>
              <a:gd name="connsiteY6370" fmla="*/ 5041786 h 8402012"/>
              <a:gd name="connsiteX6371" fmla="*/ 9468027 w 21052572"/>
              <a:gd name="connsiteY6371" fmla="*/ 4875215 h 8402012"/>
              <a:gd name="connsiteX6372" fmla="*/ 9807641 w 21052572"/>
              <a:gd name="connsiteY6372" fmla="*/ 4721540 h 8402012"/>
              <a:gd name="connsiteX6373" fmla="*/ 10128985 w 21052572"/>
              <a:gd name="connsiteY6373" fmla="*/ 4580760 h 8402012"/>
              <a:gd name="connsiteX6374" fmla="*/ 10058053 w 21052572"/>
              <a:gd name="connsiteY6374" fmla="*/ 4663509 h 8402012"/>
              <a:gd name="connsiteX6375" fmla="*/ 9955953 w 21052572"/>
              <a:gd name="connsiteY6375" fmla="*/ 4715092 h 8402012"/>
              <a:gd name="connsiteX6376" fmla="*/ 9852780 w 21052572"/>
              <a:gd name="connsiteY6376" fmla="*/ 4760227 h 8402012"/>
              <a:gd name="connsiteX6377" fmla="*/ 9770026 w 21052572"/>
              <a:gd name="connsiteY6377" fmla="*/ 4823632 h 8402012"/>
              <a:gd name="connsiteX6378" fmla="*/ 9789371 w 21052572"/>
              <a:gd name="connsiteY6378" fmla="*/ 4894559 h 8402012"/>
              <a:gd name="connsiteX6379" fmla="*/ 9826986 w 21052572"/>
              <a:gd name="connsiteY6379" fmla="*/ 4849424 h 8402012"/>
              <a:gd name="connsiteX6380" fmla="*/ 9865676 w 21052572"/>
              <a:gd name="connsiteY6380" fmla="*/ 4842976 h 8402012"/>
              <a:gd name="connsiteX6381" fmla="*/ 9867618 w 21052572"/>
              <a:gd name="connsiteY6381" fmla="*/ 4830031 h 8402012"/>
              <a:gd name="connsiteX6382" fmla="*/ 9867175 w 21052572"/>
              <a:gd name="connsiteY6382" fmla="*/ 4826849 h 8402012"/>
              <a:gd name="connsiteX6383" fmla="*/ 9866965 w 21052572"/>
              <a:gd name="connsiteY6383" fmla="*/ 4819327 h 8402012"/>
              <a:gd name="connsiteX6384" fmla="*/ 9865676 w 21052572"/>
              <a:gd name="connsiteY6384" fmla="*/ 4810736 h 8402012"/>
              <a:gd name="connsiteX6385" fmla="*/ 9949505 w 21052572"/>
              <a:gd name="connsiteY6385" fmla="*/ 4786019 h 8402012"/>
              <a:gd name="connsiteX6386" fmla="*/ 9994644 w 21052572"/>
              <a:gd name="connsiteY6386" fmla="*/ 4760227 h 8402012"/>
              <a:gd name="connsiteX6387" fmla="*/ 9955953 w 21052572"/>
              <a:gd name="connsiteY6387" fmla="*/ 4868767 h 8402012"/>
              <a:gd name="connsiteX6388" fmla="*/ 10025811 w 21052572"/>
              <a:gd name="connsiteY6388" fmla="*/ 4920351 h 8402012"/>
              <a:gd name="connsiteX6389" fmla="*/ 9865676 w 21052572"/>
              <a:gd name="connsiteY6389" fmla="*/ 5015995 h 8402012"/>
              <a:gd name="connsiteX6390" fmla="*/ 9666852 w 21052572"/>
              <a:gd name="connsiteY6390" fmla="*/ 5106266 h 8402012"/>
              <a:gd name="connsiteX6391" fmla="*/ 9558304 w 21052572"/>
              <a:gd name="connsiteY6391" fmla="*/ 5151401 h 8402012"/>
              <a:gd name="connsiteX6392" fmla="*/ 9474476 w 21052572"/>
              <a:gd name="connsiteY6392" fmla="*/ 5157849 h 8402012"/>
              <a:gd name="connsiteX6393" fmla="*/ 9472484 w 21052572"/>
              <a:gd name="connsiteY6393" fmla="*/ 5156878 h 8402012"/>
              <a:gd name="connsiteX6394" fmla="*/ 9476907 w 21052572"/>
              <a:gd name="connsiteY6394" fmla="*/ 5170517 h 8402012"/>
              <a:gd name="connsiteX6395" fmla="*/ 9464932 w 21052572"/>
              <a:gd name="connsiteY6395" fmla="*/ 5164898 h 8402012"/>
              <a:gd name="connsiteX6396" fmla="*/ 9467926 w 21052572"/>
              <a:gd name="connsiteY6396" fmla="*/ 5156068 h 8402012"/>
              <a:gd name="connsiteX6397" fmla="*/ 9468697 w 21052572"/>
              <a:gd name="connsiteY6397" fmla="*/ 5155034 h 8402012"/>
              <a:gd name="connsiteX6398" fmla="*/ 9443040 w 21052572"/>
              <a:gd name="connsiteY6398" fmla="*/ 5142535 h 8402012"/>
              <a:gd name="connsiteX6399" fmla="*/ 9416440 w 21052572"/>
              <a:gd name="connsiteY6399" fmla="*/ 5151401 h 8402012"/>
              <a:gd name="connsiteX6400" fmla="*/ 9378825 w 21052572"/>
              <a:gd name="connsiteY6400" fmla="*/ 5195462 h 8402012"/>
              <a:gd name="connsiteX6401" fmla="*/ 9468027 w 21052572"/>
              <a:gd name="connsiteY6401" fmla="*/ 5183641 h 8402012"/>
              <a:gd name="connsiteX6402" fmla="*/ 9211167 w 21052572"/>
              <a:gd name="connsiteY6402" fmla="*/ 5343764 h 8402012"/>
              <a:gd name="connsiteX6403" fmla="*/ 9102620 w 21052572"/>
              <a:gd name="connsiteY6403" fmla="*/ 5400720 h 8402012"/>
              <a:gd name="connsiteX6404" fmla="*/ 9057481 w 21052572"/>
              <a:gd name="connsiteY6404" fmla="*/ 5414691 h 8402012"/>
              <a:gd name="connsiteX6405" fmla="*/ 9025240 w 21052572"/>
              <a:gd name="connsiteY6405" fmla="*/ 5395347 h 8402012"/>
              <a:gd name="connsiteX6406" fmla="*/ 9027860 w 21052572"/>
              <a:gd name="connsiteY6406" fmla="*/ 5405607 h 8402012"/>
              <a:gd name="connsiteX6407" fmla="*/ 9029904 w 21052572"/>
              <a:gd name="connsiteY6407" fmla="*/ 5415120 h 8402012"/>
              <a:gd name="connsiteX6408" fmla="*/ 9037858 w 21052572"/>
              <a:gd name="connsiteY6408" fmla="*/ 5406503 h 8402012"/>
              <a:gd name="connsiteX6409" fmla="*/ 9046839 w 21052572"/>
              <a:gd name="connsiteY6409" fmla="*/ 5416233 h 8402012"/>
              <a:gd name="connsiteX6410" fmla="*/ 9030144 w 21052572"/>
              <a:gd name="connsiteY6410" fmla="*/ 5416233 h 8402012"/>
              <a:gd name="connsiteX6411" fmla="*/ 9031689 w 21052572"/>
              <a:gd name="connsiteY6411" fmla="*/ 5423422 h 8402012"/>
              <a:gd name="connsiteX6412" fmla="*/ 9018791 w 21052572"/>
              <a:gd name="connsiteY6412" fmla="*/ 5452304 h 8402012"/>
              <a:gd name="connsiteX6413" fmla="*/ 8968279 w 21052572"/>
              <a:gd name="connsiteY6413" fmla="*/ 5439408 h 8402012"/>
              <a:gd name="connsiteX6414" fmla="*/ 8929589 w 21052572"/>
              <a:gd name="connsiteY6414" fmla="*/ 5426512 h 8402012"/>
              <a:gd name="connsiteX6415" fmla="*/ 8903795 w 21052572"/>
              <a:gd name="connsiteY6415" fmla="*/ 5458752 h 8402012"/>
              <a:gd name="connsiteX6416" fmla="*/ 8884450 w 21052572"/>
              <a:gd name="connsiteY6416" fmla="*/ 5490991 h 8402012"/>
              <a:gd name="connsiteX6417" fmla="*/ 8415869 w 21052572"/>
              <a:gd name="connsiteY6417" fmla="*/ 5741385 h 8402012"/>
              <a:gd name="connsiteX6418" fmla="*/ 8171906 w 21052572"/>
              <a:gd name="connsiteY6418" fmla="*/ 5856373 h 8402012"/>
              <a:gd name="connsiteX6419" fmla="*/ 7922569 w 21052572"/>
              <a:gd name="connsiteY6419" fmla="*/ 6011123 h 8402012"/>
              <a:gd name="connsiteX6420" fmla="*/ 8005323 w 21052572"/>
              <a:gd name="connsiteY6420" fmla="*/ 6030467 h 8402012"/>
              <a:gd name="connsiteX6421" fmla="*/ 8056910 w 21052572"/>
              <a:gd name="connsiteY6421" fmla="*/ 6042288 h 8402012"/>
              <a:gd name="connsiteX6422" fmla="*/ 8058033 w 21052572"/>
              <a:gd name="connsiteY6422" fmla="*/ 6038764 h 8402012"/>
              <a:gd name="connsiteX6423" fmla="*/ 8054135 w 21052572"/>
              <a:gd name="connsiteY6423" fmla="*/ 6026397 h 8402012"/>
              <a:gd name="connsiteX6424" fmla="*/ 8057813 w 21052572"/>
              <a:gd name="connsiteY6424" fmla="*/ 6014107 h 8402012"/>
              <a:gd name="connsiteX6425" fmla="*/ 8056910 w 21052572"/>
              <a:gd name="connsiteY6425" fmla="*/ 6011123 h 8402012"/>
              <a:gd name="connsiteX6426" fmla="*/ 8223493 w 21052572"/>
              <a:gd name="connsiteY6426" fmla="*/ 5914404 h 8402012"/>
              <a:gd name="connsiteX6427" fmla="*/ 8390076 w 21052572"/>
              <a:gd name="connsiteY6427" fmla="*/ 5830581 h 8402012"/>
              <a:gd name="connsiteX6428" fmla="*/ 8711419 w 21052572"/>
              <a:gd name="connsiteY6428" fmla="*/ 5638219 h 8402012"/>
              <a:gd name="connsiteX6429" fmla="*/ 8807070 w 21052572"/>
              <a:gd name="connsiteY6429" fmla="*/ 5600606 h 8402012"/>
              <a:gd name="connsiteX6430" fmla="*/ 8824041 w 21052572"/>
              <a:gd name="connsiteY6430" fmla="*/ 5601471 h 8402012"/>
              <a:gd name="connsiteX6431" fmla="*/ 8820327 w 21052572"/>
              <a:gd name="connsiteY6431" fmla="*/ 5593734 h 8402012"/>
              <a:gd name="connsiteX6432" fmla="*/ 8838289 w 21052572"/>
              <a:gd name="connsiteY6432" fmla="*/ 5593734 h 8402012"/>
              <a:gd name="connsiteX6433" fmla="*/ 8833196 w 21052572"/>
              <a:gd name="connsiteY6433" fmla="*/ 5601939 h 8402012"/>
              <a:gd name="connsiteX6434" fmla="*/ 8846567 w 21052572"/>
              <a:gd name="connsiteY6434" fmla="*/ 5602621 h 8402012"/>
              <a:gd name="connsiteX6435" fmla="*/ 8890899 w 21052572"/>
              <a:gd name="connsiteY6435" fmla="*/ 5600606 h 8402012"/>
              <a:gd name="connsiteX6436" fmla="*/ 9070378 w 21052572"/>
              <a:gd name="connsiteY6436" fmla="*/ 5510335 h 8402012"/>
              <a:gd name="connsiteX6437" fmla="*/ 9249858 w 21052572"/>
              <a:gd name="connsiteY6437" fmla="*/ 5395347 h 8402012"/>
              <a:gd name="connsiteX6438" fmla="*/ 9327238 w 21052572"/>
              <a:gd name="connsiteY6438" fmla="*/ 5343764 h 8402012"/>
              <a:gd name="connsiteX6439" fmla="*/ 9384198 w 21052572"/>
              <a:gd name="connsiteY6439" fmla="*/ 5382451 h 8402012"/>
              <a:gd name="connsiteX6440" fmla="*/ 9340135 w 21052572"/>
              <a:gd name="connsiteY6440" fmla="*/ 5432960 h 8402012"/>
              <a:gd name="connsiteX6441" fmla="*/ 9269203 w 21052572"/>
              <a:gd name="connsiteY6441" fmla="*/ 5471647 h 8402012"/>
              <a:gd name="connsiteX6442" fmla="*/ 9109068 w 21052572"/>
              <a:gd name="connsiteY6442" fmla="*/ 5549022 h 8402012"/>
              <a:gd name="connsiteX6443" fmla="*/ 8794173 w 21052572"/>
              <a:gd name="connsiteY6443" fmla="*/ 5709146 h 8402012"/>
              <a:gd name="connsiteX6444" fmla="*/ 8473904 w 21052572"/>
              <a:gd name="connsiteY6444" fmla="*/ 5869269 h 8402012"/>
              <a:gd name="connsiteX6445" fmla="*/ 8313770 w 21052572"/>
              <a:gd name="connsiteY6445" fmla="*/ 5959540 h 8402012"/>
              <a:gd name="connsiteX6446" fmla="*/ 8171906 w 21052572"/>
              <a:gd name="connsiteY6446" fmla="*/ 6042288 h 8402012"/>
              <a:gd name="connsiteX6447" fmla="*/ 8102048 w 21052572"/>
              <a:gd name="connsiteY6447" fmla="*/ 6061632 h 8402012"/>
              <a:gd name="connsiteX6448" fmla="*/ 8056910 w 21052572"/>
              <a:gd name="connsiteY6448" fmla="*/ 6087423 h 8402012"/>
              <a:gd name="connsiteX6449" fmla="*/ 7934391 w 21052572"/>
              <a:gd name="connsiteY6449" fmla="*/ 6158350 h 8402012"/>
              <a:gd name="connsiteX6450" fmla="*/ 7646364 w 21052572"/>
              <a:gd name="connsiteY6450" fmla="*/ 6305578 h 8402012"/>
              <a:gd name="connsiteX6451" fmla="*/ 7350814 w 21052572"/>
              <a:gd name="connsiteY6451" fmla="*/ 6446357 h 8402012"/>
              <a:gd name="connsiteX6452" fmla="*/ 7280957 w 21052572"/>
              <a:gd name="connsiteY6452" fmla="*/ 6478597 h 8402012"/>
              <a:gd name="connsiteX6453" fmla="*/ 7229370 w 21052572"/>
              <a:gd name="connsiteY6453" fmla="*/ 6523732 h 8402012"/>
              <a:gd name="connsiteX6454" fmla="*/ 7171335 w 21052572"/>
              <a:gd name="connsiteY6454" fmla="*/ 6555972 h 8402012"/>
              <a:gd name="connsiteX6455" fmla="*/ 7101478 w 21052572"/>
              <a:gd name="connsiteY6455" fmla="*/ 6575316 h 8402012"/>
              <a:gd name="connsiteX6456" fmla="*/ 7248715 w 21052572"/>
              <a:gd name="connsiteY6456" fmla="*/ 6530180 h 8402012"/>
              <a:gd name="connsiteX6457" fmla="*/ 7408850 w 21052572"/>
              <a:gd name="connsiteY6457" fmla="*/ 6452805 h 8402012"/>
              <a:gd name="connsiteX6458" fmla="*/ 7568984 w 21052572"/>
              <a:gd name="connsiteY6458" fmla="*/ 6370057 h 8402012"/>
              <a:gd name="connsiteX6459" fmla="*/ 7646364 w 21052572"/>
              <a:gd name="connsiteY6459" fmla="*/ 6331369 h 8402012"/>
              <a:gd name="connsiteX6460" fmla="*/ 7717296 w 21052572"/>
              <a:gd name="connsiteY6460" fmla="*/ 6279786 h 8402012"/>
              <a:gd name="connsiteX6461" fmla="*/ 7870982 w 21052572"/>
              <a:gd name="connsiteY6461" fmla="*/ 6209934 h 8402012"/>
              <a:gd name="connsiteX6462" fmla="*/ 8037565 w 21052572"/>
              <a:gd name="connsiteY6462" fmla="*/ 6119663 h 8402012"/>
              <a:gd name="connsiteX6463" fmla="*/ 8184802 w 21052572"/>
              <a:gd name="connsiteY6463" fmla="*/ 6048736 h 8402012"/>
              <a:gd name="connsiteX6464" fmla="*/ 8325592 w 21052572"/>
              <a:gd name="connsiteY6464" fmla="*/ 5998227 h 8402012"/>
              <a:gd name="connsiteX6465" fmla="*/ 8390076 w 21052572"/>
              <a:gd name="connsiteY6465" fmla="*/ 5946644 h 8402012"/>
              <a:gd name="connsiteX6466" fmla="*/ 8467456 w 21052572"/>
              <a:gd name="connsiteY6466" fmla="*/ 5907956 h 8402012"/>
              <a:gd name="connsiteX6467" fmla="*/ 8640487 w 21052572"/>
              <a:gd name="connsiteY6467" fmla="*/ 5825208 h 8402012"/>
              <a:gd name="connsiteX6468" fmla="*/ 8992998 w 21052572"/>
              <a:gd name="connsiteY6468" fmla="*/ 5664010 h 8402012"/>
              <a:gd name="connsiteX6469" fmla="*/ 9346583 w 21052572"/>
              <a:gd name="connsiteY6469" fmla="*/ 5490991 h 8402012"/>
              <a:gd name="connsiteX6470" fmla="*/ 9506717 w 21052572"/>
              <a:gd name="connsiteY6470" fmla="*/ 5414691 h 8402012"/>
              <a:gd name="connsiteX6471" fmla="*/ 9584098 w 21052572"/>
              <a:gd name="connsiteY6471" fmla="*/ 5395347 h 8402012"/>
              <a:gd name="connsiteX6472" fmla="*/ 8968279 w 21052572"/>
              <a:gd name="connsiteY6472" fmla="*/ 5728489 h 8402012"/>
              <a:gd name="connsiteX6473" fmla="*/ 8325592 w 21052572"/>
              <a:gd name="connsiteY6473" fmla="*/ 6061632 h 8402012"/>
              <a:gd name="connsiteX6474" fmla="*/ 7685054 w 21052572"/>
              <a:gd name="connsiteY6474" fmla="*/ 6395849 h 8402012"/>
              <a:gd name="connsiteX6475" fmla="*/ 7363711 w 21052572"/>
              <a:gd name="connsiteY6475" fmla="*/ 6555972 h 8402012"/>
              <a:gd name="connsiteX6476" fmla="*/ 7203576 w 21052572"/>
              <a:gd name="connsiteY6476" fmla="*/ 6638720 h 8402012"/>
              <a:gd name="connsiteX6477" fmla="*/ 7095029 w 21052572"/>
              <a:gd name="connsiteY6477" fmla="*/ 6716095 h 8402012"/>
              <a:gd name="connsiteX6478" fmla="*/ 7113300 w 21052572"/>
              <a:gd name="connsiteY6478" fmla="*/ 6748335 h 8402012"/>
              <a:gd name="connsiteX6479" fmla="*/ 7088447 w 21052572"/>
              <a:gd name="connsiteY6479" fmla="*/ 6754782 h 8402012"/>
              <a:gd name="connsiteX6480" fmla="*/ 7064365 w 21052572"/>
              <a:gd name="connsiteY6480" fmla="*/ 6760834 h 8402012"/>
              <a:gd name="connsiteX6481" fmla="*/ 7065628 w 21052572"/>
              <a:gd name="connsiteY6481" fmla="*/ 6762189 h 8402012"/>
              <a:gd name="connsiteX6482" fmla="*/ 7059641 w 21052572"/>
              <a:gd name="connsiteY6482" fmla="*/ 6781452 h 8402012"/>
              <a:gd name="connsiteX6483" fmla="*/ 7047666 w 21052572"/>
              <a:gd name="connsiteY6483" fmla="*/ 6762189 h 8402012"/>
              <a:gd name="connsiteX6484" fmla="*/ 7056647 w 21052572"/>
              <a:gd name="connsiteY6484" fmla="*/ 6752557 h 8402012"/>
              <a:gd name="connsiteX6485" fmla="*/ 7062228 w 21052572"/>
              <a:gd name="connsiteY6485" fmla="*/ 6758542 h 8402012"/>
              <a:gd name="connsiteX6486" fmla="*/ 7058758 w 21052572"/>
              <a:gd name="connsiteY6486" fmla="*/ 6741887 h 8402012"/>
              <a:gd name="connsiteX6487" fmla="*/ 7069236 w 21052572"/>
              <a:gd name="connsiteY6487" fmla="*/ 6722543 h 8402012"/>
              <a:gd name="connsiteX6488" fmla="*/ 6793031 w 21052572"/>
              <a:gd name="connsiteY6488" fmla="*/ 6889114 h 8402012"/>
              <a:gd name="connsiteX6489" fmla="*/ 6722098 w 21052572"/>
              <a:gd name="connsiteY6489" fmla="*/ 6882666 h 8402012"/>
              <a:gd name="connsiteX6490" fmla="*/ 6620000 w 21052572"/>
              <a:gd name="connsiteY6490" fmla="*/ 6934249 h 8402012"/>
              <a:gd name="connsiteX6491" fmla="*/ 6402329 w 21052572"/>
              <a:gd name="connsiteY6491" fmla="*/ 7042789 h 8402012"/>
              <a:gd name="connsiteX6492" fmla="*/ 6286253 w 21052572"/>
              <a:gd name="connsiteY6492" fmla="*/ 7094373 h 8402012"/>
              <a:gd name="connsiteX6493" fmla="*/ 6177699 w 21052572"/>
              <a:gd name="connsiteY6493" fmla="*/ 7126612 h 8402012"/>
              <a:gd name="connsiteX6494" fmla="*/ 6093865 w 21052572"/>
              <a:gd name="connsiteY6494" fmla="*/ 7191091 h 8402012"/>
              <a:gd name="connsiteX6495" fmla="*/ 6004659 w 21052572"/>
              <a:gd name="connsiteY6495" fmla="*/ 7216883 h 8402012"/>
              <a:gd name="connsiteX6496" fmla="*/ 5548951 w 21052572"/>
              <a:gd name="connsiteY6496" fmla="*/ 7377006 h 8402012"/>
              <a:gd name="connsiteX6497" fmla="*/ 5304974 w 21052572"/>
              <a:gd name="connsiteY6497" fmla="*/ 7466202 h 8402012"/>
              <a:gd name="connsiteX6498" fmla="*/ 5189971 w 21052572"/>
              <a:gd name="connsiteY6498" fmla="*/ 7498442 h 8402012"/>
              <a:gd name="connsiteX6499" fmla="*/ 5151276 w 21052572"/>
              <a:gd name="connsiteY6499" fmla="*/ 7530682 h 8402012"/>
              <a:gd name="connsiteX6500" fmla="*/ 5235115 w 21052572"/>
              <a:gd name="connsiteY6500" fmla="*/ 7517786 h 8402012"/>
              <a:gd name="connsiteX6501" fmla="*/ 5304974 w 21052572"/>
              <a:gd name="connsiteY6501" fmla="*/ 7485546 h 8402012"/>
              <a:gd name="connsiteX6502" fmla="*/ 5490908 w 21052572"/>
              <a:gd name="connsiteY6502" fmla="*/ 7428590 h 8402012"/>
              <a:gd name="connsiteX6503" fmla="*/ 5882127 w 21052572"/>
              <a:gd name="connsiteY6503" fmla="*/ 7299631 h 8402012"/>
              <a:gd name="connsiteX6504" fmla="*/ 6274431 w 21052572"/>
              <a:gd name="connsiteY6504" fmla="*/ 7165300 h 8402012"/>
              <a:gd name="connsiteX6505" fmla="*/ 6466814 w 21052572"/>
              <a:gd name="connsiteY6505" fmla="*/ 7094373 h 8402012"/>
              <a:gd name="connsiteX6506" fmla="*/ 6639344 w 21052572"/>
              <a:gd name="connsiteY6506" fmla="*/ 7055685 h 8402012"/>
              <a:gd name="connsiteX6507" fmla="*/ 6543126 w 21052572"/>
              <a:gd name="connsiteY6507" fmla="*/ 7120164 h 8402012"/>
              <a:gd name="connsiteX6508" fmla="*/ 6434573 w 21052572"/>
              <a:gd name="connsiteY6508" fmla="*/ 7171748 h 8402012"/>
              <a:gd name="connsiteX6509" fmla="*/ 6209943 w 21052572"/>
              <a:gd name="connsiteY6509" fmla="*/ 7267392 h 8402012"/>
              <a:gd name="connsiteX6510" fmla="*/ 5453294 w 21052572"/>
              <a:gd name="connsiteY6510" fmla="*/ 7517786 h 8402012"/>
              <a:gd name="connsiteX6511" fmla="*/ 4695573 w 21052572"/>
              <a:gd name="connsiteY6511" fmla="*/ 7729492 h 8402012"/>
              <a:gd name="connsiteX6512" fmla="*/ 3150022 w 21052572"/>
              <a:gd name="connsiteY6512" fmla="*/ 7915407 h 8402012"/>
              <a:gd name="connsiteX6513" fmla="*/ 3265024 w 21052572"/>
              <a:gd name="connsiteY6513" fmla="*/ 8025022 h 8402012"/>
              <a:gd name="connsiteX6514" fmla="*/ 3111329 w 21052572"/>
              <a:gd name="connsiteY6514" fmla="*/ 8050813 h 8402012"/>
              <a:gd name="connsiteX6515" fmla="*/ 3874434 w 21052572"/>
              <a:gd name="connsiteY6515" fmla="*/ 8094874 h 8402012"/>
              <a:gd name="connsiteX6516" fmla="*/ 4612815 w 21052572"/>
              <a:gd name="connsiteY6516" fmla="*/ 8069083 h 8402012"/>
              <a:gd name="connsiteX6517" fmla="*/ 4753611 w 21052572"/>
              <a:gd name="connsiteY6517" fmla="*/ 8018574 h 8402012"/>
              <a:gd name="connsiteX6518" fmla="*/ 4887960 w 21052572"/>
              <a:gd name="connsiteY6518" fmla="*/ 7986334 h 8402012"/>
              <a:gd name="connsiteX6519" fmla="*/ 5029830 w 21052572"/>
              <a:gd name="connsiteY6519" fmla="*/ 7960543 h 8402012"/>
              <a:gd name="connsiteX6520" fmla="*/ 5202869 w 21052572"/>
              <a:gd name="connsiteY6520" fmla="*/ 7928303 h 8402012"/>
              <a:gd name="connsiteX6521" fmla="*/ 5940168 w 21052572"/>
              <a:gd name="connsiteY6521" fmla="*/ 7716596 h 8402012"/>
              <a:gd name="connsiteX6522" fmla="*/ 5805821 w 21052572"/>
              <a:gd name="connsiteY6522" fmla="*/ 7819763 h 8402012"/>
              <a:gd name="connsiteX6523" fmla="*/ 5581194 w 21052572"/>
              <a:gd name="connsiteY6523" fmla="*/ 7883168 h 8402012"/>
              <a:gd name="connsiteX6524" fmla="*/ 5125487 w 21052572"/>
              <a:gd name="connsiteY6524" fmla="*/ 8005678 h 8402012"/>
              <a:gd name="connsiteX6525" fmla="*/ 4208696 w 21052572"/>
              <a:gd name="connsiteY6525" fmla="*/ 8191593 h 8402012"/>
              <a:gd name="connsiteX6526" fmla="*/ 4297903 w 21052572"/>
              <a:gd name="connsiteY6526" fmla="*/ 8256072 h 8402012"/>
              <a:gd name="connsiteX6527" fmla="*/ 2642717 w 21052572"/>
              <a:gd name="connsiteY6527" fmla="*/ 8281864 h 8402012"/>
              <a:gd name="connsiteX6528" fmla="*/ 1918385 w 21052572"/>
              <a:gd name="connsiteY6528" fmla="*/ 7992782 h 8402012"/>
              <a:gd name="connsiteX6529" fmla="*/ 1552978 w 21052572"/>
              <a:gd name="connsiteY6529" fmla="*/ 7793971 h 8402012"/>
              <a:gd name="connsiteX6530" fmla="*/ 1456251 w 21052572"/>
              <a:gd name="connsiteY6530" fmla="*/ 7735940 h 8402012"/>
              <a:gd name="connsiteX6531" fmla="*/ 1321914 w 21052572"/>
              <a:gd name="connsiteY6531" fmla="*/ 7684357 h 8402012"/>
              <a:gd name="connsiteX6532" fmla="*/ 1238085 w 21052572"/>
              <a:gd name="connsiteY6532" fmla="*/ 7653192 h 8402012"/>
              <a:gd name="connsiteX6533" fmla="*/ 1065052 w 21052572"/>
              <a:gd name="connsiteY6533" fmla="*/ 7562921 h 8402012"/>
              <a:gd name="connsiteX6534" fmla="*/ 885577 w 21052572"/>
              <a:gd name="connsiteY6534" fmla="*/ 7562921 h 8402012"/>
              <a:gd name="connsiteX6535" fmla="*/ 699644 w 21052572"/>
              <a:gd name="connsiteY6535" fmla="*/ 7550025 h 8402012"/>
              <a:gd name="connsiteX6536" fmla="*/ 756601 w 21052572"/>
              <a:gd name="connsiteY6536" fmla="*/ 7485546 h 8402012"/>
              <a:gd name="connsiteX6537" fmla="*/ 911364 w 21052572"/>
              <a:gd name="connsiteY6537" fmla="*/ 7459755 h 8402012"/>
              <a:gd name="connsiteX6538" fmla="*/ 955422 w 21052572"/>
              <a:gd name="connsiteY6538" fmla="*/ 7409246 h 8402012"/>
              <a:gd name="connsiteX6539" fmla="*/ 994116 w 21052572"/>
              <a:gd name="connsiteY6539" fmla="*/ 7383454 h 8402012"/>
              <a:gd name="connsiteX6540" fmla="*/ 1058602 w 21052572"/>
              <a:gd name="connsiteY6540" fmla="*/ 7383454 h 8402012"/>
              <a:gd name="connsiteX6541" fmla="*/ 1031594 w 21052572"/>
              <a:gd name="connsiteY6541" fmla="*/ 7376301 h 8402012"/>
              <a:gd name="connsiteX6542" fmla="*/ 1023024 w 21052572"/>
              <a:gd name="connsiteY6542" fmla="*/ 7370645 h 8402012"/>
              <a:gd name="connsiteX6543" fmla="*/ 1027511 w 21052572"/>
              <a:gd name="connsiteY6543" fmla="*/ 7385989 h 8402012"/>
              <a:gd name="connsiteX6544" fmla="*/ 1017781 w 21052572"/>
              <a:gd name="connsiteY6544" fmla="*/ 7385989 h 8402012"/>
              <a:gd name="connsiteX6545" fmla="*/ 1020847 w 21052572"/>
              <a:gd name="connsiteY6545" fmla="*/ 7369209 h 8402012"/>
              <a:gd name="connsiteX6546" fmla="*/ 1007014 w 21052572"/>
              <a:gd name="connsiteY6546" fmla="*/ 7360080 h 8402012"/>
              <a:gd name="connsiteX6547" fmla="*/ 955422 w 21052572"/>
              <a:gd name="connsiteY6547" fmla="*/ 7331871 h 8402012"/>
              <a:gd name="connsiteX6548" fmla="*/ 840431 w 21052572"/>
              <a:gd name="connsiteY6548" fmla="*/ 7318975 h 8402012"/>
              <a:gd name="connsiteX6549" fmla="*/ 737259 w 21052572"/>
              <a:gd name="connsiteY6549" fmla="*/ 7299631 h 8402012"/>
              <a:gd name="connsiteX6550" fmla="*/ 756601 w 21052572"/>
              <a:gd name="connsiteY6550" fmla="*/ 7210435 h 8402012"/>
              <a:gd name="connsiteX6551" fmla="*/ 827533 w 21052572"/>
              <a:gd name="connsiteY6551" fmla="*/ 7191091 h 8402012"/>
              <a:gd name="connsiteX6552" fmla="*/ 1058602 w 21052572"/>
              <a:gd name="connsiteY6552" fmla="*/ 7178196 h 8402012"/>
              <a:gd name="connsiteX6553" fmla="*/ 731887 w 21052572"/>
              <a:gd name="connsiteY6553" fmla="*/ 6843979 h 8402012"/>
              <a:gd name="connsiteX6554" fmla="*/ 570677 w 21052572"/>
              <a:gd name="connsiteY6554" fmla="*/ 6670960 h 8402012"/>
              <a:gd name="connsiteX6555" fmla="*/ 243959 w 21052572"/>
              <a:gd name="connsiteY6555" fmla="*/ 6376505 h 8402012"/>
              <a:gd name="connsiteX6556" fmla="*/ 192374 w 21052572"/>
              <a:gd name="connsiteY6556" fmla="*/ 6318474 h 8402012"/>
              <a:gd name="connsiteX6557" fmla="*/ 160132 w 21052572"/>
              <a:gd name="connsiteY6557" fmla="*/ 6247547 h 8402012"/>
              <a:gd name="connsiteX6558" fmla="*/ 58034 w 21052572"/>
              <a:gd name="connsiteY6558" fmla="*/ 6221755 h 8402012"/>
              <a:gd name="connsiteX6559" fmla="*/ 134339 w 21052572"/>
              <a:gd name="connsiteY6559" fmla="*/ 6197038 h 8402012"/>
              <a:gd name="connsiteX6560" fmla="*/ 160132 w 21052572"/>
              <a:gd name="connsiteY6560" fmla="*/ 6106767 h 8402012"/>
              <a:gd name="connsiteX6561" fmla="*/ 224614 w 21052572"/>
              <a:gd name="connsiteY6561" fmla="*/ 6061632 h 8402012"/>
              <a:gd name="connsiteX6562" fmla="*/ 185924 w 21052572"/>
              <a:gd name="connsiteY6562" fmla="*/ 5978883 h 8402012"/>
              <a:gd name="connsiteX6563" fmla="*/ 358957 w 21052572"/>
              <a:gd name="connsiteY6563" fmla="*/ 5998227 h 8402012"/>
              <a:gd name="connsiteX6564" fmla="*/ 500825 w 21052572"/>
              <a:gd name="connsiteY6564" fmla="*/ 5991779 h 8402012"/>
              <a:gd name="connsiteX6565" fmla="*/ 243959 w 21052572"/>
              <a:gd name="connsiteY6565" fmla="*/ 5728489 h 8402012"/>
              <a:gd name="connsiteX6566" fmla="*/ 185924 w 21052572"/>
              <a:gd name="connsiteY6566" fmla="*/ 5683354 h 8402012"/>
              <a:gd name="connsiteX6567" fmla="*/ 153683 w 21052572"/>
              <a:gd name="connsiteY6567" fmla="*/ 5651114 h 8402012"/>
              <a:gd name="connsiteX6568" fmla="*/ 153683 w 21052572"/>
              <a:gd name="connsiteY6568" fmla="*/ 5594158 h 8402012"/>
              <a:gd name="connsiteX6569" fmla="*/ 121442 w 21052572"/>
              <a:gd name="connsiteY6569" fmla="*/ 5581262 h 8402012"/>
              <a:gd name="connsiteX6570" fmla="*/ 64482 w 21052572"/>
              <a:gd name="connsiteY6570" fmla="*/ 5561918 h 8402012"/>
              <a:gd name="connsiteX6571" fmla="*/ 0 w 21052572"/>
              <a:gd name="connsiteY6571" fmla="*/ 5503887 h 8402012"/>
              <a:gd name="connsiteX6572" fmla="*/ 58034 w 21052572"/>
              <a:gd name="connsiteY6572" fmla="*/ 5452304 h 8402012"/>
              <a:gd name="connsiteX6573" fmla="*/ 295546 w 21052572"/>
              <a:gd name="connsiteY6573" fmla="*/ 5408243 h 8402012"/>
              <a:gd name="connsiteX6574" fmla="*/ 358957 w 21052572"/>
              <a:gd name="connsiteY6574" fmla="*/ 5458752 h 8402012"/>
              <a:gd name="connsiteX6575" fmla="*/ 384754 w 21052572"/>
              <a:gd name="connsiteY6575" fmla="*/ 5363108 h 8402012"/>
              <a:gd name="connsiteX6576" fmla="*/ 397648 w 21052572"/>
              <a:gd name="connsiteY6576" fmla="*/ 5484543 h 8402012"/>
              <a:gd name="connsiteX6577" fmla="*/ 866231 w 21052572"/>
              <a:gd name="connsiteY6577" fmla="*/ 5722041 h 8402012"/>
              <a:gd name="connsiteX6578" fmla="*/ 872681 w 21052572"/>
              <a:gd name="connsiteY6578" fmla="*/ 5657562 h 8402012"/>
              <a:gd name="connsiteX6579" fmla="*/ 924259 w 21052572"/>
              <a:gd name="connsiteY6579" fmla="*/ 5644666 h 8402012"/>
              <a:gd name="connsiteX6580" fmla="*/ 846885 w 21052572"/>
              <a:gd name="connsiteY6580" fmla="*/ 5561918 h 8402012"/>
              <a:gd name="connsiteX6581" fmla="*/ 775945 w 21052572"/>
              <a:gd name="connsiteY6581" fmla="*/ 5478095 h 8402012"/>
              <a:gd name="connsiteX6582" fmla="*/ 699644 w 21052572"/>
              <a:gd name="connsiteY6582" fmla="*/ 5400720 h 8402012"/>
              <a:gd name="connsiteX6583" fmla="*/ 622265 w 21052572"/>
              <a:gd name="connsiteY6583" fmla="*/ 5343764 h 8402012"/>
              <a:gd name="connsiteX6584" fmla="*/ 590021 w 21052572"/>
              <a:gd name="connsiteY6584" fmla="*/ 5272837 h 8402012"/>
              <a:gd name="connsiteX6585" fmla="*/ 481475 w 21052572"/>
              <a:gd name="connsiteY6585" fmla="*/ 5227701 h 8402012"/>
              <a:gd name="connsiteX6586" fmla="*/ 276201 w 21052572"/>
              <a:gd name="connsiteY6586" fmla="*/ 5099818 h 8402012"/>
              <a:gd name="connsiteX6587" fmla="*/ 321342 w 21052572"/>
              <a:gd name="connsiteY6587" fmla="*/ 5054682 h 8402012"/>
              <a:gd name="connsiteX6588" fmla="*/ 250409 w 21052572"/>
              <a:gd name="connsiteY6588" fmla="*/ 5022443 h 8402012"/>
              <a:gd name="connsiteX6589" fmla="*/ 218167 w 21052572"/>
              <a:gd name="connsiteY6589" fmla="*/ 4952590 h 8402012"/>
              <a:gd name="connsiteX6590" fmla="*/ 77379 w 21052572"/>
              <a:gd name="connsiteY6590" fmla="*/ 4849424 h 8402012"/>
              <a:gd name="connsiteX6591" fmla="*/ 218167 w 21052572"/>
              <a:gd name="connsiteY6591" fmla="*/ 4830080 h 8402012"/>
              <a:gd name="connsiteX6592" fmla="*/ 308442 w 21052572"/>
              <a:gd name="connsiteY6592" fmla="*/ 4939694 h 8402012"/>
              <a:gd name="connsiteX6593" fmla="*/ 481475 w 21052572"/>
              <a:gd name="connsiteY6593" fmla="*/ 4933247 h 8402012"/>
              <a:gd name="connsiteX6594" fmla="*/ 628715 w 21052572"/>
              <a:gd name="connsiteY6594" fmla="*/ 4901007 h 8402012"/>
              <a:gd name="connsiteX6595" fmla="*/ 622265 w 21052572"/>
              <a:gd name="connsiteY6595" fmla="*/ 4855872 h 8402012"/>
              <a:gd name="connsiteX6596" fmla="*/ 557782 w 21052572"/>
              <a:gd name="connsiteY6596" fmla="*/ 4836528 h 8402012"/>
              <a:gd name="connsiteX6597" fmla="*/ 494372 w 21052572"/>
              <a:gd name="connsiteY6597" fmla="*/ 4792467 h 8402012"/>
              <a:gd name="connsiteX6598" fmla="*/ 519093 w 21052572"/>
              <a:gd name="connsiteY6598" fmla="*/ 4727988 h 8402012"/>
              <a:gd name="connsiteX6599" fmla="*/ 795292 w 21052572"/>
              <a:gd name="connsiteY6599" fmla="*/ 4907455 h 8402012"/>
              <a:gd name="connsiteX6600" fmla="*/ 821085 w 21052572"/>
              <a:gd name="connsiteY6600" fmla="*/ 4855872 h 8402012"/>
              <a:gd name="connsiteX6601" fmla="*/ 840431 w 21052572"/>
              <a:gd name="connsiteY6601" fmla="*/ 4881663 h 8402012"/>
              <a:gd name="connsiteX6602" fmla="*/ 898470 w 21052572"/>
              <a:gd name="connsiteY6602" fmla="*/ 4907455 h 8402012"/>
              <a:gd name="connsiteX6603" fmla="*/ 942526 w 21052572"/>
              <a:gd name="connsiteY6603" fmla="*/ 4984830 h 8402012"/>
              <a:gd name="connsiteX6604" fmla="*/ 1097292 w 21052572"/>
              <a:gd name="connsiteY6604" fmla="*/ 4855872 h 8402012"/>
              <a:gd name="connsiteX6605" fmla="*/ 961872 w 21052572"/>
              <a:gd name="connsiteY6605" fmla="*/ 4830080 h 8402012"/>
              <a:gd name="connsiteX6606" fmla="*/ 846885 w 21052572"/>
              <a:gd name="connsiteY6606" fmla="*/ 4810736 h 8402012"/>
              <a:gd name="connsiteX6607" fmla="*/ 808191 w 21052572"/>
              <a:gd name="connsiteY6607" fmla="*/ 4721540 h 8402012"/>
              <a:gd name="connsiteX6608" fmla="*/ 750154 w 21052572"/>
              <a:gd name="connsiteY6608" fmla="*/ 4702196 h 8402012"/>
              <a:gd name="connsiteX6609" fmla="*/ 641609 w 21052572"/>
              <a:gd name="connsiteY6609" fmla="*/ 4644165 h 8402012"/>
              <a:gd name="connsiteX6610" fmla="*/ 577123 w 21052572"/>
              <a:gd name="connsiteY6610" fmla="*/ 4593656 h 8402012"/>
              <a:gd name="connsiteX6611" fmla="*/ 526613 w 21052572"/>
              <a:gd name="connsiteY6611" fmla="*/ 4496938 h 8402012"/>
              <a:gd name="connsiteX6612" fmla="*/ 449233 w 21052572"/>
              <a:gd name="connsiteY6612" fmla="*/ 4471146 h 8402012"/>
              <a:gd name="connsiteX6613" fmla="*/ 602922 w 21052572"/>
              <a:gd name="connsiteY6613" fmla="*/ 4272335 h 8402012"/>
              <a:gd name="connsiteX6614" fmla="*/ 449233 w 21052572"/>
              <a:gd name="connsiteY6614" fmla="*/ 4227200 h 8402012"/>
              <a:gd name="connsiteX6615" fmla="*/ 358957 w 21052572"/>
              <a:gd name="connsiteY6615" fmla="*/ 4196035 h 8402012"/>
              <a:gd name="connsiteX6616" fmla="*/ 462128 w 21052572"/>
              <a:gd name="connsiteY6616" fmla="*/ 4184354 h 8402012"/>
              <a:gd name="connsiteX6617" fmla="*/ 507270 w 21052572"/>
              <a:gd name="connsiteY6617" fmla="*/ 4158563 h 8402012"/>
              <a:gd name="connsiteX6618" fmla="*/ 410556 w 21052572"/>
              <a:gd name="connsiteY6618" fmla="*/ 4119876 h 8402012"/>
              <a:gd name="connsiteX6619" fmla="*/ 108547 w 21052572"/>
              <a:gd name="connsiteY6619" fmla="*/ 4087636 h 8402012"/>
              <a:gd name="connsiteX6620" fmla="*/ 282648 w 21052572"/>
              <a:gd name="connsiteY6620" fmla="*/ 4010258 h 8402012"/>
              <a:gd name="connsiteX6621" fmla="*/ 468577 w 21052572"/>
              <a:gd name="connsiteY6621" fmla="*/ 4023156 h 8402012"/>
              <a:gd name="connsiteX6622" fmla="*/ 564229 w 21052572"/>
              <a:gd name="connsiteY6622" fmla="*/ 3998439 h 8402012"/>
              <a:gd name="connsiteX6623" fmla="*/ 609369 w 21052572"/>
              <a:gd name="connsiteY6623" fmla="*/ 3984469 h 8402012"/>
              <a:gd name="connsiteX6624" fmla="*/ 622265 w 21052572"/>
              <a:gd name="connsiteY6624" fmla="*/ 3940409 h 8402012"/>
              <a:gd name="connsiteX6625" fmla="*/ 378306 w 21052572"/>
              <a:gd name="connsiteY6625" fmla="*/ 3888822 h 8402012"/>
              <a:gd name="connsiteX6626" fmla="*/ 699644 w 21052572"/>
              <a:gd name="connsiteY6626" fmla="*/ 3908169 h 8402012"/>
              <a:gd name="connsiteX6627" fmla="*/ 846885 w 21052572"/>
              <a:gd name="connsiteY6627" fmla="*/ 3979098 h 8402012"/>
              <a:gd name="connsiteX6628" fmla="*/ 929631 w 21052572"/>
              <a:gd name="connsiteY6628" fmla="*/ 3998439 h 8402012"/>
              <a:gd name="connsiteX6629" fmla="*/ 981221 w 21052572"/>
              <a:gd name="connsiteY6629" fmla="*/ 4029605 h 8402012"/>
              <a:gd name="connsiteX6630" fmla="*/ 862946 w 21052572"/>
              <a:gd name="connsiteY6630" fmla="*/ 3973605 h 8402012"/>
              <a:gd name="connsiteX6631" fmla="*/ 861166 w 21052572"/>
              <a:gd name="connsiteY6631" fmla="*/ 3973165 h 8402012"/>
              <a:gd name="connsiteX6632" fmla="*/ 861361 w 21052572"/>
              <a:gd name="connsiteY6632" fmla="*/ 3973462 h 8402012"/>
              <a:gd name="connsiteX6633" fmla="*/ 844301 w 21052572"/>
              <a:gd name="connsiteY6633" fmla="*/ 3973462 h 8402012"/>
              <a:gd name="connsiteX6634" fmla="*/ 845016 w 21052572"/>
              <a:gd name="connsiteY6634" fmla="*/ 3969164 h 8402012"/>
              <a:gd name="connsiteX6635" fmla="*/ 835225 w 21052572"/>
              <a:gd name="connsiteY6635" fmla="*/ 3966739 h 8402012"/>
              <a:gd name="connsiteX6636" fmla="*/ 808191 w 21052572"/>
              <a:gd name="connsiteY6636" fmla="*/ 3908169 h 8402012"/>
              <a:gd name="connsiteX6637" fmla="*/ 872681 w 21052572"/>
              <a:gd name="connsiteY6637" fmla="*/ 3901721 h 8402012"/>
              <a:gd name="connsiteX6638" fmla="*/ 872681 w 21052572"/>
              <a:gd name="connsiteY6638" fmla="*/ 3869481 h 8402012"/>
              <a:gd name="connsiteX6639" fmla="*/ 814638 w 21052572"/>
              <a:gd name="connsiteY6639" fmla="*/ 3843691 h 8402012"/>
              <a:gd name="connsiteX6640" fmla="*/ 775945 w 21052572"/>
              <a:gd name="connsiteY6640" fmla="*/ 3798554 h 8402012"/>
              <a:gd name="connsiteX6641" fmla="*/ 1000565 w 21052572"/>
              <a:gd name="connsiteY6641" fmla="*/ 3824343 h 8402012"/>
              <a:gd name="connsiteX6642" fmla="*/ 737259 w 21052572"/>
              <a:gd name="connsiteY6642" fmla="*/ 3644881 h 8402012"/>
              <a:gd name="connsiteX6643" fmla="*/ 840431 w 21052572"/>
              <a:gd name="connsiteY6643" fmla="*/ 3631983 h 8402012"/>
              <a:gd name="connsiteX6644" fmla="*/ 833981 w 21052572"/>
              <a:gd name="connsiteY6644" fmla="*/ 3516994 h 8402012"/>
              <a:gd name="connsiteX6645" fmla="*/ 782393 w 21052572"/>
              <a:gd name="connsiteY6645" fmla="*/ 3452516 h 8402012"/>
              <a:gd name="connsiteX6646" fmla="*/ 731887 w 21052572"/>
              <a:gd name="connsiteY6646" fmla="*/ 3260153 h 8402012"/>
              <a:gd name="connsiteX6647" fmla="*/ 641609 w 21052572"/>
              <a:gd name="connsiteY6647" fmla="*/ 3151613 h 8402012"/>
              <a:gd name="connsiteX6648" fmla="*/ 475027 w 21052572"/>
              <a:gd name="connsiteY6648" fmla="*/ 3029103 h 8402012"/>
              <a:gd name="connsiteX6649" fmla="*/ 564229 w 21052572"/>
              <a:gd name="connsiteY6649" fmla="*/ 3035555 h 8402012"/>
              <a:gd name="connsiteX6650" fmla="*/ 680297 w 21052572"/>
              <a:gd name="connsiteY6650" fmla="*/ 3054895 h 8402012"/>
              <a:gd name="connsiteX6651" fmla="*/ 859780 w 21052572"/>
              <a:gd name="connsiteY6651" fmla="*/ 2983968 h 8402012"/>
              <a:gd name="connsiteX6652" fmla="*/ 436339 w 21052572"/>
              <a:gd name="connsiteY6652" fmla="*/ 2752914 h 8402012"/>
              <a:gd name="connsiteX6653" fmla="*/ 904916 w 21052572"/>
              <a:gd name="connsiteY6653" fmla="*/ 2637928 h 8402012"/>
              <a:gd name="connsiteX6654" fmla="*/ 1147801 w 21052572"/>
              <a:gd name="connsiteY6654" fmla="*/ 2657271 h 8402012"/>
              <a:gd name="connsiteX6655" fmla="*/ 1263872 w 21052572"/>
              <a:gd name="connsiteY6655" fmla="*/ 2683064 h 8402012"/>
              <a:gd name="connsiteX6656" fmla="*/ 1378874 w 21052572"/>
              <a:gd name="connsiteY6656" fmla="*/ 2657271 h 8402012"/>
              <a:gd name="connsiteX6657" fmla="*/ 1359525 w 21052572"/>
              <a:gd name="connsiteY6657" fmla="*/ 2625034 h 8402012"/>
              <a:gd name="connsiteX6658" fmla="*/ 1597039 w 21052572"/>
              <a:gd name="connsiteY6658" fmla="*/ 2579897 h 8402012"/>
              <a:gd name="connsiteX6659" fmla="*/ 1828106 w 21052572"/>
              <a:gd name="connsiteY6659" fmla="*/ 2503598 h 8402012"/>
              <a:gd name="connsiteX6660" fmla="*/ 2316023 w 21052572"/>
              <a:gd name="connsiteY6660" fmla="*/ 2490703 h 8402012"/>
              <a:gd name="connsiteX6661" fmla="*/ 3079083 w 21052572"/>
              <a:gd name="connsiteY6661" fmla="*/ 2605690 h 8402012"/>
              <a:gd name="connsiteX6662" fmla="*/ 3855086 w 21052572"/>
              <a:gd name="connsiteY6662" fmla="*/ 2618587 h 8402012"/>
              <a:gd name="connsiteX6663" fmla="*/ 4638609 w 21052572"/>
              <a:gd name="connsiteY6663" fmla="*/ 2605690 h 8402012"/>
              <a:gd name="connsiteX6664" fmla="*/ 5388806 w 21052572"/>
              <a:gd name="connsiteY6664" fmla="*/ 2445566 h 8402012"/>
              <a:gd name="connsiteX6665" fmla="*/ 6896204 w 21052572"/>
              <a:gd name="connsiteY6665" fmla="*/ 1926509 h 8402012"/>
              <a:gd name="connsiteX6666" fmla="*/ 7652812 w 21052572"/>
              <a:gd name="connsiteY6666" fmla="*/ 1689010 h 8402012"/>
              <a:gd name="connsiteX6667" fmla="*/ 8024668 w 21052572"/>
              <a:gd name="connsiteY6667" fmla="*/ 1566500 h 8402012"/>
              <a:gd name="connsiteX6668" fmla="*/ 8530865 w 21052572"/>
              <a:gd name="connsiteY6668" fmla="*/ 1348346 h 8402012"/>
              <a:gd name="connsiteX6669" fmla="*/ 8711419 w 21052572"/>
              <a:gd name="connsiteY6669" fmla="*/ 1284941 h 8402012"/>
              <a:gd name="connsiteX6670" fmla="*/ 9089723 w 21052572"/>
              <a:gd name="connsiteY6670" fmla="*/ 1136639 h 8402012"/>
              <a:gd name="connsiteX6671" fmla="*/ 9846331 w 21052572"/>
              <a:gd name="connsiteY6671" fmla="*/ 848618 h 8402012"/>
              <a:gd name="connsiteX6672" fmla="*/ 11359547 w 21052572"/>
              <a:gd name="connsiteY6672" fmla="*/ 347838 h 8402012"/>
              <a:gd name="connsiteX6673" fmla="*/ 12122604 w 21052572"/>
              <a:gd name="connsiteY6673" fmla="*/ 174822 h 8402012"/>
              <a:gd name="connsiteX6674" fmla="*/ 12898557 w 21052572"/>
              <a:gd name="connsiteY6674" fmla="*/ 79180 h 8402012"/>
              <a:gd name="connsiteX6675" fmla="*/ 13675585 w 21052572"/>
              <a:gd name="connsiteY6675" fmla="*/ 14702 h 8402012"/>
              <a:gd name="connsiteX6676" fmla="*/ 13777684 w 21052572"/>
              <a:gd name="connsiteY6676" fmla="*/ 8254 h 8402012"/>
              <a:gd name="connsiteX6677" fmla="*/ 13855064 w 21052572"/>
              <a:gd name="connsiteY6677" fmla="*/ 1806 h 8402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Lst>
            <a:rect l="l" t="t" r="r" b="b"/>
            <a:pathLst>
              <a:path w="21052572" h="8402012">
                <a:moveTo>
                  <a:pt x="4359536" y="8270801"/>
                </a:moveTo>
                <a:cubicBezTo>
                  <a:pt x="4359536" y="8289603"/>
                  <a:pt x="4359536" y="8302874"/>
                  <a:pt x="4346407" y="8302874"/>
                </a:cubicBezTo>
                <a:cubicBezTo>
                  <a:pt x="4346407" y="8284073"/>
                  <a:pt x="4346407" y="8270801"/>
                  <a:pt x="4359536" y="8270801"/>
                </a:cubicBezTo>
                <a:close/>
                <a:moveTo>
                  <a:pt x="4550215" y="8202009"/>
                </a:moveTo>
                <a:cubicBezTo>
                  <a:pt x="4591017" y="8202197"/>
                  <a:pt x="4631782" y="8210614"/>
                  <a:pt x="4672395" y="8237067"/>
                </a:cubicBezTo>
                <a:cubicBezTo>
                  <a:pt x="4609128" y="8243479"/>
                  <a:pt x="4551224" y="8249892"/>
                  <a:pt x="4493316" y="8256305"/>
                </a:cubicBezTo>
                <a:cubicBezTo>
                  <a:pt x="4467583" y="8262718"/>
                  <a:pt x="4441847" y="8274474"/>
                  <a:pt x="4417182" y="8269130"/>
                </a:cubicBezTo>
                <a:cubicBezTo>
                  <a:pt x="4391446" y="8256305"/>
                  <a:pt x="4365710" y="8237067"/>
                  <a:pt x="4346407" y="8224241"/>
                </a:cubicBezTo>
                <a:cubicBezTo>
                  <a:pt x="4414099" y="8224241"/>
                  <a:pt x="4482210" y="8201696"/>
                  <a:pt x="4550215" y="8202009"/>
                </a:cubicBezTo>
                <a:close/>
                <a:moveTo>
                  <a:pt x="5056320" y="8161791"/>
                </a:moveTo>
                <a:cubicBezTo>
                  <a:pt x="4907891" y="8228016"/>
                  <a:pt x="4907891" y="8228016"/>
                  <a:pt x="4791963" y="8241261"/>
                </a:cubicBezTo>
                <a:cubicBezTo>
                  <a:pt x="4868890" y="8194903"/>
                  <a:pt x="4868890" y="8194903"/>
                  <a:pt x="5056320" y="8161791"/>
                </a:cubicBezTo>
                <a:close/>
                <a:moveTo>
                  <a:pt x="3625921" y="8024337"/>
                </a:moveTo>
                <a:cubicBezTo>
                  <a:pt x="3631910" y="8024337"/>
                  <a:pt x="3643884" y="8031162"/>
                  <a:pt x="3643884" y="8051637"/>
                </a:cubicBezTo>
                <a:cubicBezTo>
                  <a:pt x="3631910" y="8051637"/>
                  <a:pt x="3625921" y="8044812"/>
                  <a:pt x="3625921" y="8024337"/>
                </a:cubicBezTo>
                <a:close/>
                <a:moveTo>
                  <a:pt x="2886695" y="7992782"/>
                </a:moveTo>
                <a:cubicBezTo>
                  <a:pt x="2886695" y="8012126"/>
                  <a:pt x="2893144" y="8025022"/>
                  <a:pt x="2906043" y="8025022"/>
                </a:cubicBezTo>
                <a:cubicBezTo>
                  <a:pt x="2906043" y="8005678"/>
                  <a:pt x="2899594" y="7992782"/>
                  <a:pt x="2886695" y="7992782"/>
                </a:cubicBezTo>
                <a:close/>
                <a:moveTo>
                  <a:pt x="5678745" y="7989786"/>
                </a:moveTo>
                <a:cubicBezTo>
                  <a:pt x="5684078" y="7988506"/>
                  <a:pt x="5688572" y="7998744"/>
                  <a:pt x="5679590" y="8008981"/>
                </a:cubicBezTo>
                <a:cubicBezTo>
                  <a:pt x="5679590" y="8008981"/>
                  <a:pt x="5673597" y="8002156"/>
                  <a:pt x="5673597" y="7995331"/>
                </a:cubicBezTo>
                <a:cubicBezTo>
                  <a:pt x="5675095" y="7991919"/>
                  <a:pt x="5676966" y="7990212"/>
                  <a:pt x="5678745" y="7989786"/>
                </a:cubicBezTo>
                <a:close/>
                <a:moveTo>
                  <a:pt x="3008685" y="7984722"/>
                </a:moveTo>
                <a:cubicBezTo>
                  <a:pt x="2975100" y="7984722"/>
                  <a:pt x="2938286" y="7992782"/>
                  <a:pt x="2925388" y="7992782"/>
                </a:cubicBezTo>
                <a:cubicBezTo>
                  <a:pt x="2925388" y="8057261"/>
                  <a:pt x="3053289" y="8025022"/>
                  <a:pt x="3072635" y="8025022"/>
                </a:cubicBezTo>
                <a:cubicBezTo>
                  <a:pt x="3072635" y="7992782"/>
                  <a:pt x="3042274" y="7984722"/>
                  <a:pt x="3008685" y="7984722"/>
                </a:cubicBezTo>
                <a:close/>
                <a:moveTo>
                  <a:pt x="5645057" y="7982520"/>
                </a:moveTo>
                <a:cubicBezTo>
                  <a:pt x="5656983" y="7984752"/>
                  <a:pt x="5667963" y="7992463"/>
                  <a:pt x="5677279" y="8008698"/>
                </a:cubicBezTo>
                <a:cubicBezTo>
                  <a:pt x="5646401" y="8028179"/>
                  <a:pt x="5614460" y="8041166"/>
                  <a:pt x="5582516" y="8060648"/>
                </a:cubicBezTo>
                <a:cubicBezTo>
                  <a:pt x="5569737" y="8067141"/>
                  <a:pt x="5556961" y="8072553"/>
                  <a:pt x="5544183" y="8080129"/>
                </a:cubicBezTo>
                <a:cubicBezTo>
                  <a:pt x="5537792" y="8060648"/>
                  <a:pt x="5531404" y="8047660"/>
                  <a:pt x="5531404" y="8028179"/>
                </a:cubicBezTo>
                <a:cubicBezTo>
                  <a:pt x="5564947" y="8018438"/>
                  <a:pt x="5609270" y="7975823"/>
                  <a:pt x="5645057" y="7982520"/>
                </a:cubicBezTo>
                <a:close/>
                <a:moveTo>
                  <a:pt x="5813583" y="7956299"/>
                </a:moveTo>
                <a:cubicBezTo>
                  <a:pt x="5828512" y="7956401"/>
                  <a:pt x="5843186" y="7958439"/>
                  <a:pt x="5857391" y="7963331"/>
                </a:cubicBezTo>
                <a:cubicBezTo>
                  <a:pt x="5807003" y="7989420"/>
                  <a:pt x="5729803" y="8061167"/>
                  <a:pt x="5678343" y="7982898"/>
                </a:cubicBezTo>
                <a:cubicBezTo>
                  <a:pt x="5721764" y="7973114"/>
                  <a:pt x="5768804" y="7955993"/>
                  <a:pt x="5813583" y="7956299"/>
                </a:cubicBezTo>
                <a:close/>
                <a:moveTo>
                  <a:pt x="2780829" y="7954901"/>
                </a:moveTo>
                <a:cubicBezTo>
                  <a:pt x="2764975" y="7954095"/>
                  <a:pt x="2745897" y="7960543"/>
                  <a:pt x="2733002" y="7960543"/>
                </a:cubicBezTo>
                <a:cubicBezTo>
                  <a:pt x="2733002" y="8018574"/>
                  <a:pt x="2789963" y="7992782"/>
                  <a:pt x="2809310" y="7992782"/>
                </a:cubicBezTo>
                <a:cubicBezTo>
                  <a:pt x="2809310" y="7963766"/>
                  <a:pt x="2796682" y="7955707"/>
                  <a:pt x="2780829" y="7954901"/>
                </a:cubicBezTo>
                <a:close/>
                <a:moveTo>
                  <a:pt x="2659646" y="7930721"/>
                </a:moveTo>
                <a:cubicBezTo>
                  <a:pt x="2647554" y="7929915"/>
                  <a:pt x="2633045" y="7934751"/>
                  <a:pt x="2623371" y="7934751"/>
                </a:cubicBezTo>
                <a:cubicBezTo>
                  <a:pt x="2623371" y="7979886"/>
                  <a:pt x="2662064" y="7960543"/>
                  <a:pt x="2681410" y="7960543"/>
                </a:cubicBezTo>
                <a:cubicBezTo>
                  <a:pt x="2681410" y="7937975"/>
                  <a:pt x="2671739" y="7931527"/>
                  <a:pt x="2659646" y="7930721"/>
                </a:cubicBezTo>
                <a:close/>
                <a:moveTo>
                  <a:pt x="2508367" y="7902511"/>
                </a:moveTo>
                <a:cubicBezTo>
                  <a:pt x="2508367" y="7934751"/>
                  <a:pt x="2527715" y="7934751"/>
                  <a:pt x="2547061" y="7934751"/>
                </a:cubicBezTo>
                <a:cubicBezTo>
                  <a:pt x="2547061" y="7896063"/>
                  <a:pt x="2527715" y="7902511"/>
                  <a:pt x="2508367" y="7902511"/>
                </a:cubicBezTo>
                <a:close/>
                <a:moveTo>
                  <a:pt x="2421443" y="7863152"/>
                </a:moveTo>
                <a:cubicBezTo>
                  <a:pt x="2405492" y="7863286"/>
                  <a:pt x="2386415" y="7871346"/>
                  <a:pt x="2374056" y="7871346"/>
                </a:cubicBezTo>
                <a:cubicBezTo>
                  <a:pt x="2374056" y="7928303"/>
                  <a:pt x="2430983" y="7902511"/>
                  <a:pt x="2450330" y="7902511"/>
                </a:cubicBezTo>
                <a:cubicBezTo>
                  <a:pt x="2450330" y="7870809"/>
                  <a:pt x="2437432" y="7863018"/>
                  <a:pt x="2421443" y="7863152"/>
                </a:cubicBezTo>
                <a:close/>
                <a:moveTo>
                  <a:pt x="2320053" y="7835883"/>
                </a:moveTo>
                <a:cubicBezTo>
                  <a:pt x="2307963" y="7834271"/>
                  <a:pt x="2293452" y="7839107"/>
                  <a:pt x="2283782" y="7839107"/>
                </a:cubicBezTo>
                <a:cubicBezTo>
                  <a:pt x="2283782" y="7889616"/>
                  <a:pt x="2322470" y="7871346"/>
                  <a:pt x="2341814" y="7871346"/>
                </a:cubicBezTo>
                <a:cubicBezTo>
                  <a:pt x="2341814" y="7845555"/>
                  <a:pt x="2332143" y="7837495"/>
                  <a:pt x="2320053" y="7835883"/>
                </a:cubicBezTo>
                <a:close/>
                <a:moveTo>
                  <a:pt x="6285585" y="7782608"/>
                </a:moveTo>
                <a:cubicBezTo>
                  <a:pt x="6291902" y="7801678"/>
                  <a:pt x="6298222" y="7820748"/>
                  <a:pt x="6298222" y="7839818"/>
                </a:cubicBezTo>
                <a:cubicBezTo>
                  <a:pt x="6273999" y="7852532"/>
                  <a:pt x="6248719" y="7858888"/>
                  <a:pt x="6223440" y="7871602"/>
                </a:cubicBezTo>
                <a:cubicBezTo>
                  <a:pt x="6242400" y="7839818"/>
                  <a:pt x="6267677" y="7808035"/>
                  <a:pt x="6285585" y="7782608"/>
                </a:cubicBezTo>
                <a:close/>
                <a:moveTo>
                  <a:pt x="6359901" y="7773131"/>
                </a:moveTo>
                <a:cubicBezTo>
                  <a:pt x="6359901" y="7798816"/>
                  <a:pt x="6353914" y="7805237"/>
                  <a:pt x="6341937" y="7805237"/>
                </a:cubicBezTo>
                <a:cubicBezTo>
                  <a:pt x="6341937" y="7785974"/>
                  <a:pt x="6347927" y="7773131"/>
                  <a:pt x="6359901" y="7773131"/>
                </a:cubicBezTo>
                <a:close/>
                <a:moveTo>
                  <a:pt x="6492564" y="7716253"/>
                </a:moveTo>
                <a:cubicBezTo>
                  <a:pt x="6492564" y="7735517"/>
                  <a:pt x="6487297" y="7748359"/>
                  <a:pt x="6474654" y="7748359"/>
                </a:cubicBezTo>
                <a:cubicBezTo>
                  <a:pt x="6474654" y="7729096"/>
                  <a:pt x="6480977" y="7716253"/>
                  <a:pt x="6492564" y="7716253"/>
                </a:cubicBezTo>
                <a:close/>
                <a:moveTo>
                  <a:pt x="6023014" y="7713609"/>
                </a:moveTo>
                <a:cubicBezTo>
                  <a:pt x="6035430" y="7711956"/>
                  <a:pt x="6050333" y="7718569"/>
                  <a:pt x="6060266" y="7728489"/>
                </a:cubicBezTo>
                <a:cubicBezTo>
                  <a:pt x="6080133" y="7748330"/>
                  <a:pt x="6007282" y="7748330"/>
                  <a:pt x="6000663" y="7748330"/>
                </a:cubicBezTo>
                <a:cubicBezTo>
                  <a:pt x="6000663" y="7725183"/>
                  <a:pt x="6010596" y="7715262"/>
                  <a:pt x="6023014" y="7713609"/>
                </a:cubicBezTo>
                <a:close/>
                <a:moveTo>
                  <a:pt x="6132353" y="7684485"/>
                </a:moveTo>
                <a:cubicBezTo>
                  <a:pt x="6132353" y="7715228"/>
                  <a:pt x="6113906" y="7715228"/>
                  <a:pt x="6095461" y="7715228"/>
                </a:cubicBezTo>
                <a:cubicBezTo>
                  <a:pt x="6095461" y="7678336"/>
                  <a:pt x="6113906" y="7684485"/>
                  <a:pt x="6132353" y="7684485"/>
                </a:cubicBezTo>
                <a:close/>
                <a:moveTo>
                  <a:pt x="6611612" y="7659376"/>
                </a:moveTo>
                <a:cubicBezTo>
                  <a:pt x="6630765" y="7659376"/>
                  <a:pt x="6649918" y="7659376"/>
                  <a:pt x="6662687" y="7671786"/>
                </a:cubicBezTo>
                <a:cubicBezTo>
                  <a:pt x="6643534" y="7684196"/>
                  <a:pt x="6624381" y="7696605"/>
                  <a:pt x="6611612" y="7715220"/>
                </a:cubicBezTo>
                <a:cubicBezTo>
                  <a:pt x="6611612" y="7696605"/>
                  <a:pt x="6611612" y="7677991"/>
                  <a:pt x="6611612" y="7659376"/>
                </a:cubicBezTo>
                <a:close/>
                <a:moveTo>
                  <a:pt x="6656227" y="7650005"/>
                </a:moveTo>
                <a:lnTo>
                  <a:pt x="6655396" y="7653539"/>
                </a:lnTo>
                <a:cubicBezTo>
                  <a:pt x="6654733" y="7656360"/>
                  <a:pt x="6654271" y="7658323"/>
                  <a:pt x="6654271" y="7658323"/>
                </a:cubicBezTo>
                <a:close/>
                <a:moveTo>
                  <a:pt x="6659809" y="7634772"/>
                </a:moveTo>
                <a:cubicBezTo>
                  <a:pt x="6659501" y="7636080"/>
                  <a:pt x="6658937" y="7638479"/>
                  <a:pt x="6658040" y="7642295"/>
                </a:cubicBezTo>
                <a:lnTo>
                  <a:pt x="6656227" y="7650005"/>
                </a:lnTo>
                <a:lnTo>
                  <a:pt x="6657732" y="7643603"/>
                </a:lnTo>
                <a:cubicBezTo>
                  <a:pt x="6659347" y="7636734"/>
                  <a:pt x="6660732" y="7630846"/>
                  <a:pt x="6659809" y="7634772"/>
                </a:cubicBezTo>
                <a:close/>
                <a:moveTo>
                  <a:pt x="6695874" y="7626197"/>
                </a:moveTo>
                <a:cubicBezTo>
                  <a:pt x="6695874" y="7652740"/>
                  <a:pt x="6684288" y="7658270"/>
                  <a:pt x="6671649" y="7658270"/>
                </a:cubicBezTo>
                <a:cubicBezTo>
                  <a:pt x="6665330" y="7652740"/>
                  <a:pt x="6665330" y="7646105"/>
                  <a:pt x="6659010" y="7639469"/>
                </a:cubicBezTo>
                <a:cubicBezTo>
                  <a:pt x="6671649" y="7632833"/>
                  <a:pt x="6684288" y="7626197"/>
                  <a:pt x="6695874" y="7626197"/>
                </a:cubicBezTo>
                <a:close/>
                <a:moveTo>
                  <a:pt x="4731846" y="7624042"/>
                </a:moveTo>
                <a:cubicBezTo>
                  <a:pt x="4719755" y="7622564"/>
                  <a:pt x="4705246" y="7627400"/>
                  <a:pt x="4695573" y="7627400"/>
                </a:cubicBezTo>
                <a:cubicBezTo>
                  <a:pt x="4695573" y="7671461"/>
                  <a:pt x="4734264" y="7658565"/>
                  <a:pt x="4753611" y="7658565"/>
                </a:cubicBezTo>
                <a:cubicBezTo>
                  <a:pt x="4753611" y="7633311"/>
                  <a:pt x="4743939" y="7625520"/>
                  <a:pt x="4731846" y="7624042"/>
                </a:cubicBezTo>
                <a:close/>
                <a:moveTo>
                  <a:pt x="6736842" y="7622692"/>
                </a:moveTo>
                <a:cubicBezTo>
                  <a:pt x="6739087" y="7623545"/>
                  <a:pt x="6742081" y="7626958"/>
                  <a:pt x="6748068" y="7630370"/>
                </a:cubicBezTo>
                <a:cubicBezTo>
                  <a:pt x="6736093" y="7637195"/>
                  <a:pt x="6736093" y="7644020"/>
                  <a:pt x="6730106" y="7630370"/>
                </a:cubicBezTo>
                <a:cubicBezTo>
                  <a:pt x="6733100" y="7623545"/>
                  <a:pt x="6734596" y="7621839"/>
                  <a:pt x="6736842" y="7622692"/>
                </a:cubicBezTo>
                <a:close/>
                <a:moveTo>
                  <a:pt x="4772957" y="7595161"/>
                </a:moveTo>
                <a:cubicBezTo>
                  <a:pt x="4772957" y="7627400"/>
                  <a:pt x="4792304" y="7627400"/>
                  <a:pt x="4811648" y="7627400"/>
                </a:cubicBezTo>
                <a:cubicBezTo>
                  <a:pt x="4811648" y="7588713"/>
                  <a:pt x="4792304" y="7595161"/>
                  <a:pt x="4772957" y="7595161"/>
                </a:cubicBezTo>
                <a:close/>
                <a:moveTo>
                  <a:pt x="6362876" y="7580021"/>
                </a:moveTo>
                <a:cubicBezTo>
                  <a:pt x="6385706" y="7576013"/>
                  <a:pt x="6406907" y="7579220"/>
                  <a:pt x="6416690" y="7608077"/>
                </a:cubicBezTo>
                <a:cubicBezTo>
                  <a:pt x="6377553" y="7627315"/>
                  <a:pt x="6338415" y="7640141"/>
                  <a:pt x="6299277" y="7658310"/>
                </a:cubicBezTo>
                <a:cubicBezTo>
                  <a:pt x="6299277" y="7633728"/>
                  <a:pt x="6299277" y="7614490"/>
                  <a:pt x="6299277" y="7595252"/>
                </a:cubicBezTo>
                <a:cubicBezTo>
                  <a:pt x="6315584" y="7595252"/>
                  <a:pt x="6340047" y="7584029"/>
                  <a:pt x="6362876" y="7580021"/>
                </a:cubicBezTo>
                <a:close/>
                <a:moveTo>
                  <a:pt x="6923436" y="7564581"/>
                </a:moveTo>
                <a:cubicBezTo>
                  <a:pt x="6923436" y="7590266"/>
                  <a:pt x="6917449" y="7596687"/>
                  <a:pt x="6905474" y="7596687"/>
                </a:cubicBezTo>
                <a:cubicBezTo>
                  <a:pt x="6905474" y="7571002"/>
                  <a:pt x="6917449" y="7564581"/>
                  <a:pt x="6923436" y="7564581"/>
                </a:cubicBezTo>
                <a:close/>
                <a:moveTo>
                  <a:pt x="6961258" y="7531402"/>
                </a:moveTo>
                <a:cubicBezTo>
                  <a:pt x="6961258" y="7550667"/>
                  <a:pt x="6961258" y="7563511"/>
                  <a:pt x="6948133" y="7563511"/>
                </a:cubicBezTo>
                <a:cubicBezTo>
                  <a:pt x="6948133" y="7544246"/>
                  <a:pt x="6948133" y="7531402"/>
                  <a:pt x="6961258" y="7531402"/>
                </a:cubicBezTo>
                <a:close/>
                <a:moveTo>
                  <a:pt x="6519027" y="7531284"/>
                </a:moveTo>
                <a:cubicBezTo>
                  <a:pt x="6530892" y="7532276"/>
                  <a:pt x="6542686" y="7536242"/>
                  <a:pt x="6554142" y="7544174"/>
                </a:cubicBezTo>
                <a:cubicBezTo>
                  <a:pt x="6519780" y="7571937"/>
                  <a:pt x="6471213" y="7623993"/>
                  <a:pt x="6433301" y="7594061"/>
                </a:cubicBezTo>
                <a:lnTo>
                  <a:pt x="6421498" y="7580258"/>
                </a:lnTo>
                <a:lnTo>
                  <a:pt x="6424521" y="7590114"/>
                </a:lnTo>
                <a:cubicBezTo>
                  <a:pt x="6424521" y="7594930"/>
                  <a:pt x="6422881" y="7599746"/>
                  <a:pt x="6419598" y="7606167"/>
                </a:cubicBezTo>
                <a:cubicBezTo>
                  <a:pt x="6419598" y="7599746"/>
                  <a:pt x="6413034" y="7593325"/>
                  <a:pt x="6413034" y="7593325"/>
                </a:cubicBezTo>
                <a:lnTo>
                  <a:pt x="6418630" y="7576903"/>
                </a:lnTo>
                <a:lnTo>
                  <a:pt x="6417775" y="7575903"/>
                </a:lnTo>
                <a:lnTo>
                  <a:pt x="6419363" y="7574751"/>
                </a:lnTo>
                <a:lnTo>
                  <a:pt x="6419598" y="7574061"/>
                </a:lnTo>
                <a:lnTo>
                  <a:pt x="6419730" y="7574486"/>
                </a:lnTo>
                <a:lnTo>
                  <a:pt x="6449207" y="7553098"/>
                </a:lnTo>
                <a:cubicBezTo>
                  <a:pt x="6471300" y="7539217"/>
                  <a:pt x="6495302" y="7529301"/>
                  <a:pt x="6519027" y="7531284"/>
                </a:cubicBezTo>
                <a:close/>
                <a:moveTo>
                  <a:pt x="5068792" y="7529070"/>
                </a:moveTo>
                <a:cubicBezTo>
                  <a:pt x="5047295" y="7529070"/>
                  <a:pt x="5026605" y="7533906"/>
                  <a:pt x="5010484" y="7556473"/>
                </a:cubicBezTo>
                <a:cubicBezTo>
                  <a:pt x="4991137" y="7582265"/>
                  <a:pt x="4958895" y="7575817"/>
                  <a:pt x="4939551" y="7582265"/>
                </a:cubicBezTo>
                <a:cubicBezTo>
                  <a:pt x="4913753" y="7588713"/>
                  <a:pt x="4887960" y="7595161"/>
                  <a:pt x="4868615" y="7595161"/>
                </a:cubicBezTo>
                <a:cubicBezTo>
                  <a:pt x="4868615" y="7627400"/>
                  <a:pt x="4887960" y="7633848"/>
                  <a:pt x="4900856" y="7620952"/>
                </a:cubicBezTo>
                <a:cubicBezTo>
                  <a:pt x="4926649" y="7601609"/>
                  <a:pt x="4939551" y="7588713"/>
                  <a:pt x="4965344" y="7588713"/>
                </a:cubicBezTo>
                <a:cubicBezTo>
                  <a:pt x="4984690" y="7582265"/>
                  <a:pt x="5004035" y="7582265"/>
                  <a:pt x="5023383" y="7575817"/>
                </a:cubicBezTo>
                <a:cubicBezTo>
                  <a:pt x="5023383" y="7569369"/>
                  <a:pt x="5035205" y="7562921"/>
                  <a:pt x="5042727" y="7562921"/>
                </a:cubicBezTo>
                <a:cubicBezTo>
                  <a:pt x="5073897" y="7562921"/>
                  <a:pt x="5099689" y="7562921"/>
                  <a:pt x="5131933" y="7562921"/>
                </a:cubicBezTo>
                <a:cubicBezTo>
                  <a:pt x="5131933" y="7556473"/>
                  <a:pt x="5131933" y="7543577"/>
                  <a:pt x="5131933" y="7530682"/>
                </a:cubicBezTo>
                <a:cubicBezTo>
                  <a:pt x="5112589" y="7533906"/>
                  <a:pt x="5090285" y="7529070"/>
                  <a:pt x="5068792" y="7529070"/>
                </a:cubicBezTo>
                <a:close/>
                <a:moveTo>
                  <a:pt x="6549994" y="7520599"/>
                </a:moveTo>
                <a:cubicBezTo>
                  <a:pt x="6552989" y="7520599"/>
                  <a:pt x="6555979" y="7524011"/>
                  <a:pt x="6558975" y="7530836"/>
                </a:cubicBezTo>
                <a:cubicBezTo>
                  <a:pt x="6552989" y="7544486"/>
                  <a:pt x="6547000" y="7544486"/>
                  <a:pt x="6541013" y="7530836"/>
                </a:cubicBezTo>
                <a:cubicBezTo>
                  <a:pt x="6544005" y="7524011"/>
                  <a:pt x="6547000" y="7520599"/>
                  <a:pt x="6549994" y="7520599"/>
                </a:cubicBezTo>
                <a:close/>
                <a:moveTo>
                  <a:pt x="7037161" y="7498226"/>
                </a:moveTo>
                <a:cubicBezTo>
                  <a:pt x="7037161" y="7535118"/>
                  <a:pt x="7018715" y="7528970"/>
                  <a:pt x="7000269" y="7528970"/>
                </a:cubicBezTo>
                <a:cubicBezTo>
                  <a:pt x="7000269" y="7498226"/>
                  <a:pt x="7024864" y="7498226"/>
                  <a:pt x="7037161" y="7498226"/>
                </a:cubicBezTo>
                <a:close/>
                <a:moveTo>
                  <a:pt x="6675160" y="7469436"/>
                </a:moveTo>
                <a:cubicBezTo>
                  <a:pt x="6688968" y="7469996"/>
                  <a:pt x="6702327" y="7474748"/>
                  <a:pt x="6714821" y="7485882"/>
                </a:cubicBezTo>
                <a:cubicBezTo>
                  <a:pt x="6664842" y="7511950"/>
                  <a:pt x="6595158" y="7596673"/>
                  <a:pt x="6550492" y="7518468"/>
                </a:cubicBezTo>
                <a:cubicBezTo>
                  <a:pt x="6588775" y="7503804"/>
                  <a:pt x="6633738" y="7467756"/>
                  <a:pt x="6675160" y="7469436"/>
                </a:cubicBezTo>
                <a:close/>
                <a:moveTo>
                  <a:pt x="6708736" y="7466812"/>
                </a:moveTo>
                <a:lnTo>
                  <a:pt x="6707944" y="7469064"/>
                </a:lnTo>
                <a:cubicBezTo>
                  <a:pt x="6707036" y="7471644"/>
                  <a:pt x="6706404" y="7473438"/>
                  <a:pt x="6706404" y="7473438"/>
                </a:cubicBezTo>
                <a:close/>
                <a:moveTo>
                  <a:pt x="6713340" y="7453728"/>
                </a:moveTo>
                <a:lnTo>
                  <a:pt x="6711562" y="7458781"/>
                </a:lnTo>
                <a:lnTo>
                  <a:pt x="6708736" y="7466812"/>
                </a:lnTo>
                <a:lnTo>
                  <a:pt x="6711140" y="7459978"/>
                </a:lnTo>
                <a:close/>
                <a:moveTo>
                  <a:pt x="6713982" y="7451902"/>
                </a:moveTo>
                <a:cubicBezTo>
                  <a:pt x="6714614" y="7450107"/>
                  <a:pt x="6714456" y="7450556"/>
                  <a:pt x="6713864" y="7452238"/>
                </a:cubicBezTo>
                <a:lnTo>
                  <a:pt x="6713340" y="7453728"/>
                </a:lnTo>
                <a:close/>
                <a:moveTo>
                  <a:pt x="7157576" y="7408170"/>
                </a:moveTo>
                <a:cubicBezTo>
                  <a:pt x="7163725" y="7428078"/>
                  <a:pt x="7163725" y="7453515"/>
                  <a:pt x="7169873" y="7473422"/>
                </a:cubicBezTo>
                <a:cubicBezTo>
                  <a:pt x="7157576" y="7473422"/>
                  <a:pt x="7145278" y="7473422"/>
                  <a:pt x="7132981" y="7473422"/>
                </a:cubicBezTo>
                <a:cubicBezTo>
                  <a:pt x="7139130" y="7447985"/>
                  <a:pt x="7145278" y="7428078"/>
                  <a:pt x="7157576" y="7408170"/>
                </a:cubicBezTo>
                <a:close/>
                <a:moveTo>
                  <a:pt x="6859755" y="7367654"/>
                </a:moveTo>
                <a:cubicBezTo>
                  <a:pt x="6875043" y="7368179"/>
                  <a:pt x="6888787" y="7376704"/>
                  <a:pt x="6899676" y="7397813"/>
                </a:cubicBezTo>
                <a:cubicBezTo>
                  <a:pt x="6862493" y="7410804"/>
                  <a:pt x="6830622" y="7423794"/>
                  <a:pt x="6792377" y="7443280"/>
                </a:cubicBezTo>
                <a:cubicBezTo>
                  <a:pt x="6766880" y="7455188"/>
                  <a:pt x="6735010" y="7487664"/>
                  <a:pt x="6715887" y="7455188"/>
                </a:cubicBezTo>
                <a:cubicBezTo>
                  <a:pt x="6754132" y="7436514"/>
                  <a:pt x="6813890" y="7366081"/>
                  <a:pt x="6859755" y="7367654"/>
                </a:cubicBezTo>
                <a:close/>
                <a:moveTo>
                  <a:pt x="6906002" y="7365514"/>
                </a:moveTo>
                <a:cubicBezTo>
                  <a:pt x="6912322" y="7371935"/>
                  <a:pt x="6918642" y="7378357"/>
                  <a:pt x="6918642" y="7384778"/>
                </a:cubicBezTo>
                <a:cubicBezTo>
                  <a:pt x="6912322" y="7391199"/>
                  <a:pt x="6906002" y="7397620"/>
                  <a:pt x="6900735" y="7384778"/>
                </a:cubicBezTo>
                <a:cubicBezTo>
                  <a:pt x="6900735" y="7371935"/>
                  <a:pt x="6906002" y="7365514"/>
                  <a:pt x="6906002" y="7365514"/>
                </a:cubicBezTo>
                <a:close/>
                <a:moveTo>
                  <a:pt x="6951772" y="7346553"/>
                </a:moveTo>
                <a:cubicBezTo>
                  <a:pt x="6951772" y="7383445"/>
                  <a:pt x="6918704" y="7383445"/>
                  <a:pt x="6905477" y="7364999"/>
                </a:cubicBezTo>
                <a:cubicBezTo>
                  <a:pt x="6918704" y="7358851"/>
                  <a:pt x="6931931" y="7352702"/>
                  <a:pt x="6951772" y="7346553"/>
                </a:cubicBezTo>
                <a:close/>
                <a:moveTo>
                  <a:pt x="7174557" y="7199619"/>
                </a:moveTo>
                <a:cubicBezTo>
                  <a:pt x="7174557" y="7249662"/>
                  <a:pt x="7155005" y="7268827"/>
                  <a:pt x="7128936" y="7287993"/>
                </a:cubicBezTo>
                <a:cubicBezTo>
                  <a:pt x="7090919" y="7307158"/>
                  <a:pt x="7058332" y="7326323"/>
                  <a:pt x="7019229" y="7345489"/>
                </a:cubicBezTo>
                <a:cubicBezTo>
                  <a:pt x="7051815" y="7256050"/>
                  <a:pt x="7122419" y="7244338"/>
                  <a:pt x="7174557" y="7199619"/>
                </a:cubicBezTo>
                <a:close/>
                <a:moveTo>
                  <a:pt x="7300454" y="7180662"/>
                </a:moveTo>
                <a:cubicBezTo>
                  <a:pt x="7306774" y="7187084"/>
                  <a:pt x="7306774" y="7193506"/>
                  <a:pt x="7312041" y="7199927"/>
                </a:cubicBezTo>
                <a:cubicBezTo>
                  <a:pt x="7306774" y="7206349"/>
                  <a:pt x="7300454" y="7212771"/>
                  <a:pt x="7294134" y="7199927"/>
                </a:cubicBezTo>
                <a:cubicBezTo>
                  <a:pt x="7294134" y="7193506"/>
                  <a:pt x="7300454" y="7187084"/>
                  <a:pt x="7300454" y="7180662"/>
                </a:cubicBezTo>
                <a:close/>
                <a:moveTo>
                  <a:pt x="7393171" y="7122257"/>
                </a:moveTo>
                <a:cubicBezTo>
                  <a:pt x="7396165" y="7122257"/>
                  <a:pt x="7399159" y="7125468"/>
                  <a:pt x="7402152" y="7131889"/>
                </a:cubicBezTo>
                <a:cubicBezTo>
                  <a:pt x="7402152" y="7135099"/>
                  <a:pt x="7400656" y="7136704"/>
                  <a:pt x="7399159" y="7139112"/>
                </a:cubicBezTo>
                <a:lnTo>
                  <a:pt x="7396276" y="7150706"/>
                </a:lnTo>
                <a:lnTo>
                  <a:pt x="7397356" y="7152336"/>
                </a:lnTo>
                <a:cubicBezTo>
                  <a:pt x="7372077" y="7165050"/>
                  <a:pt x="7327839" y="7222262"/>
                  <a:pt x="7303614" y="7177764"/>
                </a:cubicBezTo>
                <a:cubicBezTo>
                  <a:pt x="7327839" y="7158693"/>
                  <a:pt x="7359438" y="7145979"/>
                  <a:pt x="7384716" y="7133265"/>
                </a:cubicBezTo>
                <a:lnTo>
                  <a:pt x="7390024" y="7141273"/>
                </a:lnTo>
                <a:lnTo>
                  <a:pt x="7384190" y="7131889"/>
                </a:lnTo>
                <a:cubicBezTo>
                  <a:pt x="7387184" y="7125468"/>
                  <a:pt x="7390178" y="7122257"/>
                  <a:pt x="7393171" y="7122257"/>
                </a:cubicBezTo>
                <a:close/>
                <a:moveTo>
                  <a:pt x="5888582" y="7100821"/>
                </a:moveTo>
                <a:cubicBezTo>
                  <a:pt x="5888582" y="7126612"/>
                  <a:pt x="5895026" y="7133060"/>
                  <a:pt x="5907925" y="7133060"/>
                </a:cubicBezTo>
                <a:cubicBezTo>
                  <a:pt x="5907925" y="7107269"/>
                  <a:pt x="5895026" y="7100821"/>
                  <a:pt x="5888582" y="7100821"/>
                </a:cubicBezTo>
                <a:close/>
                <a:moveTo>
                  <a:pt x="7447974" y="7098071"/>
                </a:moveTo>
                <a:cubicBezTo>
                  <a:pt x="7453481" y="7098362"/>
                  <a:pt x="7458784" y="7099913"/>
                  <a:pt x="7463679" y="7103016"/>
                </a:cubicBezTo>
                <a:cubicBezTo>
                  <a:pt x="7444098" y="7109221"/>
                  <a:pt x="7417990" y="7146450"/>
                  <a:pt x="7398409" y="7121631"/>
                </a:cubicBezTo>
                <a:cubicBezTo>
                  <a:pt x="7413095" y="7107669"/>
                  <a:pt x="7431452" y="7097199"/>
                  <a:pt x="7447974" y="7098071"/>
                </a:cubicBezTo>
                <a:close/>
                <a:moveTo>
                  <a:pt x="6649030" y="7074116"/>
                </a:moveTo>
                <a:cubicBezTo>
                  <a:pt x="6650527" y="7075822"/>
                  <a:pt x="6652024" y="7082647"/>
                  <a:pt x="6658011" y="7089472"/>
                </a:cubicBezTo>
                <a:cubicBezTo>
                  <a:pt x="6652024" y="7089472"/>
                  <a:pt x="6646036" y="7089472"/>
                  <a:pt x="6640049" y="7089472"/>
                </a:cubicBezTo>
                <a:cubicBezTo>
                  <a:pt x="6646037" y="7075822"/>
                  <a:pt x="6647534" y="7072410"/>
                  <a:pt x="6649030" y="7074116"/>
                </a:cubicBezTo>
                <a:close/>
                <a:moveTo>
                  <a:pt x="6017554" y="7068581"/>
                </a:moveTo>
                <a:cubicBezTo>
                  <a:pt x="6017554" y="7094373"/>
                  <a:pt x="6024005" y="7100821"/>
                  <a:pt x="6036901" y="7100821"/>
                </a:cubicBezTo>
                <a:cubicBezTo>
                  <a:pt x="6036901" y="7081477"/>
                  <a:pt x="6030453" y="7068581"/>
                  <a:pt x="6017554" y="7068581"/>
                </a:cubicBezTo>
                <a:close/>
                <a:moveTo>
                  <a:pt x="7572643" y="7066910"/>
                </a:moveTo>
                <a:cubicBezTo>
                  <a:pt x="7572643" y="7092597"/>
                  <a:pt x="7565818" y="7099019"/>
                  <a:pt x="7545343" y="7099019"/>
                </a:cubicBezTo>
                <a:cubicBezTo>
                  <a:pt x="7545343" y="7079754"/>
                  <a:pt x="7552168" y="7066910"/>
                  <a:pt x="7572643" y="7066910"/>
                </a:cubicBezTo>
                <a:close/>
                <a:moveTo>
                  <a:pt x="7601219" y="7038470"/>
                </a:moveTo>
                <a:cubicBezTo>
                  <a:pt x="7601219" y="7063907"/>
                  <a:pt x="7595232" y="7070543"/>
                  <a:pt x="7583257" y="7070543"/>
                </a:cubicBezTo>
                <a:cubicBezTo>
                  <a:pt x="7583257" y="7050636"/>
                  <a:pt x="7589244" y="7038470"/>
                  <a:pt x="7601219" y="7038470"/>
                </a:cubicBezTo>
                <a:close/>
                <a:moveTo>
                  <a:pt x="5831616" y="6979385"/>
                </a:moveTo>
                <a:cubicBezTo>
                  <a:pt x="5831616" y="7018072"/>
                  <a:pt x="5850963" y="7011624"/>
                  <a:pt x="5870309" y="7011624"/>
                </a:cubicBezTo>
                <a:cubicBezTo>
                  <a:pt x="5870309" y="6972937"/>
                  <a:pt x="5844515" y="6979385"/>
                  <a:pt x="5831616" y="6979385"/>
                </a:cubicBezTo>
                <a:close/>
                <a:moveTo>
                  <a:pt x="7684776" y="6978552"/>
                </a:moveTo>
                <a:cubicBezTo>
                  <a:pt x="7696410" y="6976961"/>
                  <a:pt x="7710371" y="6981736"/>
                  <a:pt x="7719678" y="6981736"/>
                </a:cubicBezTo>
                <a:cubicBezTo>
                  <a:pt x="7719678" y="7032670"/>
                  <a:pt x="7682449" y="7013570"/>
                  <a:pt x="7663834" y="7013570"/>
                </a:cubicBezTo>
                <a:cubicBezTo>
                  <a:pt x="7663834" y="6988103"/>
                  <a:pt x="7673142" y="6980144"/>
                  <a:pt x="7684776" y="6978552"/>
                </a:cubicBezTo>
                <a:close/>
                <a:moveTo>
                  <a:pt x="5959517" y="6947145"/>
                </a:moveTo>
                <a:cubicBezTo>
                  <a:pt x="5940168" y="6953593"/>
                  <a:pt x="5927276" y="6972937"/>
                  <a:pt x="5907925" y="6979385"/>
                </a:cubicBezTo>
                <a:cubicBezTo>
                  <a:pt x="5895026" y="6985833"/>
                  <a:pt x="5888582" y="6992281"/>
                  <a:pt x="5888582" y="7011624"/>
                </a:cubicBezTo>
                <a:cubicBezTo>
                  <a:pt x="5901477" y="6998729"/>
                  <a:pt x="5920820" y="6998729"/>
                  <a:pt x="5933720" y="6979385"/>
                </a:cubicBezTo>
                <a:cubicBezTo>
                  <a:pt x="5946619" y="6979385"/>
                  <a:pt x="5959517" y="6972937"/>
                  <a:pt x="5959517" y="6947145"/>
                </a:cubicBezTo>
                <a:close/>
                <a:moveTo>
                  <a:pt x="6863995" y="6945961"/>
                </a:moveTo>
                <a:cubicBezTo>
                  <a:pt x="6874213" y="6945596"/>
                  <a:pt x="6884521" y="6946509"/>
                  <a:pt x="6894929" y="6948945"/>
                </a:cubicBezTo>
                <a:cubicBezTo>
                  <a:pt x="6862904" y="7007401"/>
                  <a:pt x="6811664" y="7013896"/>
                  <a:pt x="6766828" y="7033381"/>
                </a:cubicBezTo>
                <a:cubicBezTo>
                  <a:pt x="6742809" y="7042312"/>
                  <a:pt x="6712185" y="7077426"/>
                  <a:pt x="6684864" y="7075244"/>
                </a:cubicBezTo>
                <a:lnTo>
                  <a:pt x="6671792" y="7070841"/>
                </a:lnTo>
                <a:lnTo>
                  <a:pt x="6661007" y="7084722"/>
                </a:lnTo>
                <a:cubicBezTo>
                  <a:pt x="6658761" y="7084722"/>
                  <a:pt x="6657265" y="7079906"/>
                  <a:pt x="6654271" y="7070274"/>
                </a:cubicBezTo>
                <a:cubicBezTo>
                  <a:pt x="6657265" y="7063852"/>
                  <a:pt x="6658762" y="7060641"/>
                  <a:pt x="6661007" y="7060641"/>
                </a:cubicBezTo>
                <a:lnTo>
                  <a:pt x="6663692" y="7062945"/>
                </a:lnTo>
                <a:lnTo>
                  <a:pt x="6659010" y="7058279"/>
                </a:lnTo>
                <a:cubicBezTo>
                  <a:pt x="6725329" y="7013760"/>
                  <a:pt x="6792466" y="6948522"/>
                  <a:pt x="6863995" y="6945961"/>
                </a:cubicBezTo>
                <a:close/>
                <a:moveTo>
                  <a:pt x="6951737" y="6919979"/>
                </a:moveTo>
                <a:cubicBezTo>
                  <a:pt x="6951737" y="6940454"/>
                  <a:pt x="6938087" y="6947279"/>
                  <a:pt x="6924437" y="6947279"/>
                </a:cubicBezTo>
                <a:cubicBezTo>
                  <a:pt x="6924437" y="6926804"/>
                  <a:pt x="6938087" y="6919979"/>
                  <a:pt x="6951737" y="6919979"/>
                </a:cubicBezTo>
                <a:close/>
                <a:moveTo>
                  <a:pt x="6999271" y="6891539"/>
                </a:moveTo>
                <a:cubicBezTo>
                  <a:pt x="6999271" y="6910803"/>
                  <a:pt x="6993284" y="6923645"/>
                  <a:pt x="6981309" y="6923645"/>
                </a:cubicBezTo>
                <a:cubicBezTo>
                  <a:pt x="6981309" y="6897960"/>
                  <a:pt x="6987296" y="6891539"/>
                  <a:pt x="6999271" y="6891539"/>
                </a:cubicBezTo>
                <a:close/>
                <a:moveTo>
                  <a:pt x="6056250" y="6889114"/>
                </a:moveTo>
                <a:cubicBezTo>
                  <a:pt x="6056250" y="6927802"/>
                  <a:pt x="6080969" y="6921354"/>
                  <a:pt x="6093865" y="6921354"/>
                </a:cubicBezTo>
                <a:cubicBezTo>
                  <a:pt x="6093865" y="6882666"/>
                  <a:pt x="6075588" y="6889114"/>
                  <a:pt x="6056250" y="6889114"/>
                </a:cubicBezTo>
                <a:close/>
                <a:moveTo>
                  <a:pt x="7913961" y="6858360"/>
                </a:moveTo>
                <a:cubicBezTo>
                  <a:pt x="7913961" y="6909960"/>
                  <a:pt x="7901017" y="6929310"/>
                  <a:pt x="7868655" y="6935760"/>
                </a:cubicBezTo>
                <a:cubicBezTo>
                  <a:pt x="7829821" y="6948660"/>
                  <a:pt x="7790988" y="6961560"/>
                  <a:pt x="7758626" y="6948660"/>
                </a:cubicBezTo>
                <a:cubicBezTo>
                  <a:pt x="7797460" y="6884160"/>
                  <a:pt x="7855711" y="6877710"/>
                  <a:pt x="7913961" y="6858360"/>
                </a:cubicBezTo>
                <a:close/>
                <a:moveTo>
                  <a:pt x="7040171" y="6855718"/>
                </a:moveTo>
                <a:cubicBezTo>
                  <a:pt x="7051805" y="6854086"/>
                  <a:pt x="7065766" y="6858981"/>
                  <a:pt x="7075073" y="6858981"/>
                </a:cubicBezTo>
                <a:cubicBezTo>
                  <a:pt x="7075073" y="6904670"/>
                  <a:pt x="7037844" y="6891616"/>
                  <a:pt x="7019229" y="6891616"/>
                </a:cubicBezTo>
                <a:cubicBezTo>
                  <a:pt x="7019229" y="6865508"/>
                  <a:pt x="7028536" y="6857349"/>
                  <a:pt x="7040171" y="6855718"/>
                </a:cubicBezTo>
                <a:close/>
                <a:moveTo>
                  <a:pt x="8302674" y="6855494"/>
                </a:moveTo>
                <a:cubicBezTo>
                  <a:pt x="8302674" y="6895175"/>
                  <a:pt x="8284228" y="6888561"/>
                  <a:pt x="8265782" y="6888561"/>
                </a:cubicBezTo>
                <a:cubicBezTo>
                  <a:pt x="8265782" y="6848880"/>
                  <a:pt x="8290377" y="6855494"/>
                  <a:pt x="8302674" y="6855494"/>
                </a:cubicBezTo>
                <a:close/>
                <a:moveTo>
                  <a:pt x="7151945" y="6792002"/>
                </a:moveTo>
                <a:cubicBezTo>
                  <a:pt x="7158770" y="6805274"/>
                  <a:pt x="7172420" y="6811910"/>
                  <a:pt x="7179245" y="6825181"/>
                </a:cubicBezTo>
                <a:cubicBezTo>
                  <a:pt x="7172420" y="6831817"/>
                  <a:pt x="7158770" y="6837347"/>
                  <a:pt x="7151945" y="6857254"/>
                </a:cubicBezTo>
                <a:cubicBezTo>
                  <a:pt x="7151945" y="6831817"/>
                  <a:pt x="7151945" y="6811910"/>
                  <a:pt x="7151945" y="6792002"/>
                </a:cubicBezTo>
                <a:close/>
                <a:moveTo>
                  <a:pt x="7321499" y="6749346"/>
                </a:moveTo>
                <a:cubicBezTo>
                  <a:pt x="7290409" y="6775836"/>
                  <a:pt x="7258247" y="6802326"/>
                  <a:pt x="7232518" y="6828816"/>
                </a:cubicBezTo>
                <a:cubicBezTo>
                  <a:pt x="7232518" y="6808948"/>
                  <a:pt x="7232518" y="6789081"/>
                  <a:pt x="7232518" y="6762591"/>
                </a:cubicBezTo>
                <a:cubicBezTo>
                  <a:pt x="7258247" y="6755969"/>
                  <a:pt x="7290409" y="6755969"/>
                  <a:pt x="7321499" y="6749346"/>
                </a:cubicBezTo>
                <a:close/>
                <a:moveTo>
                  <a:pt x="6793031" y="6735439"/>
                </a:moveTo>
                <a:cubicBezTo>
                  <a:pt x="6793031" y="6754782"/>
                  <a:pt x="6799479" y="6761230"/>
                  <a:pt x="6812376" y="6761230"/>
                </a:cubicBezTo>
                <a:cubicBezTo>
                  <a:pt x="6812376" y="6741887"/>
                  <a:pt x="6805928" y="6735439"/>
                  <a:pt x="6793031" y="6735439"/>
                </a:cubicBezTo>
                <a:close/>
                <a:moveTo>
                  <a:pt x="8137805" y="6735125"/>
                </a:moveTo>
                <a:cubicBezTo>
                  <a:pt x="8151127" y="6735125"/>
                  <a:pt x="8162400" y="6735125"/>
                  <a:pt x="8174697" y="6735125"/>
                </a:cubicBezTo>
                <a:cubicBezTo>
                  <a:pt x="8174697" y="6753740"/>
                  <a:pt x="8174697" y="6772354"/>
                  <a:pt x="8174697" y="6790969"/>
                </a:cubicBezTo>
                <a:cubicBezTo>
                  <a:pt x="8162400" y="6790969"/>
                  <a:pt x="8151127" y="6790969"/>
                  <a:pt x="8137805" y="6790969"/>
                </a:cubicBezTo>
                <a:cubicBezTo>
                  <a:pt x="8137805" y="6772354"/>
                  <a:pt x="8137805" y="6753740"/>
                  <a:pt x="8137805" y="6735125"/>
                </a:cubicBezTo>
                <a:close/>
                <a:moveTo>
                  <a:pt x="7184054" y="6703356"/>
                </a:moveTo>
                <a:cubicBezTo>
                  <a:pt x="7184054" y="6734099"/>
                  <a:pt x="7164788" y="6734099"/>
                  <a:pt x="7151945" y="6734099"/>
                </a:cubicBezTo>
                <a:cubicBezTo>
                  <a:pt x="7151945" y="6697207"/>
                  <a:pt x="7171210" y="6703356"/>
                  <a:pt x="7184054" y="6703356"/>
                </a:cubicBezTo>
                <a:close/>
                <a:moveTo>
                  <a:pt x="6831721" y="6703199"/>
                </a:moveTo>
                <a:cubicBezTo>
                  <a:pt x="6831721" y="6735439"/>
                  <a:pt x="6851066" y="6735439"/>
                  <a:pt x="6870411" y="6735439"/>
                </a:cubicBezTo>
                <a:cubicBezTo>
                  <a:pt x="6870411" y="6696751"/>
                  <a:pt x="6844618" y="6703199"/>
                  <a:pt x="6831721" y="6703199"/>
                </a:cubicBezTo>
                <a:close/>
                <a:moveTo>
                  <a:pt x="6434573" y="6703199"/>
                </a:moveTo>
                <a:cubicBezTo>
                  <a:pt x="6434573" y="6735439"/>
                  <a:pt x="6453917" y="6735439"/>
                  <a:pt x="6473264" y="6735439"/>
                </a:cubicBezTo>
                <a:cubicBezTo>
                  <a:pt x="6473264" y="6696751"/>
                  <a:pt x="6453917" y="6703199"/>
                  <a:pt x="6434573" y="6703199"/>
                </a:cubicBezTo>
                <a:close/>
                <a:moveTo>
                  <a:pt x="8265779" y="6701949"/>
                </a:moveTo>
                <a:cubicBezTo>
                  <a:pt x="8277754" y="6701949"/>
                  <a:pt x="8283741" y="6708370"/>
                  <a:pt x="8283741" y="6734055"/>
                </a:cubicBezTo>
                <a:cubicBezTo>
                  <a:pt x="8271766" y="6734055"/>
                  <a:pt x="8265779" y="6721213"/>
                  <a:pt x="8265779" y="6701949"/>
                </a:cubicBezTo>
                <a:close/>
                <a:moveTo>
                  <a:pt x="7378379" y="6701949"/>
                </a:moveTo>
                <a:cubicBezTo>
                  <a:pt x="7371958" y="6720564"/>
                  <a:pt x="7365536" y="6739178"/>
                  <a:pt x="7359115" y="6757793"/>
                </a:cubicBezTo>
                <a:cubicBezTo>
                  <a:pt x="7352694" y="6745383"/>
                  <a:pt x="7346273" y="6732974"/>
                  <a:pt x="7346273" y="6720564"/>
                </a:cubicBezTo>
                <a:cubicBezTo>
                  <a:pt x="7352694" y="6714359"/>
                  <a:pt x="7365536" y="6708154"/>
                  <a:pt x="7378379" y="6701949"/>
                </a:cubicBezTo>
                <a:close/>
                <a:moveTo>
                  <a:pt x="8227862" y="6673512"/>
                </a:moveTo>
                <a:cubicBezTo>
                  <a:pt x="8233849" y="6673512"/>
                  <a:pt x="8239837" y="6673512"/>
                  <a:pt x="8245824" y="6673512"/>
                </a:cubicBezTo>
                <a:cubicBezTo>
                  <a:pt x="8245824" y="6693093"/>
                  <a:pt x="8245824" y="6712674"/>
                  <a:pt x="8245824" y="6738782"/>
                </a:cubicBezTo>
                <a:cubicBezTo>
                  <a:pt x="8239837" y="6738782"/>
                  <a:pt x="8233849" y="6738782"/>
                  <a:pt x="8227862" y="6738782"/>
                </a:cubicBezTo>
                <a:cubicBezTo>
                  <a:pt x="8227862" y="6712674"/>
                  <a:pt x="8227862" y="6693093"/>
                  <a:pt x="8227862" y="6673512"/>
                </a:cubicBezTo>
                <a:close/>
                <a:moveTo>
                  <a:pt x="7417366" y="6673512"/>
                </a:moveTo>
                <a:cubicBezTo>
                  <a:pt x="7429341" y="6673512"/>
                  <a:pt x="7435328" y="6679933"/>
                  <a:pt x="7435328" y="6705618"/>
                </a:cubicBezTo>
                <a:cubicBezTo>
                  <a:pt x="7423353" y="6705618"/>
                  <a:pt x="7417366" y="6692776"/>
                  <a:pt x="7417366" y="6673512"/>
                </a:cubicBezTo>
                <a:close/>
                <a:moveTo>
                  <a:pt x="6901578" y="6670960"/>
                </a:moveTo>
                <a:cubicBezTo>
                  <a:pt x="6901578" y="6690303"/>
                  <a:pt x="6908026" y="6703199"/>
                  <a:pt x="6920924" y="6703199"/>
                </a:cubicBezTo>
                <a:cubicBezTo>
                  <a:pt x="6920924" y="6677408"/>
                  <a:pt x="6914475" y="6670960"/>
                  <a:pt x="6901578" y="6670960"/>
                </a:cubicBezTo>
                <a:close/>
                <a:moveTo>
                  <a:pt x="6530226" y="6670960"/>
                </a:moveTo>
                <a:cubicBezTo>
                  <a:pt x="6530226" y="6703199"/>
                  <a:pt x="6549574" y="6703199"/>
                  <a:pt x="6562471" y="6703199"/>
                </a:cubicBezTo>
                <a:cubicBezTo>
                  <a:pt x="6562471" y="6664512"/>
                  <a:pt x="6543126" y="6670960"/>
                  <a:pt x="6530226" y="6670960"/>
                </a:cubicBezTo>
                <a:close/>
                <a:moveTo>
                  <a:pt x="7473745" y="6664909"/>
                </a:moveTo>
                <a:cubicBezTo>
                  <a:pt x="7476739" y="6665712"/>
                  <a:pt x="7479733" y="6668923"/>
                  <a:pt x="7482726" y="6672134"/>
                </a:cubicBezTo>
                <a:cubicBezTo>
                  <a:pt x="7482726" y="6672134"/>
                  <a:pt x="7476739" y="6678555"/>
                  <a:pt x="7476739" y="6691399"/>
                </a:cubicBezTo>
                <a:cubicBezTo>
                  <a:pt x="7470751" y="6684977"/>
                  <a:pt x="7470751" y="6678555"/>
                  <a:pt x="7464764" y="6672134"/>
                </a:cubicBezTo>
                <a:cubicBezTo>
                  <a:pt x="7467758" y="6665712"/>
                  <a:pt x="7470752" y="6664106"/>
                  <a:pt x="7473745" y="6664909"/>
                </a:cubicBezTo>
                <a:close/>
                <a:moveTo>
                  <a:pt x="7492690" y="6650186"/>
                </a:moveTo>
                <a:cubicBezTo>
                  <a:pt x="7498839" y="6649495"/>
                  <a:pt x="7504988" y="6651153"/>
                  <a:pt x="7511136" y="6657236"/>
                </a:cubicBezTo>
                <a:cubicBezTo>
                  <a:pt x="7498839" y="6657236"/>
                  <a:pt x="7480393" y="6677141"/>
                  <a:pt x="7474244" y="6657236"/>
                </a:cubicBezTo>
                <a:cubicBezTo>
                  <a:pt x="7480393" y="6653918"/>
                  <a:pt x="7486542" y="6650877"/>
                  <a:pt x="7492690" y="6650186"/>
                </a:cubicBezTo>
                <a:close/>
                <a:moveTo>
                  <a:pt x="6959614" y="6638720"/>
                </a:moveTo>
                <a:cubicBezTo>
                  <a:pt x="6959614" y="6677408"/>
                  <a:pt x="6985407" y="6670960"/>
                  <a:pt x="6998304" y="6670960"/>
                </a:cubicBezTo>
                <a:cubicBezTo>
                  <a:pt x="6998304" y="6632272"/>
                  <a:pt x="6972510" y="6638720"/>
                  <a:pt x="6959614" y="6638720"/>
                </a:cubicBezTo>
                <a:close/>
                <a:moveTo>
                  <a:pt x="7507300" y="6626078"/>
                </a:moveTo>
                <a:lnTo>
                  <a:pt x="7504216" y="6634870"/>
                </a:lnTo>
                <a:cubicBezTo>
                  <a:pt x="7503311" y="6637449"/>
                  <a:pt x="7502681" y="6639244"/>
                  <a:pt x="7502681" y="6639244"/>
                </a:cubicBezTo>
                <a:close/>
                <a:moveTo>
                  <a:pt x="7507470" y="6625594"/>
                </a:moveTo>
                <a:lnTo>
                  <a:pt x="7507300" y="6626078"/>
                </a:lnTo>
                <a:lnTo>
                  <a:pt x="7507403" y="6625784"/>
                </a:lnTo>
                <a:close/>
                <a:moveTo>
                  <a:pt x="7509878" y="6618728"/>
                </a:moveTo>
                <a:lnTo>
                  <a:pt x="7507470" y="6625594"/>
                </a:lnTo>
                <a:lnTo>
                  <a:pt x="7507823" y="6624587"/>
                </a:lnTo>
                <a:close/>
                <a:moveTo>
                  <a:pt x="7510236" y="6617708"/>
                </a:moveTo>
                <a:lnTo>
                  <a:pt x="7509878" y="6618728"/>
                </a:lnTo>
                <a:lnTo>
                  <a:pt x="7510118" y="6618044"/>
                </a:lnTo>
                <a:cubicBezTo>
                  <a:pt x="7510708" y="6616362"/>
                  <a:pt x="7510866" y="6615913"/>
                  <a:pt x="7510236" y="6617708"/>
                </a:cubicBezTo>
                <a:close/>
                <a:moveTo>
                  <a:pt x="7601148" y="6592935"/>
                </a:moveTo>
                <a:cubicBezTo>
                  <a:pt x="7581850" y="6626790"/>
                  <a:pt x="7549687" y="6632433"/>
                  <a:pt x="7517524" y="6639204"/>
                </a:cubicBezTo>
                <a:cubicBezTo>
                  <a:pt x="7517524" y="6632433"/>
                  <a:pt x="7512164" y="6626790"/>
                  <a:pt x="7512164" y="6626790"/>
                </a:cubicBezTo>
                <a:cubicBezTo>
                  <a:pt x="7543255" y="6613248"/>
                  <a:pt x="7568985" y="6599706"/>
                  <a:pt x="7601148" y="6592935"/>
                </a:cubicBezTo>
                <a:close/>
                <a:moveTo>
                  <a:pt x="6171250" y="6517284"/>
                </a:moveTo>
                <a:cubicBezTo>
                  <a:pt x="6171250" y="6555972"/>
                  <a:pt x="6190596" y="6549524"/>
                  <a:pt x="6209943" y="6549524"/>
                </a:cubicBezTo>
                <a:cubicBezTo>
                  <a:pt x="6209943" y="6510836"/>
                  <a:pt x="6184149" y="6517284"/>
                  <a:pt x="6171250" y="6517284"/>
                </a:cubicBezTo>
                <a:close/>
                <a:moveTo>
                  <a:pt x="7718890" y="6517098"/>
                </a:moveTo>
                <a:cubicBezTo>
                  <a:pt x="7718890" y="6548851"/>
                  <a:pt x="7738578" y="6612356"/>
                  <a:pt x="7705765" y="6618706"/>
                </a:cubicBezTo>
                <a:cubicBezTo>
                  <a:pt x="7679514" y="6625057"/>
                  <a:pt x="7659826" y="6606005"/>
                  <a:pt x="7640138" y="6606005"/>
                </a:cubicBezTo>
                <a:cubicBezTo>
                  <a:pt x="7659826" y="6567902"/>
                  <a:pt x="7686077" y="6536150"/>
                  <a:pt x="7718890" y="6517098"/>
                </a:cubicBezTo>
                <a:close/>
                <a:moveTo>
                  <a:pt x="7804924" y="6512359"/>
                </a:moveTo>
                <a:cubicBezTo>
                  <a:pt x="7791697" y="6524657"/>
                  <a:pt x="7771856" y="6536954"/>
                  <a:pt x="7758629" y="6549251"/>
                </a:cubicBezTo>
                <a:cubicBezTo>
                  <a:pt x="7771856" y="6512359"/>
                  <a:pt x="7771856" y="6512359"/>
                  <a:pt x="7804924" y="6512359"/>
                </a:cubicBezTo>
                <a:close/>
                <a:moveTo>
                  <a:pt x="8643876" y="6498140"/>
                </a:moveTo>
                <a:cubicBezTo>
                  <a:pt x="8624375" y="6530457"/>
                  <a:pt x="8624375" y="6530457"/>
                  <a:pt x="8417452" y="6639255"/>
                </a:cubicBezTo>
                <a:cubicBezTo>
                  <a:pt x="8449953" y="6530457"/>
                  <a:pt x="8578874" y="6523993"/>
                  <a:pt x="8643876" y="6498140"/>
                </a:cubicBezTo>
                <a:close/>
                <a:moveTo>
                  <a:pt x="6998304" y="6497941"/>
                </a:moveTo>
                <a:cubicBezTo>
                  <a:pt x="6857514" y="6497941"/>
                  <a:pt x="6799479" y="6523732"/>
                  <a:pt x="6678035" y="6638720"/>
                </a:cubicBezTo>
                <a:cubicBezTo>
                  <a:pt x="6786582" y="6594659"/>
                  <a:pt x="6896204" y="6543076"/>
                  <a:pt x="6998304" y="6497941"/>
                </a:cubicBezTo>
                <a:close/>
                <a:moveTo>
                  <a:pt x="6434573" y="6485045"/>
                </a:moveTo>
                <a:cubicBezTo>
                  <a:pt x="6434573" y="6523732"/>
                  <a:pt x="6453917" y="6517284"/>
                  <a:pt x="6473264" y="6517284"/>
                </a:cubicBezTo>
                <a:cubicBezTo>
                  <a:pt x="6473264" y="6485045"/>
                  <a:pt x="6453917" y="6485045"/>
                  <a:pt x="6434573" y="6485045"/>
                </a:cubicBezTo>
                <a:close/>
                <a:moveTo>
                  <a:pt x="7834466" y="6461630"/>
                </a:moveTo>
                <a:cubicBezTo>
                  <a:pt x="7847309" y="6461630"/>
                  <a:pt x="7866575" y="6455481"/>
                  <a:pt x="7866575" y="6486225"/>
                </a:cubicBezTo>
                <a:cubicBezTo>
                  <a:pt x="7853731" y="6486225"/>
                  <a:pt x="7834466" y="6492373"/>
                  <a:pt x="7834466" y="6461630"/>
                </a:cubicBezTo>
                <a:close/>
                <a:moveTo>
                  <a:pt x="6527810" y="6455626"/>
                </a:moveTo>
                <a:cubicBezTo>
                  <a:pt x="6515719" y="6454686"/>
                  <a:pt x="6501208" y="6459253"/>
                  <a:pt x="6491536" y="6459253"/>
                </a:cubicBezTo>
                <a:cubicBezTo>
                  <a:pt x="6491536" y="6504388"/>
                  <a:pt x="6530226" y="6485045"/>
                  <a:pt x="6549574" y="6485045"/>
                </a:cubicBezTo>
                <a:cubicBezTo>
                  <a:pt x="6549574" y="6463014"/>
                  <a:pt x="6539900" y="6456566"/>
                  <a:pt x="6527810" y="6455626"/>
                </a:cubicBezTo>
                <a:close/>
                <a:moveTo>
                  <a:pt x="8689650" y="6452844"/>
                </a:moveTo>
                <a:lnTo>
                  <a:pt x="8689155" y="6454383"/>
                </a:lnTo>
                <a:cubicBezTo>
                  <a:pt x="8688247" y="6457204"/>
                  <a:pt x="8687615" y="6459167"/>
                  <a:pt x="8687615" y="6459167"/>
                </a:cubicBezTo>
                <a:close/>
                <a:moveTo>
                  <a:pt x="8694544" y="6437633"/>
                </a:moveTo>
                <a:lnTo>
                  <a:pt x="8692773" y="6443139"/>
                </a:lnTo>
                <a:lnTo>
                  <a:pt x="8689650" y="6452844"/>
                </a:lnTo>
                <a:lnTo>
                  <a:pt x="8692351" y="6444447"/>
                </a:lnTo>
                <a:close/>
                <a:moveTo>
                  <a:pt x="8695193" y="6435616"/>
                </a:moveTo>
                <a:cubicBezTo>
                  <a:pt x="8695825" y="6433653"/>
                  <a:pt x="8695667" y="6434144"/>
                  <a:pt x="8695075" y="6435984"/>
                </a:cubicBezTo>
                <a:lnTo>
                  <a:pt x="8694544" y="6437633"/>
                </a:lnTo>
                <a:close/>
                <a:moveTo>
                  <a:pt x="8738701" y="6427044"/>
                </a:moveTo>
                <a:cubicBezTo>
                  <a:pt x="8738701" y="6452729"/>
                  <a:pt x="8720796" y="6459150"/>
                  <a:pt x="8708156" y="6459150"/>
                </a:cubicBezTo>
                <a:cubicBezTo>
                  <a:pt x="8708156" y="6452729"/>
                  <a:pt x="8708156" y="6446308"/>
                  <a:pt x="8701837" y="6440957"/>
                </a:cubicBezTo>
                <a:cubicBezTo>
                  <a:pt x="8714476" y="6433465"/>
                  <a:pt x="8727115" y="6427044"/>
                  <a:pt x="8738701" y="6427044"/>
                </a:cubicBezTo>
                <a:close/>
                <a:moveTo>
                  <a:pt x="6562471" y="6427013"/>
                </a:moveTo>
                <a:cubicBezTo>
                  <a:pt x="6562471" y="6446357"/>
                  <a:pt x="6568921" y="6459253"/>
                  <a:pt x="6581817" y="6459253"/>
                </a:cubicBezTo>
                <a:cubicBezTo>
                  <a:pt x="6581817" y="6433461"/>
                  <a:pt x="6575367" y="6427013"/>
                  <a:pt x="6562471" y="6427013"/>
                </a:cubicBezTo>
                <a:close/>
                <a:moveTo>
                  <a:pt x="8829238" y="6396940"/>
                </a:moveTo>
                <a:cubicBezTo>
                  <a:pt x="8836461" y="6394542"/>
                  <a:pt x="8844488" y="6401313"/>
                  <a:pt x="8847698" y="6418240"/>
                </a:cubicBezTo>
                <a:cubicBezTo>
                  <a:pt x="8834855" y="6418240"/>
                  <a:pt x="8828434" y="6425011"/>
                  <a:pt x="8815592" y="6430654"/>
                </a:cubicBezTo>
                <a:cubicBezTo>
                  <a:pt x="8815592" y="6410905"/>
                  <a:pt x="8822014" y="6399338"/>
                  <a:pt x="8829238" y="6396940"/>
                </a:cubicBezTo>
                <a:close/>
                <a:moveTo>
                  <a:pt x="6620000" y="6395849"/>
                </a:moveTo>
                <a:cubicBezTo>
                  <a:pt x="6620000" y="6415192"/>
                  <a:pt x="6626448" y="6427013"/>
                  <a:pt x="6639344" y="6427013"/>
                </a:cubicBezTo>
                <a:cubicBezTo>
                  <a:pt x="6639344" y="6402296"/>
                  <a:pt x="6632896" y="6395849"/>
                  <a:pt x="6620000" y="6395849"/>
                </a:cubicBezTo>
                <a:close/>
                <a:moveTo>
                  <a:pt x="7943480" y="6393865"/>
                </a:moveTo>
                <a:cubicBezTo>
                  <a:pt x="7955645" y="6400501"/>
                  <a:pt x="7962280" y="6413773"/>
                  <a:pt x="7975550" y="6420408"/>
                </a:cubicBezTo>
                <a:cubicBezTo>
                  <a:pt x="7962280" y="6425938"/>
                  <a:pt x="7955645" y="6445846"/>
                  <a:pt x="7943480" y="6459117"/>
                </a:cubicBezTo>
                <a:cubicBezTo>
                  <a:pt x="7943480" y="6432574"/>
                  <a:pt x="7943480" y="6413773"/>
                  <a:pt x="7943480" y="6393865"/>
                </a:cubicBezTo>
                <a:close/>
                <a:moveTo>
                  <a:pt x="8879017" y="6369515"/>
                </a:moveTo>
                <a:cubicBezTo>
                  <a:pt x="8889100" y="6367121"/>
                  <a:pt x="8898407" y="6368717"/>
                  <a:pt x="8904612" y="6381486"/>
                </a:cubicBezTo>
                <a:cubicBezTo>
                  <a:pt x="8890651" y="6381486"/>
                  <a:pt x="8876690" y="6395851"/>
                  <a:pt x="8862729" y="6392259"/>
                </a:cubicBezTo>
                <a:lnTo>
                  <a:pt x="8853277" y="6384965"/>
                </a:lnTo>
                <a:lnTo>
                  <a:pt x="8853053" y="6391814"/>
                </a:lnTo>
                <a:cubicBezTo>
                  <a:pt x="8852233" y="6399500"/>
                  <a:pt x="8850592" y="6408723"/>
                  <a:pt x="8850592" y="6411797"/>
                </a:cubicBezTo>
                <a:cubicBezTo>
                  <a:pt x="8850592" y="6399500"/>
                  <a:pt x="8850592" y="6399500"/>
                  <a:pt x="8844029" y="6393351"/>
                </a:cubicBezTo>
                <a:cubicBezTo>
                  <a:pt x="8844029" y="6390277"/>
                  <a:pt x="8845670" y="6387203"/>
                  <a:pt x="8847311" y="6384897"/>
                </a:cubicBezTo>
                <a:lnTo>
                  <a:pt x="8849645" y="6382163"/>
                </a:lnTo>
                <a:lnTo>
                  <a:pt x="8848768" y="6381486"/>
                </a:lnTo>
                <a:cubicBezTo>
                  <a:pt x="8858076" y="6378293"/>
                  <a:pt x="8868934" y="6371909"/>
                  <a:pt x="8879017" y="6369515"/>
                </a:cubicBezTo>
                <a:close/>
                <a:moveTo>
                  <a:pt x="8056234" y="6365428"/>
                </a:moveTo>
                <a:cubicBezTo>
                  <a:pt x="8056234" y="6391115"/>
                  <a:pt x="8050247" y="6397537"/>
                  <a:pt x="8038272" y="6397537"/>
                </a:cubicBezTo>
                <a:cubicBezTo>
                  <a:pt x="8038272" y="6371850"/>
                  <a:pt x="8044259" y="6365428"/>
                  <a:pt x="8056234" y="6365428"/>
                </a:cubicBezTo>
                <a:close/>
                <a:moveTo>
                  <a:pt x="622265" y="6344265"/>
                </a:moveTo>
                <a:cubicBezTo>
                  <a:pt x="596471" y="6389401"/>
                  <a:pt x="673850" y="6452805"/>
                  <a:pt x="686749" y="6472149"/>
                </a:cubicBezTo>
                <a:cubicBezTo>
                  <a:pt x="699644" y="6459253"/>
                  <a:pt x="718991" y="6446357"/>
                  <a:pt x="737259" y="6440984"/>
                </a:cubicBezTo>
                <a:cubicBezTo>
                  <a:pt x="699644" y="6408744"/>
                  <a:pt x="654505" y="6395849"/>
                  <a:pt x="622265" y="6344265"/>
                </a:cubicBezTo>
                <a:close/>
                <a:moveTo>
                  <a:pt x="8999387" y="6313289"/>
                </a:moveTo>
                <a:cubicBezTo>
                  <a:pt x="8968842" y="6332441"/>
                  <a:pt x="8942510" y="6351593"/>
                  <a:pt x="8918284" y="6364361"/>
                </a:cubicBezTo>
                <a:lnTo>
                  <a:pt x="8907470" y="6347975"/>
                </a:lnTo>
                <a:lnTo>
                  <a:pt x="8907470" y="6383360"/>
                </a:lnTo>
                <a:cubicBezTo>
                  <a:pt x="8907470" y="6377212"/>
                  <a:pt x="8900907" y="6371063"/>
                  <a:pt x="8900907" y="6364914"/>
                </a:cubicBezTo>
                <a:lnTo>
                  <a:pt x="8907122" y="6347447"/>
                </a:lnTo>
                <a:lnTo>
                  <a:pt x="8905645" y="6345209"/>
                </a:lnTo>
                <a:cubicBezTo>
                  <a:pt x="8937243" y="6326057"/>
                  <a:pt x="8968842" y="6313289"/>
                  <a:pt x="8999387" y="6313289"/>
                </a:cubicBezTo>
                <a:close/>
                <a:moveTo>
                  <a:pt x="7415298" y="6299130"/>
                </a:moveTo>
                <a:cubicBezTo>
                  <a:pt x="7395953" y="6312026"/>
                  <a:pt x="7376608" y="6331369"/>
                  <a:pt x="7357262" y="6344265"/>
                </a:cubicBezTo>
                <a:cubicBezTo>
                  <a:pt x="7376608" y="6344265"/>
                  <a:pt x="7395953" y="6337817"/>
                  <a:pt x="7415298" y="6331369"/>
                </a:cubicBezTo>
                <a:cubicBezTo>
                  <a:pt x="7415298" y="6324921"/>
                  <a:pt x="7415298" y="6312026"/>
                  <a:pt x="7415298" y="6299130"/>
                </a:cubicBezTo>
                <a:close/>
                <a:moveTo>
                  <a:pt x="564229" y="6299130"/>
                </a:moveTo>
                <a:cubicBezTo>
                  <a:pt x="564229" y="6324921"/>
                  <a:pt x="570677" y="6331369"/>
                  <a:pt x="583570" y="6331369"/>
                </a:cubicBezTo>
                <a:cubicBezTo>
                  <a:pt x="583570" y="6312026"/>
                  <a:pt x="577123" y="6299130"/>
                  <a:pt x="564229" y="6299130"/>
                </a:cubicBezTo>
                <a:close/>
                <a:moveTo>
                  <a:pt x="6879379" y="6282003"/>
                </a:moveTo>
                <a:cubicBezTo>
                  <a:pt x="6839177" y="6283816"/>
                  <a:pt x="6757565" y="6334593"/>
                  <a:pt x="6747892" y="6363609"/>
                </a:cubicBezTo>
                <a:cubicBezTo>
                  <a:pt x="6728547" y="6363609"/>
                  <a:pt x="6715650" y="6363609"/>
                  <a:pt x="6696306" y="6363609"/>
                </a:cubicBezTo>
                <a:cubicBezTo>
                  <a:pt x="6696306" y="6421640"/>
                  <a:pt x="6754340" y="6376505"/>
                  <a:pt x="6767238" y="6363609"/>
                </a:cubicBezTo>
                <a:cubicBezTo>
                  <a:pt x="6805928" y="6331369"/>
                  <a:pt x="6857514" y="6299130"/>
                  <a:pt x="6901578" y="6299130"/>
                </a:cubicBezTo>
                <a:cubicBezTo>
                  <a:pt x="6901578" y="6286234"/>
                  <a:pt x="6892779" y="6281398"/>
                  <a:pt x="6879379" y="6282003"/>
                </a:cubicBezTo>
                <a:close/>
                <a:moveTo>
                  <a:pt x="8154840" y="6281133"/>
                </a:moveTo>
                <a:cubicBezTo>
                  <a:pt x="8159333" y="6280140"/>
                  <a:pt x="8163875" y="6280140"/>
                  <a:pt x="8168351" y="6281729"/>
                </a:cubicBezTo>
                <a:cubicBezTo>
                  <a:pt x="8187310" y="6288086"/>
                  <a:pt x="8187310" y="6319869"/>
                  <a:pt x="8193630" y="6332582"/>
                </a:cubicBezTo>
                <a:cubicBezTo>
                  <a:pt x="8168351" y="6332582"/>
                  <a:pt x="8150446" y="6338939"/>
                  <a:pt x="8136753" y="6364366"/>
                </a:cubicBezTo>
                <a:cubicBezTo>
                  <a:pt x="8131487" y="6345296"/>
                  <a:pt x="8125168" y="6326226"/>
                  <a:pt x="8118848" y="6300799"/>
                </a:cubicBezTo>
                <a:cubicBezTo>
                  <a:pt x="8128328" y="6296031"/>
                  <a:pt x="8141362" y="6284113"/>
                  <a:pt x="8154840" y="6281133"/>
                </a:cubicBezTo>
                <a:close/>
                <a:moveTo>
                  <a:pt x="7504366" y="6265278"/>
                </a:moveTo>
                <a:cubicBezTo>
                  <a:pt x="7492410" y="6266890"/>
                  <a:pt x="7476558" y="6273338"/>
                  <a:pt x="7473333" y="6273338"/>
                </a:cubicBezTo>
                <a:cubicBezTo>
                  <a:pt x="7473333" y="6312026"/>
                  <a:pt x="7499126" y="6292682"/>
                  <a:pt x="7512024" y="6286234"/>
                </a:cubicBezTo>
                <a:cubicBezTo>
                  <a:pt x="7524383" y="6266890"/>
                  <a:pt x="7516323" y="6263666"/>
                  <a:pt x="7504366" y="6265278"/>
                </a:cubicBezTo>
                <a:close/>
                <a:moveTo>
                  <a:pt x="9126779" y="6248991"/>
                </a:moveTo>
                <a:cubicBezTo>
                  <a:pt x="9130334" y="6249040"/>
                  <a:pt x="9133792" y="6250883"/>
                  <a:pt x="9136866" y="6255359"/>
                </a:cubicBezTo>
                <a:cubicBezTo>
                  <a:pt x="9124569" y="6261679"/>
                  <a:pt x="9112271" y="6267998"/>
                  <a:pt x="9099974" y="6274318"/>
                </a:cubicBezTo>
                <a:cubicBezTo>
                  <a:pt x="9104586" y="6264839"/>
                  <a:pt x="9116115" y="6248843"/>
                  <a:pt x="9126779" y="6248991"/>
                </a:cubicBezTo>
                <a:close/>
                <a:moveTo>
                  <a:pt x="6715650" y="6241099"/>
                </a:moveTo>
                <a:cubicBezTo>
                  <a:pt x="6715650" y="6260442"/>
                  <a:pt x="6722098" y="6273338"/>
                  <a:pt x="6734996" y="6273338"/>
                </a:cubicBezTo>
                <a:cubicBezTo>
                  <a:pt x="6734996" y="6253994"/>
                  <a:pt x="6728547" y="6241099"/>
                  <a:pt x="6715650" y="6241099"/>
                </a:cubicBezTo>
                <a:close/>
                <a:moveTo>
                  <a:pt x="9126317" y="6233591"/>
                </a:moveTo>
                <a:lnTo>
                  <a:pt x="9125212" y="6236733"/>
                </a:lnTo>
                <a:cubicBezTo>
                  <a:pt x="9124304" y="6239313"/>
                  <a:pt x="9123672" y="6241107"/>
                  <a:pt x="9123672" y="6241107"/>
                </a:cubicBezTo>
                <a:close/>
                <a:moveTo>
                  <a:pt x="9130440" y="6221873"/>
                </a:moveTo>
                <a:lnTo>
                  <a:pt x="9128830" y="6226450"/>
                </a:lnTo>
                <a:lnTo>
                  <a:pt x="9126317" y="6233591"/>
                </a:lnTo>
                <a:lnTo>
                  <a:pt x="9128408" y="6227647"/>
                </a:lnTo>
                <a:close/>
                <a:moveTo>
                  <a:pt x="9131250" y="6219571"/>
                </a:moveTo>
                <a:cubicBezTo>
                  <a:pt x="9131882" y="6217776"/>
                  <a:pt x="9131724" y="6218225"/>
                  <a:pt x="9131132" y="6219907"/>
                </a:cubicBezTo>
                <a:lnTo>
                  <a:pt x="9130440" y="6221873"/>
                </a:lnTo>
                <a:close/>
                <a:moveTo>
                  <a:pt x="7581880" y="6209934"/>
                </a:moveTo>
                <a:cubicBezTo>
                  <a:pt x="7581880" y="6229277"/>
                  <a:pt x="7588329" y="6241099"/>
                  <a:pt x="7601226" y="6241099"/>
                </a:cubicBezTo>
                <a:cubicBezTo>
                  <a:pt x="7601226" y="6221755"/>
                  <a:pt x="7594778" y="6209934"/>
                  <a:pt x="7581880" y="6209934"/>
                </a:cubicBezTo>
                <a:close/>
                <a:moveTo>
                  <a:pt x="9226875" y="6209017"/>
                </a:moveTo>
                <a:cubicBezTo>
                  <a:pt x="9226875" y="6228925"/>
                  <a:pt x="9226875" y="6254362"/>
                  <a:pt x="9226875" y="6274269"/>
                </a:cubicBezTo>
                <a:cubicBezTo>
                  <a:pt x="9201146" y="6260998"/>
                  <a:pt x="9168984" y="6247726"/>
                  <a:pt x="9144326" y="6241090"/>
                </a:cubicBezTo>
                <a:cubicBezTo>
                  <a:pt x="9137894" y="6235560"/>
                  <a:pt x="9137894" y="6235560"/>
                  <a:pt x="9137894" y="6228925"/>
                </a:cubicBezTo>
                <a:cubicBezTo>
                  <a:pt x="9162551" y="6215653"/>
                  <a:pt x="9194713" y="6215653"/>
                  <a:pt x="9226875" y="6209017"/>
                </a:cubicBezTo>
                <a:close/>
                <a:moveTo>
                  <a:pt x="8340564" y="6209017"/>
                </a:moveTo>
                <a:cubicBezTo>
                  <a:pt x="8340564" y="6228923"/>
                  <a:pt x="8335297" y="6241087"/>
                  <a:pt x="8322657" y="6241087"/>
                </a:cubicBezTo>
                <a:cubicBezTo>
                  <a:pt x="8322657" y="6221182"/>
                  <a:pt x="8327924" y="6209017"/>
                  <a:pt x="8340564" y="6209017"/>
                </a:cubicBezTo>
                <a:close/>
                <a:moveTo>
                  <a:pt x="6920924" y="6164798"/>
                </a:moveTo>
                <a:cubicBezTo>
                  <a:pt x="6831721" y="6197038"/>
                  <a:pt x="6831721" y="6197038"/>
                  <a:pt x="6793031" y="6241099"/>
                </a:cubicBezTo>
                <a:cubicBezTo>
                  <a:pt x="6831721" y="6216382"/>
                  <a:pt x="6876860" y="6184142"/>
                  <a:pt x="6920924" y="6164798"/>
                </a:cubicBezTo>
                <a:close/>
                <a:moveTo>
                  <a:pt x="7774257" y="6119663"/>
                </a:moveTo>
                <a:cubicBezTo>
                  <a:pt x="7748464" y="6119663"/>
                  <a:pt x="7678606" y="6119663"/>
                  <a:pt x="7678606" y="6184142"/>
                </a:cubicBezTo>
                <a:cubicBezTo>
                  <a:pt x="7710848" y="6158350"/>
                  <a:pt x="7742015" y="6151902"/>
                  <a:pt x="7774257" y="6151902"/>
                </a:cubicBezTo>
                <a:cubicBezTo>
                  <a:pt x="7774257" y="6139007"/>
                  <a:pt x="7774257" y="6126111"/>
                  <a:pt x="7774257" y="6119663"/>
                </a:cubicBezTo>
                <a:close/>
                <a:moveTo>
                  <a:pt x="8455372" y="6118961"/>
                </a:moveTo>
                <a:cubicBezTo>
                  <a:pt x="8462197" y="6125488"/>
                  <a:pt x="8475847" y="6138542"/>
                  <a:pt x="8482672" y="6145069"/>
                </a:cubicBezTo>
                <a:cubicBezTo>
                  <a:pt x="8469022" y="6151596"/>
                  <a:pt x="8462197" y="6164650"/>
                  <a:pt x="8455372" y="6184231"/>
                </a:cubicBezTo>
                <a:cubicBezTo>
                  <a:pt x="8455372" y="6158123"/>
                  <a:pt x="8455372" y="6138542"/>
                  <a:pt x="8455372" y="6118961"/>
                </a:cubicBezTo>
                <a:close/>
                <a:moveTo>
                  <a:pt x="8545423" y="6085782"/>
                </a:moveTo>
                <a:cubicBezTo>
                  <a:pt x="8558396" y="6085782"/>
                  <a:pt x="8563385" y="6092203"/>
                  <a:pt x="8563385" y="6117888"/>
                </a:cubicBezTo>
                <a:cubicBezTo>
                  <a:pt x="8551410" y="6117888"/>
                  <a:pt x="8545423" y="6111467"/>
                  <a:pt x="8545423" y="6085782"/>
                </a:cubicBezTo>
                <a:close/>
                <a:moveTo>
                  <a:pt x="7033386" y="6084385"/>
                </a:moveTo>
                <a:cubicBezTo>
                  <a:pt x="7029816" y="6083356"/>
                  <a:pt x="7026416" y="6083545"/>
                  <a:pt x="7023695" y="6085207"/>
                </a:cubicBezTo>
                <a:cubicBezTo>
                  <a:pt x="7020067" y="6087423"/>
                  <a:pt x="7017649" y="6092259"/>
                  <a:pt x="7017649" y="6100319"/>
                </a:cubicBezTo>
                <a:cubicBezTo>
                  <a:pt x="7017649" y="6139007"/>
                  <a:pt x="6978958" y="6119663"/>
                  <a:pt x="6966062" y="6119663"/>
                </a:cubicBezTo>
                <a:cubicBezTo>
                  <a:pt x="6933820" y="6113215"/>
                  <a:pt x="6946717" y="6158350"/>
                  <a:pt x="6972510" y="6151902"/>
                </a:cubicBezTo>
                <a:cubicBezTo>
                  <a:pt x="6985407" y="6145455"/>
                  <a:pt x="6998304" y="6139007"/>
                  <a:pt x="7011200" y="6126111"/>
                </a:cubicBezTo>
                <a:cubicBezTo>
                  <a:pt x="7024097" y="6113215"/>
                  <a:pt x="7043442" y="6119663"/>
                  <a:pt x="7056339" y="6119663"/>
                </a:cubicBezTo>
                <a:cubicBezTo>
                  <a:pt x="7056339" y="6101528"/>
                  <a:pt x="7044098" y="6087474"/>
                  <a:pt x="7033386" y="6084385"/>
                </a:cubicBezTo>
                <a:close/>
                <a:moveTo>
                  <a:pt x="9496976" y="6057344"/>
                </a:moveTo>
                <a:cubicBezTo>
                  <a:pt x="9496976" y="6083029"/>
                  <a:pt x="9490151" y="6089450"/>
                  <a:pt x="9469676" y="6089450"/>
                </a:cubicBezTo>
                <a:cubicBezTo>
                  <a:pt x="9469676" y="6070187"/>
                  <a:pt x="9476501" y="6057344"/>
                  <a:pt x="9496976" y="6057344"/>
                </a:cubicBezTo>
                <a:close/>
                <a:moveTo>
                  <a:pt x="8602300" y="6057344"/>
                </a:moveTo>
                <a:cubicBezTo>
                  <a:pt x="8614275" y="6057344"/>
                  <a:pt x="8620262" y="6070187"/>
                  <a:pt x="8620262" y="6089450"/>
                </a:cubicBezTo>
                <a:cubicBezTo>
                  <a:pt x="8608287" y="6089450"/>
                  <a:pt x="8602300" y="6083029"/>
                  <a:pt x="8602300" y="6057344"/>
                </a:cubicBezTo>
                <a:close/>
                <a:moveTo>
                  <a:pt x="7909672" y="6035840"/>
                </a:moveTo>
                <a:cubicBezTo>
                  <a:pt x="7870982" y="6035840"/>
                  <a:pt x="7832292" y="6055184"/>
                  <a:pt x="7800050" y="6087423"/>
                </a:cubicBezTo>
                <a:cubicBezTo>
                  <a:pt x="7825844" y="6087423"/>
                  <a:pt x="7851637" y="6087423"/>
                  <a:pt x="7870982" y="6087423"/>
                </a:cubicBezTo>
                <a:cubicBezTo>
                  <a:pt x="7883879" y="6087423"/>
                  <a:pt x="7896776" y="6068080"/>
                  <a:pt x="7909672" y="6055184"/>
                </a:cubicBezTo>
                <a:cubicBezTo>
                  <a:pt x="7909672" y="6048736"/>
                  <a:pt x="7909672" y="6042288"/>
                  <a:pt x="7909672" y="6035840"/>
                </a:cubicBezTo>
                <a:close/>
                <a:moveTo>
                  <a:pt x="564229" y="6024019"/>
                </a:moveTo>
                <a:cubicBezTo>
                  <a:pt x="544887" y="6024019"/>
                  <a:pt x="551335" y="6068080"/>
                  <a:pt x="557782" y="6087423"/>
                </a:cubicBezTo>
                <a:cubicBezTo>
                  <a:pt x="570677" y="6113215"/>
                  <a:pt x="551335" y="6151902"/>
                  <a:pt x="544887" y="6184142"/>
                </a:cubicBezTo>
                <a:cubicBezTo>
                  <a:pt x="628715" y="6229277"/>
                  <a:pt x="699644" y="6318474"/>
                  <a:pt x="775945" y="6382953"/>
                </a:cubicBezTo>
                <a:cubicBezTo>
                  <a:pt x="795292" y="6350713"/>
                  <a:pt x="756601" y="6337817"/>
                  <a:pt x="743708" y="6331369"/>
                </a:cubicBezTo>
                <a:cubicBezTo>
                  <a:pt x="712540" y="6305578"/>
                  <a:pt x="693198" y="6260442"/>
                  <a:pt x="667405" y="6235725"/>
                </a:cubicBezTo>
                <a:cubicBezTo>
                  <a:pt x="622265" y="6190590"/>
                  <a:pt x="564229" y="6126111"/>
                  <a:pt x="564229" y="6024019"/>
                </a:cubicBezTo>
                <a:close/>
                <a:moveTo>
                  <a:pt x="8696596" y="6013265"/>
                </a:moveTo>
                <a:cubicBezTo>
                  <a:pt x="8699590" y="6013265"/>
                  <a:pt x="8702584" y="6016582"/>
                  <a:pt x="8705577" y="6023218"/>
                </a:cubicBezTo>
                <a:cubicBezTo>
                  <a:pt x="8705577" y="6029853"/>
                  <a:pt x="8699590" y="6035382"/>
                  <a:pt x="8699590" y="6042017"/>
                </a:cubicBezTo>
                <a:cubicBezTo>
                  <a:pt x="8693602" y="6035382"/>
                  <a:pt x="8693602" y="6029853"/>
                  <a:pt x="8687615" y="6023218"/>
                </a:cubicBezTo>
                <a:cubicBezTo>
                  <a:pt x="8690609" y="6016582"/>
                  <a:pt x="8693603" y="6013265"/>
                  <a:pt x="8696596" y="6013265"/>
                </a:cubicBezTo>
                <a:close/>
                <a:moveTo>
                  <a:pt x="7232998" y="6003264"/>
                </a:moveTo>
                <a:cubicBezTo>
                  <a:pt x="7216071" y="5997824"/>
                  <a:pt x="7181008" y="6030467"/>
                  <a:pt x="7171335" y="6030467"/>
                </a:cubicBezTo>
                <a:cubicBezTo>
                  <a:pt x="7145542" y="6035840"/>
                  <a:pt x="7095029" y="6035840"/>
                  <a:pt x="7095029" y="6087423"/>
                </a:cubicBezTo>
                <a:cubicBezTo>
                  <a:pt x="7113300" y="6068080"/>
                  <a:pt x="7139093" y="6055184"/>
                  <a:pt x="7164886" y="6048736"/>
                </a:cubicBezTo>
                <a:cubicBezTo>
                  <a:pt x="7184232" y="6048736"/>
                  <a:pt x="7203576" y="6048736"/>
                  <a:pt x="7216474" y="6024019"/>
                </a:cubicBezTo>
                <a:cubicBezTo>
                  <a:pt x="7222922" y="6024019"/>
                  <a:pt x="7235818" y="6024019"/>
                  <a:pt x="7242267" y="6024019"/>
                </a:cubicBezTo>
                <a:cubicBezTo>
                  <a:pt x="7242267" y="6011123"/>
                  <a:pt x="7238640" y="6005078"/>
                  <a:pt x="7232998" y="6003264"/>
                </a:cubicBezTo>
                <a:close/>
                <a:moveTo>
                  <a:pt x="8725009" y="6001748"/>
                </a:moveTo>
                <a:cubicBezTo>
                  <a:pt x="8732645" y="6001748"/>
                  <a:pt x="8738701" y="6006359"/>
                  <a:pt x="8738701" y="6021731"/>
                </a:cubicBezTo>
                <a:cubicBezTo>
                  <a:pt x="8727115" y="6021731"/>
                  <a:pt x="8714476" y="6027879"/>
                  <a:pt x="8701837" y="6009433"/>
                </a:cubicBezTo>
                <a:cubicBezTo>
                  <a:pt x="8708157" y="6006359"/>
                  <a:pt x="8717373" y="6001748"/>
                  <a:pt x="8725009" y="6001748"/>
                </a:cubicBezTo>
                <a:close/>
                <a:moveTo>
                  <a:pt x="9696114" y="5963957"/>
                </a:moveTo>
                <a:cubicBezTo>
                  <a:pt x="9696114" y="5994700"/>
                  <a:pt x="9676848" y="5994700"/>
                  <a:pt x="9664005" y="5994700"/>
                </a:cubicBezTo>
                <a:cubicBezTo>
                  <a:pt x="9664005" y="5957808"/>
                  <a:pt x="9683270" y="5963957"/>
                  <a:pt x="9696114" y="5963957"/>
                </a:cubicBezTo>
                <a:close/>
                <a:moveTo>
                  <a:pt x="19597496" y="5934112"/>
                </a:moveTo>
                <a:cubicBezTo>
                  <a:pt x="19597496" y="5953376"/>
                  <a:pt x="19591508" y="5966218"/>
                  <a:pt x="19579536" y="5966218"/>
                </a:cubicBezTo>
                <a:cubicBezTo>
                  <a:pt x="19579536" y="5940533"/>
                  <a:pt x="19585524" y="5934112"/>
                  <a:pt x="19597496" y="5934112"/>
                </a:cubicBezTo>
                <a:close/>
                <a:moveTo>
                  <a:pt x="19488484" y="5934112"/>
                </a:moveTo>
                <a:cubicBezTo>
                  <a:pt x="19488484" y="5953376"/>
                  <a:pt x="19482496" y="5966218"/>
                  <a:pt x="19470520" y="5966218"/>
                </a:cubicBezTo>
                <a:cubicBezTo>
                  <a:pt x="19470520" y="5940533"/>
                  <a:pt x="19476508" y="5934112"/>
                  <a:pt x="19488484" y="5934112"/>
                </a:cubicBezTo>
                <a:close/>
                <a:moveTo>
                  <a:pt x="9753060" y="5934112"/>
                </a:moveTo>
                <a:cubicBezTo>
                  <a:pt x="9753060" y="5953376"/>
                  <a:pt x="9747073" y="5966218"/>
                  <a:pt x="9735098" y="5966218"/>
                </a:cubicBezTo>
                <a:cubicBezTo>
                  <a:pt x="9735098" y="5940533"/>
                  <a:pt x="9741085" y="5934112"/>
                  <a:pt x="9753060" y="5934112"/>
                </a:cubicBezTo>
                <a:close/>
                <a:moveTo>
                  <a:pt x="19450568" y="5900933"/>
                </a:moveTo>
                <a:cubicBezTo>
                  <a:pt x="19450568" y="5926620"/>
                  <a:pt x="19444580" y="5933042"/>
                  <a:pt x="19432604" y="5933042"/>
                </a:cubicBezTo>
                <a:cubicBezTo>
                  <a:pt x="19432604" y="5907355"/>
                  <a:pt x="19438592" y="5900933"/>
                  <a:pt x="19450568" y="5900933"/>
                </a:cubicBezTo>
                <a:close/>
                <a:moveTo>
                  <a:pt x="7661679" y="5898284"/>
                </a:moveTo>
                <a:cubicBezTo>
                  <a:pt x="7649589" y="5899896"/>
                  <a:pt x="7639916" y="5907956"/>
                  <a:pt x="7639916" y="5933748"/>
                </a:cubicBezTo>
                <a:cubicBezTo>
                  <a:pt x="7659261" y="5933748"/>
                  <a:pt x="7697951" y="5953092"/>
                  <a:pt x="7697951" y="5901508"/>
                </a:cubicBezTo>
                <a:cubicBezTo>
                  <a:pt x="7688279" y="5901508"/>
                  <a:pt x="7673770" y="5896672"/>
                  <a:pt x="7661679" y="5898284"/>
                </a:cubicBezTo>
                <a:close/>
                <a:moveTo>
                  <a:pt x="7492678" y="5869269"/>
                </a:moveTo>
                <a:cubicBezTo>
                  <a:pt x="7479782" y="5869269"/>
                  <a:pt x="7473333" y="5882165"/>
                  <a:pt x="7473333" y="5901508"/>
                </a:cubicBezTo>
                <a:cubicBezTo>
                  <a:pt x="7486230" y="5901508"/>
                  <a:pt x="7492678" y="5895060"/>
                  <a:pt x="7492678" y="5869269"/>
                </a:cubicBezTo>
                <a:close/>
                <a:moveTo>
                  <a:pt x="7434643" y="5869269"/>
                </a:moveTo>
                <a:cubicBezTo>
                  <a:pt x="7395953" y="5888613"/>
                  <a:pt x="7363711" y="5901508"/>
                  <a:pt x="7331469" y="5927300"/>
                </a:cubicBezTo>
                <a:cubicBezTo>
                  <a:pt x="7312124" y="5946644"/>
                  <a:pt x="7300302" y="5959540"/>
                  <a:pt x="7280957" y="5959540"/>
                </a:cubicBezTo>
                <a:cubicBezTo>
                  <a:pt x="7268060" y="5959540"/>
                  <a:pt x="7255164" y="5972435"/>
                  <a:pt x="7268060" y="5991779"/>
                </a:cubicBezTo>
                <a:cubicBezTo>
                  <a:pt x="7287406" y="6030467"/>
                  <a:pt x="7306750" y="5959540"/>
                  <a:pt x="7325021" y="5959540"/>
                </a:cubicBezTo>
                <a:cubicBezTo>
                  <a:pt x="7357262" y="5953092"/>
                  <a:pt x="7395953" y="5940196"/>
                  <a:pt x="7434643" y="5933748"/>
                </a:cubicBezTo>
                <a:cubicBezTo>
                  <a:pt x="7434643" y="5914404"/>
                  <a:pt x="7434643" y="5895060"/>
                  <a:pt x="7434643" y="5869269"/>
                </a:cubicBezTo>
                <a:close/>
                <a:moveTo>
                  <a:pt x="19526400" y="5867755"/>
                </a:moveTo>
                <a:cubicBezTo>
                  <a:pt x="19526400" y="5887019"/>
                  <a:pt x="19520412" y="5899861"/>
                  <a:pt x="19508440" y="5899861"/>
                </a:cubicBezTo>
                <a:cubicBezTo>
                  <a:pt x="19508440" y="5880598"/>
                  <a:pt x="19514424" y="5867755"/>
                  <a:pt x="19526400" y="5867755"/>
                </a:cubicBezTo>
                <a:close/>
                <a:moveTo>
                  <a:pt x="19412648" y="5867755"/>
                </a:moveTo>
                <a:cubicBezTo>
                  <a:pt x="19412648" y="5887019"/>
                  <a:pt x="19406660" y="5899861"/>
                  <a:pt x="19394688" y="5899861"/>
                </a:cubicBezTo>
                <a:cubicBezTo>
                  <a:pt x="19394688" y="5880598"/>
                  <a:pt x="19400672" y="5867755"/>
                  <a:pt x="19412648" y="5867755"/>
                </a:cubicBezTo>
                <a:close/>
                <a:moveTo>
                  <a:pt x="9847855" y="5867755"/>
                </a:moveTo>
                <a:cubicBezTo>
                  <a:pt x="9847855" y="5887019"/>
                  <a:pt x="9841868" y="5899861"/>
                  <a:pt x="9829893" y="5899861"/>
                </a:cubicBezTo>
                <a:cubicBezTo>
                  <a:pt x="9829893" y="5880598"/>
                  <a:pt x="9835880" y="5867755"/>
                  <a:pt x="9847855" y="5867755"/>
                </a:cubicBezTo>
                <a:close/>
                <a:moveTo>
                  <a:pt x="7753417" y="5863425"/>
                </a:moveTo>
                <a:cubicBezTo>
                  <a:pt x="7739262" y="5861612"/>
                  <a:pt x="7726163" y="5887001"/>
                  <a:pt x="7717296" y="5901508"/>
                </a:cubicBezTo>
                <a:cubicBezTo>
                  <a:pt x="7736642" y="5895060"/>
                  <a:pt x="7748464" y="5888613"/>
                  <a:pt x="7767808" y="5875717"/>
                </a:cubicBezTo>
                <a:cubicBezTo>
                  <a:pt x="7762972" y="5867657"/>
                  <a:pt x="7758136" y="5864030"/>
                  <a:pt x="7753417" y="5863425"/>
                </a:cubicBezTo>
                <a:close/>
                <a:moveTo>
                  <a:pt x="9904733" y="5839317"/>
                </a:moveTo>
                <a:cubicBezTo>
                  <a:pt x="9904733" y="5858581"/>
                  <a:pt x="9898746" y="5871423"/>
                  <a:pt x="9886771" y="5871423"/>
                </a:cubicBezTo>
                <a:cubicBezTo>
                  <a:pt x="9886771" y="5852160"/>
                  <a:pt x="9892758" y="5839317"/>
                  <a:pt x="9904733" y="5839317"/>
                </a:cubicBezTo>
                <a:close/>
                <a:moveTo>
                  <a:pt x="7512024" y="5837029"/>
                </a:moveTo>
                <a:cubicBezTo>
                  <a:pt x="7512024" y="5875717"/>
                  <a:pt x="7531368" y="5869269"/>
                  <a:pt x="7543190" y="5869269"/>
                </a:cubicBezTo>
                <a:cubicBezTo>
                  <a:pt x="7543190" y="5837029"/>
                  <a:pt x="7523846" y="5837029"/>
                  <a:pt x="7512024" y="5837029"/>
                </a:cubicBezTo>
                <a:close/>
                <a:moveTo>
                  <a:pt x="7568984" y="5811238"/>
                </a:moveTo>
                <a:cubicBezTo>
                  <a:pt x="7568984" y="5849925"/>
                  <a:pt x="7588329" y="5837029"/>
                  <a:pt x="7601226" y="5837029"/>
                </a:cubicBezTo>
                <a:cubicBezTo>
                  <a:pt x="7601226" y="5805864"/>
                  <a:pt x="7581880" y="5811238"/>
                  <a:pt x="7568984" y="5811238"/>
                </a:cubicBezTo>
                <a:close/>
                <a:moveTo>
                  <a:pt x="7318572" y="5811238"/>
                </a:moveTo>
                <a:cubicBezTo>
                  <a:pt x="7318572" y="5830581"/>
                  <a:pt x="7325021" y="5837029"/>
                  <a:pt x="7337918" y="5837029"/>
                </a:cubicBezTo>
                <a:cubicBezTo>
                  <a:pt x="7337918" y="5818760"/>
                  <a:pt x="7331469" y="5811238"/>
                  <a:pt x="7318572" y="5811238"/>
                </a:cubicBezTo>
                <a:close/>
                <a:moveTo>
                  <a:pt x="507270" y="5811238"/>
                </a:moveTo>
                <a:cubicBezTo>
                  <a:pt x="507270" y="5830581"/>
                  <a:pt x="513724" y="5837029"/>
                  <a:pt x="526613" y="5837029"/>
                </a:cubicBezTo>
                <a:cubicBezTo>
                  <a:pt x="526613" y="5818760"/>
                  <a:pt x="519093" y="5811238"/>
                  <a:pt x="507270" y="5811238"/>
                </a:cubicBezTo>
                <a:close/>
                <a:moveTo>
                  <a:pt x="9975826" y="5810880"/>
                </a:moveTo>
                <a:cubicBezTo>
                  <a:pt x="9975826" y="5831355"/>
                  <a:pt x="9969839" y="5838180"/>
                  <a:pt x="9957864" y="5838180"/>
                </a:cubicBezTo>
                <a:cubicBezTo>
                  <a:pt x="9957864" y="5818843"/>
                  <a:pt x="9969839" y="5810880"/>
                  <a:pt x="9975826" y="5810880"/>
                </a:cubicBezTo>
                <a:close/>
                <a:moveTo>
                  <a:pt x="19331148" y="5810877"/>
                </a:moveTo>
                <a:cubicBezTo>
                  <a:pt x="19337300" y="5818369"/>
                  <a:pt x="19349596" y="5824790"/>
                  <a:pt x="19355744" y="5824790"/>
                </a:cubicBezTo>
                <a:cubicBezTo>
                  <a:pt x="19343448" y="5842983"/>
                  <a:pt x="19331148" y="5830141"/>
                  <a:pt x="19318852" y="5824790"/>
                </a:cubicBezTo>
                <a:cubicBezTo>
                  <a:pt x="19325000" y="5824790"/>
                  <a:pt x="19325000" y="5818369"/>
                  <a:pt x="19331148" y="5810877"/>
                </a:cubicBezTo>
                <a:close/>
                <a:moveTo>
                  <a:pt x="19412648" y="5782440"/>
                </a:moveTo>
                <a:cubicBezTo>
                  <a:pt x="19412648" y="5802346"/>
                  <a:pt x="19406660" y="5814510"/>
                  <a:pt x="19394688" y="5814510"/>
                </a:cubicBezTo>
                <a:cubicBezTo>
                  <a:pt x="19394688" y="5795711"/>
                  <a:pt x="19400672" y="5782440"/>
                  <a:pt x="19412648" y="5782440"/>
                </a:cubicBezTo>
                <a:close/>
                <a:moveTo>
                  <a:pt x="19285672" y="5782440"/>
                </a:moveTo>
                <a:cubicBezTo>
                  <a:pt x="19298516" y="5788589"/>
                  <a:pt x="19304940" y="5794738"/>
                  <a:pt x="19317780" y="5794738"/>
                </a:cubicBezTo>
                <a:cubicBezTo>
                  <a:pt x="19304940" y="5812159"/>
                  <a:pt x="19285672" y="5819332"/>
                  <a:pt x="19285672" y="5782440"/>
                </a:cubicBezTo>
                <a:close/>
                <a:moveTo>
                  <a:pt x="7922569" y="5780073"/>
                </a:moveTo>
                <a:cubicBezTo>
                  <a:pt x="7922569" y="5799416"/>
                  <a:pt x="7927943" y="5811238"/>
                  <a:pt x="7941914" y="5811238"/>
                </a:cubicBezTo>
                <a:cubicBezTo>
                  <a:pt x="7941914" y="5792969"/>
                  <a:pt x="7934391" y="5780073"/>
                  <a:pt x="7922569" y="5780073"/>
                </a:cubicBezTo>
                <a:close/>
                <a:moveTo>
                  <a:pt x="7639916" y="5780073"/>
                </a:moveTo>
                <a:cubicBezTo>
                  <a:pt x="7639916" y="5792969"/>
                  <a:pt x="7639916" y="5799416"/>
                  <a:pt x="7639916" y="5811238"/>
                </a:cubicBezTo>
                <a:cubicBezTo>
                  <a:pt x="7652812" y="5811238"/>
                  <a:pt x="7665710" y="5811238"/>
                  <a:pt x="7678606" y="5811238"/>
                </a:cubicBezTo>
                <a:cubicBezTo>
                  <a:pt x="7678606" y="5799416"/>
                  <a:pt x="7678606" y="5792969"/>
                  <a:pt x="7678606" y="5780073"/>
                </a:cubicBezTo>
                <a:cubicBezTo>
                  <a:pt x="7665710" y="5780073"/>
                  <a:pt x="7652812" y="5780073"/>
                  <a:pt x="7639916" y="5780073"/>
                </a:cubicBezTo>
                <a:close/>
                <a:moveTo>
                  <a:pt x="7376608" y="5780073"/>
                </a:moveTo>
                <a:cubicBezTo>
                  <a:pt x="7363711" y="5780073"/>
                  <a:pt x="7357262" y="5792969"/>
                  <a:pt x="7357262" y="5811238"/>
                </a:cubicBezTo>
                <a:cubicBezTo>
                  <a:pt x="7370160" y="5811238"/>
                  <a:pt x="7376608" y="5799416"/>
                  <a:pt x="7376608" y="5780073"/>
                </a:cubicBezTo>
                <a:close/>
                <a:moveTo>
                  <a:pt x="833981" y="5780073"/>
                </a:moveTo>
                <a:cubicBezTo>
                  <a:pt x="833981" y="5799416"/>
                  <a:pt x="833981" y="5811238"/>
                  <a:pt x="846885" y="5811238"/>
                </a:cubicBezTo>
                <a:cubicBezTo>
                  <a:pt x="846885" y="5792969"/>
                  <a:pt x="846885" y="5780073"/>
                  <a:pt x="833981" y="5780073"/>
                </a:cubicBezTo>
                <a:close/>
                <a:moveTo>
                  <a:pt x="9258384" y="5749261"/>
                </a:moveTo>
                <a:cubicBezTo>
                  <a:pt x="9258384" y="5755694"/>
                  <a:pt x="9264796" y="5762126"/>
                  <a:pt x="9264796" y="5768559"/>
                </a:cubicBezTo>
                <a:cubicBezTo>
                  <a:pt x="9226321" y="5787857"/>
                  <a:pt x="9187845" y="5812515"/>
                  <a:pt x="9156851" y="5838245"/>
                </a:cubicBezTo>
                <a:cubicBezTo>
                  <a:pt x="9156851" y="5820020"/>
                  <a:pt x="9156851" y="5800722"/>
                  <a:pt x="9156851" y="5781424"/>
                </a:cubicBezTo>
                <a:cubicBezTo>
                  <a:pt x="9162195" y="5774992"/>
                  <a:pt x="9176089" y="5774992"/>
                  <a:pt x="9181433" y="5768559"/>
                </a:cubicBezTo>
                <a:cubicBezTo>
                  <a:pt x="9207083" y="5762126"/>
                  <a:pt x="9232733" y="5755694"/>
                  <a:pt x="9258384" y="5749261"/>
                </a:cubicBezTo>
                <a:close/>
                <a:moveTo>
                  <a:pt x="19232894" y="5722699"/>
                </a:moveTo>
                <a:cubicBezTo>
                  <a:pt x="19239042" y="5724352"/>
                  <a:pt x="19243654" y="5729312"/>
                  <a:pt x="19240580" y="5742539"/>
                </a:cubicBezTo>
                <a:cubicBezTo>
                  <a:pt x="19240580" y="5762380"/>
                  <a:pt x="19215984" y="5735926"/>
                  <a:pt x="19209836" y="5735926"/>
                </a:cubicBezTo>
                <a:cubicBezTo>
                  <a:pt x="19209836" y="5729312"/>
                  <a:pt x="19215984" y="5722699"/>
                  <a:pt x="19215984" y="5722699"/>
                </a:cubicBezTo>
                <a:cubicBezTo>
                  <a:pt x="19219058" y="5722699"/>
                  <a:pt x="19226744" y="5721046"/>
                  <a:pt x="19232894" y="5722699"/>
                </a:cubicBezTo>
                <a:close/>
                <a:moveTo>
                  <a:pt x="7979530" y="5722041"/>
                </a:moveTo>
                <a:cubicBezTo>
                  <a:pt x="7979530" y="5741385"/>
                  <a:pt x="7979530" y="5760729"/>
                  <a:pt x="7979530" y="5780073"/>
                </a:cubicBezTo>
                <a:cubicBezTo>
                  <a:pt x="7992426" y="5767177"/>
                  <a:pt x="8011772" y="5754281"/>
                  <a:pt x="8024668" y="5747833"/>
                </a:cubicBezTo>
                <a:cubicBezTo>
                  <a:pt x="8011772" y="5741385"/>
                  <a:pt x="7992426" y="5728489"/>
                  <a:pt x="7979530" y="5722041"/>
                </a:cubicBezTo>
                <a:close/>
                <a:moveTo>
                  <a:pt x="19322948" y="5721336"/>
                </a:moveTo>
                <a:cubicBezTo>
                  <a:pt x="19330636" y="5722104"/>
                  <a:pt x="19336784" y="5729790"/>
                  <a:pt x="19336784" y="5748236"/>
                </a:cubicBezTo>
                <a:cubicBezTo>
                  <a:pt x="19324484" y="5742088"/>
                  <a:pt x="19312188" y="5742088"/>
                  <a:pt x="19299892" y="5735939"/>
                </a:cubicBezTo>
                <a:cubicBezTo>
                  <a:pt x="19306040" y="5726716"/>
                  <a:pt x="19315264" y="5720567"/>
                  <a:pt x="19322948" y="5721336"/>
                </a:cubicBezTo>
                <a:close/>
                <a:moveTo>
                  <a:pt x="20507472" y="5720824"/>
                </a:moveTo>
                <a:cubicBezTo>
                  <a:pt x="20507472" y="5741299"/>
                  <a:pt x="20494832" y="5748124"/>
                  <a:pt x="20489564" y="5748124"/>
                </a:cubicBezTo>
                <a:cubicBezTo>
                  <a:pt x="20489564" y="5727649"/>
                  <a:pt x="20494832" y="5720824"/>
                  <a:pt x="20507472" y="5720824"/>
                </a:cubicBezTo>
                <a:close/>
                <a:moveTo>
                  <a:pt x="18929052" y="5720821"/>
                </a:moveTo>
                <a:cubicBezTo>
                  <a:pt x="18929052" y="5745641"/>
                  <a:pt x="18929052" y="5776665"/>
                  <a:pt x="18908580" y="5776665"/>
                </a:cubicBezTo>
                <a:cubicBezTo>
                  <a:pt x="18908580" y="5751846"/>
                  <a:pt x="18901756" y="5720821"/>
                  <a:pt x="18929052" y="5720821"/>
                </a:cubicBezTo>
                <a:close/>
                <a:moveTo>
                  <a:pt x="9383272" y="5701863"/>
                </a:moveTo>
                <a:cubicBezTo>
                  <a:pt x="9363704" y="5708477"/>
                  <a:pt x="9345767" y="5715090"/>
                  <a:pt x="9328645" y="5722530"/>
                </a:cubicBezTo>
                <a:lnTo>
                  <a:pt x="9278922" y="5748152"/>
                </a:lnTo>
                <a:lnTo>
                  <a:pt x="9267113" y="5767148"/>
                </a:lnTo>
                <a:cubicBezTo>
                  <a:pt x="9267113" y="5760727"/>
                  <a:pt x="9261126" y="5754306"/>
                  <a:pt x="9261126" y="5747885"/>
                </a:cubicBezTo>
                <a:lnTo>
                  <a:pt x="9269638" y="5738756"/>
                </a:lnTo>
                <a:lnTo>
                  <a:pt x="9265865" y="5734931"/>
                </a:lnTo>
                <a:cubicBezTo>
                  <a:pt x="9305001" y="5721704"/>
                  <a:pt x="9344136" y="5708477"/>
                  <a:pt x="9383272" y="5701863"/>
                </a:cubicBezTo>
                <a:close/>
                <a:moveTo>
                  <a:pt x="19197256" y="5701391"/>
                </a:moveTo>
                <a:cubicBezTo>
                  <a:pt x="19198896" y="5698831"/>
                  <a:pt x="19202180" y="5700538"/>
                  <a:pt x="19208740" y="5703950"/>
                </a:cubicBezTo>
                <a:cubicBezTo>
                  <a:pt x="19202180" y="5710775"/>
                  <a:pt x="19202180" y="5710775"/>
                  <a:pt x="19195616" y="5724425"/>
                </a:cubicBezTo>
                <a:cubicBezTo>
                  <a:pt x="19195616" y="5710775"/>
                  <a:pt x="19195616" y="5703950"/>
                  <a:pt x="19197256" y="5701391"/>
                </a:cubicBezTo>
                <a:close/>
                <a:moveTo>
                  <a:pt x="19886620" y="5692386"/>
                </a:moveTo>
                <a:cubicBezTo>
                  <a:pt x="19886620" y="5711651"/>
                  <a:pt x="19880632" y="5724495"/>
                  <a:pt x="19868660" y="5724495"/>
                </a:cubicBezTo>
                <a:cubicBezTo>
                  <a:pt x="19868660" y="5698808"/>
                  <a:pt x="19874644" y="5692386"/>
                  <a:pt x="19886620" y="5692386"/>
                </a:cubicBezTo>
                <a:close/>
                <a:moveTo>
                  <a:pt x="8056910" y="5689802"/>
                </a:moveTo>
                <a:cubicBezTo>
                  <a:pt x="8056910" y="5709146"/>
                  <a:pt x="8056910" y="5728489"/>
                  <a:pt x="8056910" y="5747833"/>
                </a:cubicBezTo>
                <a:cubicBezTo>
                  <a:pt x="8076255" y="5741385"/>
                  <a:pt x="8095600" y="5741385"/>
                  <a:pt x="8114946" y="5734937"/>
                </a:cubicBezTo>
                <a:cubicBezTo>
                  <a:pt x="8095600" y="5715594"/>
                  <a:pt x="8076255" y="5702698"/>
                  <a:pt x="8056910" y="5689802"/>
                </a:cubicBezTo>
                <a:close/>
                <a:moveTo>
                  <a:pt x="321342" y="5689802"/>
                </a:moveTo>
                <a:cubicBezTo>
                  <a:pt x="321342" y="5722041"/>
                  <a:pt x="346059" y="5715594"/>
                  <a:pt x="358957" y="5734937"/>
                </a:cubicBezTo>
                <a:cubicBezTo>
                  <a:pt x="371855" y="5741385"/>
                  <a:pt x="384754" y="5741385"/>
                  <a:pt x="397648" y="5747833"/>
                </a:cubicBezTo>
                <a:cubicBezTo>
                  <a:pt x="397648" y="5709146"/>
                  <a:pt x="339611" y="5696250"/>
                  <a:pt x="321342" y="5689802"/>
                </a:cubicBezTo>
                <a:close/>
                <a:moveTo>
                  <a:pt x="10273257" y="5681344"/>
                </a:moveTo>
                <a:lnTo>
                  <a:pt x="10272228" y="5683458"/>
                </a:lnTo>
                <a:cubicBezTo>
                  <a:pt x="10271320" y="5685322"/>
                  <a:pt x="10270689" y="5686619"/>
                  <a:pt x="10270689" y="5686619"/>
                </a:cubicBezTo>
                <a:close/>
                <a:moveTo>
                  <a:pt x="19249732" y="5676443"/>
                </a:moveTo>
                <a:cubicBezTo>
                  <a:pt x="19267912" y="5676749"/>
                  <a:pt x="19293968" y="5700001"/>
                  <a:pt x="19298812" y="5704896"/>
                </a:cubicBezTo>
                <a:cubicBezTo>
                  <a:pt x="19298812" y="5711423"/>
                  <a:pt x="19292352" y="5717950"/>
                  <a:pt x="19292352" y="5724477"/>
                </a:cubicBezTo>
                <a:cubicBezTo>
                  <a:pt x="19285888" y="5724477"/>
                  <a:pt x="19270000" y="5722846"/>
                  <a:pt x="19256532" y="5717134"/>
                </a:cubicBezTo>
                <a:lnTo>
                  <a:pt x="19244084" y="5708343"/>
                </a:lnTo>
                <a:lnTo>
                  <a:pt x="19251508" y="5722338"/>
                </a:lnTo>
                <a:cubicBezTo>
                  <a:pt x="19249040" y="5725750"/>
                  <a:pt x="19243360" y="5725750"/>
                  <a:pt x="19239780" y="5722338"/>
                </a:cubicBezTo>
                <a:lnTo>
                  <a:pt x="19240480" y="5705798"/>
                </a:lnTo>
                <a:lnTo>
                  <a:pt x="19239636" y="5705202"/>
                </a:lnTo>
                <a:cubicBezTo>
                  <a:pt x="19235596" y="5700001"/>
                  <a:pt x="19233644" y="5693474"/>
                  <a:pt x="19235260" y="5685315"/>
                </a:cubicBezTo>
                <a:cubicBezTo>
                  <a:pt x="19238492" y="5678788"/>
                  <a:pt x="19243676" y="5676341"/>
                  <a:pt x="19249732" y="5676443"/>
                </a:cubicBezTo>
                <a:close/>
                <a:moveTo>
                  <a:pt x="10275971" y="5675771"/>
                </a:moveTo>
                <a:lnTo>
                  <a:pt x="10273257" y="5681344"/>
                </a:lnTo>
                <a:lnTo>
                  <a:pt x="10275425" y="5676892"/>
                </a:lnTo>
                <a:close/>
                <a:moveTo>
                  <a:pt x="10278267" y="5671055"/>
                </a:moveTo>
                <a:lnTo>
                  <a:pt x="10275971" y="5675771"/>
                </a:lnTo>
                <a:lnTo>
                  <a:pt x="10278148" y="5671298"/>
                </a:lnTo>
                <a:cubicBezTo>
                  <a:pt x="10278741" y="5670082"/>
                  <a:pt x="10278898" y="5669758"/>
                  <a:pt x="10278267" y="5671055"/>
                </a:cubicBezTo>
                <a:close/>
                <a:moveTo>
                  <a:pt x="8415869" y="5657562"/>
                </a:moveTo>
                <a:cubicBezTo>
                  <a:pt x="8415869" y="5676906"/>
                  <a:pt x="8422317" y="5689802"/>
                  <a:pt x="8435214" y="5689802"/>
                </a:cubicBezTo>
                <a:cubicBezTo>
                  <a:pt x="8435214" y="5670458"/>
                  <a:pt x="8428766" y="5657562"/>
                  <a:pt x="8415869" y="5657562"/>
                </a:cubicBezTo>
                <a:close/>
                <a:moveTo>
                  <a:pt x="7581880" y="5657562"/>
                </a:moveTo>
                <a:cubicBezTo>
                  <a:pt x="7581880" y="5676906"/>
                  <a:pt x="7588329" y="5689802"/>
                  <a:pt x="7601226" y="5689802"/>
                </a:cubicBezTo>
                <a:cubicBezTo>
                  <a:pt x="7601226" y="5664010"/>
                  <a:pt x="7594778" y="5657562"/>
                  <a:pt x="7581880" y="5657562"/>
                </a:cubicBezTo>
                <a:close/>
                <a:moveTo>
                  <a:pt x="9454956" y="5650608"/>
                </a:moveTo>
                <a:cubicBezTo>
                  <a:pt x="9457950" y="5651411"/>
                  <a:pt x="9460944" y="5654622"/>
                  <a:pt x="9463937" y="5657833"/>
                </a:cubicBezTo>
                <a:cubicBezTo>
                  <a:pt x="9457950" y="5657833"/>
                  <a:pt x="9457950" y="5664254"/>
                  <a:pt x="9451962" y="5677098"/>
                </a:cubicBezTo>
                <a:cubicBezTo>
                  <a:pt x="9451962" y="5664254"/>
                  <a:pt x="9451962" y="5657833"/>
                  <a:pt x="9445975" y="5657833"/>
                </a:cubicBezTo>
                <a:cubicBezTo>
                  <a:pt x="9448969" y="5651411"/>
                  <a:pt x="9451963" y="5649806"/>
                  <a:pt x="9454956" y="5650608"/>
                </a:cubicBezTo>
                <a:close/>
                <a:moveTo>
                  <a:pt x="10297753" y="5644986"/>
                </a:moveTo>
                <a:cubicBezTo>
                  <a:pt x="10304174" y="5658213"/>
                  <a:pt x="10310596" y="5671440"/>
                  <a:pt x="10317017" y="5691281"/>
                </a:cubicBezTo>
                <a:cubicBezTo>
                  <a:pt x="10304174" y="5691281"/>
                  <a:pt x="10291332" y="5691281"/>
                  <a:pt x="10284911" y="5678054"/>
                </a:cubicBezTo>
                <a:cubicBezTo>
                  <a:pt x="10284911" y="5664827"/>
                  <a:pt x="10291332" y="5651600"/>
                  <a:pt x="10297753" y="5644986"/>
                </a:cubicBezTo>
                <a:close/>
                <a:moveTo>
                  <a:pt x="9473864" y="5634183"/>
                </a:moveTo>
                <a:cubicBezTo>
                  <a:pt x="9482131" y="5634183"/>
                  <a:pt x="9490398" y="5637595"/>
                  <a:pt x="9497011" y="5644420"/>
                </a:cubicBezTo>
                <a:cubicBezTo>
                  <a:pt x="9483784" y="5644420"/>
                  <a:pt x="9463943" y="5658070"/>
                  <a:pt x="9450716" y="5644420"/>
                </a:cubicBezTo>
                <a:cubicBezTo>
                  <a:pt x="9457330" y="5637595"/>
                  <a:pt x="9465597" y="5634183"/>
                  <a:pt x="9473864" y="5634183"/>
                </a:cubicBezTo>
                <a:close/>
                <a:moveTo>
                  <a:pt x="7261612" y="5625323"/>
                </a:moveTo>
                <a:cubicBezTo>
                  <a:pt x="7255164" y="5625323"/>
                  <a:pt x="7242267" y="5631771"/>
                  <a:pt x="7242267" y="5657562"/>
                </a:cubicBezTo>
                <a:cubicBezTo>
                  <a:pt x="7255164" y="5657562"/>
                  <a:pt x="7261612" y="5651114"/>
                  <a:pt x="7261612" y="5625323"/>
                </a:cubicBezTo>
                <a:close/>
                <a:moveTo>
                  <a:pt x="9486616" y="5614347"/>
                </a:moveTo>
                <a:lnTo>
                  <a:pt x="9483892" y="5624940"/>
                </a:lnTo>
                <a:cubicBezTo>
                  <a:pt x="9483892" y="5624940"/>
                  <a:pt x="9484713" y="5621750"/>
                  <a:pt x="9485738" y="5617761"/>
                </a:cubicBezTo>
                <a:close/>
                <a:moveTo>
                  <a:pt x="9488543" y="5606855"/>
                </a:moveTo>
                <a:lnTo>
                  <a:pt x="9486616" y="5614347"/>
                </a:lnTo>
                <a:lnTo>
                  <a:pt x="9487661" y="5610283"/>
                </a:lnTo>
                <a:close/>
                <a:moveTo>
                  <a:pt x="9489431" y="5603404"/>
                </a:moveTo>
                <a:lnTo>
                  <a:pt x="9488543" y="5606855"/>
                </a:lnTo>
                <a:lnTo>
                  <a:pt x="9488815" y="5605797"/>
                </a:lnTo>
                <a:cubicBezTo>
                  <a:pt x="9489636" y="5602606"/>
                  <a:pt x="9490046" y="5601011"/>
                  <a:pt x="9489431" y="5603404"/>
                </a:cubicBezTo>
                <a:close/>
                <a:moveTo>
                  <a:pt x="7678606" y="5594158"/>
                </a:moveTo>
                <a:cubicBezTo>
                  <a:pt x="7665710" y="5594158"/>
                  <a:pt x="7659261" y="5605979"/>
                  <a:pt x="7659261" y="5625323"/>
                </a:cubicBezTo>
                <a:cubicBezTo>
                  <a:pt x="7672158" y="5625323"/>
                  <a:pt x="7678606" y="5619949"/>
                  <a:pt x="7678606" y="5594158"/>
                </a:cubicBezTo>
                <a:close/>
                <a:moveTo>
                  <a:pt x="19090348" y="5592850"/>
                </a:moveTo>
                <a:cubicBezTo>
                  <a:pt x="19090348" y="5619391"/>
                  <a:pt x="19084360" y="5624920"/>
                  <a:pt x="19072384" y="5624920"/>
                </a:cubicBezTo>
                <a:cubicBezTo>
                  <a:pt x="19072384" y="5605015"/>
                  <a:pt x="19078372" y="5592850"/>
                  <a:pt x="19090348" y="5592850"/>
                </a:cubicBezTo>
                <a:close/>
                <a:moveTo>
                  <a:pt x="20374812" y="5564413"/>
                </a:moveTo>
                <a:cubicBezTo>
                  <a:pt x="20374812" y="5583677"/>
                  <a:pt x="20368824" y="5596519"/>
                  <a:pt x="20356852" y="5596519"/>
                </a:cubicBezTo>
                <a:cubicBezTo>
                  <a:pt x="20356852" y="5577256"/>
                  <a:pt x="20362840" y="5564413"/>
                  <a:pt x="20374812" y="5564413"/>
                </a:cubicBezTo>
                <a:close/>
                <a:moveTo>
                  <a:pt x="19810784" y="5564413"/>
                </a:moveTo>
                <a:cubicBezTo>
                  <a:pt x="19810784" y="5583677"/>
                  <a:pt x="19804796" y="5596519"/>
                  <a:pt x="19792824" y="5596519"/>
                </a:cubicBezTo>
                <a:cubicBezTo>
                  <a:pt x="19792824" y="5577256"/>
                  <a:pt x="19798812" y="5564413"/>
                  <a:pt x="19810784" y="5564413"/>
                </a:cubicBezTo>
                <a:close/>
                <a:moveTo>
                  <a:pt x="10828980" y="5564413"/>
                </a:moveTo>
                <a:cubicBezTo>
                  <a:pt x="10828980" y="5590098"/>
                  <a:pt x="10822993" y="5596519"/>
                  <a:pt x="10811018" y="5596519"/>
                </a:cubicBezTo>
                <a:cubicBezTo>
                  <a:pt x="10811018" y="5577256"/>
                  <a:pt x="10818003" y="5564413"/>
                  <a:pt x="10828980" y="5564413"/>
                </a:cubicBezTo>
                <a:close/>
                <a:moveTo>
                  <a:pt x="7774257" y="5561918"/>
                </a:moveTo>
                <a:cubicBezTo>
                  <a:pt x="7761360" y="5561918"/>
                  <a:pt x="7754912" y="5574814"/>
                  <a:pt x="7754912" y="5594158"/>
                </a:cubicBezTo>
                <a:cubicBezTo>
                  <a:pt x="7767808" y="5594158"/>
                  <a:pt x="7774257" y="5587710"/>
                  <a:pt x="7774257" y="5561918"/>
                </a:cubicBezTo>
                <a:close/>
                <a:moveTo>
                  <a:pt x="9600691" y="5555468"/>
                </a:moveTo>
                <a:cubicBezTo>
                  <a:pt x="9606090" y="5556433"/>
                  <a:pt x="9610973" y="5558930"/>
                  <a:pt x="9615105" y="5563402"/>
                </a:cubicBezTo>
                <a:lnTo>
                  <a:pt x="9619348" y="5571868"/>
                </a:lnTo>
                <a:lnTo>
                  <a:pt x="9616604" y="5563038"/>
                </a:lnTo>
                <a:cubicBezTo>
                  <a:pt x="9622591" y="5550194"/>
                  <a:pt x="9622591" y="5556616"/>
                  <a:pt x="9634566" y="5563038"/>
                </a:cubicBezTo>
                <a:lnTo>
                  <a:pt x="9623691" y="5580533"/>
                </a:lnTo>
                <a:lnTo>
                  <a:pt x="9625019" y="5583182"/>
                </a:lnTo>
                <a:cubicBezTo>
                  <a:pt x="9587694" y="5607892"/>
                  <a:pt x="9530107" y="5672352"/>
                  <a:pt x="9498114" y="5607892"/>
                </a:cubicBezTo>
                <a:cubicBezTo>
                  <a:pt x="9517310" y="5599029"/>
                  <a:pt x="9568298" y="5549676"/>
                  <a:pt x="9600691" y="5555468"/>
                </a:cubicBezTo>
                <a:close/>
                <a:moveTo>
                  <a:pt x="9649142" y="5541994"/>
                </a:moveTo>
                <a:cubicBezTo>
                  <a:pt x="9656828" y="5541995"/>
                  <a:pt x="9662976" y="5546606"/>
                  <a:pt x="9662976" y="5561978"/>
                </a:cubicBezTo>
                <a:cubicBezTo>
                  <a:pt x="9650679" y="5561978"/>
                  <a:pt x="9632233" y="5568126"/>
                  <a:pt x="9626084" y="5549680"/>
                </a:cubicBezTo>
                <a:cubicBezTo>
                  <a:pt x="9632233" y="5546606"/>
                  <a:pt x="9641456" y="5541994"/>
                  <a:pt x="9649142" y="5541994"/>
                </a:cubicBezTo>
                <a:close/>
                <a:moveTo>
                  <a:pt x="904916" y="5536127"/>
                </a:moveTo>
                <a:cubicBezTo>
                  <a:pt x="904916" y="5555470"/>
                  <a:pt x="911364" y="5561918"/>
                  <a:pt x="924259" y="5561918"/>
                </a:cubicBezTo>
                <a:cubicBezTo>
                  <a:pt x="924259" y="5542574"/>
                  <a:pt x="917812" y="5536127"/>
                  <a:pt x="904916" y="5536127"/>
                </a:cubicBezTo>
                <a:close/>
                <a:moveTo>
                  <a:pt x="20336892" y="5535975"/>
                </a:moveTo>
                <a:cubicBezTo>
                  <a:pt x="20336892" y="5556450"/>
                  <a:pt x="20330904" y="5563275"/>
                  <a:pt x="20318932" y="5563275"/>
                </a:cubicBezTo>
                <a:cubicBezTo>
                  <a:pt x="20318932" y="5542800"/>
                  <a:pt x="20324920" y="5535975"/>
                  <a:pt x="20336892" y="5535975"/>
                </a:cubicBezTo>
                <a:close/>
                <a:moveTo>
                  <a:pt x="20298976" y="5502796"/>
                </a:moveTo>
                <a:cubicBezTo>
                  <a:pt x="20298976" y="5522061"/>
                  <a:pt x="20292988" y="5534905"/>
                  <a:pt x="20281016" y="5534905"/>
                </a:cubicBezTo>
                <a:cubicBezTo>
                  <a:pt x="20281016" y="5515640"/>
                  <a:pt x="20287000" y="5502796"/>
                  <a:pt x="20298976" y="5502796"/>
                </a:cubicBezTo>
                <a:close/>
                <a:moveTo>
                  <a:pt x="18451480" y="5502793"/>
                </a:moveTo>
                <a:cubicBezTo>
                  <a:pt x="18458100" y="5502793"/>
                  <a:pt x="18464724" y="5502793"/>
                  <a:pt x="18471348" y="5502793"/>
                </a:cubicBezTo>
                <a:cubicBezTo>
                  <a:pt x="18491216" y="5509178"/>
                  <a:pt x="18511084" y="5509178"/>
                  <a:pt x="18530952" y="5515562"/>
                </a:cubicBezTo>
                <a:cubicBezTo>
                  <a:pt x="18504460" y="5553868"/>
                  <a:pt x="18471348" y="5509178"/>
                  <a:pt x="18451480" y="5502793"/>
                </a:cubicBezTo>
                <a:close/>
                <a:moveTo>
                  <a:pt x="8200538" y="5493610"/>
                </a:moveTo>
                <a:cubicBezTo>
                  <a:pt x="8182452" y="5491797"/>
                  <a:pt x="8160890" y="5528067"/>
                  <a:pt x="8147187" y="5542574"/>
                </a:cubicBezTo>
                <a:cubicBezTo>
                  <a:pt x="8114946" y="5568366"/>
                  <a:pt x="8082704" y="5568366"/>
                  <a:pt x="8056910" y="5587710"/>
                </a:cubicBezTo>
                <a:cubicBezTo>
                  <a:pt x="8024668" y="5600606"/>
                  <a:pt x="7992426" y="5600606"/>
                  <a:pt x="7960184" y="5631771"/>
                </a:cubicBezTo>
                <a:cubicBezTo>
                  <a:pt x="7934391" y="5657562"/>
                  <a:pt x="7896776" y="5657562"/>
                  <a:pt x="7864534" y="5676906"/>
                </a:cubicBezTo>
                <a:cubicBezTo>
                  <a:pt x="7858086" y="5689802"/>
                  <a:pt x="7845189" y="5689802"/>
                  <a:pt x="7832292" y="5689802"/>
                </a:cubicBezTo>
                <a:cubicBezTo>
                  <a:pt x="7819396" y="5702698"/>
                  <a:pt x="7806498" y="5722041"/>
                  <a:pt x="7793602" y="5728489"/>
                </a:cubicBezTo>
                <a:cubicBezTo>
                  <a:pt x="7761360" y="5734937"/>
                  <a:pt x="7729118" y="5747833"/>
                  <a:pt x="7697951" y="5760729"/>
                </a:cubicBezTo>
                <a:cubicBezTo>
                  <a:pt x="7787154" y="5760729"/>
                  <a:pt x="7883879" y="5696250"/>
                  <a:pt x="7966633" y="5644666"/>
                </a:cubicBezTo>
                <a:cubicBezTo>
                  <a:pt x="8050462" y="5594158"/>
                  <a:pt x="8133216" y="5561918"/>
                  <a:pt x="8217044" y="5510335"/>
                </a:cubicBezTo>
                <a:cubicBezTo>
                  <a:pt x="8212208" y="5499051"/>
                  <a:pt x="8206566" y="5494215"/>
                  <a:pt x="8200538" y="5493610"/>
                </a:cubicBezTo>
                <a:close/>
                <a:moveTo>
                  <a:pt x="7531368" y="5478095"/>
                </a:moveTo>
                <a:cubicBezTo>
                  <a:pt x="7517397" y="5484543"/>
                  <a:pt x="7505575" y="5497439"/>
                  <a:pt x="7486230" y="5503887"/>
                </a:cubicBezTo>
                <a:cubicBezTo>
                  <a:pt x="7466885" y="5523231"/>
                  <a:pt x="7447540" y="5536127"/>
                  <a:pt x="7428194" y="5555470"/>
                </a:cubicBezTo>
                <a:cubicBezTo>
                  <a:pt x="7389504" y="5587710"/>
                  <a:pt x="7357262" y="5625323"/>
                  <a:pt x="7318572" y="5625323"/>
                </a:cubicBezTo>
                <a:cubicBezTo>
                  <a:pt x="7318572" y="5670458"/>
                  <a:pt x="7357262" y="5638219"/>
                  <a:pt x="7370160" y="5625323"/>
                </a:cubicBezTo>
                <a:cubicBezTo>
                  <a:pt x="7428194" y="5594158"/>
                  <a:pt x="7486230" y="5561918"/>
                  <a:pt x="7543190" y="5536127"/>
                </a:cubicBezTo>
                <a:cubicBezTo>
                  <a:pt x="7543190" y="5516783"/>
                  <a:pt x="7536742" y="5497439"/>
                  <a:pt x="7531368" y="5478095"/>
                </a:cubicBezTo>
                <a:close/>
                <a:moveTo>
                  <a:pt x="10653612" y="5469618"/>
                </a:moveTo>
                <a:cubicBezTo>
                  <a:pt x="10653612" y="5488882"/>
                  <a:pt x="10647625" y="5501724"/>
                  <a:pt x="10635650" y="5501724"/>
                </a:cubicBezTo>
                <a:cubicBezTo>
                  <a:pt x="10635650" y="5482461"/>
                  <a:pt x="10641637" y="5469618"/>
                  <a:pt x="10653612" y="5469618"/>
                </a:cubicBezTo>
                <a:close/>
                <a:moveTo>
                  <a:pt x="8890927" y="5465756"/>
                </a:moveTo>
                <a:cubicBezTo>
                  <a:pt x="8893921" y="5466558"/>
                  <a:pt x="8896915" y="5469769"/>
                  <a:pt x="8899908" y="5472980"/>
                </a:cubicBezTo>
                <a:cubicBezTo>
                  <a:pt x="8893921" y="5479401"/>
                  <a:pt x="8893921" y="5479401"/>
                  <a:pt x="8887933" y="5492243"/>
                </a:cubicBezTo>
                <a:cubicBezTo>
                  <a:pt x="8887933" y="5485822"/>
                  <a:pt x="8881946" y="5479401"/>
                  <a:pt x="8881946" y="5472980"/>
                </a:cubicBezTo>
                <a:cubicBezTo>
                  <a:pt x="8884940" y="5466558"/>
                  <a:pt x="8887934" y="5464953"/>
                  <a:pt x="8890927" y="5465756"/>
                </a:cubicBezTo>
                <a:close/>
                <a:moveTo>
                  <a:pt x="8594024" y="5442358"/>
                </a:moveTo>
                <a:lnTo>
                  <a:pt x="8596889" y="5446490"/>
                </a:lnTo>
                <a:cubicBezTo>
                  <a:pt x="8598394" y="5448660"/>
                  <a:pt x="8597391" y="5447213"/>
                  <a:pt x="8595384" y="5444320"/>
                </a:cubicBezTo>
                <a:close/>
                <a:moveTo>
                  <a:pt x="8583343" y="5426959"/>
                </a:moveTo>
                <a:cubicBezTo>
                  <a:pt x="8583343" y="5426959"/>
                  <a:pt x="8585350" y="5429853"/>
                  <a:pt x="8587859" y="5433469"/>
                </a:cubicBezTo>
                <a:lnTo>
                  <a:pt x="8594024" y="5442358"/>
                </a:lnTo>
                <a:lnTo>
                  <a:pt x="8592562" y="5440251"/>
                </a:lnTo>
                <a:cubicBezTo>
                  <a:pt x="8590367" y="5437086"/>
                  <a:pt x="8587357" y="5432746"/>
                  <a:pt x="8583343" y="5426959"/>
                </a:cubicBezTo>
                <a:close/>
                <a:moveTo>
                  <a:pt x="18830936" y="5411343"/>
                </a:moveTo>
                <a:cubicBezTo>
                  <a:pt x="18850932" y="5407556"/>
                  <a:pt x="18872260" y="5434823"/>
                  <a:pt x="18886480" y="5459060"/>
                </a:cubicBezTo>
                <a:cubicBezTo>
                  <a:pt x="18861200" y="5446133"/>
                  <a:pt x="18835924" y="5433207"/>
                  <a:pt x="18811700" y="5426744"/>
                </a:cubicBezTo>
                <a:cubicBezTo>
                  <a:pt x="18817756" y="5417318"/>
                  <a:pt x="18824272" y="5412605"/>
                  <a:pt x="18830936" y="5411343"/>
                </a:cubicBezTo>
                <a:close/>
                <a:moveTo>
                  <a:pt x="18799940" y="5393307"/>
                </a:moveTo>
                <a:cubicBezTo>
                  <a:pt x="18800760" y="5390747"/>
                  <a:pt x="18804040" y="5392454"/>
                  <a:pt x="18810604" y="5395866"/>
                </a:cubicBezTo>
                <a:cubicBezTo>
                  <a:pt x="18810604" y="5401554"/>
                  <a:pt x="18804040" y="5409516"/>
                  <a:pt x="18804040" y="5416341"/>
                </a:cubicBezTo>
                <a:cubicBezTo>
                  <a:pt x="18800760" y="5402691"/>
                  <a:pt x="18799120" y="5395866"/>
                  <a:pt x="18799940" y="5393307"/>
                </a:cubicBezTo>
                <a:close/>
                <a:moveTo>
                  <a:pt x="8700838" y="5384303"/>
                </a:moveTo>
                <a:cubicBezTo>
                  <a:pt x="8700838" y="5402497"/>
                  <a:pt x="8694851" y="5416409"/>
                  <a:pt x="8682876" y="5416409"/>
                </a:cubicBezTo>
                <a:cubicBezTo>
                  <a:pt x="8682876" y="5390724"/>
                  <a:pt x="8688863" y="5384303"/>
                  <a:pt x="8700838" y="5384303"/>
                </a:cubicBezTo>
                <a:close/>
                <a:moveTo>
                  <a:pt x="18245036" y="5365343"/>
                </a:moveTo>
                <a:cubicBezTo>
                  <a:pt x="18248196" y="5371764"/>
                  <a:pt x="18248196" y="5376580"/>
                  <a:pt x="18247404" y="5381396"/>
                </a:cubicBezTo>
                <a:lnTo>
                  <a:pt x="18245400" y="5394978"/>
                </a:lnTo>
                <a:lnTo>
                  <a:pt x="18246616" y="5396535"/>
                </a:lnTo>
                <a:lnTo>
                  <a:pt x="18245044" y="5397380"/>
                </a:lnTo>
                <a:lnTo>
                  <a:pt x="18245036" y="5397449"/>
                </a:lnTo>
                <a:lnTo>
                  <a:pt x="18245004" y="5397403"/>
                </a:lnTo>
                <a:lnTo>
                  <a:pt x="18209752" y="5416376"/>
                </a:lnTo>
                <a:cubicBezTo>
                  <a:pt x="18209752" y="5396535"/>
                  <a:pt x="18216072" y="5384962"/>
                  <a:pt x="18223840" y="5381655"/>
                </a:cubicBezTo>
                <a:lnTo>
                  <a:pt x="18234564" y="5382751"/>
                </a:lnTo>
                <a:close/>
                <a:moveTo>
                  <a:pt x="9586345" y="5365343"/>
                </a:moveTo>
                <a:cubicBezTo>
                  <a:pt x="9591815" y="5371764"/>
                  <a:pt x="9591815" y="5378186"/>
                  <a:pt x="9591815" y="5384607"/>
                </a:cubicBezTo>
                <a:cubicBezTo>
                  <a:pt x="9591815" y="5384607"/>
                  <a:pt x="9586345" y="5391028"/>
                  <a:pt x="9586345" y="5397449"/>
                </a:cubicBezTo>
                <a:cubicBezTo>
                  <a:pt x="9578687" y="5384607"/>
                  <a:pt x="9578687" y="5378186"/>
                  <a:pt x="9586345" y="5365343"/>
                </a:cubicBezTo>
                <a:close/>
                <a:moveTo>
                  <a:pt x="8002180" y="5365343"/>
                </a:moveTo>
                <a:cubicBezTo>
                  <a:pt x="8008744" y="5371764"/>
                  <a:pt x="8008744" y="5378186"/>
                  <a:pt x="8008744" y="5384607"/>
                </a:cubicBezTo>
                <a:cubicBezTo>
                  <a:pt x="8008744" y="5384607"/>
                  <a:pt x="8002180" y="5391028"/>
                  <a:pt x="8002180" y="5397449"/>
                </a:cubicBezTo>
                <a:cubicBezTo>
                  <a:pt x="7995616" y="5384607"/>
                  <a:pt x="7995616" y="5378186"/>
                  <a:pt x="8002180" y="5365343"/>
                </a:cubicBezTo>
                <a:close/>
                <a:moveTo>
                  <a:pt x="9618055" y="5351565"/>
                </a:moveTo>
                <a:cubicBezTo>
                  <a:pt x="9628193" y="5349911"/>
                  <a:pt x="9637672" y="5351565"/>
                  <a:pt x="9643992" y="5361485"/>
                </a:cubicBezTo>
                <a:cubicBezTo>
                  <a:pt x="9625032" y="5368098"/>
                  <a:pt x="9599753" y="5387939"/>
                  <a:pt x="9588167" y="5361485"/>
                </a:cubicBezTo>
                <a:cubicBezTo>
                  <a:pt x="9597120" y="5358178"/>
                  <a:pt x="9607917" y="5353218"/>
                  <a:pt x="9618055" y="5351565"/>
                </a:cubicBezTo>
                <a:close/>
                <a:moveTo>
                  <a:pt x="20116532" y="5351124"/>
                </a:moveTo>
                <a:cubicBezTo>
                  <a:pt x="20128832" y="5357546"/>
                  <a:pt x="20134980" y="5363968"/>
                  <a:pt x="20147276" y="5363968"/>
                </a:cubicBezTo>
                <a:cubicBezTo>
                  <a:pt x="20134980" y="5383233"/>
                  <a:pt x="20122680" y="5370389"/>
                  <a:pt x="20110384" y="5363968"/>
                </a:cubicBezTo>
                <a:cubicBezTo>
                  <a:pt x="20110384" y="5363968"/>
                  <a:pt x="20116532" y="5357546"/>
                  <a:pt x="20116532" y="5351124"/>
                </a:cubicBezTo>
                <a:close/>
                <a:moveTo>
                  <a:pt x="18772784" y="5351124"/>
                </a:moveTo>
                <a:cubicBezTo>
                  <a:pt x="18772784" y="5376811"/>
                  <a:pt x="18766796" y="5383233"/>
                  <a:pt x="18754820" y="5383233"/>
                </a:cubicBezTo>
                <a:cubicBezTo>
                  <a:pt x="18754820" y="5357546"/>
                  <a:pt x="18760808" y="5351124"/>
                  <a:pt x="18772784" y="5351124"/>
                </a:cubicBezTo>
                <a:close/>
                <a:moveTo>
                  <a:pt x="9642129" y="5332164"/>
                </a:moveTo>
                <a:cubicBezTo>
                  <a:pt x="9648693" y="5338313"/>
                  <a:pt x="9648693" y="5344462"/>
                  <a:pt x="9648693" y="5350610"/>
                </a:cubicBezTo>
                <a:cubicBezTo>
                  <a:pt x="9635565" y="5369056"/>
                  <a:pt x="9635565" y="5344462"/>
                  <a:pt x="9642129" y="5332164"/>
                </a:cubicBezTo>
                <a:close/>
                <a:moveTo>
                  <a:pt x="7806498" y="5330868"/>
                </a:moveTo>
                <a:cubicBezTo>
                  <a:pt x="7787154" y="5330868"/>
                  <a:pt x="7761360" y="5369555"/>
                  <a:pt x="7742015" y="5382451"/>
                </a:cubicBezTo>
                <a:cubicBezTo>
                  <a:pt x="7691503" y="5420064"/>
                  <a:pt x="7633468" y="5426512"/>
                  <a:pt x="7581880" y="5445856"/>
                </a:cubicBezTo>
                <a:cubicBezTo>
                  <a:pt x="7588329" y="5471647"/>
                  <a:pt x="7594778" y="5503887"/>
                  <a:pt x="7601226" y="5536127"/>
                </a:cubicBezTo>
                <a:cubicBezTo>
                  <a:pt x="7685054" y="5484543"/>
                  <a:pt x="7761360" y="5432960"/>
                  <a:pt x="7845189" y="5382451"/>
                </a:cubicBezTo>
                <a:cubicBezTo>
                  <a:pt x="7832292" y="5363108"/>
                  <a:pt x="7825844" y="5330868"/>
                  <a:pt x="7806498" y="5330868"/>
                </a:cubicBezTo>
                <a:close/>
                <a:moveTo>
                  <a:pt x="7922569" y="5317972"/>
                </a:moveTo>
                <a:cubicBezTo>
                  <a:pt x="7922569" y="5343764"/>
                  <a:pt x="7927943" y="5350212"/>
                  <a:pt x="7941914" y="5350212"/>
                </a:cubicBezTo>
                <a:cubicBezTo>
                  <a:pt x="7941914" y="5330868"/>
                  <a:pt x="7934391" y="5317972"/>
                  <a:pt x="7922569" y="5317972"/>
                </a:cubicBezTo>
                <a:close/>
                <a:moveTo>
                  <a:pt x="7864534" y="5317972"/>
                </a:moveTo>
                <a:cubicBezTo>
                  <a:pt x="7864534" y="5343764"/>
                  <a:pt x="7870982" y="5350212"/>
                  <a:pt x="7883879" y="5350212"/>
                </a:cubicBezTo>
                <a:cubicBezTo>
                  <a:pt x="7883879" y="5330868"/>
                  <a:pt x="7877430" y="5317972"/>
                  <a:pt x="7864534" y="5317972"/>
                </a:cubicBezTo>
                <a:close/>
                <a:moveTo>
                  <a:pt x="20848784" y="5317945"/>
                </a:moveTo>
                <a:cubicBezTo>
                  <a:pt x="20848784" y="5343630"/>
                  <a:pt x="20842796" y="5350051"/>
                  <a:pt x="20830824" y="5350051"/>
                </a:cubicBezTo>
                <a:cubicBezTo>
                  <a:pt x="20830824" y="5330788"/>
                  <a:pt x="20836812" y="5317945"/>
                  <a:pt x="20848784" y="5317945"/>
                </a:cubicBezTo>
                <a:close/>
                <a:moveTo>
                  <a:pt x="20079640" y="5317945"/>
                </a:moveTo>
                <a:cubicBezTo>
                  <a:pt x="20090912" y="5324366"/>
                  <a:pt x="20097060" y="5330788"/>
                  <a:pt x="20109360" y="5330788"/>
                </a:cubicBezTo>
                <a:cubicBezTo>
                  <a:pt x="20097060" y="5350051"/>
                  <a:pt x="20084764" y="5337209"/>
                  <a:pt x="20072468" y="5330788"/>
                </a:cubicBezTo>
                <a:cubicBezTo>
                  <a:pt x="20079640" y="5330788"/>
                  <a:pt x="20079640" y="5324366"/>
                  <a:pt x="20079640" y="5317945"/>
                </a:cubicBezTo>
                <a:close/>
                <a:moveTo>
                  <a:pt x="18692208" y="5317945"/>
                </a:moveTo>
                <a:cubicBezTo>
                  <a:pt x="18692208" y="5343630"/>
                  <a:pt x="18686220" y="5350051"/>
                  <a:pt x="18674244" y="5350051"/>
                </a:cubicBezTo>
                <a:cubicBezTo>
                  <a:pt x="18674244" y="5330788"/>
                  <a:pt x="18680232" y="5317945"/>
                  <a:pt x="18692208" y="5317945"/>
                </a:cubicBezTo>
                <a:close/>
                <a:moveTo>
                  <a:pt x="9706095" y="5307543"/>
                </a:moveTo>
                <a:cubicBezTo>
                  <a:pt x="9713486" y="5307344"/>
                  <a:pt x="9721181" y="5308538"/>
                  <a:pt x="9729280" y="5311721"/>
                </a:cubicBezTo>
                <a:cubicBezTo>
                  <a:pt x="9703362" y="5324454"/>
                  <a:pt x="9670963" y="5369020"/>
                  <a:pt x="9645045" y="5330821"/>
                </a:cubicBezTo>
                <a:cubicBezTo>
                  <a:pt x="9664484" y="5321271"/>
                  <a:pt x="9683923" y="5308140"/>
                  <a:pt x="9706095" y="5307543"/>
                </a:cubicBezTo>
                <a:close/>
                <a:moveTo>
                  <a:pt x="20810868" y="5284766"/>
                </a:moveTo>
                <a:cubicBezTo>
                  <a:pt x="20810868" y="5310453"/>
                  <a:pt x="20804880" y="5316875"/>
                  <a:pt x="20792908" y="5316875"/>
                </a:cubicBezTo>
                <a:cubicBezTo>
                  <a:pt x="20792908" y="5297610"/>
                  <a:pt x="20798892" y="5284766"/>
                  <a:pt x="20810868" y="5284766"/>
                </a:cubicBezTo>
                <a:close/>
                <a:moveTo>
                  <a:pt x="8102340" y="5284766"/>
                </a:moveTo>
                <a:cubicBezTo>
                  <a:pt x="8108714" y="5297458"/>
                  <a:pt x="8184141" y="5316495"/>
                  <a:pt x="8165018" y="5348224"/>
                </a:cubicBezTo>
                <a:cubicBezTo>
                  <a:pt x="8133148" y="5397933"/>
                  <a:pt x="8083218" y="5354570"/>
                  <a:pt x="8051348" y="5411683"/>
                </a:cubicBezTo>
                <a:cubicBezTo>
                  <a:pt x="8032225" y="5392645"/>
                  <a:pt x="8013103" y="5386299"/>
                  <a:pt x="8000355" y="5360916"/>
                </a:cubicBezTo>
                <a:cubicBezTo>
                  <a:pt x="8025851" y="5360916"/>
                  <a:pt x="8051348" y="5360916"/>
                  <a:pt x="8076844" y="5354570"/>
                </a:cubicBezTo>
                <a:cubicBezTo>
                  <a:pt x="8095966" y="5348224"/>
                  <a:pt x="8095966" y="5316495"/>
                  <a:pt x="8102340" y="5284766"/>
                </a:cubicBezTo>
                <a:close/>
                <a:moveTo>
                  <a:pt x="8584081" y="5279889"/>
                </a:moveTo>
                <a:cubicBezTo>
                  <a:pt x="8559950" y="5281703"/>
                  <a:pt x="8535970" y="5303464"/>
                  <a:pt x="8512595" y="5317972"/>
                </a:cubicBezTo>
                <a:cubicBezTo>
                  <a:pt x="8486801" y="5337316"/>
                  <a:pt x="8454559" y="5350212"/>
                  <a:pt x="8428766" y="5369555"/>
                </a:cubicBezTo>
                <a:cubicBezTo>
                  <a:pt x="8409421" y="5382451"/>
                  <a:pt x="8396524" y="5395347"/>
                  <a:pt x="8390076" y="5414691"/>
                </a:cubicBezTo>
                <a:cubicBezTo>
                  <a:pt x="8370730" y="5400720"/>
                  <a:pt x="8352460" y="5400720"/>
                  <a:pt x="8333115" y="5408243"/>
                </a:cubicBezTo>
                <a:cubicBezTo>
                  <a:pt x="8307322" y="5414691"/>
                  <a:pt x="8275080" y="5432960"/>
                  <a:pt x="8242838" y="5445856"/>
                </a:cubicBezTo>
                <a:cubicBezTo>
                  <a:pt x="8242838" y="5465199"/>
                  <a:pt x="8242838" y="5484543"/>
                  <a:pt x="8242838" y="5503887"/>
                </a:cubicBezTo>
                <a:cubicBezTo>
                  <a:pt x="8307322" y="5465199"/>
                  <a:pt x="8377179" y="5439408"/>
                  <a:pt x="8435214" y="5388899"/>
                </a:cubicBezTo>
                <a:cubicBezTo>
                  <a:pt x="8493249" y="5343764"/>
                  <a:pt x="8550210" y="5317972"/>
                  <a:pt x="8608245" y="5285733"/>
                </a:cubicBezTo>
                <a:cubicBezTo>
                  <a:pt x="8600185" y="5280897"/>
                  <a:pt x="8592124" y="5279285"/>
                  <a:pt x="8584081" y="5279889"/>
                </a:cubicBezTo>
                <a:close/>
                <a:moveTo>
                  <a:pt x="9449896" y="5275286"/>
                </a:moveTo>
                <a:cubicBezTo>
                  <a:pt x="9469312" y="5319740"/>
                  <a:pt x="9495202" y="5307039"/>
                  <a:pt x="9521091" y="5287987"/>
                </a:cubicBezTo>
                <a:cubicBezTo>
                  <a:pt x="9534035" y="5287987"/>
                  <a:pt x="9553452" y="5275286"/>
                  <a:pt x="9566397" y="5294338"/>
                </a:cubicBezTo>
                <a:cubicBezTo>
                  <a:pt x="9572869" y="5313389"/>
                  <a:pt x="9559925" y="5326090"/>
                  <a:pt x="9546980" y="5332441"/>
                </a:cubicBezTo>
                <a:cubicBezTo>
                  <a:pt x="9501674" y="5345142"/>
                  <a:pt x="9456368" y="5357843"/>
                  <a:pt x="9417534" y="5383245"/>
                </a:cubicBezTo>
                <a:cubicBezTo>
                  <a:pt x="9424006" y="5338791"/>
                  <a:pt x="9436951" y="5307039"/>
                  <a:pt x="9449896" y="5275286"/>
                </a:cubicBezTo>
                <a:close/>
                <a:moveTo>
                  <a:pt x="9629789" y="5262125"/>
                </a:moveTo>
                <a:cubicBezTo>
                  <a:pt x="9634512" y="5262605"/>
                  <a:pt x="9639252" y="5265296"/>
                  <a:pt x="9643992" y="5271444"/>
                </a:cubicBezTo>
                <a:cubicBezTo>
                  <a:pt x="9625032" y="5277593"/>
                  <a:pt x="9606073" y="5277593"/>
                  <a:pt x="9588167" y="5283741"/>
                </a:cubicBezTo>
                <a:cubicBezTo>
                  <a:pt x="9601597" y="5279130"/>
                  <a:pt x="9615619" y="5260684"/>
                  <a:pt x="9629789" y="5262125"/>
                </a:cubicBezTo>
                <a:close/>
                <a:moveTo>
                  <a:pt x="18583192" y="5261070"/>
                </a:moveTo>
                <a:cubicBezTo>
                  <a:pt x="18583192" y="5281545"/>
                  <a:pt x="18571216" y="5288370"/>
                  <a:pt x="18565232" y="5288370"/>
                </a:cubicBezTo>
                <a:cubicBezTo>
                  <a:pt x="18565232" y="5267895"/>
                  <a:pt x="18571216" y="5261070"/>
                  <a:pt x="18583192" y="5261070"/>
                </a:cubicBezTo>
                <a:close/>
                <a:moveTo>
                  <a:pt x="8365316" y="5261070"/>
                </a:moveTo>
                <a:cubicBezTo>
                  <a:pt x="8378444" y="5267895"/>
                  <a:pt x="8378444" y="5281545"/>
                  <a:pt x="8365316" y="5288370"/>
                </a:cubicBezTo>
                <a:cubicBezTo>
                  <a:pt x="8365316" y="5281545"/>
                  <a:pt x="8365316" y="5267895"/>
                  <a:pt x="8365316" y="5261070"/>
                </a:cubicBezTo>
                <a:close/>
                <a:moveTo>
                  <a:pt x="19977672" y="5242110"/>
                </a:moveTo>
                <a:cubicBezTo>
                  <a:pt x="20015592" y="5242110"/>
                  <a:pt x="20047188" y="5273894"/>
                  <a:pt x="20071412" y="5305677"/>
                </a:cubicBezTo>
                <a:cubicBezTo>
                  <a:pt x="20040868" y="5331104"/>
                  <a:pt x="20002952" y="5261180"/>
                  <a:pt x="19977672" y="5242110"/>
                </a:cubicBezTo>
                <a:close/>
                <a:moveTo>
                  <a:pt x="9642129" y="5242110"/>
                </a:moveTo>
                <a:cubicBezTo>
                  <a:pt x="9648693" y="5254408"/>
                  <a:pt x="9642129" y="5279002"/>
                  <a:pt x="9635565" y="5260556"/>
                </a:cubicBezTo>
                <a:cubicBezTo>
                  <a:pt x="9635565" y="5254408"/>
                  <a:pt x="9635565" y="5248259"/>
                  <a:pt x="9642129" y="5242110"/>
                </a:cubicBezTo>
                <a:close/>
                <a:moveTo>
                  <a:pt x="8718550" y="5242110"/>
                </a:moveTo>
                <a:cubicBezTo>
                  <a:pt x="8718550" y="5248935"/>
                  <a:pt x="8724537" y="5255760"/>
                  <a:pt x="8724537" y="5262585"/>
                </a:cubicBezTo>
                <a:cubicBezTo>
                  <a:pt x="8718550" y="5269410"/>
                  <a:pt x="8706575" y="5262585"/>
                  <a:pt x="8718550" y="5242110"/>
                </a:cubicBezTo>
                <a:close/>
                <a:moveTo>
                  <a:pt x="18905496" y="5227892"/>
                </a:moveTo>
                <a:cubicBezTo>
                  <a:pt x="18905496" y="5247157"/>
                  <a:pt x="18899508" y="5260001"/>
                  <a:pt x="18887532" y="5260001"/>
                </a:cubicBezTo>
                <a:cubicBezTo>
                  <a:pt x="18887532" y="5240736"/>
                  <a:pt x="18887532" y="5227892"/>
                  <a:pt x="18905496" y="5227892"/>
                </a:cubicBezTo>
                <a:close/>
                <a:moveTo>
                  <a:pt x="18507356" y="5227892"/>
                </a:moveTo>
                <a:cubicBezTo>
                  <a:pt x="18507356" y="5247157"/>
                  <a:pt x="18501368" y="5260001"/>
                  <a:pt x="18489392" y="5260001"/>
                </a:cubicBezTo>
                <a:cubicBezTo>
                  <a:pt x="18489392" y="5240736"/>
                  <a:pt x="18495380" y="5227892"/>
                  <a:pt x="18507356" y="5227892"/>
                </a:cubicBezTo>
                <a:close/>
                <a:moveTo>
                  <a:pt x="9262754" y="5227701"/>
                </a:moveTo>
                <a:cubicBezTo>
                  <a:pt x="9262754" y="5259941"/>
                  <a:pt x="9288548" y="5259941"/>
                  <a:pt x="9301444" y="5259941"/>
                </a:cubicBezTo>
                <a:cubicBezTo>
                  <a:pt x="9301444" y="5221253"/>
                  <a:pt x="9282099" y="5227701"/>
                  <a:pt x="9262754" y="5227701"/>
                </a:cubicBezTo>
                <a:close/>
                <a:moveTo>
                  <a:pt x="8640487" y="5227701"/>
                </a:moveTo>
                <a:cubicBezTo>
                  <a:pt x="8640487" y="5259941"/>
                  <a:pt x="8659832" y="5259941"/>
                  <a:pt x="8679177" y="5259941"/>
                </a:cubicBezTo>
                <a:cubicBezTo>
                  <a:pt x="8679177" y="5221253"/>
                  <a:pt x="8659832" y="5227701"/>
                  <a:pt x="8640487" y="5227701"/>
                </a:cubicBezTo>
                <a:close/>
                <a:moveTo>
                  <a:pt x="8444887" y="5213596"/>
                </a:moveTo>
                <a:cubicBezTo>
                  <a:pt x="8436826" y="5213731"/>
                  <a:pt x="8428766" y="5215343"/>
                  <a:pt x="8422317" y="5221253"/>
                </a:cubicBezTo>
                <a:cubicBezTo>
                  <a:pt x="8409421" y="5227701"/>
                  <a:pt x="8402972" y="5247045"/>
                  <a:pt x="8390076" y="5253493"/>
                </a:cubicBezTo>
                <a:lnTo>
                  <a:pt x="8387050" y="5252196"/>
                </a:lnTo>
                <a:lnTo>
                  <a:pt x="8392755" y="5261374"/>
                </a:lnTo>
                <a:cubicBezTo>
                  <a:pt x="8386768" y="5261374"/>
                  <a:pt x="8380780" y="5267795"/>
                  <a:pt x="8380780" y="5274216"/>
                </a:cubicBezTo>
                <a:cubicBezTo>
                  <a:pt x="8377787" y="5267795"/>
                  <a:pt x="8376290" y="5262979"/>
                  <a:pt x="8376290" y="5258163"/>
                </a:cubicBezTo>
                <a:lnTo>
                  <a:pt x="8378932" y="5248717"/>
                </a:lnTo>
                <a:lnTo>
                  <a:pt x="8367506" y="5243821"/>
                </a:lnTo>
                <a:cubicBezTo>
                  <a:pt x="8361058" y="5238985"/>
                  <a:pt x="8354610" y="5234149"/>
                  <a:pt x="8344937" y="5234149"/>
                </a:cubicBezTo>
                <a:cubicBezTo>
                  <a:pt x="8333115" y="5227701"/>
                  <a:pt x="8320218" y="5227701"/>
                  <a:pt x="8300874" y="5227701"/>
                </a:cubicBezTo>
                <a:cubicBezTo>
                  <a:pt x="8300874" y="5247045"/>
                  <a:pt x="8300874" y="5266389"/>
                  <a:pt x="8300874" y="5285733"/>
                </a:cubicBezTo>
                <a:cubicBezTo>
                  <a:pt x="8313770" y="5285733"/>
                  <a:pt x="8320218" y="5292180"/>
                  <a:pt x="8333115" y="5292180"/>
                </a:cubicBezTo>
                <a:cubicBezTo>
                  <a:pt x="8344937" y="5298628"/>
                  <a:pt x="8357834" y="5311524"/>
                  <a:pt x="8370730" y="5298628"/>
                </a:cubicBezTo>
                <a:cubicBezTo>
                  <a:pt x="8409421" y="5285733"/>
                  <a:pt x="8441663" y="5259941"/>
                  <a:pt x="8467456" y="5214805"/>
                </a:cubicBezTo>
                <a:cubicBezTo>
                  <a:pt x="8461008" y="5214805"/>
                  <a:pt x="8452947" y="5213462"/>
                  <a:pt x="8444887" y="5213596"/>
                </a:cubicBezTo>
                <a:close/>
                <a:moveTo>
                  <a:pt x="9340135" y="5195462"/>
                </a:moveTo>
                <a:cubicBezTo>
                  <a:pt x="9340135" y="5214805"/>
                  <a:pt x="9346583" y="5227701"/>
                  <a:pt x="9359480" y="5227701"/>
                </a:cubicBezTo>
                <a:cubicBezTo>
                  <a:pt x="9359480" y="5202984"/>
                  <a:pt x="9353031" y="5195462"/>
                  <a:pt x="9340135" y="5195462"/>
                </a:cubicBezTo>
                <a:close/>
                <a:moveTo>
                  <a:pt x="8768815" y="5195360"/>
                </a:moveTo>
                <a:cubicBezTo>
                  <a:pt x="8788396" y="5202901"/>
                  <a:pt x="8814504" y="5227677"/>
                  <a:pt x="8814504" y="5259993"/>
                </a:cubicBezTo>
                <a:cubicBezTo>
                  <a:pt x="8794923" y="5259993"/>
                  <a:pt x="8775342" y="5259993"/>
                  <a:pt x="8755761" y="5259993"/>
                </a:cubicBezTo>
                <a:cubicBezTo>
                  <a:pt x="8755761" y="5240603"/>
                  <a:pt x="8749234" y="5189974"/>
                  <a:pt x="8768815" y="5195360"/>
                </a:cubicBezTo>
                <a:close/>
                <a:moveTo>
                  <a:pt x="19166180" y="5194713"/>
                </a:moveTo>
                <a:cubicBezTo>
                  <a:pt x="19166180" y="5213977"/>
                  <a:pt x="19160192" y="5226819"/>
                  <a:pt x="19148220" y="5226819"/>
                </a:cubicBezTo>
                <a:cubicBezTo>
                  <a:pt x="19148220" y="5202205"/>
                  <a:pt x="19154208" y="5194713"/>
                  <a:pt x="19166180" y="5194713"/>
                </a:cubicBezTo>
                <a:close/>
                <a:moveTo>
                  <a:pt x="8876071" y="5194713"/>
                </a:moveTo>
                <a:cubicBezTo>
                  <a:pt x="8876071" y="5213977"/>
                  <a:pt x="8869246" y="5226819"/>
                  <a:pt x="8848771" y="5226819"/>
                </a:cubicBezTo>
                <a:cubicBezTo>
                  <a:pt x="8848771" y="5202205"/>
                  <a:pt x="8855596" y="5194713"/>
                  <a:pt x="8876071" y="5194713"/>
                </a:cubicBezTo>
                <a:close/>
                <a:moveTo>
                  <a:pt x="8175723" y="5194713"/>
                </a:moveTo>
                <a:cubicBezTo>
                  <a:pt x="8187698" y="5194713"/>
                  <a:pt x="8193685" y="5202205"/>
                  <a:pt x="8193685" y="5226819"/>
                </a:cubicBezTo>
                <a:cubicBezTo>
                  <a:pt x="8181710" y="5226819"/>
                  <a:pt x="8175723" y="5213977"/>
                  <a:pt x="8175723" y="5194713"/>
                </a:cubicBezTo>
                <a:close/>
                <a:moveTo>
                  <a:pt x="20714900" y="5166276"/>
                </a:moveTo>
                <a:cubicBezTo>
                  <a:pt x="20714900" y="5192819"/>
                  <a:pt x="20720824" y="5231528"/>
                  <a:pt x="20698116" y="5231528"/>
                </a:cubicBezTo>
                <a:cubicBezTo>
                  <a:pt x="20698116" y="5206091"/>
                  <a:pt x="20698116" y="5166276"/>
                  <a:pt x="20714900" y="5166276"/>
                </a:cubicBezTo>
                <a:close/>
                <a:moveTo>
                  <a:pt x="9875939" y="5166276"/>
                </a:moveTo>
                <a:cubicBezTo>
                  <a:pt x="9875939" y="5179547"/>
                  <a:pt x="9875939" y="5186182"/>
                  <a:pt x="9875939" y="5198346"/>
                </a:cubicBezTo>
                <a:cubicBezTo>
                  <a:pt x="9867813" y="5192817"/>
                  <a:pt x="9867813" y="5179547"/>
                  <a:pt x="9875939" y="5166276"/>
                </a:cubicBezTo>
                <a:close/>
                <a:moveTo>
                  <a:pt x="8486801" y="5164297"/>
                </a:moveTo>
                <a:cubicBezTo>
                  <a:pt x="8486801" y="5190088"/>
                  <a:pt x="8499698" y="5195462"/>
                  <a:pt x="8506146" y="5195462"/>
                </a:cubicBezTo>
                <a:cubicBezTo>
                  <a:pt x="8506146" y="5177193"/>
                  <a:pt x="8499698" y="5164297"/>
                  <a:pt x="8486801" y="5164297"/>
                </a:cubicBezTo>
                <a:close/>
                <a:moveTo>
                  <a:pt x="9707680" y="5150309"/>
                </a:moveTo>
                <a:cubicBezTo>
                  <a:pt x="9708696" y="5148812"/>
                  <a:pt x="9710727" y="5150309"/>
                  <a:pt x="9714790" y="5153303"/>
                </a:cubicBezTo>
                <a:cubicBezTo>
                  <a:pt x="9714790" y="5153303"/>
                  <a:pt x="9706664" y="5159290"/>
                  <a:pt x="9706664" y="5165277"/>
                </a:cubicBezTo>
                <a:cubicBezTo>
                  <a:pt x="9706664" y="5156296"/>
                  <a:pt x="9706664" y="5151806"/>
                  <a:pt x="9707680" y="5150309"/>
                </a:cubicBezTo>
                <a:close/>
                <a:moveTo>
                  <a:pt x="19071332" y="5133097"/>
                </a:moveTo>
                <a:cubicBezTo>
                  <a:pt x="19071332" y="5152362"/>
                  <a:pt x="19065012" y="5165206"/>
                  <a:pt x="19053424" y="5165206"/>
                </a:cubicBezTo>
                <a:cubicBezTo>
                  <a:pt x="19053424" y="5145941"/>
                  <a:pt x="19058692" y="5133097"/>
                  <a:pt x="19071332" y="5133097"/>
                </a:cubicBezTo>
                <a:close/>
                <a:moveTo>
                  <a:pt x="18355684" y="5133097"/>
                </a:moveTo>
                <a:cubicBezTo>
                  <a:pt x="18355684" y="5158784"/>
                  <a:pt x="18349696" y="5165206"/>
                  <a:pt x="18337724" y="5165206"/>
                </a:cubicBezTo>
                <a:cubicBezTo>
                  <a:pt x="18337724" y="5145941"/>
                  <a:pt x="18343712" y="5133097"/>
                  <a:pt x="18355684" y="5133097"/>
                </a:cubicBezTo>
                <a:close/>
                <a:moveTo>
                  <a:pt x="17848536" y="5133094"/>
                </a:moveTo>
                <a:cubicBezTo>
                  <a:pt x="17848536" y="5159637"/>
                  <a:pt x="17848536" y="5198346"/>
                  <a:pt x="17830572" y="5198346"/>
                </a:cubicBezTo>
                <a:cubicBezTo>
                  <a:pt x="17830572" y="5172909"/>
                  <a:pt x="17830572" y="5133094"/>
                  <a:pt x="17848536" y="5133094"/>
                </a:cubicBezTo>
                <a:close/>
                <a:moveTo>
                  <a:pt x="8530865" y="5132057"/>
                </a:moveTo>
                <a:cubicBezTo>
                  <a:pt x="8530865" y="5170745"/>
                  <a:pt x="8550210" y="5164297"/>
                  <a:pt x="8563107" y="5164297"/>
                </a:cubicBezTo>
                <a:cubicBezTo>
                  <a:pt x="8563107" y="5132057"/>
                  <a:pt x="8543762" y="5132057"/>
                  <a:pt x="8530865" y="5132057"/>
                </a:cubicBezTo>
                <a:close/>
                <a:moveTo>
                  <a:pt x="10132162" y="5118878"/>
                </a:moveTo>
                <a:cubicBezTo>
                  <a:pt x="10022145" y="5177177"/>
                  <a:pt x="9913206" y="5247351"/>
                  <a:pt x="9803189" y="5312127"/>
                </a:cubicBezTo>
                <a:cubicBezTo>
                  <a:pt x="9798335" y="5268403"/>
                  <a:pt x="9811683" y="5224679"/>
                  <a:pt x="9832311" y="5205550"/>
                </a:cubicBezTo>
                <a:lnTo>
                  <a:pt x="9854815" y="5195595"/>
                </a:lnTo>
                <a:lnTo>
                  <a:pt x="9853592" y="5193658"/>
                </a:lnTo>
                <a:cubicBezTo>
                  <a:pt x="9859579" y="5188392"/>
                  <a:pt x="9859579" y="5188392"/>
                  <a:pt x="9859579" y="5182073"/>
                </a:cubicBezTo>
                <a:cubicBezTo>
                  <a:pt x="9865567" y="5178913"/>
                  <a:pt x="9867064" y="5186549"/>
                  <a:pt x="9867064" y="5194975"/>
                </a:cubicBezTo>
                <a:lnTo>
                  <a:pt x="9866331" y="5206713"/>
                </a:lnTo>
                <a:lnTo>
                  <a:pt x="9867640" y="5208000"/>
                </a:lnTo>
                <a:cubicBezTo>
                  <a:pt x="9898342" y="5227159"/>
                  <a:pt x="9935857" y="5181225"/>
                  <a:pt x="9958507" y="5164221"/>
                </a:cubicBezTo>
                <a:cubicBezTo>
                  <a:pt x="10015673" y="5131833"/>
                  <a:pt x="10073918" y="5131833"/>
                  <a:pt x="10132162" y="5118878"/>
                </a:cubicBezTo>
                <a:close/>
                <a:moveTo>
                  <a:pt x="19597496" y="5099918"/>
                </a:moveTo>
                <a:cubicBezTo>
                  <a:pt x="19597496" y="5125603"/>
                  <a:pt x="19591508" y="5132024"/>
                  <a:pt x="19579536" y="5132024"/>
                </a:cubicBezTo>
                <a:cubicBezTo>
                  <a:pt x="19579536" y="5112761"/>
                  <a:pt x="19585524" y="5099918"/>
                  <a:pt x="19597496" y="5099918"/>
                </a:cubicBezTo>
                <a:close/>
                <a:moveTo>
                  <a:pt x="17810560" y="5099918"/>
                </a:moveTo>
                <a:cubicBezTo>
                  <a:pt x="17810560" y="5125603"/>
                  <a:pt x="17805296" y="5132024"/>
                  <a:pt x="17792656" y="5132024"/>
                </a:cubicBezTo>
                <a:cubicBezTo>
                  <a:pt x="17792656" y="5112761"/>
                  <a:pt x="17798976" y="5099918"/>
                  <a:pt x="17810560" y="5099918"/>
                </a:cubicBezTo>
                <a:close/>
                <a:moveTo>
                  <a:pt x="9894469" y="5094662"/>
                </a:moveTo>
                <a:cubicBezTo>
                  <a:pt x="9907276" y="5093952"/>
                  <a:pt x="9920184" y="5095575"/>
                  <a:pt x="9933092" y="5100447"/>
                </a:cubicBezTo>
                <a:cubicBezTo>
                  <a:pt x="9907276" y="5119932"/>
                  <a:pt x="9875006" y="5126427"/>
                  <a:pt x="9855643" y="5165398"/>
                </a:cubicBezTo>
                <a:cubicBezTo>
                  <a:pt x="9797557" y="5191378"/>
                  <a:pt x="9740545" y="5229266"/>
                  <a:pt x="9682459" y="5248752"/>
                </a:cubicBezTo>
                <a:cubicBezTo>
                  <a:pt x="9669551" y="5248752"/>
                  <a:pt x="9650188" y="5255247"/>
                  <a:pt x="9643734" y="5242257"/>
                </a:cubicBezTo>
                <a:cubicBezTo>
                  <a:pt x="9630826" y="5222771"/>
                  <a:pt x="9650188" y="5191378"/>
                  <a:pt x="9656642" y="5184883"/>
                </a:cubicBezTo>
                <a:cubicBezTo>
                  <a:pt x="9676005" y="5178388"/>
                  <a:pt x="9695367" y="5184883"/>
                  <a:pt x="9714729" y="5178388"/>
                </a:cubicBezTo>
                <a:cubicBezTo>
                  <a:pt x="9740545" y="5171893"/>
                  <a:pt x="9766362" y="5152407"/>
                  <a:pt x="9784648" y="5139417"/>
                </a:cubicBezTo>
                <a:cubicBezTo>
                  <a:pt x="9818533" y="5119932"/>
                  <a:pt x="9856047" y="5096793"/>
                  <a:pt x="9894469" y="5094662"/>
                </a:cubicBezTo>
                <a:close/>
                <a:moveTo>
                  <a:pt x="10170157" y="5076219"/>
                </a:moveTo>
                <a:cubicBezTo>
                  <a:pt x="10170157" y="5096694"/>
                  <a:pt x="10164170" y="5103519"/>
                  <a:pt x="10152195" y="5103519"/>
                </a:cubicBezTo>
                <a:cubicBezTo>
                  <a:pt x="10152195" y="5083044"/>
                  <a:pt x="10158182" y="5076219"/>
                  <a:pt x="10170157" y="5076219"/>
                </a:cubicBezTo>
                <a:close/>
                <a:moveTo>
                  <a:pt x="8640487" y="5074026"/>
                </a:moveTo>
                <a:cubicBezTo>
                  <a:pt x="8634039" y="5106266"/>
                  <a:pt x="8627590" y="5138505"/>
                  <a:pt x="8621142" y="5164297"/>
                </a:cubicBezTo>
                <a:cubicBezTo>
                  <a:pt x="8653384" y="5151401"/>
                  <a:pt x="8685626" y="5132057"/>
                  <a:pt x="8717867" y="5119161"/>
                </a:cubicBezTo>
                <a:cubicBezTo>
                  <a:pt x="8692074" y="5099818"/>
                  <a:pt x="8666281" y="5086922"/>
                  <a:pt x="8640487" y="5074026"/>
                </a:cubicBezTo>
                <a:close/>
                <a:moveTo>
                  <a:pt x="8454559" y="5074026"/>
                </a:moveTo>
                <a:cubicBezTo>
                  <a:pt x="8454559" y="5093370"/>
                  <a:pt x="8461008" y="5099818"/>
                  <a:pt x="8473904" y="5099818"/>
                </a:cubicBezTo>
                <a:cubicBezTo>
                  <a:pt x="8473904" y="5080474"/>
                  <a:pt x="8467456" y="5074026"/>
                  <a:pt x="8454559" y="5074026"/>
                </a:cubicBezTo>
                <a:close/>
                <a:moveTo>
                  <a:pt x="19004928" y="5073353"/>
                </a:moveTo>
                <a:cubicBezTo>
                  <a:pt x="19004928" y="5113034"/>
                  <a:pt x="18978472" y="5099807"/>
                  <a:pt x="18958632" y="5099807"/>
                </a:cubicBezTo>
                <a:cubicBezTo>
                  <a:pt x="18958632" y="5066739"/>
                  <a:pt x="18985088" y="5073353"/>
                  <a:pt x="19004928" y="5073353"/>
                </a:cubicBezTo>
                <a:close/>
                <a:moveTo>
                  <a:pt x="564229" y="5054682"/>
                </a:moveTo>
                <a:cubicBezTo>
                  <a:pt x="557782" y="5067578"/>
                  <a:pt x="557782" y="5080474"/>
                  <a:pt x="564229" y="5086922"/>
                </a:cubicBezTo>
                <a:cubicBezTo>
                  <a:pt x="596471" y="5099818"/>
                  <a:pt x="628715" y="5106266"/>
                  <a:pt x="660959" y="5119161"/>
                </a:cubicBezTo>
                <a:cubicBezTo>
                  <a:pt x="636772" y="5104654"/>
                  <a:pt x="608966" y="5101027"/>
                  <a:pt x="585688" y="5081078"/>
                </a:cubicBezTo>
                <a:lnTo>
                  <a:pt x="579117" y="5072998"/>
                </a:lnTo>
                <a:lnTo>
                  <a:pt x="564733" y="5072998"/>
                </a:lnTo>
                <a:lnTo>
                  <a:pt x="567180" y="5058312"/>
                </a:lnTo>
                <a:close/>
                <a:moveTo>
                  <a:pt x="10246302" y="5014603"/>
                </a:moveTo>
                <a:cubicBezTo>
                  <a:pt x="10258712" y="5020808"/>
                  <a:pt x="10258712" y="5051832"/>
                  <a:pt x="10264917" y="5070447"/>
                </a:cubicBezTo>
                <a:cubicBezTo>
                  <a:pt x="10246302" y="5070447"/>
                  <a:pt x="10227688" y="5070447"/>
                  <a:pt x="10209073" y="5070447"/>
                </a:cubicBezTo>
                <a:cubicBezTo>
                  <a:pt x="10209073" y="5045628"/>
                  <a:pt x="10227688" y="5014603"/>
                  <a:pt x="10246302" y="5014603"/>
                </a:cubicBezTo>
                <a:close/>
                <a:moveTo>
                  <a:pt x="19470520" y="5009861"/>
                </a:moveTo>
                <a:cubicBezTo>
                  <a:pt x="19482820" y="5016010"/>
                  <a:pt x="19495116" y="5022159"/>
                  <a:pt x="19507412" y="5028307"/>
                </a:cubicBezTo>
                <a:cubicBezTo>
                  <a:pt x="19495116" y="5040605"/>
                  <a:pt x="19470520" y="5046753"/>
                  <a:pt x="19470520" y="5009861"/>
                </a:cubicBezTo>
                <a:close/>
                <a:moveTo>
                  <a:pt x="756601" y="5009547"/>
                </a:moveTo>
                <a:cubicBezTo>
                  <a:pt x="756601" y="5028891"/>
                  <a:pt x="763048" y="5041786"/>
                  <a:pt x="775945" y="5041786"/>
                </a:cubicBezTo>
                <a:cubicBezTo>
                  <a:pt x="775945" y="5022443"/>
                  <a:pt x="769495" y="5009547"/>
                  <a:pt x="756601" y="5009547"/>
                </a:cubicBezTo>
                <a:close/>
                <a:moveTo>
                  <a:pt x="20526484" y="4986166"/>
                </a:moveTo>
                <a:cubicBezTo>
                  <a:pt x="20526484" y="5003938"/>
                  <a:pt x="20520496" y="5008875"/>
                  <a:pt x="20508520" y="5008875"/>
                </a:cubicBezTo>
                <a:cubicBezTo>
                  <a:pt x="20508520" y="4991103"/>
                  <a:pt x="20514508" y="4986166"/>
                  <a:pt x="20526484" y="4986166"/>
                </a:cubicBezTo>
                <a:close/>
                <a:moveTo>
                  <a:pt x="10620430" y="4986166"/>
                </a:moveTo>
                <a:cubicBezTo>
                  <a:pt x="10620430" y="5003938"/>
                  <a:pt x="10609453" y="5008875"/>
                  <a:pt x="10602468" y="5008875"/>
                </a:cubicBezTo>
                <a:cubicBezTo>
                  <a:pt x="10602468" y="4991103"/>
                  <a:pt x="10609453" y="4986166"/>
                  <a:pt x="10620430" y="4986166"/>
                </a:cubicBezTo>
                <a:close/>
                <a:moveTo>
                  <a:pt x="18511956" y="4986163"/>
                </a:moveTo>
                <a:cubicBezTo>
                  <a:pt x="18511956" y="5005123"/>
                  <a:pt x="18511956" y="5041988"/>
                  <a:pt x="18491480" y="5041988"/>
                </a:cubicBezTo>
                <a:cubicBezTo>
                  <a:pt x="18491480" y="5016709"/>
                  <a:pt x="18484656" y="4986163"/>
                  <a:pt x="18511956" y="4986163"/>
                </a:cubicBezTo>
                <a:close/>
                <a:moveTo>
                  <a:pt x="10471575" y="4953900"/>
                </a:moveTo>
                <a:cubicBezTo>
                  <a:pt x="10484820" y="4954708"/>
                  <a:pt x="10498065" y="4957940"/>
                  <a:pt x="10511311" y="4967634"/>
                </a:cubicBezTo>
                <a:cubicBezTo>
                  <a:pt x="10484820" y="4980560"/>
                  <a:pt x="10445084" y="5018261"/>
                  <a:pt x="10431839" y="4954708"/>
                </a:cubicBezTo>
                <a:cubicBezTo>
                  <a:pt x="10445085" y="4954708"/>
                  <a:pt x="10458330" y="4953092"/>
                  <a:pt x="10471575" y="4953900"/>
                </a:cubicBezTo>
                <a:close/>
                <a:moveTo>
                  <a:pt x="20071412" y="4952987"/>
                </a:moveTo>
                <a:cubicBezTo>
                  <a:pt x="20071412" y="4972252"/>
                  <a:pt x="20066148" y="4985096"/>
                  <a:pt x="20053508" y="4985096"/>
                </a:cubicBezTo>
                <a:cubicBezTo>
                  <a:pt x="20053508" y="4959409"/>
                  <a:pt x="20059828" y="4952987"/>
                  <a:pt x="20071412" y="4952987"/>
                </a:cubicBezTo>
                <a:close/>
                <a:moveTo>
                  <a:pt x="10500786" y="4948464"/>
                </a:moveTo>
                <a:lnTo>
                  <a:pt x="10500539" y="4948798"/>
                </a:lnTo>
                <a:cubicBezTo>
                  <a:pt x="10499159" y="4950662"/>
                  <a:pt x="10498199" y="4951959"/>
                  <a:pt x="10498199" y="4951959"/>
                </a:cubicBezTo>
                <a:close/>
                <a:moveTo>
                  <a:pt x="10507348" y="4939596"/>
                </a:moveTo>
                <a:lnTo>
                  <a:pt x="10500786" y="4948464"/>
                </a:lnTo>
                <a:lnTo>
                  <a:pt x="10505397" y="4942232"/>
                </a:lnTo>
                <a:close/>
                <a:moveTo>
                  <a:pt x="9030624" y="4938515"/>
                </a:moveTo>
                <a:cubicBezTo>
                  <a:pt x="9032869" y="4938515"/>
                  <a:pt x="9034366" y="4943005"/>
                  <a:pt x="9037359" y="4951986"/>
                </a:cubicBezTo>
                <a:cubicBezTo>
                  <a:pt x="9031372" y="4951986"/>
                  <a:pt x="9025384" y="4951986"/>
                  <a:pt x="9019397" y="4951986"/>
                </a:cubicBezTo>
                <a:cubicBezTo>
                  <a:pt x="9025385" y="4943005"/>
                  <a:pt x="9028378" y="4938515"/>
                  <a:pt x="9030624" y="4938515"/>
                </a:cubicBezTo>
                <a:close/>
                <a:moveTo>
                  <a:pt x="10509716" y="4936395"/>
                </a:moveTo>
                <a:cubicBezTo>
                  <a:pt x="10510676" y="4935098"/>
                  <a:pt x="10510436" y="4935423"/>
                  <a:pt x="10509536" y="4936639"/>
                </a:cubicBezTo>
                <a:lnTo>
                  <a:pt x="10507348" y="4939596"/>
                </a:lnTo>
                <a:close/>
                <a:moveTo>
                  <a:pt x="20469608" y="4919808"/>
                </a:moveTo>
                <a:cubicBezTo>
                  <a:pt x="20469608" y="4939072"/>
                  <a:pt x="20463620" y="4951914"/>
                  <a:pt x="20451648" y="4951914"/>
                </a:cubicBezTo>
                <a:cubicBezTo>
                  <a:pt x="20451648" y="4926229"/>
                  <a:pt x="20457632" y="4919808"/>
                  <a:pt x="20469608" y="4919808"/>
                </a:cubicBezTo>
                <a:close/>
                <a:moveTo>
                  <a:pt x="20033552" y="4919808"/>
                </a:moveTo>
                <a:cubicBezTo>
                  <a:pt x="20033552" y="4939072"/>
                  <a:pt x="20027564" y="4951914"/>
                  <a:pt x="20015588" y="4951914"/>
                </a:cubicBezTo>
                <a:cubicBezTo>
                  <a:pt x="20015588" y="4932651"/>
                  <a:pt x="20021576" y="4919808"/>
                  <a:pt x="20033552" y="4919808"/>
                </a:cubicBezTo>
                <a:close/>
                <a:moveTo>
                  <a:pt x="19318852" y="4919808"/>
                </a:moveTo>
                <a:cubicBezTo>
                  <a:pt x="19331148" y="4919808"/>
                  <a:pt x="19343448" y="4925957"/>
                  <a:pt x="19355744" y="4938254"/>
                </a:cubicBezTo>
                <a:cubicBezTo>
                  <a:pt x="19343448" y="4956700"/>
                  <a:pt x="19318852" y="4950552"/>
                  <a:pt x="19318852" y="4919808"/>
                </a:cubicBezTo>
                <a:close/>
                <a:moveTo>
                  <a:pt x="18811700" y="4919808"/>
                </a:moveTo>
                <a:cubicBezTo>
                  <a:pt x="18817624" y="4926335"/>
                  <a:pt x="18829472" y="4939389"/>
                  <a:pt x="18834408" y="4945916"/>
                </a:cubicBezTo>
                <a:cubicBezTo>
                  <a:pt x="18829472" y="4952443"/>
                  <a:pt x="18817624" y="4972024"/>
                  <a:pt x="18811700" y="4985078"/>
                </a:cubicBezTo>
                <a:cubicBezTo>
                  <a:pt x="18811700" y="4958970"/>
                  <a:pt x="18811700" y="4939389"/>
                  <a:pt x="18811700" y="4919808"/>
                </a:cubicBezTo>
                <a:close/>
                <a:moveTo>
                  <a:pt x="10360246" y="4911208"/>
                </a:moveTo>
                <a:cubicBezTo>
                  <a:pt x="10363240" y="4912011"/>
                  <a:pt x="10366234" y="4915222"/>
                  <a:pt x="10369227" y="4918433"/>
                </a:cubicBezTo>
                <a:cubicBezTo>
                  <a:pt x="10363240" y="4918433"/>
                  <a:pt x="10357252" y="4924854"/>
                  <a:pt x="10357252" y="4937698"/>
                </a:cubicBezTo>
                <a:cubicBezTo>
                  <a:pt x="10357252" y="4924854"/>
                  <a:pt x="10351265" y="4918433"/>
                  <a:pt x="10351265" y="4918433"/>
                </a:cubicBezTo>
                <a:cubicBezTo>
                  <a:pt x="10354259" y="4912011"/>
                  <a:pt x="10357252" y="4910406"/>
                  <a:pt x="10360246" y="4911208"/>
                </a:cubicBezTo>
                <a:close/>
                <a:moveTo>
                  <a:pt x="8774828" y="4907455"/>
                </a:moveTo>
                <a:cubicBezTo>
                  <a:pt x="8768380" y="4920351"/>
                  <a:pt x="8763006" y="4933247"/>
                  <a:pt x="8755483" y="4952590"/>
                </a:cubicBezTo>
                <a:cubicBezTo>
                  <a:pt x="8768380" y="4952590"/>
                  <a:pt x="8781276" y="4952590"/>
                  <a:pt x="8794173" y="4952590"/>
                </a:cubicBezTo>
                <a:cubicBezTo>
                  <a:pt x="8787725" y="4933247"/>
                  <a:pt x="8781276" y="4920351"/>
                  <a:pt x="8774828" y="4907455"/>
                </a:cubicBezTo>
                <a:close/>
                <a:moveTo>
                  <a:pt x="10303105" y="4893974"/>
                </a:moveTo>
                <a:cubicBezTo>
                  <a:pt x="10310996" y="4895284"/>
                  <a:pt x="10316662" y="4901736"/>
                  <a:pt x="10318280" y="4916251"/>
                </a:cubicBezTo>
                <a:cubicBezTo>
                  <a:pt x="10331229" y="4987216"/>
                  <a:pt x="10195265" y="5000119"/>
                  <a:pt x="10170446" y="5011947"/>
                </a:cubicBezTo>
                <a:cubicBezTo>
                  <a:pt x="10099227" y="5037752"/>
                  <a:pt x="10028007" y="5063558"/>
                  <a:pt x="9957867" y="5089363"/>
                </a:cubicBezTo>
                <a:cubicBezTo>
                  <a:pt x="9977290" y="5063558"/>
                  <a:pt x="9996714" y="5044203"/>
                  <a:pt x="10015058" y="5044203"/>
                </a:cubicBezTo>
                <a:cubicBezTo>
                  <a:pt x="10086278" y="5011947"/>
                  <a:pt x="10151022" y="4980765"/>
                  <a:pt x="10221163" y="4942057"/>
                </a:cubicBezTo>
                <a:cubicBezTo>
                  <a:pt x="10235730" y="4932380"/>
                  <a:pt x="10279433" y="4890043"/>
                  <a:pt x="10303105" y="4893974"/>
                </a:cubicBezTo>
                <a:close/>
                <a:moveTo>
                  <a:pt x="18749056" y="4888505"/>
                </a:moveTo>
                <a:cubicBezTo>
                  <a:pt x="18749056" y="4928186"/>
                  <a:pt x="18730612" y="4921572"/>
                  <a:pt x="18712164" y="4921572"/>
                </a:cubicBezTo>
                <a:cubicBezTo>
                  <a:pt x="18712164" y="4881891"/>
                  <a:pt x="18736760" y="4888505"/>
                  <a:pt x="18749056" y="4888505"/>
                </a:cubicBezTo>
                <a:close/>
                <a:moveTo>
                  <a:pt x="18673220" y="4888505"/>
                </a:moveTo>
                <a:cubicBezTo>
                  <a:pt x="18673220" y="4928186"/>
                  <a:pt x="18654772" y="4921572"/>
                  <a:pt x="18636328" y="4921572"/>
                </a:cubicBezTo>
                <a:cubicBezTo>
                  <a:pt x="18636328" y="4881891"/>
                  <a:pt x="18660920" y="4888505"/>
                  <a:pt x="18673220" y="4888505"/>
                </a:cubicBezTo>
                <a:close/>
                <a:moveTo>
                  <a:pt x="10319911" y="4867669"/>
                </a:moveTo>
                <a:cubicBezTo>
                  <a:pt x="10326473" y="4879967"/>
                  <a:pt x="10326473" y="4892264"/>
                  <a:pt x="10319911" y="4904561"/>
                </a:cubicBezTo>
                <a:cubicBezTo>
                  <a:pt x="10319911" y="4898413"/>
                  <a:pt x="10319911" y="4892264"/>
                  <a:pt x="10313348" y="4886115"/>
                </a:cubicBezTo>
                <a:cubicBezTo>
                  <a:pt x="10313348" y="4879967"/>
                  <a:pt x="10319911" y="4873818"/>
                  <a:pt x="10319911" y="4867669"/>
                </a:cubicBezTo>
                <a:close/>
                <a:moveTo>
                  <a:pt x="17791656" y="4858192"/>
                </a:moveTo>
                <a:cubicBezTo>
                  <a:pt x="17791656" y="4883879"/>
                  <a:pt x="17785668" y="4890301"/>
                  <a:pt x="17773696" y="4890301"/>
                </a:cubicBezTo>
                <a:cubicBezTo>
                  <a:pt x="17773696" y="4871036"/>
                  <a:pt x="17779684" y="4858192"/>
                  <a:pt x="17791656" y="4858192"/>
                </a:cubicBezTo>
                <a:close/>
                <a:moveTo>
                  <a:pt x="10473929" y="4849945"/>
                </a:moveTo>
                <a:cubicBezTo>
                  <a:pt x="10477341" y="4850798"/>
                  <a:pt x="10480754" y="4854211"/>
                  <a:pt x="10487579" y="4857623"/>
                </a:cubicBezTo>
                <a:cubicBezTo>
                  <a:pt x="10473929" y="4864448"/>
                  <a:pt x="10473929" y="4871273"/>
                  <a:pt x="10460279" y="4857623"/>
                </a:cubicBezTo>
                <a:cubicBezTo>
                  <a:pt x="10467104" y="4850798"/>
                  <a:pt x="10470516" y="4849092"/>
                  <a:pt x="10473929" y="4849945"/>
                </a:cubicBezTo>
                <a:close/>
                <a:moveTo>
                  <a:pt x="10433287" y="4848262"/>
                </a:moveTo>
                <a:cubicBezTo>
                  <a:pt x="10446584" y="4847453"/>
                  <a:pt x="10459224" y="4850692"/>
                  <a:pt x="10468703" y="4866891"/>
                </a:cubicBezTo>
                <a:cubicBezTo>
                  <a:pt x="10443424" y="4886330"/>
                  <a:pt x="10418146" y="4899289"/>
                  <a:pt x="10393921" y="4918728"/>
                </a:cubicBezTo>
                <a:cubicBezTo>
                  <a:pt x="10393921" y="4899289"/>
                  <a:pt x="10393921" y="4873371"/>
                  <a:pt x="10393921" y="4853932"/>
                </a:cubicBezTo>
                <a:cubicBezTo>
                  <a:pt x="10406034" y="4853932"/>
                  <a:pt x="10419989" y="4849072"/>
                  <a:pt x="10433287" y="4848262"/>
                </a:cubicBezTo>
                <a:close/>
                <a:moveTo>
                  <a:pt x="18692208" y="4825013"/>
                </a:moveTo>
                <a:cubicBezTo>
                  <a:pt x="18692208" y="4850698"/>
                  <a:pt x="18686220" y="4857119"/>
                  <a:pt x="18674244" y="4857119"/>
                </a:cubicBezTo>
                <a:cubicBezTo>
                  <a:pt x="18674244" y="4837856"/>
                  <a:pt x="18680232" y="4825013"/>
                  <a:pt x="18692208" y="4825013"/>
                </a:cubicBezTo>
                <a:close/>
                <a:moveTo>
                  <a:pt x="17034300" y="4825013"/>
                </a:moveTo>
                <a:cubicBezTo>
                  <a:pt x="17060788" y="4825013"/>
                  <a:pt x="17087280" y="4825013"/>
                  <a:pt x="17113768" y="4825013"/>
                </a:cubicBezTo>
                <a:cubicBezTo>
                  <a:pt x="17107144" y="4844594"/>
                  <a:pt x="17100524" y="4870702"/>
                  <a:pt x="17093900" y="4890283"/>
                </a:cubicBezTo>
                <a:cubicBezTo>
                  <a:pt x="17074032" y="4883756"/>
                  <a:pt x="17034300" y="4877229"/>
                  <a:pt x="17034300" y="4825013"/>
                </a:cubicBezTo>
                <a:close/>
                <a:moveTo>
                  <a:pt x="18128180" y="4801314"/>
                </a:moveTo>
                <a:cubicBezTo>
                  <a:pt x="18128180" y="4818101"/>
                  <a:pt x="18122192" y="4824026"/>
                  <a:pt x="18110216" y="4824026"/>
                </a:cubicBezTo>
                <a:cubicBezTo>
                  <a:pt x="18110216" y="4806252"/>
                  <a:pt x="18116204" y="4801314"/>
                  <a:pt x="18128180" y="4801314"/>
                </a:cubicBezTo>
                <a:close/>
                <a:moveTo>
                  <a:pt x="10792058" y="4801314"/>
                </a:moveTo>
                <a:cubicBezTo>
                  <a:pt x="10809964" y="4801314"/>
                  <a:pt x="10828923" y="4801314"/>
                  <a:pt x="10847883" y="4813728"/>
                </a:cubicBezTo>
                <a:cubicBezTo>
                  <a:pt x="10835243" y="4820499"/>
                  <a:pt x="10792058" y="4847583"/>
                  <a:pt x="10792058" y="4801314"/>
                </a:cubicBezTo>
                <a:close/>
                <a:moveTo>
                  <a:pt x="16981132" y="4798154"/>
                </a:moveTo>
                <a:cubicBezTo>
                  <a:pt x="16981132" y="4828698"/>
                  <a:pt x="16956536" y="4822378"/>
                  <a:pt x="16944240" y="4822378"/>
                </a:cubicBezTo>
                <a:cubicBezTo>
                  <a:pt x="16944240" y="4791834"/>
                  <a:pt x="16962684" y="4798154"/>
                  <a:pt x="16981132" y="4798154"/>
                </a:cubicBezTo>
                <a:close/>
                <a:moveTo>
                  <a:pt x="10836717" y="4794560"/>
                </a:moveTo>
                <a:lnTo>
                  <a:pt x="10834717" y="4800247"/>
                </a:lnTo>
                <a:cubicBezTo>
                  <a:pt x="10834717" y="4800247"/>
                  <a:pt x="10835348" y="4798452"/>
                  <a:pt x="10836256" y="4795871"/>
                </a:cubicBezTo>
                <a:close/>
                <a:moveTo>
                  <a:pt x="10839455" y="4786775"/>
                </a:moveTo>
                <a:lnTo>
                  <a:pt x="10839453" y="4786781"/>
                </a:lnTo>
                <a:lnTo>
                  <a:pt x="10836717" y="4794560"/>
                </a:lnTo>
                <a:close/>
                <a:moveTo>
                  <a:pt x="10841932" y="4779733"/>
                </a:moveTo>
                <a:lnTo>
                  <a:pt x="10839455" y="4786775"/>
                </a:lnTo>
                <a:lnTo>
                  <a:pt x="10839874" y="4785584"/>
                </a:lnTo>
                <a:close/>
                <a:moveTo>
                  <a:pt x="18546272" y="4779392"/>
                </a:moveTo>
                <a:cubicBezTo>
                  <a:pt x="18578436" y="4779392"/>
                  <a:pt x="18617032" y="4772874"/>
                  <a:pt x="18635256" y="4810892"/>
                </a:cubicBezTo>
                <a:cubicBezTo>
                  <a:pt x="18623464" y="4817410"/>
                  <a:pt x="18604168" y="4823927"/>
                  <a:pt x="18584868" y="4823927"/>
                </a:cubicBezTo>
                <a:cubicBezTo>
                  <a:pt x="18572004" y="4810892"/>
                  <a:pt x="18559140" y="4792426"/>
                  <a:pt x="18546272" y="4779392"/>
                </a:cubicBezTo>
                <a:close/>
                <a:moveTo>
                  <a:pt x="10842295" y="4778701"/>
                </a:moveTo>
                <a:cubicBezTo>
                  <a:pt x="10842926" y="4776906"/>
                  <a:pt x="10842769" y="4777355"/>
                  <a:pt x="10842177" y="4779038"/>
                </a:cubicBezTo>
                <a:lnTo>
                  <a:pt x="10841932" y="4779733"/>
                </a:lnTo>
                <a:close/>
                <a:moveTo>
                  <a:pt x="10137816" y="4777406"/>
                </a:moveTo>
                <a:cubicBezTo>
                  <a:pt x="10141947" y="4777106"/>
                  <a:pt x="10146559" y="4777953"/>
                  <a:pt x="10151170" y="4779645"/>
                </a:cubicBezTo>
                <a:cubicBezTo>
                  <a:pt x="10138873" y="4793187"/>
                  <a:pt x="10132724" y="4805601"/>
                  <a:pt x="10126575" y="4819143"/>
                </a:cubicBezTo>
                <a:cubicBezTo>
                  <a:pt x="10117353" y="4789520"/>
                  <a:pt x="10125423" y="4778305"/>
                  <a:pt x="10137816" y="4777406"/>
                </a:cubicBezTo>
                <a:close/>
                <a:moveTo>
                  <a:pt x="9125313" y="4777143"/>
                </a:moveTo>
                <a:cubicBezTo>
                  <a:pt x="9126954" y="4774583"/>
                  <a:pt x="9130236" y="4776290"/>
                  <a:pt x="9136800" y="4779702"/>
                </a:cubicBezTo>
                <a:cubicBezTo>
                  <a:pt x="9130236" y="4786527"/>
                  <a:pt x="9130236" y="4793352"/>
                  <a:pt x="9123672" y="4800177"/>
                </a:cubicBezTo>
                <a:cubicBezTo>
                  <a:pt x="9123672" y="4786527"/>
                  <a:pt x="9123672" y="4779702"/>
                  <a:pt x="9125313" y="4777143"/>
                </a:cubicBezTo>
                <a:close/>
                <a:moveTo>
                  <a:pt x="10876858" y="4773666"/>
                </a:moveTo>
                <a:cubicBezTo>
                  <a:pt x="10886165" y="4772876"/>
                  <a:pt x="10895472" y="4774456"/>
                  <a:pt x="10904780" y="4780775"/>
                </a:cubicBezTo>
                <a:cubicBezTo>
                  <a:pt x="10886165" y="4805000"/>
                  <a:pt x="10861346" y="4805000"/>
                  <a:pt x="10848936" y="4780775"/>
                </a:cubicBezTo>
                <a:cubicBezTo>
                  <a:pt x="10858244" y="4777615"/>
                  <a:pt x="10867551" y="4774456"/>
                  <a:pt x="10876858" y="4773666"/>
                </a:cubicBezTo>
                <a:close/>
                <a:moveTo>
                  <a:pt x="10603896" y="4772874"/>
                </a:moveTo>
                <a:cubicBezTo>
                  <a:pt x="10611443" y="4792172"/>
                  <a:pt x="10616834" y="4803965"/>
                  <a:pt x="10623303" y="4823262"/>
                </a:cubicBezTo>
                <a:cubicBezTo>
                  <a:pt x="10603896" y="4823262"/>
                  <a:pt x="10585568" y="4823262"/>
                  <a:pt x="10566161" y="4823262"/>
                </a:cubicBezTo>
                <a:cubicBezTo>
                  <a:pt x="10566161" y="4881155"/>
                  <a:pt x="10611443" y="4861857"/>
                  <a:pt x="10629772" y="4861857"/>
                </a:cubicBezTo>
                <a:cubicBezTo>
                  <a:pt x="10649179" y="4855425"/>
                  <a:pt x="10668585" y="4842560"/>
                  <a:pt x="10687992" y="4855425"/>
                </a:cubicBezTo>
                <a:cubicBezTo>
                  <a:pt x="10700930" y="4861857"/>
                  <a:pt x="10694461" y="4887587"/>
                  <a:pt x="10681523" y="4894020"/>
                </a:cubicBezTo>
                <a:cubicBezTo>
                  <a:pt x="10629772" y="4913317"/>
                  <a:pt x="10579099" y="4939047"/>
                  <a:pt x="10528426" y="4945480"/>
                </a:cubicBezTo>
                <a:cubicBezTo>
                  <a:pt x="10502550" y="4951912"/>
                  <a:pt x="10533817" y="4894020"/>
                  <a:pt x="10540285" y="4881155"/>
                </a:cubicBezTo>
                <a:cubicBezTo>
                  <a:pt x="10527348" y="4874722"/>
                  <a:pt x="10450799" y="4861857"/>
                  <a:pt x="10483144" y="4816830"/>
                </a:cubicBezTo>
                <a:cubicBezTo>
                  <a:pt x="10502550" y="4792172"/>
                  <a:pt x="10533817" y="4792172"/>
                  <a:pt x="10553223" y="4785739"/>
                </a:cubicBezTo>
                <a:cubicBezTo>
                  <a:pt x="10572630" y="4779307"/>
                  <a:pt x="10592037" y="4779307"/>
                  <a:pt x="10603896" y="4772874"/>
                </a:cubicBezTo>
                <a:close/>
                <a:moveTo>
                  <a:pt x="18469436" y="4768136"/>
                </a:moveTo>
                <a:cubicBezTo>
                  <a:pt x="18469436" y="4787400"/>
                  <a:pt x="18463448" y="4800242"/>
                  <a:pt x="18451476" y="4800242"/>
                </a:cubicBezTo>
                <a:cubicBezTo>
                  <a:pt x="18451476" y="4780979"/>
                  <a:pt x="18457464" y="4768136"/>
                  <a:pt x="18469436" y="4768136"/>
                </a:cubicBezTo>
                <a:close/>
                <a:moveTo>
                  <a:pt x="18052244" y="4768136"/>
                </a:moveTo>
                <a:cubicBezTo>
                  <a:pt x="18052244" y="4787400"/>
                  <a:pt x="18052244" y="4800242"/>
                  <a:pt x="18039120" y="4800242"/>
                </a:cubicBezTo>
                <a:cubicBezTo>
                  <a:pt x="18039120" y="4780979"/>
                  <a:pt x="18039120" y="4768136"/>
                  <a:pt x="18052244" y="4768136"/>
                </a:cubicBezTo>
                <a:close/>
                <a:moveTo>
                  <a:pt x="17791656" y="4768136"/>
                </a:moveTo>
                <a:cubicBezTo>
                  <a:pt x="17791656" y="4787400"/>
                  <a:pt x="17785668" y="4800242"/>
                  <a:pt x="17773696" y="4800242"/>
                </a:cubicBezTo>
                <a:cubicBezTo>
                  <a:pt x="17773696" y="4780979"/>
                  <a:pt x="17779684" y="4768136"/>
                  <a:pt x="17791656" y="4768136"/>
                </a:cubicBezTo>
                <a:close/>
                <a:moveTo>
                  <a:pt x="10635650" y="4768136"/>
                </a:moveTo>
                <a:cubicBezTo>
                  <a:pt x="10647947" y="4768136"/>
                  <a:pt x="10660245" y="4768136"/>
                  <a:pt x="10672542" y="4768136"/>
                </a:cubicBezTo>
                <a:cubicBezTo>
                  <a:pt x="10672542" y="4780979"/>
                  <a:pt x="10672542" y="4787400"/>
                  <a:pt x="10672542" y="4800242"/>
                </a:cubicBezTo>
                <a:cubicBezTo>
                  <a:pt x="10660245" y="4800242"/>
                  <a:pt x="10647947" y="4800242"/>
                  <a:pt x="10635650" y="4800242"/>
                </a:cubicBezTo>
                <a:cubicBezTo>
                  <a:pt x="10635650" y="4787400"/>
                  <a:pt x="10635650" y="4780979"/>
                  <a:pt x="10635650" y="4768136"/>
                </a:cubicBezTo>
                <a:close/>
                <a:moveTo>
                  <a:pt x="10949944" y="4767878"/>
                </a:moveTo>
                <a:cubicBezTo>
                  <a:pt x="10962049" y="4763267"/>
                  <a:pt x="10975884" y="4772490"/>
                  <a:pt x="10975884" y="4795547"/>
                </a:cubicBezTo>
                <a:cubicBezTo>
                  <a:pt x="10963587" y="4789399"/>
                  <a:pt x="10951289" y="4783250"/>
                  <a:pt x="10938992" y="4777101"/>
                </a:cubicBezTo>
                <a:cubicBezTo>
                  <a:pt x="10942066" y="4772490"/>
                  <a:pt x="10945909" y="4769415"/>
                  <a:pt x="10949944" y="4767878"/>
                </a:cubicBezTo>
                <a:close/>
                <a:moveTo>
                  <a:pt x="10185638" y="4763302"/>
                </a:moveTo>
                <a:cubicBezTo>
                  <a:pt x="10189325" y="4764155"/>
                  <a:pt x="10193801" y="4767567"/>
                  <a:pt x="10193801" y="4767567"/>
                </a:cubicBezTo>
                <a:cubicBezTo>
                  <a:pt x="10193801" y="4767567"/>
                  <a:pt x="10188534" y="4774392"/>
                  <a:pt x="10188534" y="4781217"/>
                </a:cubicBezTo>
                <a:cubicBezTo>
                  <a:pt x="10182214" y="4781217"/>
                  <a:pt x="10182214" y="4774392"/>
                  <a:pt x="10182214" y="4774392"/>
                </a:cubicBezTo>
                <a:cubicBezTo>
                  <a:pt x="10179054" y="4764155"/>
                  <a:pt x="10181951" y="4762448"/>
                  <a:pt x="10185638" y="4763302"/>
                </a:cubicBezTo>
                <a:close/>
                <a:moveTo>
                  <a:pt x="10895156" y="4759796"/>
                </a:moveTo>
                <a:lnTo>
                  <a:pt x="10894121" y="4761922"/>
                </a:lnTo>
                <a:cubicBezTo>
                  <a:pt x="10892718" y="4764805"/>
                  <a:pt x="10891595" y="4767110"/>
                  <a:pt x="10891595" y="4767110"/>
                </a:cubicBezTo>
                <a:close/>
                <a:moveTo>
                  <a:pt x="10899173" y="4751546"/>
                </a:moveTo>
                <a:cubicBezTo>
                  <a:pt x="10900015" y="4749817"/>
                  <a:pt x="10899453" y="4750970"/>
                  <a:pt x="10898331" y="4753276"/>
                </a:cubicBezTo>
                <a:lnTo>
                  <a:pt x="10895156" y="4759796"/>
                </a:lnTo>
                <a:close/>
                <a:moveTo>
                  <a:pt x="16830588" y="4734957"/>
                </a:moveTo>
                <a:cubicBezTo>
                  <a:pt x="16830588" y="4753916"/>
                  <a:pt x="16843624" y="4785514"/>
                  <a:pt x="16824072" y="4798153"/>
                </a:cubicBezTo>
                <a:cubicBezTo>
                  <a:pt x="16804520" y="4809739"/>
                  <a:pt x="16779536" y="4798153"/>
                  <a:pt x="16753468" y="4798153"/>
                </a:cubicBezTo>
                <a:cubicBezTo>
                  <a:pt x="16746950" y="4785514"/>
                  <a:pt x="16746950" y="4772875"/>
                  <a:pt x="16740434" y="4760236"/>
                </a:cubicBezTo>
                <a:cubicBezTo>
                  <a:pt x="16773018" y="4747596"/>
                  <a:pt x="16799088" y="4741277"/>
                  <a:pt x="16830588" y="4734957"/>
                </a:cubicBezTo>
                <a:close/>
                <a:moveTo>
                  <a:pt x="10772103" y="4734957"/>
                </a:moveTo>
                <a:cubicBezTo>
                  <a:pt x="10772103" y="4754222"/>
                  <a:pt x="10766116" y="4767066"/>
                  <a:pt x="10754141" y="4767066"/>
                </a:cubicBezTo>
                <a:cubicBezTo>
                  <a:pt x="10754141" y="4747801"/>
                  <a:pt x="10760128" y="4734957"/>
                  <a:pt x="10772103" y="4734957"/>
                </a:cubicBezTo>
                <a:close/>
                <a:moveTo>
                  <a:pt x="17720956" y="4731916"/>
                </a:moveTo>
                <a:cubicBezTo>
                  <a:pt x="17731328" y="4730325"/>
                  <a:pt x="17744096" y="4735100"/>
                  <a:pt x="17753672" y="4735100"/>
                </a:cubicBezTo>
                <a:cubicBezTo>
                  <a:pt x="17753672" y="4786034"/>
                  <a:pt x="17721752" y="4766934"/>
                  <a:pt x="17702600" y="4766934"/>
                </a:cubicBezTo>
                <a:cubicBezTo>
                  <a:pt x="17702600" y="4741466"/>
                  <a:pt x="17710580" y="4733508"/>
                  <a:pt x="17720956" y="4731916"/>
                </a:cubicBezTo>
                <a:close/>
                <a:moveTo>
                  <a:pt x="10073497" y="4706519"/>
                </a:moveTo>
                <a:cubicBezTo>
                  <a:pt x="10086724" y="4706519"/>
                  <a:pt x="10099951" y="4706519"/>
                  <a:pt x="10113178" y="4706519"/>
                </a:cubicBezTo>
                <a:cubicBezTo>
                  <a:pt x="10113178" y="4719345"/>
                  <a:pt x="10113178" y="4732170"/>
                  <a:pt x="10113178" y="4751409"/>
                </a:cubicBezTo>
                <a:cubicBezTo>
                  <a:pt x="10093337" y="4764234"/>
                  <a:pt x="10080110" y="4789885"/>
                  <a:pt x="10066883" y="4814467"/>
                </a:cubicBezTo>
                <a:cubicBezTo>
                  <a:pt x="10066883" y="4777060"/>
                  <a:pt x="10073497" y="4738583"/>
                  <a:pt x="10073497" y="4706519"/>
                </a:cubicBezTo>
                <a:close/>
                <a:moveTo>
                  <a:pt x="11170162" y="4687559"/>
                </a:moveTo>
                <a:cubicBezTo>
                  <a:pt x="11150746" y="4720673"/>
                  <a:pt x="11150746" y="4720673"/>
                  <a:pt x="11014830" y="4767031"/>
                </a:cubicBezTo>
                <a:cubicBezTo>
                  <a:pt x="11079552" y="4687559"/>
                  <a:pt x="11086024" y="4687559"/>
                  <a:pt x="11170162" y="4687559"/>
                </a:cubicBezTo>
                <a:close/>
                <a:moveTo>
                  <a:pt x="18254092" y="4678082"/>
                </a:moveTo>
                <a:cubicBezTo>
                  <a:pt x="18266932" y="4678082"/>
                  <a:pt x="18279776" y="4678082"/>
                  <a:pt x="18279776" y="4710191"/>
                </a:cubicBezTo>
                <a:cubicBezTo>
                  <a:pt x="18273356" y="4697347"/>
                  <a:pt x="18260512" y="4697347"/>
                  <a:pt x="18247672" y="4690926"/>
                </a:cubicBezTo>
                <a:cubicBezTo>
                  <a:pt x="18247672" y="4684504"/>
                  <a:pt x="18254092" y="4678082"/>
                  <a:pt x="18254092" y="4678082"/>
                </a:cubicBezTo>
                <a:close/>
                <a:moveTo>
                  <a:pt x="15943158" y="4678082"/>
                </a:moveTo>
                <a:cubicBezTo>
                  <a:pt x="15943158" y="4697347"/>
                  <a:pt x="15937170" y="4710191"/>
                  <a:pt x="15925194" y="4710191"/>
                </a:cubicBezTo>
                <a:cubicBezTo>
                  <a:pt x="15925194" y="4684504"/>
                  <a:pt x="15931182" y="4678082"/>
                  <a:pt x="15943158" y="4678082"/>
                </a:cubicBezTo>
                <a:close/>
                <a:moveTo>
                  <a:pt x="9137891" y="4678082"/>
                </a:moveTo>
                <a:cubicBezTo>
                  <a:pt x="9149866" y="4678082"/>
                  <a:pt x="9155853" y="4684504"/>
                  <a:pt x="9155853" y="4710191"/>
                </a:cubicBezTo>
                <a:cubicBezTo>
                  <a:pt x="9143878" y="4710191"/>
                  <a:pt x="9137891" y="4697347"/>
                  <a:pt x="9137891" y="4678082"/>
                </a:cubicBezTo>
                <a:close/>
                <a:moveTo>
                  <a:pt x="10144541" y="4678079"/>
                </a:moveTo>
                <a:cubicBezTo>
                  <a:pt x="10144541" y="4678079"/>
                  <a:pt x="10144541" y="4684643"/>
                  <a:pt x="10151105" y="4691207"/>
                </a:cubicBezTo>
                <a:cubicBezTo>
                  <a:pt x="10137977" y="4691207"/>
                  <a:pt x="10137977" y="4691207"/>
                  <a:pt x="10144541" y="4678079"/>
                </a:cubicBezTo>
                <a:close/>
                <a:moveTo>
                  <a:pt x="18415404" y="4675440"/>
                </a:moveTo>
                <a:cubicBezTo>
                  <a:pt x="18426992" y="4673808"/>
                  <a:pt x="18440948" y="4678703"/>
                  <a:pt x="18450424" y="4678703"/>
                </a:cubicBezTo>
                <a:cubicBezTo>
                  <a:pt x="18450424" y="4724392"/>
                  <a:pt x="18413560" y="4711338"/>
                  <a:pt x="18394600" y="4711338"/>
                </a:cubicBezTo>
                <a:cubicBezTo>
                  <a:pt x="18394600" y="4685230"/>
                  <a:pt x="18403816" y="4677071"/>
                  <a:pt x="18415404" y="4675440"/>
                </a:cubicBezTo>
                <a:close/>
                <a:moveTo>
                  <a:pt x="17583080" y="4675216"/>
                </a:moveTo>
                <a:cubicBezTo>
                  <a:pt x="17583080" y="4714897"/>
                  <a:pt x="17558484" y="4708283"/>
                  <a:pt x="17546188" y="4708283"/>
                </a:cubicBezTo>
                <a:cubicBezTo>
                  <a:pt x="17546188" y="4668602"/>
                  <a:pt x="17564636" y="4675216"/>
                  <a:pt x="17583080" y="4675216"/>
                </a:cubicBezTo>
                <a:close/>
                <a:moveTo>
                  <a:pt x="10144937" y="4662858"/>
                </a:moveTo>
                <a:lnTo>
                  <a:pt x="10142715" y="4672307"/>
                </a:lnTo>
                <a:cubicBezTo>
                  <a:pt x="10142715" y="4672307"/>
                  <a:pt x="10143536" y="4668817"/>
                  <a:pt x="10144561" y="4664454"/>
                </a:cubicBezTo>
                <a:close/>
                <a:moveTo>
                  <a:pt x="11203470" y="4659122"/>
                </a:moveTo>
                <a:cubicBezTo>
                  <a:pt x="11210105" y="4665507"/>
                  <a:pt x="11216741" y="4671891"/>
                  <a:pt x="11222271" y="4678275"/>
                </a:cubicBezTo>
                <a:cubicBezTo>
                  <a:pt x="11210105" y="4691044"/>
                  <a:pt x="11196834" y="4697428"/>
                  <a:pt x="11190198" y="4710197"/>
                </a:cubicBezTo>
                <a:cubicBezTo>
                  <a:pt x="11196834" y="4691044"/>
                  <a:pt x="11196834" y="4671891"/>
                  <a:pt x="11203470" y="4659122"/>
                </a:cubicBezTo>
                <a:close/>
                <a:moveTo>
                  <a:pt x="10152195" y="4659122"/>
                </a:moveTo>
                <a:cubicBezTo>
                  <a:pt x="10171154" y="4659122"/>
                  <a:pt x="10190114" y="4659122"/>
                  <a:pt x="10208020" y="4659122"/>
                </a:cubicBezTo>
                <a:cubicBezTo>
                  <a:pt x="10190114" y="4678387"/>
                  <a:pt x="10171154" y="4691231"/>
                  <a:pt x="10152195" y="4659122"/>
                </a:cubicBezTo>
                <a:close/>
                <a:moveTo>
                  <a:pt x="10146747" y="4655152"/>
                </a:moveTo>
                <a:lnTo>
                  <a:pt x="10146484" y="4656274"/>
                </a:lnTo>
                <a:lnTo>
                  <a:pt x="10144937" y="4662858"/>
                </a:lnTo>
                <a:close/>
                <a:moveTo>
                  <a:pt x="10148253" y="4648748"/>
                </a:moveTo>
                <a:lnTo>
                  <a:pt x="10146747" y="4655152"/>
                </a:lnTo>
                <a:lnTo>
                  <a:pt x="10147637" y="4651366"/>
                </a:lnTo>
                <a:cubicBezTo>
                  <a:pt x="10148458" y="4647875"/>
                  <a:pt x="10148868" y="4646130"/>
                  <a:pt x="10148253" y="4648748"/>
                </a:cubicBezTo>
                <a:close/>
                <a:moveTo>
                  <a:pt x="11273693" y="4647442"/>
                </a:moveTo>
                <a:lnTo>
                  <a:pt x="11276244" y="4651947"/>
                </a:lnTo>
                <a:lnTo>
                  <a:pt x="11276013" y="4649220"/>
                </a:lnTo>
                <a:close/>
                <a:moveTo>
                  <a:pt x="18209752" y="4644903"/>
                </a:moveTo>
                <a:cubicBezTo>
                  <a:pt x="18221336" y="4644903"/>
                  <a:pt x="18235032" y="4651052"/>
                  <a:pt x="18246616" y="4657201"/>
                </a:cubicBezTo>
                <a:cubicBezTo>
                  <a:pt x="18235032" y="4681795"/>
                  <a:pt x="18209752" y="4675647"/>
                  <a:pt x="18209752" y="4644903"/>
                </a:cubicBezTo>
                <a:close/>
                <a:moveTo>
                  <a:pt x="17488316" y="4644903"/>
                </a:moveTo>
                <a:cubicBezTo>
                  <a:pt x="17488316" y="4664167"/>
                  <a:pt x="17482328" y="4677009"/>
                  <a:pt x="17470352" y="4677009"/>
                </a:cubicBezTo>
                <a:cubicBezTo>
                  <a:pt x="17470352" y="4657746"/>
                  <a:pt x="17476340" y="4644903"/>
                  <a:pt x="17488316" y="4644903"/>
                </a:cubicBezTo>
                <a:close/>
                <a:moveTo>
                  <a:pt x="9178628" y="4644903"/>
                </a:moveTo>
                <a:cubicBezTo>
                  <a:pt x="9184777" y="4651430"/>
                  <a:pt x="9190926" y="4664484"/>
                  <a:pt x="9203223" y="4677538"/>
                </a:cubicBezTo>
                <a:cubicBezTo>
                  <a:pt x="9190926" y="4690592"/>
                  <a:pt x="9178628" y="4697119"/>
                  <a:pt x="9166331" y="4710173"/>
                </a:cubicBezTo>
                <a:cubicBezTo>
                  <a:pt x="9173504" y="4684065"/>
                  <a:pt x="9173504" y="4664484"/>
                  <a:pt x="9178628" y="4644903"/>
                </a:cubicBezTo>
                <a:close/>
                <a:moveTo>
                  <a:pt x="8530865" y="4644165"/>
                </a:moveTo>
                <a:cubicBezTo>
                  <a:pt x="8530865" y="4663509"/>
                  <a:pt x="8530865" y="4676405"/>
                  <a:pt x="8543762" y="4676405"/>
                </a:cubicBezTo>
                <a:cubicBezTo>
                  <a:pt x="8543762" y="4657061"/>
                  <a:pt x="8543762" y="4644165"/>
                  <a:pt x="8530865" y="4644165"/>
                </a:cubicBezTo>
                <a:close/>
                <a:moveTo>
                  <a:pt x="10433502" y="4642838"/>
                </a:moveTo>
                <a:cubicBezTo>
                  <a:pt x="10433502" y="4674957"/>
                  <a:pt x="10452805" y="4674957"/>
                  <a:pt x="10472107" y="4674957"/>
                </a:cubicBezTo>
                <a:cubicBezTo>
                  <a:pt x="10472107" y="4636415"/>
                  <a:pt x="10446370" y="4642838"/>
                  <a:pt x="10433502" y="4642838"/>
                </a:cubicBezTo>
                <a:close/>
                <a:moveTo>
                  <a:pt x="10395969" y="4642838"/>
                </a:moveTo>
                <a:cubicBezTo>
                  <a:pt x="10395969" y="4662110"/>
                  <a:pt x="10401331" y="4674957"/>
                  <a:pt x="10414199" y="4674957"/>
                </a:cubicBezTo>
                <a:cubicBezTo>
                  <a:pt x="10414199" y="4655686"/>
                  <a:pt x="10408837" y="4642838"/>
                  <a:pt x="10395969" y="4642838"/>
                </a:cubicBezTo>
                <a:close/>
                <a:moveTo>
                  <a:pt x="18906392" y="4640853"/>
                </a:moveTo>
                <a:cubicBezTo>
                  <a:pt x="18932712" y="4641454"/>
                  <a:pt x="18976276" y="4687143"/>
                  <a:pt x="18990800" y="4696762"/>
                </a:cubicBezTo>
                <a:cubicBezTo>
                  <a:pt x="19055340" y="4754475"/>
                  <a:pt x="19118804" y="4786538"/>
                  <a:pt x="19189800" y="4823944"/>
                </a:cubicBezTo>
                <a:cubicBezTo>
                  <a:pt x="19080080" y="4823944"/>
                  <a:pt x="18984344" y="4728825"/>
                  <a:pt x="18887532" y="4658287"/>
                </a:cubicBezTo>
                <a:cubicBezTo>
                  <a:pt x="18890760" y="4645462"/>
                  <a:pt x="18897616" y="4640652"/>
                  <a:pt x="18906392" y="4640853"/>
                </a:cubicBezTo>
                <a:close/>
                <a:moveTo>
                  <a:pt x="17702600" y="4625946"/>
                </a:moveTo>
                <a:cubicBezTo>
                  <a:pt x="17754000" y="4638934"/>
                  <a:pt x="17810752" y="4664909"/>
                  <a:pt x="17868580" y="4645427"/>
                </a:cubicBezTo>
                <a:cubicBezTo>
                  <a:pt x="17900704" y="4697377"/>
                  <a:pt x="17952104" y="4710365"/>
                  <a:pt x="17990656" y="4736340"/>
                </a:cubicBezTo>
                <a:cubicBezTo>
                  <a:pt x="17887852" y="4762315"/>
                  <a:pt x="17786124" y="4710365"/>
                  <a:pt x="17702600" y="4625946"/>
                </a:cubicBezTo>
                <a:close/>
                <a:moveTo>
                  <a:pt x="11276761" y="4625943"/>
                </a:moveTo>
                <a:cubicBezTo>
                  <a:pt x="11282749" y="4632364"/>
                  <a:pt x="11284246" y="4637180"/>
                  <a:pt x="11283497" y="4641996"/>
                </a:cubicBezTo>
                <a:lnTo>
                  <a:pt x="11278012" y="4655068"/>
                </a:lnTo>
                <a:lnTo>
                  <a:pt x="11279185" y="4657139"/>
                </a:lnTo>
                <a:cubicBezTo>
                  <a:pt x="11266341" y="4663753"/>
                  <a:pt x="11259919" y="4670366"/>
                  <a:pt x="11247076" y="4676980"/>
                </a:cubicBezTo>
                <a:cubicBezTo>
                  <a:pt x="11247076" y="4657139"/>
                  <a:pt x="11253498" y="4645566"/>
                  <a:pt x="11260722" y="4642259"/>
                </a:cubicBezTo>
                <a:lnTo>
                  <a:pt x="11271310" y="4643482"/>
                </a:lnTo>
                <a:close/>
                <a:moveTo>
                  <a:pt x="9296740" y="4618208"/>
                </a:moveTo>
                <a:cubicBezTo>
                  <a:pt x="9315955" y="4616605"/>
                  <a:pt x="9335170" y="4623018"/>
                  <a:pt x="9360790" y="4639049"/>
                </a:cubicBezTo>
                <a:cubicBezTo>
                  <a:pt x="9398153" y="4658287"/>
                  <a:pt x="9436583" y="4645462"/>
                  <a:pt x="9468608" y="4645462"/>
                </a:cubicBezTo>
                <a:cubicBezTo>
                  <a:pt x="9423773" y="4748063"/>
                  <a:pt x="9335170" y="4748063"/>
                  <a:pt x="9264714" y="4767300"/>
                </a:cubicBezTo>
                <a:cubicBezTo>
                  <a:pt x="9264714" y="4786538"/>
                  <a:pt x="9264714" y="4811119"/>
                  <a:pt x="9258309" y="4823944"/>
                </a:cubicBezTo>
                <a:cubicBezTo>
                  <a:pt x="9258309" y="4786538"/>
                  <a:pt x="9258309" y="4748063"/>
                  <a:pt x="9258309" y="4709587"/>
                </a:cubicBezTo>
                <a:cubicBezTo>
                  <a:pt x="9277524" y="4716000"/>
                  <a:pt x="9290334" y="4722412"/>
                  <a:pt x="9303145" y="4735237"/>
                </a:cubicBezTo>
                <a:cubicBezTo>
                  <a:pt x="9303145" y="4722412"/>
                  <a:pt x="9315955" y="4658287"/>
                  <a:pt x="9303145" y="4658287"/>
                </a:cubicBezTo>
                <a:cubicBezTo>
                  <a:pt x="9296740" y="4658287"/>
                  <a:pt x="9290334" y="4671112"/>
                  <a:pt x="9277524" y="4671112"/>
                </a:cubicBezTo>
                <a:cubicBezTo>
                  <a:pt x="9258309" y="4664699"/>
                  <a:pt x="9251904" y="4651874"/>
                  <a:pt x="9232689" y="4645462"/>
                </a:cubicBezTo>
                <a:cubicBezTo>
                  <a:pt x="9258309" y="4629430"/>
                  <a:pt x="9277525" y="4619811"/>
                  <a:pt x="9296740" y="4618208"/>
                </a:cubicBezTo>
                <a:close/>
                <a:moveTo>
                  <a:pt x="17431380" y="4613600"/>
                </a:moveTo>
                <a:cubicBezTo>
                  <a:pt x="17431380" y="4653281"/>
                  <a:pt x="17413476" y="4646667"/>
                  <a:pt x="17394520" y="4646667"/>
                </a:cubicBezTo>
                <a:cubicBezTo>
                  <a:pt x="17394520" y="4606986"/>
                  <a:pt x="17418744" y="4613600"/>
                  <a:pt x="17431380" y="4613600"/>
                </a:cubicBezTo>
                <a:close/>
                <a:moveTo>
                  <a:pt x="11298217" y="4611724"/>
                </a:moveTo>
                <a:cubicBezTo>
                  <a:pt x="11298217" y="4637411"/>
                  <a:pt x="11292230" y="4643833"/>
                  <a:pt x="11280255" y="4624568"/>
                </a:cubicBezTo>
                <a:cubicBezTo>
                  <a:pt x="11286242" y="4624568"/>
                  <a:pt x="11292230" y="4618146"/>
                  <a:pt x="11298217" y="4611724"/>
                </a:cubicBezTo>
                <a:close/>
                <a:moveTo>
                  <a:pt x="8777674" y="4578549"/>
                </a:moveTo>
                <a:cubicBezTo>
                  <a:pt x="8789971" y="4585320"/>
                  <a:pt x="8802269" y="4592091"/>
                  <a:pt x="8814566" y="4592091"/>
                </a:cubicBezTo>
                <a:cubicBezTo>
                  <a:pt x="8796120" y="4604505"/>
                  <a:pt x="8777674" y="4624818"/>
                  <a:pt x="8777674" y="4578549"/>
                </a:cubicBezTo>
                <a:close/>
                <a:moveTo>
                  <a:pt x="17673164" y="4578546"/>
                </a:moveTo>
                <a:cubicBezTo>
                  <a:pt x="17673164" y="4603981"/>
                  <a:pt x="17667176" y="4610616"/>
                  <a:pt x="17655200" y="4610616"/>
                </a:cubicBezTo>
                <a:cubicBezTo>
                  <a:pt x="17655200" y="4591817"/>
                  <a:pt x="17661188" y="4578546"/>
                  <a:pt x="17673164" y="4578546"/>
                </a:cubicBezTo>
                <a:close/>
                <a:moveTo>
                  <a:pt x="8738767" y="4578546"/>
                </a:moveTo>
                <a:cubicBezTo>
                  <a:pt x="8736298" y="4587947"/>
                  <a:pt x="8735064" y="4597624"/>
                  <a:pt x="8733706" y="4608269"/>
                </a:cubicBezTo>
                <a:lnTo>
                  <a:pt x="8728037" y="4642987"/>
                </a:lnTo>
                <a:lnTo>
                  <a:pt x="8729183" y="4644335"/>
                </a:lnTo>
                <a:cubicBezTo>
                  <a:pt x="8729183" y="4644335"/>
                  <a:pt x="8722619" y="4651160"/>
                  <a:pt x="8722619" y="4657985"/>
                </a:cubicBezTo>
                <a:cubicBezTo>
                  <a:pt x="8717696" y="4647748"/>
                  <a:pt x="8720158" y="4637510"/>
                  <a:pt x="8724465" y="4638790"/>
                </a:cubicBezTo>
                <a:lnTo>
                  <a:pt x="8727446" y="4642293"/>
                </a:lnTo>
                <a:lnTo>
                  <a:pt x="8722242" y="4625204"/>
                </a:lnTo>
                <a:cubicBezTo>
                  <a:pt x="8719697" y="4604053"/>
                  <a:pt x="8726177" y="4578546"/>
                  <a:pt x="8738767" y="4578546"/>
                </a:cubicBezTo>
                <a:close/>
                <a:moveTo>
                  <a:pt x="18831844" y="4554847"/>
                </a:moveTo>
                <a:cubicBezTo>
                  <a:pt x="18837272" y="4573807"/>
                  <a:pt x="18843792" y="4592766"/>
                  <a:pt x="18837272" y="4610672"/>
                </a:cubicBezTo>
                <a:cubicBezTo>
                  <a:pt x="18825324" y="4610672"/>
                  <a:pt x="18805772" y="4610672"/>
                  <a:pt x="18792740" y="4610672"/>
                </a:cubicBezTo>
                <a:cubicBezTo>
                  <a:pt x="18792740" y="4573807"/>
                  <a:pt x="18818808" y="4567487"/>
                  <a:pt x="18831844" y="4554847"/>
                </a:cubicBezTo>
                <a:close/>
                <a:moveTo>
                  <a:pt x="18886480" y="4550108"/>
                </a:moveTo>
                <a:cubicBezTo>
                  <a:pt x="18886480" y="4594346"/>
                  <a:pt x="18880160" y="4643850"/>
                  <a:pt x="18849616" y="4624891"/>
                </a:cubicBezTo>
                <a:cubicBezTo>
                  <a:pt x="18861200" y="4605932"/>
                  <a:pt x="18861200" y="4550108"/>
                  <a:pt x="18886480" y="4550108"/>
                </a:cubicBezTo>
                <a:close/>
                <a:moveTo>
                  <a:pt x="17242848" y="4550108"/>
                </a:moveTo>
                <a:cubicBezTo>
                  <a:pt x="17261460" y="4556625"/>
                  <a:pt x="17280076" y="4563142"/>
                  <a:pt x="17298688" y="4569659"/>
                </a:cubicBezTo>
                <a:cubicBezTo>
                  <a:pt x="17280076" y="4582693"/>
                  <a:pt x="17242848" y="4601158"/>
                  <a:pt x="17242848" y="4550108"/>
                </a:cubicBezTo>
                <a:close/>
                <a:moveTo>
                  <a:pt x="9398577" y="4550108"/>
                </a:moveTo>
                <a:cubicBezTo>
                  <a:pt x="9410552" y="4550108"/>
                  <a:pt x="9416539" y="4562951"/>
                  <a:pt x="9416539" y="4582214"/>
                </a:cubicBezTo>
                <a:cubicBezTo>
                  <a:pt x="9404564" y="4582214"/>
                  <a:pt x="9398577" y="4575793"/>
                  <a:pt x="9398577" y="4550108"/>
                </a:cubicBezTo>
                <a:close/>
                <a:moveTo>
                  <a:pt x="18211596" y="4547306"/>
                </a:moveTo>
                <a:cubicBezTo>
                  <a:pt x="18223180" y="4545690"/>
                  <a:pt x="18237136" y="4550537"/>
                  <a:pt x="18246616" y="4550537"/>
                </a:cubicBezTo>
                <a:cubicBezTo>
                  <a:pt x="18246616" y="4601164"/>
                  <a:pt x="18209752" y="4582852"/>
                  <a:pt x="18190792" y="4582852"/>
                </a:cubicBezTo>
                <a:cubicBezTo>
                  <a:pt x="18190792" y="4557000"/>
                  <a:pt x="18200008" y="4548921"/>
                  <a:pt x="18211596" y="4547306"/>
                </a:cubicBezTo>
                <a:close/>
                <a:moveTo>
                  <a:pt x="17521596" y="4541769"/>
                </a:moveTo>
                <a:cubicBezTo>
                  <a:pt x="17538980" y="4540965"/>
                  <a:pt x="17558848" y="4547398"/>
                  <a:pt x="17568784" y="4547398"/>
                </a:cubicBezTo>
                <a:cubicBezTo>
                  <a:pt x="17568784" y="4610649"/>
                  <a:pt x="17509180" y="4579559"/>
                  <a:pt x="17489312" y="4579559"/>
                </a:cubicBezTo>
                <a:cubicBezTo>
                  <a:pt x="17489312" y="4550614"/>
                  <a:pt x="17504212" y="4542573"/>
                  <a:pt x="17521596" y="4541769"/>
                </a:cubicBezTo>
                <a:close/>
                <a:moveTo>
                  <a:pt x="10380437" y="4534505"/>
                </a:moveTo>
                <a:cubicBezTo>
                  <a:pt x="10350126" y="4535107"/>
                  <a:pt x="10328410" y="4541129"/>
                  <a:pt x="10299456" y="4579672"/>
                </a:cubicBezTo>
                <a:cubicBezTo>
                  <a:pt x="10338061" y="4560400"/>
                  <a:pt x="10376666" y="4547553"/>
                  <a:pt x="10414199" y="4534705"/>
                </a:cubicBezTo>
                <a:cubicBezTo>
                  <a:pt x="10401599" y="4534705"/>
                  <a:pt x="10390540" y="4534304"/>
                  <a:pt x="10380437" y="4534505"/>
                </a:cubicBezTo>
                <a:close/>
                <a:moveTo>
                  <a:pt x="10828389" y="4522962"/>
                </a:moveTo>
                <a:cubicBezTo>
                  <a:pt x="10828389" y="4555279"/>
                  <a:pt x="10847746" y="4548816"/>
                  <a:pt x="10867104" y="4548816"/>
                </a:cubicBezTo>
                <a:cubicBezTo>
                  <a:pt x="10867104" y="4516499"/>
                  <a:pt x="10841294" y="4522962"/>
                  <a:pt x="10828389" y="4522962"/>
                </a:cubicBezTo>
                <a:close/>
                <a:moveTo>
                  <a:pt x="10433502" y="4521858"/>
                </a:moveTo>
                <a:cubicBezTo>
                  <a:pt x="10433502" y="4541129"/>
                  <a:pt x="10439936" y="4547553"/>
                  <a:pt x="10452805" y="4547553"/>
                </a:cubicBezTo>
                <a:cubicBezTo>
                  <a:pt x="10452805" y="4528282"/>
                  <a:pt x="10446370" y="4521858"/>
                  <a:pt x="10433502" y="4521858"/>
                </a:cubicBezTo>
                <a:close/>
                <a:moveTo>
                  <a:pt x="17469356" y="4521671"/>
                </a:moveTo>
                <a:cubicBezTo>
                  <a:pt x="17469356" y="4542146"/>
                  <a:pt x="17463368" y="4548971"/>
                  <a:pt x="17451392" y="4548971"/>
                </a:cubicBezTo>
                <a:cubicBezTo>
                  <a:pt x="17451392" y="4528496"/>
                  <a:pt x="17457380" y="4521671"/>
                  <a:pt x="17469356" y="4521671"/>
                </a:cubicBezTo>
                <a:close/>
                <a:moveTo>
                  <a:pt x="12132408" y="4521671"/>
                </a:moveTo>
                <a:cubicBezTo>
                  <a:pt x="12132408" y="4542146"/>
                  <a:pt x="12126421" y="4548971"/>
                  <a:pt x="12114446" y="4548971"/>
                </a:cubicBezTo>
                <a:cubicBezTo>
                  <a:pt x="12114446" y="4528496"/>
                  <a:pt x="12120433" y="4521671"/>
                  <a:pt x="12132408" y="4521671"/>
                </a:cubicBezTo>
                <a:close/>
                <a:moveTo>
                  <a:pt x="15988222" y="4521668"/>
                </a:moveTo>
                <a:cubicBezTo>
                  <a:pt x="16000520" y="4521668"/>
                  <a:pt x="16006668" y="4521668"/>
                  <a:pt x="16018966" y="4521668"/>
                </a:cubicBezTo>
                <a:cubicBezTo>
                  <a:pt x="16012816" y="4540283"/>
                  <a:pt x="16012816" y="4558897"/>
                  <a:pt x="16006668" y="4577512"/>
                </a:cubicBezTo>
                <a:cubicBezTo>
                  <a:pt x="16000520" y="4565102"/>
                  <a:pt x="15988222" y="4546488"/>
                  <a:pt x="15982074" y="4534078"/>
                </a:cubicBezTo>
                <a:cubicBezTo>
                  <a:pt x="15982074" y="4527873"/>
                  <a:pt x="15988222" y="4527873"/>
                  <a:pt x="15988222" y="4521668"/>
                </a:cubicBezTo>
                <a:close/>
                <a:moveTo>
                  <a:pt x="11593073" y="4513221"/>
                </a:moveTo>
                <a:cubicBezTo>
                  <a:pt x="11603005" y="4515503"/>
                  <a:pt x="11612329" y="4521853"/>
                  <a:pt x="11620436" y="4534554"/>
                </a:cubicBezTo>
                <a:cubicBezTo>
                  <a:pt x="11542604" y="4553605"/>
                  <a:pt x="11458287" y="4572656"/>
                  <a:pt x="11375050" y="4591707"/>
                </a:cubicBezTo>
                <a:cubicBezTo>
                  <a:pt x="11407480" y="4540904"/>
                  <a:pt x="11458287" y="4547255"/>
                  <a:pt x="11503688" y="4540904"/>
                </a:cubicBezTo>
                <a:cubicBezTo>
                  <a:pt x="11528011" y="4536141"/>
                  <a:pt x="11563278" y="4506374"/>
                  <a:pt x="11593073" y="4513221"/>
                </a:cubicBezTo>
                <a:close/>
                <a:moveTo>
                  <a:pt x="15504608" y="4502711"/>
                </a:moveTo>
                <a:cubicBezTo>
                  <a:pt x="15510596" y="4509132"/>
                  <a:pt x="15510596" y="4515554"/>
                  <a:pt x="15516584" y="4521975"/>
                </a:cubicBezTo>
                <a:cubicBezTo>
                  <a:pt x="15510596" y="4528396"/>
                  <a:pt x="15504608" y="4534817"/>
                  <a:pt x="15498622" y="4521975"/>
                </a:cubicBezTo>
                <a:cubicBezTo>
                  <a:pt x="15498622" y="4515554"/>
                  <a:pt x="15504608" y="4509132"/>
                  <a:pt x="15504608" y="4502711"/>
                </a:cubicBezTo>
                <a:close/>
                <a:moveTo>
                  <a:pt x="15969496" y="4502238"/>
                </a:moveTo>
                <a:cubicBezTo>
                  <a:pt x="15971136" y="4499679"/>
                  <a:pt x="15974418" y="4501385"/>
                  <a:pt x="15980982" y="4504797"/>
                </a:cubicBezTo>
                <a:cubicBezTo>
                  <a:pt x="15974418" y="4511622"/>
                  <a:pt x="15974418" y="4511622"/>
                  <a:pt x="15967854" y="4525272"/>
                </a:cubicBezTo>
                <a:cubicBezTo>
                  <a:pt x="15967854" y="4511622"/>
                  <a:pt x="15967854" y="4504797"/>
                  <a:pt x="15969496" y="4502238"/>
                </a:cubicBezTo>
                <a:close/>
                <a:moveTo>
                  <a:pt x="18128484" y="4497969"/>
                </a:moveTo>
                <a:cubicBezTo>
                  <a:pt x="18140896" y="4504354"/>
                  <a:pt x="18140896" y="4536275"/>
                  <a:pt x="18147100" y="4549044"/>
                </a:cubicBezTo>
                <a:cubicBezTo>
                  <a:pt x="18128484" y="4549044"/>
                  <a:pt x="18109872" y="4549044"/>
                  <a:pt x="18091256" y="4549044"/>
                </a:cubicBezTo>
                <a:cubicBezTo>
                  <a:pt x="18091256" y="4523507"/>
                  <a:pt x="18116076" y="4497969"/>
                  <a:pt x="18128484" y="4497969"/>
                </a:cubicBezTo>
                <a:close/>
                <a:moveTo>
                  <a:pt x="10605081" y="4496163"/>
                </a:moveTo>
                <a:cubicBezTo>
                  <a:pt x="10593285" y="4496163"/>
                  <a:pt x="10586851" y="4502587"/>
                  <a:pt x="10580417" y="4509010"/>
                </a:cubicBezTo>
                <a:cubicBezTo>
                  <a:pt x="10554680" y="4521858"/>
                  <a:pt x="10530015" y="4534705"/>
                  <a:pt x="10510713" y="4547553"/>
                </a:cubicBezTo>
                <a:cubicBezTo>
                  <a:pt x="10510713" y="4573248"/>
                  <a:pt x="10510713" y="4592519"/>
                  <a:pt x="10510713" y="4610720"/>
                </a:cubicBezTo>
                <a:cubicBezTo>
                  <a:pt x="10535377" y="4604296"/>
                  <a:pt x="10554680" y="4617143"/>
                  <a:pt x="10573983" y="4586095"/>
                </a:cubicBezTo>
                <a:cubicBezTo>
                  <a:pt x="10586851" y="4560400"/>
                  <a:pt x="10605081" y="4547553"/>
                  <a:pt x="10624384" y="4547553"/>
                </a:cubicBezTo>
                <a:cubicBezTo>
                  <a:pt x="10617950" y="4528282"/>
                  <a:pt x="10612588" y="4509010"/>
                  <a:pt x="10605081" y="4496163"/>
                </a:cubicBezTo>
                <a:close/>
                <a:moveTo>
                  <a:pt x="11329787" y="4494038"/>
                </a:moveTo>
                <a:cubicBezTo>
                  <a:pt x="11338533" y="4495148"/>
                  <a:pt x="11346978" y="4498375"/>
                  <a:pt x="11355020" y="4504829"/>
                </a:cubicBezTo>
                <a:cubicBezTo>
                  <a:pt x="11245645" y="4550007"/>
                  <a:pt x="11143776" y="4613472"/>
                  <a:pt x="11027968" y="4639289"/>
                </a:cubicBezTo>
                <a:cubicBezTo>
                  <a:pt x="10990437" y="4652197"/>
                  <a:pt x="10951834" y="4645743"/>
                  <a:pt x="10945400" y="4729646"/>
                </a:cubicBezTo>
                <a:cubicBezTo>
                  <a:pt x="10938966" y="4781279"/>
                  <a:pt x="10900364" y="4755462"/>
                  <a:pt x="10913231" y="4723192"/>
                </a:cubicBezTo>
                <a:cubicBezTo>
                  <a:pt x="10874628" y="4723192"/>
                  <a:pt x="10836025" y="4723192"/>
                  <a:pt x="10792061" y="4723192"/>
                </a:cubicBezTo>
                <a:cubicBezTo>
                  <a:pt x="10810290" y="4703830"/>
                  <a:pt x="10836025" y="4703830"/>
                  <a:pt x="10848893" y="4678013"/>
                </a:cubicBezTo>
                <a:cubicBezTo>
                  <a:pt x="10861761" y="4665105"/>
                  <a:pt x="10861761" y="4652197"/>
                  <a:pt x="10861761" y="4632835"/>
                </a:cubicBezTo>
                <a:cubicBezTo>
                  <a:pt x="10868194" y="4600564"/>
                  <a:pt x="10893930" y="4613472"/>
                  <a:pt x="10913231" y="4613472"/>
                </a:cubicBezTo>
                <a:cubicBezTo>
                  <a:pt x="10951834" y="4607018"/>
                  <a:pt x="10990437" y="4588732"/>
                  <a:pt x="11027968" y="4582278"/>
                </a:cubicBezTo>
                <a:cubicBezTo>
                  <a:pt x="11040835" y="4575824"/>
                  <a:pt x="11060137" y="4569369"/>
                  <a:pt x="11079438" y="4569369"/>
                </a:cubicBezTo>
                <a:cubicBezTo>
                  <a:pt x="11098739" y="4569369"/>
                  <a:pt x="11085872" y="4562915"/>
                  <a:pt x="11105173" y="4550007"/>
                </a:cubicBezTo>
                <a:cubicBezTo>
                  <a:pt x="11150210" y="4537099"/>
                  <a:pt x="11201680" y="4524191"/>
                  <a:pt x="11245645" y="4511283"/>
                </a:cubicBezTo>
                <a:cubicBezTo>
                  <a:pt x="11274597" y="4506442"/>
                  <a:pt x="11303550" y="4490710"/>
                  <a:pt x="11329787" y="4494038"/>
                </a:cubicBezTo>
                <a:close/>
                <a:moveTo>
                  <a:pt x="10886462" y="4490646"/>
                </a:moveTo>
                <a:cubicBezTo>
                  <a:pt x="10886462" y="4510036"/>
                  <a:pt x="10892915" y="4522962"/>
                  <a:pt x="10905820" y="4522962"/>
                </a:cubicBezTo>
                <a:cubicBezTo>
                  <a:pt x="10905820" y="4497109"/>
                  <a:pt x="10899367" y="4490646"/>
                  <a:pt x="10886462" y="4490646"/>
                </a:cubicBezTo>
                <a:close/>
                <a:moveTo>
                  <a:pt x="19298800" y="4488492"/>
                </a:moveTo>
                <a:cubicBezTo>
                  <a:pt x="19298800" y="4507757"/>
                  <a:pt x="19298800" y="4520601"/>
                  <a:pt x="19285672" y="4520601"/>
                </a:cubicBezTo>
                <a:cubicBezTo>
                  <a:pt x="19285672" y="4501336"/>
                  <a:pt x="19285672" y="4488492"/>
                  <a:pt x="19298800" y="4488492"/>
                </a:cubicBezTo>
                <a:close/>
                <a:moveTo>
                  <a:pt x="18045544" y="4488492"/>
                </a:moveTo>
                <a:cubicBezTo>
                  <a:pt x="18058388" y="4488492"/>
                  <a:pt x="18071228" y="4494914"/>
                  <a:pt x="18071228" y="4520601"/>
                </a:cubicBezTo>
                <a:cubicBezTo>
                  <a:pt x="18058388" y="4514179"/>
                  <a:pt x="18045544" y="4507757"/>
                  <a:pt x="18039124" y="4501336"/>
                </a:cubicBezTo>
                <a:cubicBezTo>
                  <a:pt x="18039124" y="4494914"/>
                  <a:pt x="18039124" y="4494914"/>
                  <a:pt x="18045544" y="4488492"/>
                </a:cubicBezTo>
                <a:close/>
                <a:moveTo>
                  <a:pt x="16786776" y="4488492"/>
                </a:moveTo>
                <a:cubicBezTo>
                  <a:pt x="16786776" y="4507757"/>
                  <a:pt x="16780456" y="4520601"/>
                  <a:pt x="16768870" y="4520601"/>
                </a:cubicBezTo>
                <a:cubicBezTo>
                  <a:pt x="16768870" y="4494914"/>
                  <a:pt x="16775190" y="4488492"/>
                  <a:pt x="16786776" y="4488492"/>
                </a:cubicBezTo>
                <a:close/>
                <a:moveTo>
                  <a:pt x="15824664" y="4488492"/>
                </a:moveTo>
                <a:cubicBezTo>
                  <a:pt x="15824664" y="4507757"/>
                  <a:pt x="15818676" y="4520601"/>
                  <a:pt x="15806702" y="4520601"/>
                </a:cubicBezTo>
                <a:cubicBezTo>
                  <a:pt x="15806702" y="4494914"/>
                  <a:pt x="15812690" y="4488492"/>
                  <a:pt x="15824664" y="4488492"/>
                </a:cubicBezTo>
                <a:close/>
                <a:moveTo>
                  <a:pt x="15203758" y="4488492"/>
                </a:moveTo>
                <a:cubicBezTo>
                  <a:pt x="15203758" y="4507757"/>
                  <a:pt x="15197770" y="4520601"/>
                  <a:pt x="15185796" y="4520601"/>
                </a:cubicBezTo>
                <a:cubicBezTo>
                  <a:pt x="15185796" y="4494914"/>
                  <a:pt x="15191784" y="4488492"/>
                  <a:pt x="15203758" y="4488492"/>
                </a:cubicBezTo>
                <a:close/>
                <a:moveTo>
                  <a:pt x="21021828" y="4488489"/>
                </a:moveTo>
                <a:cubicBezTo>
                  <a:pt x="21034124" y="4500899"/>
                  <a:pt x="21040272" y="4519514"/>
                  <a:pt x="21052572" y="4531923"/>
                </a:cubicBezTo>
                <a:cubicBezTo>
                  <a:pt x="21040272" y="4544333"/>
                  <a:pt x="21027976" y="4544333"/>
                  <a:pt x="21015680" y="4544333"/>
                </a:cubicBezTo>
                <a:cubicBezTo>
                  <a:pt x="21015680" y="4525718"/>
                  <a:pt x="21021828" y="4507104"/>
                  <a:pt x="21021828" y="4488489"/>
                </a:cubicBezTo>
                <a:close/>
                <a:moveTo>
                  <a:pt x="11356548" y="4476785"/>
                </a:moveTo>
                <a:lnTo>
                  <a:pt x="11351348" y="4487464"/>
                </a:lnTo>
                <a:cubicBezTo>
                  <a:pt x="11351348" y="4487464"/>
                  <a:pt x="11352471" y="4485158"/>
                  <a:pt x="11353874" y="4482276"/>
                </a:cubicBezTo>
                <a:close/>
                <a:moveTo>
                  <a:pt x="11358926" y="4471900"/>
                </a:moveTo>
                <a:cubicBezTo>
                  <a:pt x="11359768" y="4470171"/>
                  <a:pt x="11359206" y="4471324"/>
                  <a:pt x="11358084" y="4473630"/>
                </a:cubicBezTo>
                <a:lnTo>
                  <a:pt x="11356548" y="4476785"/>
                </a:lnTo>
                <a:close/>
                <a:moveTo>
                  <a:pt x="8903997" y="4461474"/>
                </a:moveTo>
                <a:cubicBezTo>
                  <a:pt x="8888883" y="4456638"/>
                  <a:pt x="8868329" y="4480818"/>
                  <a:pt x="8858657" y="4490490"/>
                </a:cubicBezTo>
                <a:cubicBezTo>
                  <a:pt x="8832863" y="4516281"/>
                  <a:pt x="8794173" y="4529177"/>
                  <a:pt x="8755483" y="4542073"/>
                </a:cubicBezTo>
                <a:cubicBezTo>
                  <a:pt x="8717867" y="4561417"/>
                  <a:pt x="8679177" y="4574313"/>
                  <a:pt x="8640487" y="4593656"/>
                </a:cubicBezTo>
                <a:cubicBezTo>
                  <a:pt x="8653384" y="4605477"/>
                  <a:pt x="8717867" y="4618373"/>
                  <a:pt x="8711419" y="4657061"/>
                </a:cubicBezTo>
                <a:cubicBezTo>
                  <a:pt x="8711419" y="4682852"/>
                  <a:pt x="8679177" y="4676405"/>
                  <a:pt x="8679177" y="4708644"/>
                </a:cubicBezTo>
                <a:cubicBezTo>
                  <a:pt x="8749035" y="4650613"/>
                  <a:pt x="8826415" y="4605477"/>
                  <a:pt x="8903795" y="4580760"/>
                </a:cubicBezTo>
                <a:cubicBezTo>
                  <a:pt x="8910244" y="4548521"/>
                  <a:pt x="8923140" y="4509833"/>
                  <a:pt x="8916692" y="4477594"/>
                </a:cubicBezTo>
                <a:cubicBezTo>
                  <a:pt x="8913468" y="4467922"/>
                  <a:pt x="8909035" y="4463086"/>
                  <a:pt x="8903997" y="4461474"/>
                </a:cubicBezTo>
                <a:close/>
                <a:moveTo>
                  <a:pt x="9096172" y="4458250"/>
                </a:moveTo>
                <a:cubicBezTo>
                  <a:pt x="9096172" y="4477594"/>
                  <a:pt x="9096172" y="4490490"/>
                  <a:pt x="9109068" y="4490490"/>
                </a:cubicBezTo>
                <a:cubicBezTo>
                  <a:pt x="9109068" y="4471146"/>
                  <a:pt x="9109068" y="4458250"/>
                  <a:pt x="9096172" y="4458250"/>
                </a:cubicBezTo>
                <a:close/>
                <a:moveTo>
                  <a:pt x="9018791" y="4458250"/>
                </a:moveTo>
                <a:cubicBezTo>
                  <a:pt x="9018791" y="4477594"/>
                  <a:pt x="9025240" y="4490490"/>
                  <a:pt x="9038136" y="4490490"/>
                </a:cubicBezTo>
                <a:cubicBezTo>
                  <a:pt x="9038136" y="4464698"/>
                  <a:pt x="9031688" y="4458250"/>
                  <a:pt x="9018791" y="4458250"/>
                </a:cubicBezTo>
                <a:close/>
                <a:moveTo>
                  <a:pt x="15336444" y="4456721"/>
                </a:moveTo>
                <a:cubicBezTo>
                  <a:pt x="15336444" y="4487464"/>
                  <a:pt x="15311848" y="4487464"/>
                  <a:pt x="15299550" y="4487464"/>
                </a:cubicBezTo>
                <a:cubicBezTo>
                  <a:pt x="15299550" y="4450572"/>
                  <a:pt x="15317998" y="4456721"/>
                  <a:pt x="15336444" y="4456721"/>
                </a:cubicBezTo>
                <a:close/>
                <a:moveTo>
                  <a:pt x="10955021" y="4455098"/>
                </a:moveTo>
                <a:cubicBezTo>
                  <a:pt x="10942922" y="4453482"/>
                  <a:pt x="10928404" y="4458330"/>
                  <a:pt x="10918725" y="4458330"/>
                </a:cubicBezTo>
                <a:cubicBezTo>
                  <a:pt x="10918725" y="4510036"/>
                  <a:pt x="10957441" y="4490646"/>
                  <a:pt x="10976799" y="4490646"/>
                </a:cubicBezTo>
                <a:cubicBezTo>
                  <a:pt x="10976799" y="4464793"/>
                  <a:pt x="10967120" y="4456714"/>
                  <a:pt x="10955021" y="4455098"/>
                </a:cubicBezTo>
                <a:close/>
                <a:moveTo>
                  <a:pt x="17957796" y="4453298"/>
                </a:moveTo>
                <a:cubicBezTo>
                  <a:pt x="17984548" y="4452426"/>
                  <a:pt x="18009196" y="4462897"/>
                  <a:pt x="18038056" y="4476858"/>
                </a:cubicBezTo>
                <a:cubicBezTo>
                  <a:pt x="17999576" y="4501677"/>
                  <a:pt x="17962168" y="4464448"/>
                  <a:pt x="17930108" y="4458243"/>
                </a:cubicBezTo>
                <a:cubicBezTo>
                  <a:pt x="17939724" y="4455140"/>
                  <a:pt x="17948876" y="4453589"/>
                  <a:pt x="17957796" y="4453298"/>
                </a:cubicBezTo>
                <a:close/>
                <a:moveTo>
                  <a:pt x="11464578" y="4452268"/>
                </a:moveTo>
                <a:cubicBezTo>
                  <a:pt x="11481694" y="4450672"/>
                  <a:pt x="11500389" y="4460248"/>
                  <a:pt x="11506709" y="4479401"/>
                </a:cubicBezTo>
                <a:cubicBezTo>
                  <a:pt x="11481430" y="4479401"/>
                  <a:pt x="11456152" y="4485786"/>
                  <a:pt x="11431927" y="4492170"/>
                </a:cubicBezTo>
                <a:cubicBezTo>
                  <a:pt x="11431927" y="4466633"/>
                  <a:pt x="11447463" y="4453864"/>
                  <a:pt x="11464578" y="4452268"/>
                </a:cubicBezTo>
                <a:close/>
                <a:moveTo>
                  <a:pt x="9374754" y="4449044"/>
                </a:moveTo>
                <a:cubicBezTo>
                  <a:pt x="9377872" y="4449044"/>
                  <a:pt x="9380866" y="4452254"/>
                  <a:pt x="9383360" y="4458676"/>
                </a:cubicBezTo>
                <a:lnTo>
                  <a:pt x="9378423" y="4477742"/>
                </a:lnTo>
                <a:lnTo>
                  <a:pt x="9378619" y="4478014"/>
                </a:lnTo>
                <a:cubicBezTo>
                  <a:pt x="9371634" y="4478014"/>
                  <a:pt x="9365646" y="4478014"/>
                  <a:pt x="9360657" y="4478014"/>
                </a:cubicBezTo>
                <a:cubicBezTo>
                  <a:pt x="9360657" y="4472027"/>
                  <a:pt x="9365646" y="4466040"/>
                  <a:pt x="9365646" y="4460052"/>
                </a:cubicBezTo>
                <a:lnTo>
                  <a:pt x="9375695" y="4473966"/>
                </a:lnTo>
                <a:lnTo>
                  <a:pt x="9365398" y="4458676"/>
                </a:lnTo>
                <a:cubicBezTo>
                  <a:pt x="9368392" y="4452254"/>
                  <a:pt x="9371635" y="4449044"/>
                  <a:pt x="9374754" y="4449044"/>
                </a:cubicBezTo>
                <a:close/>
                <a:moveTo>
                  <a:pt x="17366080" y="4445836"/>
                </a:moveTo>
                <a:cubicBezTo>
                  <a:pt x="17392620" y="4465704"/>
                  <a:pt x="17431332" y="4472326"/>
                  <a:pt x="17431332" y="4525306"/>
                </a:cubicBezTo>
                <a:cubicBezTo>
                  <a:pt x="17412528" y="4525306"/>
                  <a:pt x="17392620" y="4525306"/>
                  <a:pt x="17372712" y="4525306"/>
                </a:cubicBezTo>
                <a:cubicBezTo>
                  <a:pt x="17372712" y="4498816"/>
                  <a:pt x="17366080" y="4472326"/>
                  <a:pt x="17366080" y="4445836"/>
                </a:cubicBezTo>
                <a:close/>
                <a:moveTo>
                  <a:pt x="18455576" y="4433297"/>
                </a:moveTo>
                <a:cubicBezTo>
                  <a:pt x="18463264" y="4434903"/>
                  <a:pt x="18469412" y="4442929"/>
                  <a:pt x="18469412" y="4458982"/>
                </a:cubicBezTo>
                <a:cubicBezTo>
                  <a:pt x="18457112" y="4452561"/>
                  <a:pt x="18444816" y="4446140"/>
                  <a:pt x="18432520" y="4446140"/>
                </a:cubicBezTo>
                <a:cubicBezTo>
                  <a:pt x="18438668" y="4436508"/>
                  <a:pt x="18447892" y="4431692"/>
                  <a:pt x="18455576" y="4433297"/>
                </a:cubicBezTo>
                <a:close/>
                <a:moveTo>
                  <a:pt x="11540338" y="4431807"/>
                </a:moveTo>
                <a:cubicBezTo>
                  <a:pt x="11552747" y="4430211"/>
                  <a:pt x="11563606" y="4434999"/>
                  <a:pt x="11563606" y="4457345"/>
                </a:cubicBezTo>
                <a:cubicBezTo>
                  <a:pt x="11549645" y="4457345"/>
                  <a:pt x="11532194" y="4460936"/>
                  <a:pt x="11519105" y="4454652"/>
                </a:cubicBezTo>
                <a:lnTo>
                  <a:pt x="11512377" y="4448676"/>
                </a:lnTo>
                <a:lnTo>
                  <a:pt x="11513251" y="4449846"/>
                </a:lnTo>
                <a:cubicBezTo>
                  <a:pt x="11514747" y="4452254"/>
                  <a:pt x="11516244" y="4455465"/>
                  <a:pt x="11516244" y="4458676"/>
                </a:cubicBezTo>
                <a:cubicBezTo>
                  <a:pt x="11510257" y="4465097"/>
                  <a:pt x="11510257" y="4471518"/>
                  <a:pt x="11510257" y="4477939"/>
                </a:cubicBezTo>
                <a:cubicBezTo>
                  <a:pt x="11507263" y="4468308"/>
                  <a:pt x="11504269" y="4463492"/>
                  <a:pt x="11503521" y="4459478"/>
                </a:cubicBezTo>
                <a:lnTo>
                  <a:pt x="11509928" y="4446500"/>
                </a:lnTo>
                <a:lnTo>
                  <a:pt x="11507762" y="4444576"/>
                </a:lnTo>
                <a:cubicBezTo>
                  <a:pt x="11513967" y="4441384"/>
                  <a:pt x="11527928" y="4433403"/>
                  <a:pt x="11540338" y="4431807"/>
                </a:cubicBezTo>
                <a:close/>
                <a:moveTo>
                  <a:pt x="10716226" y="4426876"/>
                </a:moveTo>
                <a:cubicBezTo>
                  <a:pt x="10729069" y="4439930"/>
                  <a:pt x="10735491" y="4452984"/>
                  <a:pt x="10748335" y="4459511"/>
                </a:cubicBezTo>
                <a:cubicBezTo>
                  <a:pt x="10735491" y="4466038"/>
                  <a:pt x="10722648" y="4479092"/>
                  <a:pt x="10716226" y="4492146"/>
                </a:cubicBezTo>
                <a:cubicBezTo>
                  <a:pt x="10716226" y="4472565"/>
                  <a:pt x="10716226" y="4452984"/>
                  <a:pt x="10716226" y="4426876"/>
                </a:cubicBezTo>
                <a:close/>
                <a:moveTo>
                  <a:pt x="10014741" y="4426876"/>
                </a:moveTo>
                <a:cubicBezTo>
                  <a:pt x="10026716" y="4426876"/>
                  <a:pt x="10032703" y="4433297"/>
                  <a:pt x="10032703" y="4458982"/>
                </a:cubicBezTo>
                <a:cubicBezTo>
                  <a:pt x="10020728" y="4458982"/>
                  <a:pt x="10014741" y="4452561"/>
                  <a:pt x="10014741" y="4426876"/>
                </a:cubicBezTo>
                <a:close/>
                <a:moveTo>
                  <a:pt x="15539128" y="4421748"/>
                </a:moveTo>
                <a:cubicBezTo>
                  <a:pt x="15545894" y="4422574"/>
                  <a:pt x="15552694" y="4424228"/>
                  <a:pt x="15559156" y="4425881"/>
                </a:cubicBezTo>
                <a:cubicBezTo>
                  <a:pt x="15533304" y="4432495"/>
                  <a:pt x="15514994" y="4445722"/>
                  <a:pt x="15489142" y="4458949"/>
                </a:cubicBezTo>
                <a:cubicBezTo>
                  <a:pt x="15498834" y="4424228"/>
                  <a:pt x="15518830" y="4419268"/>
                  <a:pt x="15539128" y="4421748"/>
                </a:cubicBezTo>
                <a:close/>
                <a:moveTo>
                  <a:pt x="9661633" y="4419118"/>
                </a:moveTo>
                <a:cubicBezTo>
                  <a:pt x="9681023" y="4419118"/>
                  <a:pt x="9700413" y="4412654"/>
                  <a:pt x="9706876" y="4444971"/>
                </a:cubicBezTo>
                <a:cubicBezTo>
                  <a:pt x="9706876" y="4464361"/>
                  <a:pt x="9713339" y="4490214"/>
                  <a:pt x="9732729" y="4483750"/>
                </a:cubicBezTo>
                <a:cubicBezTo>
                  <a:pt x="9765046" y="4470824"/>
                  <a:pt x="9777972" y="4464361"/>
                  <a:pt x="9790899" y="4522530"/>
                </a:cubicBezTo>
                <a:cubicBezTo>
                  <a:pt x="9732729" y="4548383"/>
                  <a:pt x="9668096" y="4580700"/>
                  <a:pt x="9609927" y="4611939"/>
                </a:cubicBezTo>
                <a:cubicBezTo>
                  <a:pt x="9577610" y="4637792"/>
                  <a:pt x="9526981" y="4695962"/>
                  <a:pt x="9507591" y="4611939"/>
                </a:cubicBezTo>
                <a:cubicBezTo>
                  <a:pt x="9520518" y="4611939"/>
                  <a:pt x="9533444" y="4611939"/>
                  <a:pt x="9546371" y="4611939"/>
                </a:cubicBezTo>
                <a:cubicBezTo>
                  <a:pt x="9546371" y="4554847"/>
                  <a:pt x="9526981" y="4477287"/>
                  <a:pt x="9577610" y="4464361"/>
                </a:cubicBezTo>
                <a:cubicBezTo>
                  <a:pt x="9603463" y="4457897"/>
                  <a:pt x="9655170" y="4412654"/>
                  <a:pt x="9674559" y="4477287"/>
                </a:cubicBezTo>
                <a:lnTo>
                  <a:pt x="9674697" y="4476977"/>
                </a:lnTo>
                <a:lnTo>
                  <a:pt x="9673982" y="4456268"/>
                </a:lnTo>
                <a:cubicBezTo>
                  <a:pt x="9675105" y="4454261"/>
                  <a:pt x="9676789" y="4453258"/>
                  <a:pt x="9678940" y="4453559"/>
                </a:cubicBezTo>
                <a:lnTo>
                  <a:pt x="9686569" y="4458586"/>
                </a:lnTo>
                <a:lnTo>
                  <a:pt x="9687486" y="4457897"/>
                </a:lnTo>
                <a:cubicBezTo>
                  <a:pt x="9674559" y="4444971"/>
                  <a:pt x="9668096" y="4432044"/>
                  <a:pt x="9661633" y="4419118"/>
                </a:cubicBezTo>
                <a:close/>
                <a:moveTo>
                  <a:pt x="383018" y="4418305"/>
                </a:moveTo>
                <a:cubicBezTo>
                  <a:pt x="405163" y="4418305"/>
                  <a:pt x="429773" y="4426508"/>
                  <a:pt x="439616" y="4426508"/>
                </a:cubicBezTo>
                <a:cubicBezTo>
                  <a:pt x="439616" y="4492136"/>
                  <a:pt x="360865" y="4459322"/>
                  <a:pt x="341176" y="4459322"/>
                </a:cubicBezTo>
                <a:cubicBezTo>
                  <a:pt x="341176" y="4426508"/>
                  <a:pt x="360865" y="4418305"/>
                  <a:pt x="383018" y="4418305"/>
                </a:cubicBezTo>
                <a:close/>
                <a:moveTo>
                  <a:pt x="17280144" y="4416376"/>
                </a:moveTo>
                <a:cubicBezTo>
                  <a:pt x="17300528" y="4417996"/>
                  <a:pt x="17321724" y="4426095"/>
                  <a:pt x="17341292" y="4426095"/>
                </a:cubicBezTo>
                <a:cubicBezTo>
                  <a:pt x="17334768" y="4445534"/>
                  <a:pt x="17328248" y="4464973"/>
                  <a:pt x="17321724" y="4477932"/>
                </a:cubicBezTo>
                <a:cubicBezTo>
                  <a:pt x="17308680" y="4477932"/>
                  <a:pt x="17302156" y="4471453"/>
                  <a:pt x="17289112" y="4471453"/>
                </a:cubicBezTo>
                <a:cubicBezTo>
                  <a:pt x="17269544" y="4458493"/>
                  <a:pt x="17243456" y="4452014"/>
                  <a:pt x="17223888" y="4445534"/>
                </a:cubicBezTo>
                <a:cubicBezTo>
                  <a:pt x="17240196" y="4419616"/>
                  <a:pt x="17259760" y="4414756"/>
                  <a:pt x="17280144" y="4416376"/>
                </a:cubicBezTo>
                <a:close/>
                <a:moveTo>
                  <a:pt x="11931121" y="4412654"/>
                </a:moveTo>
                <a:cubicBezTo>
                  <a:pt x="11937580" y="4419177"/>
                  <a:pt x="11950498" y="4432222"/>
                  <a:pt x="11956957" y="4445267"/>
                </a:cubicBezTo>
                <a:cubicBezTo>
                  <a:pt x="11892365" y="4458312"/>
                  <a:pt x="11828850" y="4471358"/>
                  <a:pt x="11764257" y="4490926"/>
                </a:cubicBezTo>
                <a:cubicBezTo>
                  <a:pt x="11731961" y="4497448"/>
                  <a:pt x="11706125" y="4497448"/>
                  <a:pt x="11680288" y="4510493"/>
                </a:cubicBezTo>
                <a:cubicBezTo>
                  <a:pt x="11665754" y="4515385"/>
                  <a:pt x="11648194" y="4523946"/>
                  <a:pt x="11632146" y="4516914"/>
                </a:cubicBezTo>
                <a:lnTo>
                  <a:pt x="11619328" y="4506123"/>
                </a:lnTo>
                <a:lnTo>
                  <a:pt x="11624279" y="4523463"/>
                </a:lnTo>
                <a:cubicBezTo>
                  <a:pt x="11622831" y="4528843"/>
                  <a:pt x="11618354" y="4530380"/>
                  <a:pt x="11612034" y="4521157"/>
                </a:cubicBezTo>
                <a:lnTo>
                  <a:pt x="11617665" y="4504723"/>
                </a:lnTo>
                <a:lnTo>
                  <a:pt x="11616772" y="4503971"/>
                </a:lnTo>
                <a:lnTo>
                  <a:pt x="11618067" y="4503548"/>
                </a:lnTo>
                <a:lnTo>
                  <a:pt x="11618354" y="4502711"/>
                </a:lnTo>
                <a:lnTo>
                  <a:pt x="11618548" y="4503391"/>
                </a:lnTo>
                <a:lnTo>
                  <a:pt x="11796554" y="4445267"/>
                </a:lnTo>
                <a:cubicBezTo>
                  <a:pt x="11828850" y="4438745"/>
                  <a:pt x="11853610" y="4432222"/>
                  <a:pt x="11885906" y="4425699"/>
                </a:cubicBezTo>
                <a:cubicBezTo>
                  <a:pt x="11898824" y="4419177"/>
                  <a:pt x="11918202" y="4412654"/>
                  <a:pt x="11931121" y="4412654"/>
                </a:cubicBezTo>
                <a:close/>
                <a:moveTo>
                  <a:pt x="10624384" y="4412654"/>
                </a:moveTo>
                <a:cubicBezTo>
                  <a:pt x="10612588" y="4419078"/>
                  <a:pt x="10605081" y="4431925"/>
                  <a:pt x="10605081" y="4444773"/>
                </a:cubicBezTo>
                <a:cubicBezTo>
                  <a:pt x="10624384" y="4449591"/>
                  <a:pt x="10643687" y="4447182"/>
                  <a:pt x="10660275" y="4459226"/>
                </a:cubicBezTo>
                <a:lnTo>
                  <a:pt x="10673742" y="4474493"/>
                </a:lnTo>
                <a:lnTo>
                  <a:pt x="10668826" y="4458676"/>
                </a:lnTo>
                <a:cubicBezTo>
                  <a:pt x="10674813" y="4445833"/>
                  <a:pt x="10680801" y="4445833"/>
                  <a:pt x="10686788" y="4458676"/>
                </a:cubicBezTo>
                <a:lnTo>
                  <a:pt x="10675627" y="4476630"/>
                </a:lnTo>
                <a:lnTo>
                  <a:pt x="10675858" y="4476892"/>
                </a:lnTo>
                <a:lnTo>
                  <a:pt x="10675464" y="4476892"/>
                </a:lnTo>
                <a:lnTo>
                  <a:pt x="10674813" y="4477939"/>
                </a:lnTo>
                <a:lnTo>
                  <a:pt x="10674487" y="4476892"/>
                </a:lnTo>
                <a:lnTo>
                  <a:pt x="10659772" y="4476892"/>
                </a:lnTo>
                <a:cubicBezTo>
                  <a:pt x="10653338" y="4478497"/>
                  <a:pt x="10646904" y="4483315"/>
                  <a:pt x="10643687" y="4496163"/>
                </a:cubicBezTo>
                <a:cubicBezTo>
                  <a:pt x="10630818" y="4521858"/>
                  <a:pt x="10637253" y="4553977"/>
                  <a:pt x="10637253" y="4579672"/>
                </a:cubicBezTo>
                <a:cubicBezTo>
                  <a:pt x="10675858" y="4573248"/>
                  <a:pt x="10714463" y="4573248"/>
                  <a:pt x="10753069" y="4592519"/>
                </a:cubicBezTo>
                <a:cubicBezTo>
                  <a:pt x="10650121" y="4655686"/>
                  <a:pt x="10548246" y="4726347"/>
                  <a:pt x="10439936" y="4758466"/>
                </a:cubicBezTo>
                <a:cubicBezTo>
                  <a:pt x="10414199" y="4771313"/>
                  <a:pt x="10383101" y="4771313"/>
                  <a:pt x="10363798" y="4784161"/>
                </a:cubicBezTo>
                <a:cubicBezTo>
                  <a:pt x="10338061" y="4797008"/>
                  <a:pt x="10318758" y="4821632"/>
                  <a:pt x="10293021" y="4834480"/>
                </a:cubicBezTo>
                <a:cubicBezTo>
                  <a:pt x="10241548" y="4860175"/>
                  <a:pt x="10184712" y="4853751"/>
                  <a:pt x="10133238" y="4866599"/>
                </a:cubicBezTo>
                <a:cubicBezTo>
                  <a:pt x="10165409" y="4840904"/>
                  <a:pt x="10204015" y="4815209"/>
                  <a:pt x="10241548" y="4784161"/>
                </a:cubicBezTo>
                <a:cubicBezTo>
                  <a:pt x="10267284" y="4758466"/>
                  <a:pt x="10254416" y="4707076"/>
                  <a:pt x="10254416" y="4674957"/>
                </a:cubicBezTo>
                <a:cubicBezTo>
                  <a:pt x="10260850" y="4681381"/>
                  <a:pt x="10267284" y="4694228"/>
                  <a:pt x="10273719" y="4707076"/>
                </a:cubicBezTo>
                <a:cubicBezTo>
                  <a:pt x="10273719" y="4668533"/>
                  <a:pt x="10286587" y="4623567"/>
                  <a:pt x="10267284" y="4597872"/>
                </a:cubicBezTo>
                <a:cubicBezTo>
                  <a:pt x="10247982" y="4566824"/>
                  <a:pt x="10215811" y="4573248"/>
                  <a:pt x="10191146" y="4560400"/>
                </a:cubicBezTo>
                <a:cubicBezTo>
                  <a:pt x="10267284" y="4457620"/>
                  <a:pt x="10376666" y="4470468"/>
                  <a:pt x="10472107" y="4457620"/>
                </a:cubicBezTo>
                <a:cubicBezTo>
                  <a:pt x="10472107" y="4476892"/>
                  <a:pt x="10472107" y="4502587"/>
                  <a:pt x="10472107" y="4521858"/>
                </a:cubicBezTo>
                <a:cubicBezTo>
                  <a:pt x="10523581" y="4489739"/>
                  <a:pt x="10567548" y="4425502"/>
                  <a:pt x="10624384" y="4412654"/>
                </a:cubicBezTo>
                <a:close/>
                <a:moveTo>
                  <a:pt x="20902204" y="4396919"/>
                </a:moveTo>
                <a:cubicBezTo>
                  <a:pt x="20922200" y="4392184"/>
                  <a:pt x="20943528" y="4416013"/>
                  <a:pt x="20957748" y="4425789"/>
                </a:cubicBezTo>
                <a:cubicBezTo>
                  <a:pt x="20951428" y="4445340"/>
                  <a:pt x="20945108" y="4464892"/>
                  <a:pt x="20945108" y="4477926"/>
                </a:cubicBezTo>
                <a:cubicBezTo>
                  <a:pt x="20926148" y="4458374"/>
                  <a:pt x="20901924" y="4432306"/>
                  <a:pt x="20882964" y="4412754"/>
                </a:cubicBezTo>
                <a:cubicBezTo>
                  <a:pt x="20889020" y="4403250"/>
                  <a:pt x="20895540" y="4398498"/>
                  <a:pt x="20902204" y="4396919"/>
                </a:cubicBezTo>
                <a:close/>
                <a:moveTo>
                  <a:pt x="17149400" y="4395190"/>
                </a:moveTo>
                <a:cubicBezTo>
                  <a:pt x="17155508" y="4395622"/>
                  <a:pt x="17161324" y="4396383"/>
                  <a:pt x="17165976" y="4396383"/>
                </a:cubicBezTo>
                <a:cubicBezTo>
                  <a:pt x="17165976" y="4449469"/>
                  <a:pt x="17128748" y="4429562"/>
                  <a:pt x="17110132" y="4429562"/>
                </a:cubicBezTo>
                <a:cubicBezTo>
                  <a:pt x="17110132" y="4395553"/>
                  <a:pt x="17131076" y="4393894"/>
                  <a:pt x="17149400" y="4395190"/>
                </a:cubicBezTo>
                <a:close/>
                <a:moveTo>
                  <a:pt x="11655876" y="4395190"/>
                </a:moveTo>
                <a:cubicBezTo>
                  <a:pt x="11661998" y="4395622"/>
                  <a:pt x="11667857" y="4396383"/>
                  <a:pt x="11672597" y="4396383"/>
                </a:cubicBezTo>
                <a:cubicBezTo>
                  <a:pt x="11672597" y="4449469"/>
                  <a:pt x="11635731" y="4429562"/>
                  <a:pt x="11616772" y="4429562"/>
                </a:cubicBezTo>
                <a:cubicBezTo>
                  <a:pt x="11616772" y="4395553"/>
                  <a:pt x="11637509" y="4393894"/>
                  <a:pt x="11655876" y="4395190"/>
                </a:cubicBezTo>
                <a:close/>
                <a:moveTo>
                  <a:pt x="19189880" y="4393697"/>
                </a:moveTo>
                <a:cubicBezTo>
                  <a:pt x="19189880" y="4412962"/>
                  <a:pt x="19183892" y="4425806"/>
                  <a:pt x="19171920" y="4425806"/>
                </a:cubicBezTo>
                <a:cubicBezTo>
                  <a:pt x="19171920" y="4406541"/>
                  <a:pt x="19177904" y="4393697"/>
                  <a:pt x="19189880" y="4393697"/>
                </a:cubicBezTo>
                <a:close/>
                <a:moveTo>
                  <a:pt x="17848536" y="4393697"/>
                </a:moveTo>
                <a:cubicBezTo>
                  <a:pt x="17848536" y="4419384"/>
                  <a:pt x="17842548" y="4425806"/>
                  <a:pt x="17830572" y="4425806"/>
                </a:cubicBezTo>
                <a:cubicBezTo>
                  <a:pt x="17830572" y="4406541"/>
                  <a:pt x="17836560" y="4393697"/>
                  <a:pt x="17848536" y="4393697"/>
                </a:cubicBezTo>
                <a:close/>
                <a:moveTo>
                  <a:pt x="17185968" y="4393697"/>
                </a:moveTo>
                <a:cubicBezTo>
                  <a:pt x="17197552" y="4400082"/>
                  <a:pt x="17210192" y="4406466"/>
                  <a:pt x="17222832" y="4412850"/>
                </a:cubicBezTo>
                <a:cubicBezTo>
                  <a:pt x="17216512" y="4425619"/>
                  <a:pt x="17204928" y="4432003"/>
                  <a:pt x="17197552" y="4444772"/>
                </a:cubicBezTo>
                <a:cubicBezTo>
                  <a:pt x="17191236" y="4432003"/>
                  <a:pt x="17191236" y="4412850"/>
                  <a:pt x="17185968" y="4393697"/>
                </a:cubicBezTo>
                <a:close/>
                <a:moveTo>
                  <a:pt x="10828980" y="4393697"/>
                </a:moveTo>
                <a:cubicBezTo>
                  <a:pt x="10828980" y="4419384"/>
                  <a:pt x="10822993" y="4425806"/>
                  <a:pt x="10811018" y="4425806"/>
                </a:cubicBezTo>
                <a:cubicBezTo>
                  <a:pt x="10811018" y="4406541"/>
                  <a:pt x="10818003" y="4393697"/>
                  <a:pt x="10828980" y="4393697"/>
                </a:cubicBezTo>
                <a:close/>
                <a:moveTo>
                  <a:pt x="10450799" y="4393697"/>
                </a:moveTo>
                <a:cubicBezTo>
                  <a:pt x="10462774" y="4393697"/>
                  <a:pt x="10468761" y="4406541"/>
                  <a:pt x="10468761" y="4425806"/>
                </a:cubicBezTo>
                <a:cubicBezTo>
                  <a:pt x="10456786" y="4425806"/>
                  <a:pt x="10450799" y="4412962"/>
                  <a:pt x="10450799" y="4393697"/>
                </a:cubicBezTo>
                <a:close/>
                <a:moveTo>
                  <a:pt x="16602978" y="4393694"/>
                </a:moveTo>
                <a:cubicBezTo>
                  <a:pt x="16627798" y="4406820"/>
                  <a:pt x="16646414" y="4446197"/>
                  <a:pt x="16658822" y="4492136"/>
                </a:cubicBezTo>
                <a:cubicBezTo>
                  <a:pt x="16615388" y="4492136"/>
                  <a:pt x="16615388" y="4452760"/>
                  <a:pt x="16602978" y="4393694"/>
                </a:cubicBezTo>
                <a:close/>
                <a:moveTo>
                  <a:pt x="9189528" y="4387259"/>
                </a:moveTo>
                <a:cubicBezTo>
                  <a:pt x="9192522" y="4387259"/>
                  <a:pt x="9195516" y="4390300"/>
                  <a:pt x="9198509" y="4396383"/>
                </a:cubicBezTo>
                <a:cubicBezTo>
                  <a:pt x="9192522" y="4416290"/>
                  <a:pt x="9186534" y="4416290"/>
                  <a:pt x="9180547" y="4396383"/>
                </a:cubicBezTo>
                <a:cubicBezTo>
                  <a:pt x="9183541" y="4390300"/>
                  <a:pt x="9186535" y="4387259"/>
                  <a:pt x="9189528" y="4387259"/>
                </a:cubicBezTo>
                <a:close/>
                <a:moveTo>
                  <a:pt x="17062408" y="4365915"/>
                </a:moveTo>
                <a:cubicBezTo>
                  <a:pt x="17072328" y="4368153"/>
                  <a:pt x="17080592" y="4377369"/>
                  <a:pt x="17080592" y="4392641"/>
                </a:cubicBezTo>
                <a:cubicBezTo>
                  <a:pt x="17060752" y="4392641"/>
                  <a:pt x="17047528" y="4387375"/>
                  <a:pt x="17034300" y="4381055"/>
                </a:cubicBezTo>
                <a:cubicBezTo>
                  <a:pt x="17040912" y="4368416"/>
                  <a:pt x="17052488" y="4363677"/>
                  <a:pt x="17062408" y="4365915"/>
                </a:cubicBezTo>
                <a:close/>
                <a:moveTo>
                  <a:pt x="17638076" y="4362945"/>
                </a:moveTo>
                <a:cubicBezTo>
                  <a:pt x="17643764" y="4363480"/>
                  <a:pt x="17649348" y="4364310"/>
                  <a:pt x="17654136" y="4364310"/>
                </a:cubicBezTo>
                <a:cubicBezTo>
                  <a:pt x="17654136" y="4416290"/>
                  <a:pt x="17622216" y="4396383"/>
                  <a:pt x="17603064" y="4396383"/>
                </a:cubicBezTo>
                <a:cubicBezTo>
                  <a:pt x="17603064" y="4362374"/>
                  <a:pt x="17621020" y="4361338"/>
                  <a:pt x="17638076" y="4362945"/>
                </a:cubicBezTo>
                <a:close/>
                <a:moveTo>
                  <a:pt x="17754896" y="4361613"/>
                </a:moveTo>
                <a:cubicBezTo>
                  <a:pt x="17767028" y="4366165"/>
                  <a:pt x="17779900" y="4382570"/>
                  <a:pt x="17786880" y="4392642"/>
                </a:cubicBezTo>
                <a:cubicBezTo>
                  <a:pt x="17768264" y="4392642"/>
                  <a:pt x="17749652" y="4387375"/>
                  <a:pt x="17731036" y="4381056"/>
                </a:cubicBezTo>
                <a:cubicBezTo>
                  <a:pt x="17734136" y="4369996"/>
                  <a:pt x="17738404" y="4364071"/>
                  <a:pt x="17743252" y="4361685"/>
                </a:cubicBezTo>
                <a:cubicBezTo>
                  <a:pt x="17746888" y="4359895"/>
                  <a:pt x="17750852" y="4360096"/>
                  <a:pt x="17754896" y="4361613"/>
                </a:cubicBezTo>
                <a:close/>
                <a:moveTo>
                  <a:pt x="20033552" y="4360518"/>
                </a:moveTo>
                <a:cubicBezTo>
                  <a:pt x="20033552" y="4380424"/>
                  <a:pt x="20027564" y="4392588"/>
                  <a:pt x="20015588" y="4392588"/>
                </a:cubicBezTo>
                <a:cubicBezTo>
                  <a:pt x="20015588" y="4373789"/>
                  <a:pt x="20021576" y="4360518"/>
                  <a:pt x="20033552" y="4360518"/>
                </a:cubicBezTo>
                <a:close/>
                <a:moveTo>
                  <a:pt x="12070792" y="4360518"/>
                </a:moveTo>
                <a:cubicBezTo>
                  <a:pt x="12070792" y="4387059"/>
                  <a:pt x="12064805" y="4392588"/>
                  <a:pt x="12052830" y="4392588"/>
                </a:cubicBezTo>
                <a:cubicBezTo>
                  <a:pt x="12052830" y="4373789"/>
                  <a:pt x="12058817" y="4360518"/>
                  <a:pt x="12070792" y="4360518"/>
                </a:cubicBezTo>
                <a:close/>
                <a:moveTo>
                  <a:pt x="11506764" y="4360518"/>
                </a:moveTo>
                <a:cubicBezTo>
                  <a:pt x="11506764" y="4387059"/>
                  <a:pt x="11500777" y="4392588"/>
                  <a:pt x="11488802" y="4392588"/>
                </a:cubicBezTo>
                <a:cubicBezTo>
                  <a:pt x="11488802" y="4373789"/>
                  <a:pt x="11494789" y="4360518"/>
                  <a:pt x="11506764" y="4360518"/>
                </a:cubicBezTo>
                <a:close/>
                <a:moveTo>
                  <a:pt x="10710459" y="4360518"/>
                </a:moveTo>
                <a:cubicBezTo>
                  <a:pt x="10710459" y="4397382"/>
                  <a:pt x="10692013" y="4391062"/>
                  <a:pt x="10673567" y="4391062"/>
                </a:cubicBezTo>
                <a:cubicBezTo>
                  <a:pt x="10673567" y="4360518"/>
                  <a:pt x="10698162" y="4360518"/>
                  <a:pt x="10710459" y="4360518"/>
                </a:cubicBezTo>
                <a:close/>
                <a:moveTo>
                  <a:pt x="16412890" y="4356657"/>
                </a:moveTo>
                <a:cubicBezTo>
                  <a:pt x="16415884" y="4357459"/>
                  <a:pt x="16418878" y="4360670"/>
                  <a:pt x="16421872" y="4363881"/>
                </a:cubicBezTo>
                <a:cubicBezTo>
                  <a:pt x="16415884" y="4370302"/>
                  <a:pt x="16415884" y="4376723"/>
                  <a:pt x="16409896" y="4383144"/>
                </a:cubicBezTo>
                <a:lnTo>
                  <a:pt x="16408446" y="4378480"/>
                </a:lnTo>
                <a:lnTo>
                  <a:pt x="16399170" y="4378480"/>
                </a:lnTo>
                <a:lnTo>
                  <a:pt x="16404182" y="4364759"/>
                </a:lnTo>
                <a:lnTo>
                  <a:pt x="16403910" y="4363881"/>
                </a:lnTo>
                <a:lnTo>
                  <a:pt x="16404750" y="4363205"/>
                </a:lnTo>
                <a:lnTo>
                  <a:pt x="16405732" y="4360518"/>
                </a:lnTo>
                <a:lnTo>
                  <a:pt x="16406268" y="4361984"/>
                </a:lnTo>
                <a:close/>
                <a:moveTo>
                  <a:pt x="11772498" y="4341558"/>
                </a:moveTo>
                <a:cubicBezTo>
                  <a:pt x="11784908" y="4348075"/>
                  <a:pt x="11784908" y="4380660"/>
                  <a:pt x="11791113" y="4392608"/>
                </a:cubicBezTo>
                <a:cubicBezTo>
                  <a:pt x="11772498" y="4392608"/>
                  <a:pt x="11753884" y="4392608"/>
                  <a:pt x="11735269" y="4392608"/>
                </a:cubicBezTo>
                <a:cubicBezTo>
                  <a:pt x="11735269" y="4367626"/>
                  <a:pt x="11753884" y="4341558"/>
                  <a:pt x="11772498" y="4341558"/>
                </a:cubicBezTo>
                <a:close/>
                <a:moveTo>
                  <a:pt x="17531328" y="4338502"/>
                </a:moveTo>
                <a:cubicBezTo>
                  <a:pt x="17539012" y="4340108"/>
                  <a:pt x="17545164" y="4348134"/>
                  <a:pt x="17545164" y="4364187"/>
                </a:cubicBezTo>
                <a:cubicBezTo>
                  <a:pt x="17532864" y="4364187"/>
                  <a:pt x="17520568" y="4357766"/>
                  <a:pt x="17508272" y="4351345"/>
                </a:cubicBezTo>
                <a:cubicBezTo>
                  <a:pt x="17514420" y="4341713"/>
                  <a:pt x="17523644" y="4336897"/>
                  <a:pt x="17531328" y="4338502"/>
                </a:cubicBezTo>
                <a:close/>
                <a:moveTo>
                  <a:pt x="12468874" y="4338230"/>
                </a:moveTo>
                <a:cubicBezTo>
                  <a:pt x="12468874" y="4368973"/>
                  <a:pt x="12444649" y="4362825"/>
                  <a:pt x="12432010" y="4362825"/>
                </a:cubicBezTo>
                <a:cubicBezTo>
                  <a:pt x="12432010" y="4332081"/>
                  <a:pt x="12449915" y="4338230"/>
                  <a:pt x="12468874" y="4338230"/>
                </a:cubicBezTo>
                <a:close/>
                <a:moveTo>
                  <a:pt x="20837212" y="4336820"/>
                </a:moveTo>
                <a:cubicBezTo>
                  <a:pt x="20856364" y="4349459"/>
                  <a:pt x="20869132" y="4368418"/>
                  <a:pt x="20881900" y="4381057"/>
                </a:cubicBezTo>
                <a:cubicBezTo>
                  <a:pt x="20869132" y="4411602"/>
                  <a:pt x="20843596" y="4362099"/>
                  <a:pt x="20830828" y="4349459"/>
                </a:cubicBezTo>
                <a:cubicBezTo>
                  <a:pt x="20830828" y="4343140"/>
                  <a:pt x="20837212" y="4343140"/>
                  <a:pt x="20837212" y="4336820"/>
                </a:cubicBezTo>
                <a:close/>
                <a:moveTo>
                  <a:pt x="19686628" y="4336820"/>
                </a:moveTo>
                <a:cubicBezTo>
                  <a:pt x="19698924" y="4336820"/>
                  <a:pt x="19711224" y="4336820"/>
                  <a:pt x="19711224" y="4364120"/>
                </a:cubicBezTo>
                <a:cubicBezTo>
                  <a:pt x="19698924" y="4364120"/>
                  <a:pt x="19686628" y="4357295"/>
                  <a:pt x="19674332" y="4350470"/>
                </a:cubicBezTo>
                <a:cubicBezTo>
                  <a:pt x="19680480" y="4350470"/>
                  <a:pt x="19680480" y="4343645"/>
                  <a:pt x="19686628" y="4336820"/>
                </a:cubicBezTo>
                <a:close/>
                <a:moveTo>
                  <a:pt x="9975299" y="4336814"/>
                </a:moveTo>
                <a:cubicBezTo>
                  <a:pt x="9975299" y="4356158"/>
                  <a:pt x="9987121" y="4362606"/>
                  <a:pt x="10000017" y="4362606"/>
                </a:cubicBezTo>
                <a:cubicBezTo>
                  <a:pt x="10000017" y="4343262"/>
                  <a:pt x="9987121" y="4336814"/>
                  <a:pt x="9975299" y="4336814"/>
                </a:cubicBezTo>
                <a:close/>
                <a:moveTo>
                  <a:pt x="12145384" y="4332868"/>
                </a:moveTo>
                <a:cubicBezTo>
                  <a:pt x="12158629" y="4333658"/>
                  <a:pt x="12170219" y="4339978"/>
                  <a:pt x="12170219" y="4362097"/>
                </a:cubicBezTo>
                <a:cubicBezTo>
                  <a:pt x="12143728" y="4362097"/>
                  <a:pt x="12130483" y="4355778"/>
                  <a:pt x="12130483" y="4398962"/>
                </a:cubicBezTo>
                <a:cubicBezTo>
                  <a:pt x="12123860" y="4430561"/>
                  <a:pt x="12110615" y="4424241"/>
                  <a:pt x="12090747" y="4424241"/>
                </a:cubicBezTo>
                <a:cubicBezTo>
                  <a:pt x="12097370" y="4398962"/>
                  <a:pt x="12103992" y="4368417"/>
                  <a:pt x="12110615" y="4336818"/>
                </a:cubicBezTo>
                <a:cubicBezTo>
                  <a:pt x="12117237" y="4336818"/>
                  <a:pt x="12132138" y="4332078"/>
                  <a:pt x="12145384" y="4332868"/>
                </a:cubicBezTo>
                <a:close/>
                <a:moveTo>
                  <a:pt x="11874848" y="4313538"/>
                </a:moveTo>
                <a:cubicBezTo>
                  <a:pt x="11882156" y="4311931"/>
                  <a:pt x="11889257" y="4312099"/>
                  <a:pt x="11895870" y="4315004"/>
                </a:cubicBezTo>
                <a:cubicBezTo>
                  <a:pt x="11904688" y="4318878"/>
                  <a:pt x="11912636" y="4327619"/>
                  <a:pt x="11919049" y="4343511"/>
                </a:cubicBezTo>
                <a:cubicBezTo>
                  <a:pt x="11880574" y="4356225"/>
                  <a:pt x="11843167" y="4368939"/>
                  <a:pt x="11811104" y="4349868"/>
                </a:cubicBezTo>
                <a:cubicBezTo>
                  <a:pt x="11829139" y="4339141"/>
                  <a:pt x="11852924" y="4318357"/>
                  <a:pt x="11874848" y="4313538"/>
                </a:cubicBezTo>
                <a:close/>
                <a:moveTo>
                  <a:pt x="16957108" y="4313124"/>
                </a:moveTo>
                <a:cubicBezTo>
                  <a:pt x="16982836" y="4326250"/>
                  <a:pt x="17007496" y="4339375"/>
                  <a:pt x="17033224" y="4352500"/>
                </a:cubicBezTo>
                <a:cubicBezTo>
                  <a:pt x="17007496" y="4397345"/>
                  <a:pt x="16969972" y="4365626"/>
                  <a:pt x="16944244" y="4365626"/>
                </a:cubicBezTo>
                <a:cubicBezTo>
                  <a:pt x="16944244" y="4345938"/>
                  <a:pt x="16950676" y="4332812"/>
                  <a:pt x="16957108" y="4313124"/>
                </a:cubicBezTo>
                <a:close/>
                <a:moveTo>
                  <a:pt x="19636412" y="4303641"/>
                </a:moveTo>
                <a:cubicBezTo>
                  <a:pt x="19649052" y="4310062"/>
                  <a:pt x="19660636" y="4316484"/>
                  <a:pt x="19673276" y="4316484"/>
                </a:cubicBezTo>
                <a:cubicBezTo>
                  <a:pt x="19660636" y="4329326"/>
                  <a:pt x="19649052" y="4335747"/>
                  <a:pt x="19636412" y="4303641"/>
                </a:cubicBezTo>
                <a:close/>
                <a:moveTo>
                  <a:pt x="16298638" y="4303641"/>
                </a:moveTo>
                <a:cubicBezTo>
                  <a:pt x="16298638" y="4322905"/>
                  <a:pt x="16292650" y="4335747"/>
                  <a:pt x="16280676" y="4335747"/>
                </a:cubicBezTo>
                <a:cubicBezTo>
                  <a:pt x="16280676" y="4316484"/>
                  <a:pt x="16286664" y="4303641"/>
                  <a:pt x="16298638" y="4303641"/>
                </a:cubicBezTo>
                <a:close/>
                <a:moveTo>
                  <a:pt x="11958035" y="4303641"/>
                </a:moveTo>
                <a:cubicBezTo>
                  <a:pt x="11976481" y="4303641"/>
                  <a:pt x="11994927" y="4303641"/>
                  <a:pt x="11994927" y="4335747"/>
                </a:cubicBezTo>
                <a:cubicBezTo>
                  <a:pt x="11982630" y="4335747"/>
                  <a:pt x="11958035" y="4335747"/>
                  <a:pt x="11958035" y="4303641"/>
                </a:cubicBezTo>
                <a:close/>
                <a:moveTo>
                  <a:pt x="10835613" y="4303641"/>
                </a:moveTo>
                <a:cubicBezTo>
                  <a:pt x="10841762" y="4322256"/>
                  <a:pt x="10841762" y="4340870"/>
                  <a:pt x="10847910" y="4359485"/>
                </a:cubicBezTo>
                <a:cubicBezTo>
                  <a:pt x="10835613" y="4359485"/>
                  <a:pt x="10823315" y="4359485"/>
                  <a:pt x="10811018" y="4359485"/>
                </a:cubicBezTo>
                <a:cubicBezTo>
                  <a:pt x="10818191" y="4340870"/>
                  <a:pt x="10823315" y="4322256"/>
                  <a:pt x="10835613" y="4303641"/>
                </a:cubicBezTo>
                <a:close/>
                <a:moveTo>
                  <a:pt x="16846688" y="4300601"/>
                </a:moveTo>
                <a:cubicBezTo>
                  <a:pt x="16858324" y="4299009"/>
                  <a:pt x="16872284" y="4303784"/>
                  <a:pt x="16881592" y="4303784"/>
                </a:cubicBezTo>
                <a:cubicBezTo>
                  <a:pt x="16881592" y="4354716"/>
                  <a:pt x="16844364" y="4335617"/>
                  <a:pt x="16825748" y="4335617"/>
                </a:cubicBezTo>
                <a:cubicBezTo>
                  <a:pt x="16825748" y="4310150"/>
                  <a:pt x="16835056" y="4302192"/>
                  <a:pt x="16846688" y="4300601"/>
                </a:cubicBezTo>
                <a:close/>
                <a:moveTo>
                  <a:pt x="15149724" y="4300601"/>
                </a:moveTo>
                <a:cubicBezTo>
                  <a:pt x="15161310" y="4299009"/>
                  <a:pt x="15175266" y="4303784"/>
                  <a:pt x="15184746" y="4303784"/>
                </a:cubicBezTo>
                <a:cubicBezTo>
                  <a:pt x="15184746" y="4354716"/>
                  <a:pt x="15146828" y="4335617"/>
                  <a:pt x="15128922" y="4335617"/>
                </a:cubicBezTo>
                <a:cubicBezTo>
                  <a:pt x="15128922" y="4310150"/>
                  <a:pt x="15138138" y="4302192"/>
                  <a:pt x="15149724" y="4300601"/>
                </a:cubicBezTo>
                <a:close/>
                <a:moveTo>
                  <a:pt x="11661276" y="4300601"/>
                </a:moveTo>
                <a:cubicBezTo>
                  <a:pt x="11672863" y="4299009"/>
                  <a:pt x="11686819" y="4303784"/>
                  <a:pt x="11696299" y="4303784"/>
                </a:cubicBezTo>
                <a:cubicBezTo>
                  <a:pt x="11696299" y="4354716"/>
                  <a:pt x="11658380" y="4335617"/>
                  <a:pt x="11640474" y="4335617"/>
                </a:cubicBezTo>
                <a:cubicBezTo>
                  <a:pt x="11640474" y="4310150"/>
                  <a:pt x="11649690" y="4302192"/>
                  <a:pt x="11661276" y="4300601"/>
                </a:cubicBezTo>
                <a:close/>
                <a:moveTo>
                  <a:pt x="19015508" y="4284684"/>
                </a:moveTo>
                <a:cubicBezTo>
                  <a:pt x="19034464" y="4284684"/>
                  <a:pt x="19053424" y="4284684"/>
                  <a:pt x="19071328" y="4284684"/>
                </a:cubicBezTo>
                <a:cubicBezTo>
                  <a:pt x="19077648" y="4311174"/>
                  <a:pt x="19090288" y="4337664"/>
                  <a:pt x="19090288" y="4364154"/>
                </a:cubicBezTo>
                <a:cubicBezTo>
                  <a:pt x="19065008" y="4337664"/>
                  <a:pt x="19039732" y="4311174"/>
                  <a:pt x="19015508" y="4284684"/>
                </a:cubicBezTo>
                <a:close/>
                <a:moveTo>
                  <a:pt x="17375560" y="4284681"/>
                </a:moveTo>
                <a:cubicBezTo>
                  <a:pt x="17420284" y="4297091"/>
                  <a:pt x="17466100" y="4303296"/>
                  <a:pt x="17511920" y="4315706"/>
                </a:cubicBezTo>
                <a:cubicBezTo>
                  <a:pt x="17498828" y="4340525"/>
                  <a:pt x="17472648" y="4321910"/>
                  <a:pt x="17453012" y="4315706"/>
                </a:cubicBezTo>
                <a:cubicBezTo>
                  <a:pt x="17426828" y="4303296"/>
                  <a:pt x="17400648" y="4297091"/>
                  <a:pt x="17375560" y="4284681"/>
                </a:cubicBezTo>
                <a:close/>
                <a:moveTo>
                  <a:pt x="10128997" y="4272551"/>
                </a:moveTo>
                <a:cubicBezTo>
                  <a:pt x="10131242" y="4269139"/>
                  <a:pt x="10135733" y="4269139"/>
                  <a:pt x="10141720" y="4272551"/>
                </a:cubicBezTo>
                <a:cubicBezTo>
                  <a:pt x="10135733" y="4279376"/>
                  <a:pt x="10129745" y="4286201"/>
                  <a:pt x="10129745" y="4293026"/>
                </a:cubicBezTo>
                <a:cubicBezTo>
                  <a:pt x="10126752" y="4282788"/>
                  <a:pt x="10126752" y="4275964"/>
                  <a:pt x="10128997" y="4272551"/>
                </a:cubicBezTo>
                <a:close/>
                <a:moveTo>
                  <a:pt x="16582964" y="4270465"/>
                </a:moveTo>
                <a:cubicBezTo>
                  <a:pt x="16582964" y="4289730"/>
                  <a:pt x="16576644" y="4302574"/>
                  <a:pt x="16565058" y="4302574"/>
                </a:cubicBezTo>
                <a:cubicBezTo>
                  <a:pt x="16565058" y="4283309"/>
                  <a:pt x="16571378" y="4270465"/>
                  <a:pt x="16582964" y="4270465"/>
                </a:cubicBezTo>
                <a:close/>
                <a:moveTo>
                  <a:pt x="16222802" y="4270465"/>
                </a:moveTo>
                <a:cubicBezTo>
                  <a:pt x="16222802" y="4289730"/>
                  <a:pt x="16216814" y="4302574"/>
                  <a:pt x="16204838" y="4302574"/>
                </a:cubicBezTo>
                <a:cubicBezTo>
                  <a:pt x="16204838" y="4283309"/>
                  <a:pt x="16210826" y="4270465"/>
                  <a:pt x="16222802" y="4270465"/>
                </a:cubicBezTo>
                <a:close/>
                <a:moveTo>
                  <a:pt x="12114446" y="4270465"/>
                </a:moveTo>
                <a:cubicBezTo>
                  <a:pt x="12126421" y="4270465"/>
                  <a:pt x="12132408" y="4283309"/>
                  <a:pt x="12132408" y="4302574"/>
                </a:cubicBezTo>
                <a:cubicBezTo>
                  <a:pt x="12120433" y="4302574"/>
                  <a:pt x="12114446" y="4289730"/>
                  <a:pt x="12114446" y="4270465"/>
                </a:cubicBezTo>
                <a:close/>
                <a:moveTo>
                  <a:pt x="19875044" y="4270462"/>
                </a:moveTo>
                <a:cubicBezTo>
                  <a:pt x="19894196" y="4277076"/>
                  <a:pt x="19906964" y="4283689"/>
                  <a:pt x="19919732" y="4290303"/>
                </a:cubicBezTo>
                <a:cubicBezTo>
                  <a:pt x="19906964" y="4316757"/>
                  <a:pt x="19881428" y="4296916"/>
                  <a:pt x="19868660" y="4290303"/>
                </a:cubicBezTo>
                <a:cubicBezTo>
                  <a:pt x="19868660" y="4283689"/>
                  <a:pt x="19868660" y="4277076"/>
                  <a:pt x="19875044" y="4270462"/>
                </a:cubicBezTo>
                <a:close/>
                <a:moveTo>
                  <a:pt x="17622024" y="4270462"/>
                </a:moveTo>
                <a:cubicBezTo>
                  <a:pt x="17641664" y="4276819"/>
                  <a:pt x="17772604" y="4289533"/>
                  <a:pt x="17726776" y="4359459"/>
                </a:cubicBezTo>
                <a:cubicBezTo>
                  <a:pt x="17700588" y="4359459"/>
                  <a:pt x="17687492" y="4334031"/>
                  <a:pt x="17661304" y="4334031"/>
                </a:cubicBezTo>
                <a:cubicBezTo>
                  <a:pt x="17648212" y="4334031"/>
                  <a:pt x="17635116" y="4334031"/>
                  <a:pt x="17622024" y="4334031"/>
                </a:cubicBezTo>
                <a:cubicBezTo>
                  <a:pt x="17622024" y="4314961"/>
                  <a:pt x="17622024" y="4289533"/>
                  <a:pt x="17622024" y="4270462"/>
                </a:cubicBezTo>
                <a:close/>
                <a:moveTo>
                  <a:pt x="10190116" y="4270462"/>
                </a:moveTo>
                <a:cubicBezTo>
                  <a:pt x="10202755" y="4270462"/>
                  <a:pt x="10214341" y="4270462"/>
                  <a:pt x="10226980" y="4270462"/>
                </a:cubicBezTo>
                <a:cubicBezTo>
                  <a:pt x="10214341" y="4296953"/>
                  <a:pt x="10208021" y="4323444"/>
                  <a:pt x="10202755" y="4349934"/>
                </a:cubicBezTo>
                <a:cubicBezTo>
                  <a:pt x="10195382" y="4323444"/>
                  <a:pt x="10190116" y="4303576"/>
                  <a:pt x="10190116" y="4270462"/>
                </a:cubicBezTo>
                <a:close/>
                <a:moveTo>
                  <a:pt x="10124654" y="4270462"/>
                </a:moveTo>
                <a:cubicBezTo>
                  <a:pt x="10136951" y="4295890"/>
                  <a:pt x="10130803" y="4334031"/>
                  <a:pt x="10130803" y="4359459"/>
                </a:cubicBezTo>
                <a:cubicBezTo>
                  <a:pt x="10118505" y="4353102"/>
                  <a:pt x="10106208" y="4346745"/>
                  <a:pt x="10100059" y="4340388"/>
                </a:cubicBezTo>
                <a:cubicBezTo>
                  <a:pt x="10106208" y="4314961"/>
                  <a:pt x="10112356" y="4289533"/>
                  <a:pt x="10124654" y="4270462"/>
                </a:cubicBezTo>
                <a:close/>
                <a:moveTo>
                  <a:pt x="10092404" y="4257651"/>
                </a:moveTo>
                <a:cubicBezTo>
                  <a:pt x="10094045" y="4256114"/>
                  <a:pt x="10094865" y="4257267"/>
                  <a:pt x="10095172" y="4259861"/>
                </a:cubicBezTo>
                <a:lnTo>
                  <a:pt x="10095141" y="4260982"/>
                </a:lnTo>
                <a:lnTo>
                  <a:pt x="10108541" y="4260982"/>
                </a:lnTo>
                <a:cubicBezTo>
                  <a:pt x="10105548" y="4264264"/>
                  <a:pt x="10102554" y="4267546"/>
                  <a:pt x="10099560" y="4268367"/>
                </a:cubicBezTo>
                <a:lnTo>
                  <a:pt x="10095037" y="4264647"/>
                </a:lnTo>
                <a:lnTo>
                  <a:pt x="10094865" y="4270717"/>
                </a:lnTo>
                <a:cubicBezTo>
                  <a:pt x="10094045" y="4279171"/>
                  <a:pt x="10092404" y="4288394"/>
                  <a:pt x="10092404" y="4288394"/>
                </a:cubicBezTo>
                <a:cubicBezTo>
                  <a:pt x="10092404" y="4282246"/>
                  <a:pt x="10085841" y="4276097"/>
                  <a:pt x="10085841" y="4269948"/>
                </a:cubicBezTo>
                <a:cubicBezTo>
                  <a:pt x="10085841" y="4263800"/>
                  <a:pt x="10085841" y="4263800"/>
                  <a:pt x="10092404" y="4257651"/>
                </a:cubicBezTo>
                <a:close/>
                <a:moveTo>
                  <a:pt x="19830740" y="4246766"/>
                </a:moveTo>
                <a:cubicBezTo>
                  <a:pt x="19843380" y="4253187"/>
                  <a:pt x="19856020" y="4253187"/>
                  <a:pt x="19867604" y="4259609"/>
                </a:cubicBezTo>
                <a:cubicBezTo>
                  <a:pt x="19856020" y="4278872"/>
                  <a:pt x="19830740" y="4278872"/>
                  <a:pt x="19830740" y="4246766"/>
                </a:cubicBezTo>
                <a:close/>
                <a:moveTo>
                  <a:pt x="16767872" y="4246766"/>
                </a:moveTo>
                <a:cubicBezTo>
                  <a:pt x="16767872" y="4267241"/>
                  <a:pt x="16761884" y="4274066"/>
                  <a:pt x="16749910" y="4274066"/>
                </a:cubicBezTo>
                <a:cubicBezTo>
                  <a:pt x="16749910" y="4253591"/>
                  <a:pt x="16755898" y="4246766"/>
                  <a:pt x="16767872" y="4246766"/>
                </a:cubicBezTo>
                <a:close/>
                <a:moveTo>
                  <a:pt x="15981076" y="4246766"/>
                </a:moveTo>
                <a:cubicBezTo>
                  <a:pt x="15981076" y="4267241"/>
                  <a:pt x="15975088" y="4274066"/>
                  <a:pt x="15963114" y="4274066"/>
                </a:cubicBezTo>
                <a:cubicBezTo>
                  <a:pt x="15963114" y="4253591"/>
                  <a:pt x="15969100" y="4246766"/>
                  <a:pt x="15981076" y="4246766"/>
                </a:cubicBezTo>
                <a:close/>
                <a:moveTo>
                  <a:pt x="14786664" y="4246766"/>
                </a:moveTo>
                <a:cubicBezTo>
                  <a:pt x="14786664" y="4267241"/>
                  <a:pt x="14780677" y="4274066"/>
                  <a:pt x="14768702" y="4274066"/>
                </a:cubicBezTo>
                <a:cubicBezTo>
                  <a:pt x="14768702" y="4253591"/>
                  <a:pt x="14780677" y="4246766"/>
                  <a:pt x="14786664" y="4246766"/>
                </a:cubicBezTo>
                <a:close/>
                <a:moveTo>
                  <a:pt x="13279425" y="4246766"/>
                </a:moveTo>
                <a:cubicBezTo>
                  <a:pt x="13279425" y="4267241"/>
                  <a:pt x="13272440" y="4274066"/>
                  <a:pt x="13261463" y="4274066"/>
                </a:cubicBezTo>
                <a:cubicBezTo>
                  <a:pt x="13261463" y="4253591"/>
                  <a:pt x="13267450" y="4246766"/>
                  <a:pt x="13279425" y="4246766"/>
                </a:cubicBezTo>
                <a:close/>
                <a:moveTo>
                  <a:pt x="9469676" y="4246766"/>
                </a:moveTo>
                <a:cubicBezTo>
                  <a:pt x="9483326" y="4246766"/>
                  <a:pt x="9496976" y="4253591"/>
                  <a:pt x="9496976" y="4274066"/>
                </a:cubicBezTo>
                <a:cubicBezTo>
                  <a:pt x="9483326" y="4274066"/>
                  <a:pt x="9469676" y="4267241"/>
                  <a:pt x="9469676" y="4246766"/>
                </a:cubicBezTo>
                <a:close/>
                <a:moveTo>
                  <a:pt x="18870020" y="4242537"/>
                </a:moveTo>
                <a:cubicBezTo>
                  <a:pt x="18878580" y="4243305"/>
                  <a:pt x="18886480" y="4250991"/>
                  <a:pt x="18886480" y="4269437"/>
                </a:cubicBezTo>
                <a:cubicBezTo>
                  <a:pt x="18873840" y="4263289"/>
                  <a:pt x="18861200" y="4263289"/>
                  <a:pt x="18849616" y="4257140"/>
                </a:cubicBezTo>
                <a:cubicBezTo>
                  <a:pt x="18852248" y="4247917"/>
                  <a:pt x="18861464" y="4241768"/>
                  <a:pt x="18870020" y="4242537"/>
                </a:cubicBezTo>
                <a:close/>
                <a:moveTo>
                  <a:pt x="17336000" y="4242218"/>
                </a:moveTo>
                <a:cubicBezTo>
                  <a:pt x="17351728" y="4242218"/>
                  <a:pt x="17364976" y="4248603"/>
                  <a:pt x="17364976" y="4274140"/>
                </a:cubicBezTo>
                <a:cubicBezTo>
                  <a:pt x="17338484" y="4267756"/>
                  <a:pt x="17311992" y="4267756"/>
                  <a:pt x="17285504" y="4261371"/>
                </a:cubicBezTo>
                <a:cubicBezTo>
                  <a:pt x="17285504" y="4254987"/>
                  <a:pt x="17292124" y="4248603"/>
                  <a:pt x="17292124" y="4248603"/>
                </a:cubicBezTo>
                <a:cubicBezTo>
                  <a:pt x="17302060" y="4248603"/>
                  <a:pt x="17320272" y="4242218"/>
                  <a:pt x="17336000" y="4242218"/>
                </a:cubicBezTo>
                <a:close/>
                <a:moveTo>
                  <a:pt x="14599314" y="4227806"/>
                </a:moveTo>
                <a:cubicBezTo>
                  <a:pt x="14599314" y="4234227"/>
                  <a:pt x="14605302" y="4240649"/>
                  <a:pt x="14611289" y="4247070"/>
                </a:cubicBezTo>
                <a:cubicBezTo>
                  <a:pt x="14599314" y="4253491"/>
                  <a:pt x="14599314" y="4259912"/>
                  <a:pt x="14593327" y="4247070"/>
                </a:cubicBezTo>
                <a:cubicBezTo>
                  <a:pt x="14593327" y="4240649"/>
                  <a:pt x="14593327" y="4234227"/>
                  <a:pt x="14599314" y="4227806"/>
                </a:cubicBezTo>
                <a:close/>
                <a:moveTo>
                  <a:pt x="12754312" y="4214995"/>
                </a:moveTo>
                <a:cubicBezTo>
                  <a:pt x="12766609" y="4214995"/>
                  <a:pt x="12791204" y="4208846"/>
                  <a:pt x="12791204" y="4245738"/>
                </a:cubicBezTo>
                <a:cubicBezTo>
                  <a:pt x="12772758" y="4245738"/>
                  <a:pt x="12754312" y="4245738"/>
                  <a:pt x="12754312" y="4214995"/>
                </a:cubicBezTo>
                <a:close/>
                <a:moveTo>
                  <a:pt x="9621713" y="4214304"/>
                </a:moveTo>
                <a:cubicBezTo>
                  <a:pt x="9621713" y="4233648"/>
                  <a:pt x="9628162" y="4246544"/>
                  <a:pt x="9641058" y="4246544"/>
                </a:cubicBezTo>
                <a:cubicBezTo>
                  <a:pt x="9641058" y="4220752"/>
                  <a:pt x="9634610" y="4214304"/>
                  <a:pt x="9621713" y="4214304"/>
                </a:cubicBezTo>
                <a:close/>
                <a:moveTo>
                  <a:pt x="20260964" y="4213587"/>
                </a:moveTo>
                <a:cubicBezTo>
                  <a:pt x="20260964" y="4232852"/>
                  <a:pt x="20260964" y="4245696"/>
                  <a:pt x="20247840" y="4245696"/>
                </a:cubicBezTo>
                <a:cubicBezTo>
                  <a:pt x="20247840" y="4226431"/>
                  <a:pt x="20247840" y="4213587"/>
                  <a:pt x="20260964" y="4213587"/>
                </a:cubicBezTo>
                <a:close/>
                <a:moveTo>
                  <a:pt x="17242848" y="4213587"/>
                </a:moveTo>
                <a:cubicBezTo>
                  <a:pt x="17255144" y="4213587"/>
                  <a:pt x="17267440" y="4220009"/>
                  <a:pt x="17279740" y="4226431"/>
                </a:cubicBezTo>
                <a:cubicBezTo>
                  <a:pt x="17267440" y="4245696"/>
                  <a:pt x="17242848" y="4245696"/>
                  <a:pt x="17242848" y="4213587"/>
                </a:cubicBezTo>
                <a:close/>
                <a:moveTo>
                  <a:pt x="16090088" y="4213587"/>
                </a:moveTo>
                <a:cubicBezTo>
                  <a:pt x="16090088" y="4232852"/>
                  <a:pt x="16084100" y="4245696"/>
                  <a:pt x="16072126" y="4245696"/>
                </a:cubicBezTo>
                <a:cubicBezTo>
                  <a:pt x="16072126" y="4220009"/>
                  <a:pt x="16078114" y="4213587"/>
                  <a:pt x="16090088" y="4213587"/>
                </a:cubicBezTo>
                <a:close/>
                <a:moveTo>
                  <a:pt x="14639700" y="4213587"/>
                </a:moveTo>
                <a:cubicBezTo>
                  <a:pt x="14639700" y="4239274"/>
                  <a:pt x="14627403" y="4245696"/>
                  <a:pt x="14615105" y="4245696"/>
                </a:cubicBezTo>
                <a:cubicBezTo>
                  <a:pt x="14608957" y="4239274"/>
                  <a:pt x="14602808" y="4232852"/>
                  <a:pt x="14602808" y="4226431"/>
                </a:cubicBezTo>
                <a:cubicBezTo>
                  <a:pt x="14615105" y="4220009"/>
                  <a:pt x="14627403" y="4213587"/>
                  <a:pt x="14639700" y="4213587"/>
                </a:cubicBezTo>
                <a:close/>
                <a:moveTo>
                  <a:pt x="10920032" y="4213587"/>
                </a:moveTo>
                <a:cubicBezTo>
                  <a:pt x="10932007" y="4213587"/>
                  <a:pt x="10937994" y="4220009"/>
                  <a:pt x="10937994" y="4245696"/>
                </a:cubicBezTo>
                <a:cubicBezTo>
                  <a:pt x="10926019" y="4245696"/>
                  <a:pt x="10920032" y="4232852"/>
                  <a:pt x="10920032" y="4213587"/>
                </a:cubicBezTo>
                <a:close/>
                <a:moveTo>
                  <a:pt x="13204588" y="4213584"/>
                </a:moveTo>
                <a:cubicBezTo>
                  <a:pt x="13217430" y="4219789"/>
                  <a:pt x="13223851" y="4232199"/>
                  <a:pt x="13236694" y="4238404"/>
                </a:cubicBezTo>
                <a:cubicBezTo>
                  <a:pt x="13223851" y="4244609"/>
                  <a:pt x="13217430" y="4257018"/>
                  <a:pt x="13204588" y="4269428"/>
                </a:cubicBezTo>
                <a:cubicBezTo>
                  <a:pt x="13204588" y="4250813"/>
                  <a:pt x="13204588" y="4232199"/>
                  <a:pt x="13204588" y="4213584"/>
                </a:cubicBezTo>
                <a:close/>
                <a:moveTo>
                  <a:pt x="18923704" y="4212190"/>
                </a:moveTo>
                <a:cubicBezTo>
                  <a:pt x="18943104" y="4208403"/>
                  <a:pt x="18966980" y="4235669"/>
                  <a:pt x="18976528" y="4259905"/>
                </a:cubicBezTo>
                <a:cubicBezTo>
                  <a:pt x="18957428" y="4246979"/>
                  <a:pt x="18931960" y="4234053"/>
                  <a:pt x="18906492" y="4227590"/>
                </a:cubicBezTo>
                <a:cubicBezTo>
                  <a:pt x="18911268" y="4218165"/>
                  <a:pt x="18917236" y="4213452"/>
                  <a:pt x="18923704" y="4212190"/>
                </a:cubicBezTo>
                <a:close/>
                <a:moveTo>
                  <a:pt x="9852780" y="4202483"/>
                </a:moveTo>
                <a:lnTo>
                  <a:pt x="9856906" y="4210132"/>
                </a:lnTo>
                <a:lnTo>
                  <a:pt x="9861159" y="4205901"/>
                </a:lnTo>
                <a:close/>
                <a:moveTo>
                  <a:pt x="10206818" y="4198726"/>
                </a:moveTo>
                <a:cubicBezTo>
                  <a:pt x="10225290" y="4201050"/>
                  <a:pt x="10241183" y="4212820"/>
                  <a:pt x="10241183" y="4248399"/>
                </a:cubicBezTo>
                <a:cubicBezTo>
                  <a:pt x="10215533" y="4248399"/>
                  <a:pt x="10171714" y="4248399"/>
                  <a:pt x="10171714" y="4307289"/>
                </a:cubicBezTo>
                <a:cubicBezTo>
                  <a:pt x="10158888" y="4287659"/>
                  <a:pt x="10133238" y="4274572"/>
                  <a:pt x="10133238" y="4235312"/>
                </a:cubicBezTo>
                <a:cubicBezTo>
                  <a:pt x="10133238" y="4203687"/>
                  <a:pt x="10152476" y="4209139"/>
                  <a:pt x="10165301" y="4203687"/>
                </a:cubicBezTo>
                <a:cubicBezTo>
                  <a:pt x="10171714" y="4202051"/>
                  <a:pt x="10179663" y="4200074"/>
                  <a:pt x="10187979" y="4199018"/>
                </a:cubicBezTo>
                <a:cubicBezTo>
                  <a:pt x="10194217" y="4198226"/>
                  <a:pt x="10200660" y="4197951"/>
                  <a:pt x="10206818" y="4198726"/>
                </a:cubicBezTo>
                <a:close/>
                <a:moveTo>
                  <a:pt x="13616354" y="4185241"/>
                </a:moveTo>
                <a:cubicBezTo>
                  <a:pt x="13655456" y="4185241"/>
                  <a:pt x="13701076" y="4185241"/>
                  <a:pt x="13739093" y="4185241"/>
                </a:cubicBezTo>
                <a:cubicBezTo>
                  <a:pt x="13739093" y="4214390"/>
                  <a:pt x="13732576" y="4245722"/>
                  <a:pt x="13706507" y="4245722"/>
                </a:cubicBezTo>
                <a:cubicBezTo>
                  <a:pt x="13668491" y="4245722"/>
                  <a:pt x="13622871" y="4245722"/>
                  <a:pt x="13583768" y="4245722"/>
                </a:cubicBezTo>
                <a:cubicBezTo>
                  <a:pt x="13583768" y="4208124"/>
                  <a:pt x="13590285" y="4185241"/>
                  <a:pt x="13616354" y="4185241"/>
                </a:cubicBezTo>
                <a:close/>
                <a:moveTo>
                  <a:pt x="10395818" y="4185241"/>
                </a:moveTo>
                <a:cubicBezTo>
                  <a:pt x="10421253" y="4185241"/>
                  <a:pt x="10414618" y="4220657"/>
                  <a:pt x="10414618" y="4245722"/>
                </a:cubicBezTo>
                <a:cubicBezTo>
                  <a:pt x="10389183" y="4245722"/>
                  <a:pt x="10395818" y="4202902"/>
                  <a:pt x="10395818" y="4185241"/>
                </a:cubicBezTo>
                <a:close/>
                <a:moveTo>
                  <a:pt x="14146699" y="4185240"/>
                </a:moveTo>
                <a:cubicBezTo>
                  <a:pt x="14146699" y="4204597"/>
                  <a:pt x="14146699" y="4217182"/>
                  <a:pt x="14133574" y="4217182"/>
                </a:cubicBezTo>
                <a:cubicBezTo>
                  <a:pt x="14133574" y="4197732"/>
                  <a:pt x="14133574" y="4185240"/>
                  <a:pt x="14146699" y="4185240"/>
                </a:cubicBezTo>
                <a:close/>
                <a:moveTo>
                  <a:pt x="12862275" y="4185240"/>
                </a:moveTo>
                <a:cubicBezTo>
                  <a:pt x="12862275" y="4204597"/>
                  <a:pt x="12857008" y="4217182"/>
                  <a:pt x="12844368" y="4217182"/>
                </a:cubicBezTo>
                <a:cubicBezTo>
                  <a:pt x="12844368" y="4190868"/>
                  <a:pt x="12850688" y="4185240"/>
                  <a:pt x="12862275" y="4185240"/>
                </a:cubicBezTo>
                <a:close/>
                <a:moveTo>
                  <a:pt x="10320813" y="4184981"/>
                </a:moveTo>
                <a:cubicBezTo>
                  <a:pt x="10320813" y="4215141"/>
                  <a:pt x="10347002" y="4215141"/>
                  <a:pt x="10360096" y="4215141"/>
                </a:cubicBezTo>
                <a:cubicBezTo>
                  <a:pt x="10360096" y="4178497"/>
                  <a:pt x="10340455" y="4184981"/>
                  <a:pt x="10320813" y="4184981"/>
                </a:cubicBezTo>
                <a:close/>
                <a:moveTo>
                  <a:pt x="14358325" y="4182416"/>
                </a:moveTo>
                <a:cubicBezTo>
                  <a:pt x="14369959" y="4181049"/>
                  <a:pt x="14383920" y="4185971"/>
                  <a:pt x="14393227" y="4185971"/>
                </a:cubicBezTo>
                <a:cubicBezTo>
                  <a:pt x="14393227" y="4236192"/>
                  <a:pt x="14355998" y="4216504"/>
                  <a:pt x="14337383" y="4216504"/>
                </a:cubicBezTo>
                <a:cubicBezTo>
                  <a:pt x="14337383" y="4191347"/>
                  <a:pt x="14346690" y="4183783"/>
                  <a:pt x="14358325" y="4182416"/>
                </a:cubicBezTo>
                <a:close/>
                <a:moveTo>
                  <a:pt x="10962691" y="4182260"/>
                </a:moveTo>
                <a:cubicBezTo>
                  <a:pt x="10975534" y="4182260"/>
                  <a:pt x="10994800" y="4175760"/>
                  <a:pt x="10994800" y="4212501"/>
                </a:cubicBezTo>
                <a:cubicBezTo>
                  <a:pt x="10981956" y="4212501"/>
                  <a:pt x="10962691" y="4212501"/>
                  <a:pt x="10962691" y="4182260"/>
                </a:cubicBezTo>
                <a:close/>
                <a:moveTo>
                  <a:pt x="19772840" y="4182259"/>
                </a:moveTo>
                <a:cubicBezTo>
                  <a:pt x="19772840" y="4212501"/>
                  <a:pt x="19754396" y="4212501"/>
                  <a:pt x="19735948" y="4212501"/>
                </a:cubicBezTo>
                <a:cubicBezTo>
                  <a:pt x="19735948" y="4175759"/>
                  <a:pt x="19760544" y="4182259"/>
                  <a:pt x="19772840" y="4182259"/>
                </a:cubicBezTo>
                <a:close/>
                <a:moveTo>
                  <a:pt x="15924684" y="4171024"/>
                </a:moveTo>
                <a:cubicBezTo>
                  <a:pt x="15930832" y="4183508"/>
                  <a:pt x="15936982" y="4194860"/>
                  <a:pt x="15943130" y="4212547"/>
                </a:cubicBezTo>
                <a:cubicBezTo>
                  <a:pt x="15930832" y="4212547"/>
                  <a:pt x="15918536" y="4212547"/>
                  <a:pt x="15906238" y="4212547"/>
                </a:cubicBezTo>
                <a:cubicBezTo>
                  <a:pt x="15912386" y="4194860"/>
                  <a:pt x="15918536" y="4183508"/>
                  <a:pt x="15924684" y="4171024"/>
                </a:cubicBezTo>
                <a:close/>
                <a:moveTo>
                  <a:pt x="16609386" y="4161827"/>
                </a:moveTo>
                <a:cubicBezTo>
                  <a:pt x="16635564" y="4153148"/>
                  <a:pt x="16663570" y="4188276"/>
                  <a:pt x="16687922" y="4211054"/>
                </a:cubicBezTo>
                <a:cubicBezTo>
                  <a:pt x="16713896" y="4230661"/>
                  <a:pt x="16720390" y="4256803"/>
                  <a:pt x="16720390" y="4302552"/>
                </a:cubicBezTo>
                <a:cubicBezTo>
                  <a:pt x="16687922" y="4282945"/>
                  <a:pt x="16655452" y="4263339"/>
                  <a:pt x="16622982" y="4243732"/>
                </a:cubicBezTo>
                <a:cubicBezTo>
                  <a:pt x="16603500" y="4230661"/>
                  <a:pt x="16584018" y="4224125"/>
                  <a:pt x="16584018" y="4187187"/>
                </a:cubicBezTo>
                <a:cubicBezTo>
                  <a:pt x="16592136" y="4172481"/>
                  <a:pt x="16600658" y="4164720"/>
                  <a:pt x="16609386" y="4161827"/>
                </a:cubicBezTo>
                <a:close/>
                <a:moveTo>
                  <a:pt x="15824664" y="4152063"/>
                </a:moveTo>
                <a:cubicBezTo>
                  <a:pt x="15824664" y="4177748"/>
                  <a:pt x="15818676" y="4184169"/>
                  <a:pt x="15806702" y="4184169"/>
                </a:cubicBezTo>
                <a:cubicBezTo>
                  <a:pt x="15806702" y="4158484"/>
                  <a:pt x="15818676" y="4152063"/>
                  <a:pt x="15824664" y="4152063"/>
                </a:cubicBezTo>
                <a:close/>
                <a:moveTo>
                  <a:pt x="10457627" y="4152062"/>
                </a:moveTo>
                <a:cubicBezTo>
                  <a:pt x="10478102" y="4177624"/>
                  <a:pt x="10478102" y="4245698"/>
                  <a:pt x="10450802" y="4245698"/>
                </a:cubicBezTo>
                <a:cubicBezTo>
                  <a:pt x="10457627" y="4213745"/>
                  <a:pt x="10457627" y="4184015"/>
                  <a:pt x="10457627" y="4152062"/>
                </a:cubicBezTo>
                <a:close/>
                <a:moveTo>
                  <a:pt x="10392831" y="4146077"/>
                </a:moveTo>
                <a:cubicBezTo>
                  <a:pt x="10386284" y="4234593"/>
                  <a:pt x="10268437" y="4402094"/>
                  <a:pt x="10242249" y="4247560"/>
                </a:cubicBezTo>
                <a:cubicBezTo>
                  <a:pt x="10255343" y="4247560"/>
                  <a:pt x="10261890" y="4247560"/>
                  <a:pt x="10268437" y="4247560"/>
                </a:cubicBezTo>
                <a:cubicBezTo>
                  <a:pt x="10268437" y="4221625"/>
                  <a:pt x="10261890" y="4215141"/>
                  <a:pt x="10242249" y="4215141"/>
                </a:cubicBezTo>
                <a:cubicBezTo>
                  <a:pt x="10294625" y="4178497"/>
                  <a:pt x="10340455" y="4133110"/>
                  <a:pt x="10392831" y="4146077"/>
                </a:cubicBezTo>
                <a:close/>
                <a:moveTo>
                  <a:pt x="17223884" y="4133111"/>
                </a:moveTo>
                <a:cubicBezTo>
                  <a:pt x="17320724" y="4133111"/>
                  <a:pt x="17403572" y="4190744"/>
                  <a:pt x="17500408" y="4209261"/>
                </a:cubicBezTo>
                <a:cubicBezTo>
                  <a:pt x="17526232" y="4215797"/>
                  <a:pt x="17564968" y="4215797"/>
                  <a:pt x="17584336" y="4255009"/>
                </a:cubicBezTo>
                <a:cubicBezTo>
                  <a:pt x="17597248" y="4307293"/>
                  <a:pt x="17564968" y="4307293"/>
                  <a:pt x="17545600" y="4307293"/>
                </a:cubicBezTo>
                <a:cubicBezTo>
                  <a:pt x="17435852" y="4248474"/>
                  <a:pt x="17333636" y="4190744"/>
                  <a:pt x="17223884" y="4133111"/>
                </a:cubicBezTo>
                <a:close/>
                <a:moveTo>
                  <a:pt x="10507545" y="4123451"/>
                </a:moveTo>
                <a:cubicBezTo>
                  <a:pt x="10520053" y="4125002"/>
                  <a:pt x="10532429" y="4129655"/>
                  <a:pt x="10544541" y="4132757"/>
                </a:cubicBezTo>
                <a:cubicBezTo>
                  <a:pt x="10526372" y="4160680"/>
                  <a:pt x="10504057" y="4167660"/>
                  <a:pt x="10486036" y="4153699"/>
                </a:cubicBezTo>
                <a:lnTo>
                  <a:pt x="10485752" y="4153333"/>
                </a:lnTo>
                <a:lnTo>
                  <a:pt x="10473929" y="4159591"/>
                </a:lnTo>
                <a:cubicBezTo>
                  <a:pt x="10470517" y="4160393"/>
                  <a:pt x="10467104" y="4158787"/>
                  <a:pt x="10460279" y="4152366"/>
                </a:cubicBezTo>
                <a:lnTo>
                  <a:pt x="10472069" y="4135729"/>
                </a:lnTo>
                <a:lnTo>
                  <a:pt x="10469759" y="4132757"/>
                </a:lnTo>
                <a:cubicBezTo>
                  <a:pt x="10482398" y="4123451"/>
                  <a:pt x="10495038" y="4121900"/>
                  <a:pt x="10507545" y="4123451"/>
                </a:cubicBezTo>
                <a:close/>
                <a:moveTo>
                  <a:pt x="16355418" y="4118885"/>
                </a:moveTo>
                <a:cubicBezTo>
                  <a:pt x="16355418" y="4138147"/>
                  <a:pt x="16355418" y="4150990"/>
                  <a:pt x="16342294" y="4150990"/>
                </a:cubicBezTo>
                <a:cubicBezTo>
                  <a:pt x="16342294" y="4131726"/>
                  <a:pt x="16342294" y="4118885"/>
                  <a:pt x="16355418" y="4118885"/>
                </a:cubicBezTo>
                <a:close/>
                <a:moveTo>
                  <a:pt x="16317568" y="4118881"/>
                </a:moveTo>
                <a:cubicBezTo>
                  <a:pt x="16317568" y="4155772"/>
                  <a:pt x="16292974" y="4149624"/>
                  <a:pt x="16280676" y="4149624"/>
                </a:cubicBezTo>
                <a:cubicBezTo>
                  <a:pt x="16280676" y="4118881"/>
                  <a:pt x="16299122" y="4118881"/>
                  <a:pt x="16317568" y="4118881"/>
                </a:cubicBezTo>
                <a:close/>
                <a:moveTo>
                  <a:pt x="17915124" y="4113134"/>
                </a:moveTo>
                <a:lnTo>
                  <a:pt x="17914988" y="4113295"/>
                </a:lnTo>
                <a:cubicBezTo>
                  <a:pt x="17912856" y="4115804"/>
                  <a:pt x="17911148" y="4117810"/>
                  <a:pt x="17911148" y="4117810"/>
                </a:cubicBezTo>
                <a:close/>
                <a:moveTo>
                  <a:pt x="9809865" y="4112770"/>
                </a:moveTo>
                <a:cubicBezTo>
                  <a:pt x="9811300" y="4113196"/>
                  <a:pt x="9812941" y="4114903"/>
                  <a:pt x="9814581" y="4118314"/>
                </a:cubicBezTo>
                <a:cubicBezTo>
                  <a:pt x="9814581" y="4125140"/>
                  <a:pt x="9808019" y="4131964"/>
                  <a:pt x="9808019" y="4131964"/>
                </a:cubicBezTo>
                <a:cubicBezTo>
                  <a:pt x="9803097" y="4121727"/>
                  <a:pt x="9805558" y="4111490"/>
                  <a:pt x="9809865" y="4112770"/>
                </a:cubicBezTo>
                <a:close/>
                <a:moveTo>
                  <a:pt x="9760697" y="4109923"/>
                </a:moveTo>
                <a:cubicBezTo>
                  <a:pt x="9773427" y="4107595"/>
                  <a:pt x="9789240" y="4113799"/>
                  <a:pt x="9804785" y="4120006"/>
                </a:cubicBezTo>
                <a:cubicBezTo>
                  <a:pt x="9824082" y="4151029"/>
                  <a:pt x="9747966" y="4151029"/>
                  <a:pt x="9735101" y="4151029"/>
                </a:cubicBezTo>
                <a:cubicBezTo>
                  <a:pt x="9738317" y="4123108"/>
                  <a:pt x="9747966" y="4112250"/>
                  <a:pt x="9760697" y="4109923"/>
                </a:cubicBezTo>
                <a:close/>
                <a:moveTo>
                  <a:pt x="17922024" y="4105021"/>
                </a:moveTo>
                <a:lnTo>
                  <a:pt x="17921388" y="4105771"/>
                </a:lnTo>
                <a:lnTo>
                  <a:pt x="17915124" y="4113134"/>
                </a:lnTo>
                <a:close/>
                <a:moveTo>
                  <a:pt x="9821601" y="4102913"/>
                </a:moveTo>
                <a:cubicBezTo>
                  <a:pt x="9822421" y="4104411"/>
                  <a:pt x="9820780" y="4108900"/>
                  <a:pt x="9817499" y="4117882"/>
                </a:cubicBezTo>
                <a:cubicBezTo>
                  <a:pt x="9817499" y="4117882"/>
                  <a:pt x="9810936" y="4111895"/>
                  <a:pt x="9810936" y="4105908"/>
                </a:cubicBezTo>
                <a:cubicBezTo>
                  <a:pt x="9817499" y="4102913"/>
                  <a:pt x="9820780" y="4101417"/>
                  <a:pt x="9821601" y="4102913"/>
                </a:cubicBezTo>
                <a:close/>
                <a:moveTo>
                  <a:pt x="9885021" y="4087636"/>
                </a:moveTo>
                <a:cubicBezTo>
                  <a:pt x="9885021" y="4126322"/>
                  <a:pt x="9904367" y="4119876"/>
                  <a:pt x="9923712" y="4119876"/>
                </a:cubicBezTo>
                <a:cubicBezTo>
                  <a:pt x="9923712" y="4087636"/>
                  <a:pt x="9897918" y="4087636"/>
                  <a:pt x="9885021" y="4087636"/>
                </a:cubicBezTo>
                <a:close/>
                <a:moveTo>
                  <a:pt x="10673567" y="4085706"/>
                </a:moveTo>
                <a:cubicBezTo>
                  <a:pt x="10685542" y="4085706"/>
                  <a:pt x="10691529" y="4098546"/>
                  <a:pt x="10691529" y="4117810"/>
                </a:cubicBezTo>
                <a:cubicBezTo>
                  <a:pt x="10679554" y="4117810"/>
                  <a:pt x="10673567" y="4104969"/>
                  <a:pt x="10673567" y="4085706"/>
                </a:cubicBezTo>
                <a:close/>
                <a:moveTo>
                  <a:pt x="10623518" y="4085706"/>
                </a:moveTo>
                <a:cubicBezTo>
                  <a:pt x="10643993" y="4085706"/>
                  <a:pt x="10637168" y="4131395"/>
                  <a:pt x="10637168" y="4150975"/>
                </a:cubicBezTo>
                <a:cubicBezTo>
                  <a:pt x="10616693" y="4150975"/>
                  <a:pt x="10623518" y="4111813"/>
                  <a:pt x="10623518" y="4085706"/>
                </a:cubicBezTo>
                <a:close/>
                <a:moveTo>
                  <a:pt x="10412881" y="4085706"/>
                </a:moveTo>
                <a:cubicBezTo>
                  <a:pt x="10424856" y="4085706"/>
                  <a:pt x="10430843" y="4098546"/>
                  <a:pt x="10430843" y="4117810"/>
                </a:cubicBezTo>
                <a:cubicBezTo>
                  <a:pt x="10418868" y="4117810"/>
                  <a:pt x="10412881" y="4111390"/>
                  <a:pt x="10412881" y="4085706"/>
                </a:cubicBezTo>
                <a:close/>
                <a:moveTo>
                  <a:pt x="17791656" y="4085705"/>
                </a:moveTo>
                <a:cubicBezTo>
                  <a:pt x="17791656" y="4111388"/>
                  <a:pt x="17785668" y="4117809"/>
                  <a:pt x="17773696" y="4117809"/>
                </a:cubicBezTo>
                <a:cubicBezTo>
                  <a:pt x="17773696" y="4098546"/>
                  <a:pt x="17779684" y="4085705"/>
                  <a:pt x="17791656" y="4085705"/>
                </a:cubicBezTo>
                <a:close/>
                <a:moveTo>
                  <a:pt x="17165984" y="4085705"/>
                </a:moveTo>
                <a:cubicBezTo>
                  <a:pt x="17165984" y="4122594"/>
                  <a:pt x="17147536" y="4116447"/>
                  <a:pt x="17129092" y="4116447"/>
                </a:cubicBezTo>
                <a:cubicBezTo>
                  <a:pt x="17129092" y="4085705"/>
                  <a:pt x="17153684" y="4085705"/>
                  <a:pt x="17165984" y="4085705"/>
                </a:cubicBezTo>
                <a:close/>
                <a:moveTo>
                  <a:pt x="15981076" y="4085705"/>
                </a:moveTo>
                <a:cubicBezTo>
                  <a:pt x="15981076" y="4111389"/>
                  <a:pt x="15975088" y="4117809"/>
                  <a:pt x="15963114" y="4117809"/>
                </a:cubicBezTo>
                <a:cubicBezTo>
                  <a:pt x="15963114" y="4098546"/>
                  <a:pt x="15969100" y="4085705"/>
                  <a:pt x="15981076" y="4085705"/>
                </a:cubicBezTo>
                <a:close/>
                <a:moveTo>
                  <a:pt x="13204588" y="4085705"/>
                </a:moveTo>
                <a:cubicBezTo>
                  <a:pt x="13216563" y="4085705"/>
                  <a:pt x="13222550" y="4098546"/>
                  <a:pt x="13222550" y="4117810"/>
                </a:cubicBezTo>
                <a:cubicBezTo>
                  <a:pt x="13210575" y="4117810"/>
                  <a:pt x="13204588" y="4111389"/>
                  <a:pt x="13204588" y="4085705"/>
                </a:cubicBezTo>
                <a:close/>
                <a:moveTo>
                  <a:pt x="11070709" y="4085705"/>
                </a:moveTo>
                <a:cubicBezTo>
                  <a:pt x="11070709" y="4111389"/>
                  <a:pt x="11064722" y="4117810"/>
                  <a:pt x="11052747" y="4117810"/>
                </a:cubicBezTo>
                <a:cubicBezTo>
                  <a:pt x="11052747" y="4098546"/>
                  <a:pt x="11058734" y="4085705"/>
                  <a:pt x="11070709" y="4085705"/>
                </a:cubicBezTo>
                <a:close/>
                <a:moveTo>
                  <a:pt x="17887452" y="4076241"/>
                </a:moveTo>
                <a:cubicBezTo>
                  <a:pt x="18054044" y="4076241"/>
                  <a:pt x="18220640" y="4166982"/>
                  <a:pt x="18381860" y="4255454"/>
                </a:cubicBezTo>
                <a:cubicBezTo>
                  <a:pt x="18458172" y="4294342"/>
                  <a:pt x="18535560" y="4326748"/>
                  <a:pt x="18606496" y="4372118"/>
                </a:cubicBezTo>
                <a:cubicBezTo>
                  <a:pt x="18637664" y="4391562"/>
                  <a:pt x="18637664" y="4442332"/>
                  <a:pt x="18663460" y="4461776"/>
                </a:cubicBezTo>
                <a:cubicBezTo>
                  <a:pt x="18689256" y="4494183"/>
                  <a:pt x="18727948" y="4507145"/>
                  <a:pt x="18753744" y="4539552"/>
                </a:cubicBezTo>
                <a:cubicBezTo>
                  <a:pt x="18682808" y="4539552"/>
                  <a:pt x="18625844" y="4487701"/>
                  <a:pt x="18561356" y="4455295"/>
                </a:cubicBezTo>
                <a:cubicBezTo>
                  <a:pt x="18529112" y="4442332"/>
                  <a:pt x="18496868" y="4422888"/>
                  <a:pt x="18464620" y="4416407"/>
                </a:cubicBezTo>
                <a:cubicBezTo>
                  <a:pt x="18445276" y="4416407"/>
                  <a:pt x="18432376" y="4435851"/>
                  <a:pt x="18420556" y="4429369"/>
                </a:cubicBezTo>
                <a:cubicBezTo>
                  <a:pt x="18414104" y="4429369"/>
                  <a:pt x="18407656" y="4416407"/>
                  <a:pt x="18394760" y="4416407"/>
                </a:cubicBezTo>
                <a:cubicBezTo>
                  <a:pt x="18401208" y="4403444"/>
                  <a:pt x="18407656" y="4391562"/>
                  <a:pt x="18414104" y="4385080"/>
                </a:cubicBezTo>
                <a:cubicBezTo>
                  <a:pt x="18310924" y="4313786"/>
                  <a:pt x="18195920" y="4173463"/>
                  <a:pt x="18073392" y="4248973"/>
                </a:cubicBezTo>
                <a:cubicBezTo>
                  <a:pt x="18073392" y="4223047"/>
                  <a:pt x="18073392" y="4204684"/>
                  <a:pt x="18073392" y="4186426"/>
                </a:cubicBezTo>
                <a:cubicBezTo>
                  <a:pt x="18066944" y="4179945"/>
                  <a:pt x="18054044" y="4173463"/>
                  <a:pt x="18047596" y="4173463"/>
                </a:cubicBezTo>
                <a:cubicBezTo>
                  <a:pt x="18029324" y="4160501"/>
                  <a:pt x="18009980" y="4154019"/>
                  <a:pt x="17990632" y="4147538"/>
                </a:cubicBezTo>
                <a:cubicBezTo>
                  <a:pt x="17974508" y="4141057"/>
                  <a:pt x="17956776" y="4131335"/>
                  <a:pt x="17939040" y="4119183"/>
                </a:cubicBezTo>
                <a:lnTo>
                  <a:pt x="17922024" y="4105021"/>
                </a:lnTo>
                <a:close/>
                <a:moveTo>
                  <a:pt x="10450799" y="4062004"/>
                </a:moveTo>
                <a:cubicBezTo>
                  <a:pt x="10487691" y="4062004"/>
                  <a:pt x="10487691" y="4062004"/>
                  <a:pt x="10487691" y="4089304"/>
                </a:cubicBezTo>
                <a:cubicBezTo>
                  <a:pt x="10450799" y="4089304"/>
                  <a:pt x="10450799" y="4089304"/>
                  <a:pt x="10450799" y="4062004"/>
                </a:cubicBezTo>
                <a:close/>
                <a:moveTo>
                  <a:pt x="16121250" y="4062002"/>
                </a:moveTo>
                <a:cubicBezTo>
                  <a:pt x="16121250" y="4068208"/>
                  <a:pt x="16127714" y="4068208"/>
                  <a:pt x="16127714" y="4074411"/>
                </a:cubicBezTo>
                <a:cubicBezTo>
                  <a:pt x="16147102" y="4080616"/>
                  <a:pt x="16184804" y="4074411"/>
                  <a:pt x="16184804" y="4117846"/>
                </a:cubicBezTo>
                <a:cubicBezTo>
                  <a:pt x="16160030" y="4117846"/>
                  <a:pt x="16134178" y="4117846"/>
                  <a:pt x="16114788" y="4117846"/>
                </a:cubicBezTo>
                <a:cubicBezTo>
                  <a:pt x="16114788" y="4099231"/>
                  <a:pt x="16114788" y="4080616"/>
                  <a:pt x="16121250" y="4062002"/>
                </a:cubicBezTo>
                <a:close/>
                <a:moveTo>
                  <a:pt x="10716226" y="4062002"/>
                </a:moveTo>
                <a:cubicBezTo>
                  <a:pt x="10729069" y="4074412"/>
                  <a:pt x="10735491" y="4080617"/>
                  <a:pt x="10748335" y="4086822"/>
                </a:cubicBezTo>
                <a:cubicBezTo>
                  <a:pt x="10735491" y="4099233"/>
                  <a:pt x="10722648" y="4105437"/>
                  <a:pt x="10716226" y="4117846"/>
                </a:cubicBezTo>
                <a:cubicBezTo>
                  <a:pt x="10716226" y="4099233"/>
                  <a:pt x="10716226" y="4080617"/>
                  <a:pt x="10716226" y="4062002"/>
                </a:cubicBezTo>
                <a:close/>
                <a:moveTo>
                  <a:pt x="10570538" y="4062002"/>
                </a:moveTo>
                <a:cubicBezTo>
                  <a:pt x="10582513" y="4080617"/>
                  <a:pt x="10582513" y="4117846"/>
                  <a:pt x="10564551" y="4117846"/>
                </a:cubicBezTo>
                <a:cubicBezTo>
                  <a:pt x="10564551" y="4099233"/>
                  <a:pt x="10570538" y="4080617"/>
                  <a:pt x="10570538" y="4062002"/>
                </a:cubicBezTo>
                <a:close/>
                <a:moveTo>
                  <a:pt x="17053256" y="4062001"/>
                </a:moveTo>
                <a:cubicBezTo>
                  <a:pt x="17071872" y="4062001"/>
                  <a:pt x="17090484" y="4062001"/>
                  <a:pt x="17109100" y="4062001"/>
                </a:cubicBezTo>
                <a:cubicBezTo>
                  <a:pt x="17102896" y="4080616"/>
                  <a:pt x="17096692" y="4099231"/>
                  <a:pt x="17090484" y="4117846"/>
                </a:cubicBezTo>
                <a:cubicBezTo>
                  <a:pt x="17078076" y="4105436"/>
                  <a:pt x="17053256" y="4093026"/>
                  <a:pt x="17053256" y="4062001"/>
                </a:cubicBezTo>
                <a:close/>
                <a:moveTo>
                  <a:pt x="11111606" y="4058546"/>
                </a:moveTo>
                <a:cubicBezTo>
                  <a:pt x="11123240" y="4057731"/>
                  <a:pt x="11137201" y="4062625"/>
                  <a:pt x="11146509" y="4062625"/>
                </a:cubicBezTo>
                <a:cubicBezTo>
                  <a:pt x="11146509" y="4108314"/>
                  <a:pt x="11109280" y="4088734"/>
                  <a:pt x="11090665" y="4088734"/>
                </a:cubicBezTo>
                <a:cubicBezTo>
                  <a:pt x="11090665" y="4065888"/>
                  <a:pt x="11099972" y="4059361"/>
                  <a:pt x="11111606" y="4058546"/>
                </a:cubicBezTo>
                <a:close/>
                <a:moveTo>
                  <a:pt x="16128438" y="4043045"/>
                </a:moveTo>
                <a:cubicBezTo>
                  <a:pt x="16135262" y="4049871"/>
                  <a:pt x="16135262" y="4056698"/>
                  <a:pt x="16142088" y="4063520"/>
                </a:cubicBezTo>
                <a:cubicBezTo>
                  <a:pt x="16128438" y="4070346"/>
                  <a:pt x="16114788" y="4063520"/>
                  <a:pt x="16128438" y="4043045"/>
                </a:cubicBezTo>
                <a:close/>
                <a:moveTo>
                  <a:pt x="11317603" y="4043045"/>
                </a:moveTo>
                <a:cubicBezTo>
                  <a:pt x="11324428" y="4049871"/>
                  <a:pt x="11324428" y="4056698"/>
                  <a:pt x="11331253" y="4063520"/>
                </a:cubicBezTo>
                <a:cubicBezTo>
                  <a:pt x="11317603" y="4070346"/>
                  <a:pt x="11303953" y="4063520"/>
                  <a:pt x="11317603" y="4043045"/>
                </a:cubicBezTo>
                <a:close/>
                <a:moveTo>
                  <a:pt x="20064620" y="4042570"/>
                </a:moveTo>
                <a:cubicBezTo>
                  <a:pt x="20066248" y="4040012"/>
                  <a:pt x="20069508" y="4041718"/>
                  <a:pt x="20076028" y="4045132"/>
                </a:cubicBezTo>
                <a:cubicBezTo>
                  <a:pt x="20070100" y="4051955"/>
                  <a:pt x="20070100" y="4058781"/>
                  <a:pt x="20062992" y="4065605"/>
                </a:cubicBezTo>
                <a:cubicBezTo>
                  <a:pt x="20062992" y="4051955"/>
                  <a:pt x="20062992" y="4045132"/>
                  <a:pt x="20064620" y="4042570"/>
                </a:cubicBezTo>
                <a:close/>
                <a:moveTo>
                  <a:pt x="19837124" y="4042570"/>
                </a:moveTo>
                <a:cubicBezTo>
                  <a:pt x="19838764" y="4040012"/>
                  <a:pt x="19842048" y="4041719"/>
                  <a:pt x="19848612" y="4045133"/>
                </a:cubicBezTo>
                <a:cubicBezTo>
                  <a:pt x="19842048" y="4051955"/>
                  <a:pt x="19842048" y="4058781"/>
                  <a:pt x="19835484" y="4065605"/>
                </a:cubicBezTo>
                <a:cubicBezTo>
                  <a:pt x="19835484" y="4051955"/>
                  <a:pt x="19835484" y="4045132"/>
                  <a:pt x="19837124" y="4042570"/>
                </a:cubicBezTo>
                <a:close/>
                <a:moveTo>
                  <a:pt x="10051604" y="4029605"/>
                </a:moveTo>
                <a:cubicBezTo>
                  <a:pt x="10019362" y="4036052"/>
                  <a:pt x="9981747" y="4036052"/>
                  <a:pt x="9955953" y="4074739"/>
                </a:cubicBezTo>
                <a:cubicBezTo>
                  <a:pt x="9981747" y="4074739"/>
                  <a:pt x="10051604" y="4100532"/>
                  <a:pt x="10051604" y="4029605"/>
                </a:cubicBezTo>
                <a:close/>
                <a:moveTo>
                  <a:pt x="15490658" y="4028822"/>
                </a:moveTo>
                <a:cubicBezTo>
                  <a:pt x="15490658" y="4053644"/>
                  <a:pt x="15497484" y="4084667"/>
                  <a:pt x="15470184" y="4084667"/>
                </a:cubicBezTo>
                <a:cubicBezTo>
                  <a:pt x="15470184" y="4059849"/>
                  <a:pt x="15470184" y="4028822"/>
                  <a:pt x="15490658" y="4028822"/>
                </a:cubicBezTo>
                <a:close/>
                <a:moveTo>
                  <a:pt x="10975819" y="4028822"/>
                </a:moveTo>
                <a:cubicBezTo>
                  <a:pt x="10975819" y="4048087"/>
                  <a:pt x="10975819" y="4060930"/>
                  <a:pt x="10962691" y="4060930"/>
                </a:cubicBezTo>
                <a:cubicBezTo>
                  <a:pt x="10962691" y="4041666"/>
                  <a:pt x="10962691" y="4028822"/>
                  <a:pt x="10975819" y="4028822"/>
                </a:cubicBezTo>
                <a:close/>
                <a:moveTo>
                  <a:pt x="19228796" y="4028819"/>
                </a:moveTo>
                <a:cubicBezTo>
                  <a:pt x="19241924" y="4028819"/>
                  <a:pt x="19241924" y="4041665"/>
                  <a:pt x="19241924" y="4060929"/>
                </a:cubicBezTo>
                <a:cubicBezTo>
                  <a:pt x="19228796" y="4060929"/>
                  <a:pt x="19228796" y="4048087"/>
                  <a:pt x="19228796" y="4028819"/>
                </a:cubicBezTo>
                <a:close/>
                <a:moveTo>
                  <a:pt x="15374392" y="4028819"/>
                </a:moveTo>
                <a:cubicBezTo>
                  <a:pt x="15374392" y="4048087"/>
                  <a:pt x="15368404" y="4060930"/>
                  <a:pt x="15356430" y="4060930"/>
                </a:cubicBezTo>
                <a:cubicBezTo>
                  <a:pt x="15356430" y="4041666"/>
                  <a:pt x="15362416" y="4028819"/>
                  <a:pt x="15374392" y="4028819"/>
                </a:cubicBezTo>
                <a:close/>
                <a:moveTo>
                  <a:pt x="9933170" y="4028819"/>
                </a:moveTo>
                <a:lnTo>
                  <a:pt x="9930340" y="4033882"/>
                </a:lnTo>
                <a:lnTo>
                  <a:pt x="9930644" y="4033338"/>
                </a:lnTo>
                <a:cubicBezTo>
                  <a:pt x="9932048" y="4030831"/>
                  <a:pt x="9933170" y="4028819"/>
                  <a:pt x="9933170" y="4028819"/>
                </a:cubicBezTo>
                <a:close/>
                <a:moveTo>
                  <a:pt x="11260567" y="4025783"/>
                </a:moveTo>
                <a:cubicBezTo>
                  <a:pt x="11271022" y="4027374"/>
                  <a:pt x="11279169" y="4035333"/>
                  <a:pt x="11279169" y="4060799"/>
                </a:cubicBezTo>
                <a:cubicBezTo>
                  <a:pt x="11259617" y="4060799"/>
                  <a:pt x="11228116" y="4079899"/>
                  <a:pt x="11228116" y="4028965"/>
                </a:cubicBezTo>
                <a:cubicBezTo>
                  <a:pt x="11237349" y="4028965"/>
                  <a:pt x="11250112" y="4024192"/>
                  <a:pt x="11260567" y="4025783"/>
                </a:cubicBezTo>
                <a:close/>
                <a:moveTo>
                  <a:pt x="17012168" y="4025782"/>
                </a:moveTo>
                <a:cubicBezTo>
                  <a:pt x="17023436" y="4027374"/>
                  <a:pt x="17033212" y="4035333"/>
                  <a:pt x="17033212" y="4060799"/>
                </a:cubicBezTo>
                <a:cubicBezTo>
                  <a:pt x="17013660" y="4060799"/>
                  <a:pt x="16982160" y="4079898"/>
                  <a:pt x="16982160" y="4028962"/>
                </a:cubicBezTo>
                <a:cubicBezTo>
                  <a:pt x="16988136" y="4028962"/>
                  <a:pt x="17000896" y="4024191"/>
                  <a:pt x="17012168" y="4025782"/>
                </a:cubicBezTo>
                <a:close/>
                <a:moveTo>
                  <a:pt x="9924688" y="4014601"/>
                </a:moveTo>
                <a:cubicBezTo>
                  <a:pt x="9930675" y="4014601"/>
                  <a:pt x="9936663" y="4014601"/>
                  <a:pt x="9942650" y="4014601"/>
                </a:cubicBezTo>
                <a:cubicBezTo>
                  <a:pt x="9930675" y="4020588"/>
                  <a:pt x="9936663" y="4032563"/>
                  <a:pt x="9924688" y="4014601"/>
                </a:cubicBezTo>
                <a:close/>
                <a:moveTo>
                  <a:pt x="10691475" y="4009865"/>
                </a:moveTo>
                <a:cubicBezTo>
                  <a:pt x="10663826" y="4021206"/>
                  <a:pt x="10622468" y="4077196"/>
                  <a:pt x="10591392" y="4056286"/>
                </a:cubicBezTo>
                <a:lnTo>
                  <a:pt x="10581228" y="4044994"/>
                </a:lnTo>
                <a:lnTo>
                  <a:pt x="10591993" y="4062312"/>
                </a:lnTo>
                <a:cubicBezTo>
                  <a:pt x="10586006" y="4068734"/>
                  <a:pt x="10580018" y="4075154"/>
                  <a:pt x="10574031" y="4062312"/>
                </a:cubicBezTo>
                <a:lnTo>
                  <a:pt x="10579879" y="4043490"/>
                </a:lnTo>
                <a:lnTo>
                  <a:pt x="10578773" y="4042265"/>
                </a:lnTo>
                <a:cubicBezTo>
                  <a:pt x="10615638" y="4029305"/>
                  <a:pt x="10653556" y="4016347"/>
                  <a:pt x="10691475" y="4009865"/>
                </a:cubicBezTo>
                <a:close/>
                <a:moveTo>
                  <a:pt x="19192672" y="4001460"/>
                </a:moveTo>
                <a:cubicBezTo>
                  <a:pt x="19201124" y="4004904"/>
                  <a:pt x="19208812" y="4016478"/>
                  <a:pt x="19208812" y="4032461"/>
                </a:cubicBezTo>
                <a:cubicBezTo>
                  <a:pt x="19196512" y="4025847"/>
                  <a:pt x="19184216" y="4025847"/>
                  <a:pt x="19171920" y="4019234"/>
                </a:cubicBezTo>
                <a:cubicBezTo>
                  <a:pt x="19174992" y="4002701"/>
                  <a:pt x="19184216" y="3998015"/>
                  <a:pt x="19192672" y="4001460"/>
                </a:cubicBezTo>
                <a:close/>
                <a:moveTo>
                  <a:pt x="15773526" y="4000387"/>
                </a:moveTo>
                <a:cubicBezTo>
                  <a:pt x="15779948" y="4005653"/>
                  <a:pt x="15792790" y="4005653"/>
                  <a:pt x="15805632" y="4011972"/>
                </a:cubicBezTo>
                <a:cubicBezTo>
                  <a:pt x="15799210" y="4024612"/>
                  <a:pt x="15792790" y="4037253"/>
                  <a:pt x="15779948" y="4056211"/>
                </a:cubicBezTo>
                <a:cubicBezTo>
                  <a:pt x="15773526" y="4037253"/>
                  <a:pt x="15773526" y="4018293"/>
                  <a:pt x="15773526" y="4000387"/>
                </a:cubicBezTo>
                <a:close/>
                <a:moveTo>
                  <a:pt x="16962200" y="4000386"/>
                </a:moveTo>
                <a:cubicBezTo>
                  <a:pt x="16962200" y="4019185"/>
                  <a:pt x="16956212" y="4032456"/>
                  <a:pt x="16944240" y="4032456"/>
                </a:cubicBezTo>
                <a:cubicBezTo>
                  <a:pt x="16944240" y="4012553"/>
                  <a:pt x="16950228" y="4000386"/>
                  <a:pt x="16962200" y="4000386"/>
                </a:cubicBezTo>
                <a:close/>
                <a:moveTo>
                  <a:pt x="15303196" y="4000386"/>
                </a:moveTo>
                <a:cubicBezTo>
                  <a:pt x="15303196" y="4005914"/>
                  <a:pt x="15303196" y="4019185"/>
                  <a:pt x="15303196" y="4032456"/>
                </a:cubicBezTo>
                <a:cubicBezTo>
                  <a:pt x="15290070" y="4005914"/>
                  <a:pt x="15290070" y="4005914"/>
                  <a:pt x="15303196" y="4000386"/>
                </a:cubicBezTo>
                <a:close/>
                <a:moveTo>
                  <a:pt x="13336302" y="4000386"/>
                </a:moveTo>
                <a:cubicBezTo>
                  <a:pt x="13336302" y="4019185"/>
                  <a:pt x="13330315" y="4032456"/>
                  <a:pt x="13318340" y="4032456"/>
                </a:cubicBezTo>
                <a:cubicBezTo>
                  <a:pt x="13318340" y="4012553"/>
                  <a:pt x="13324327" y="4000386"/>
                  <a:pt x="13336302" y="4000386"/>
                </a:cubicBezTo>
                <a:close/>
                <a:moveTo>
                  <a:pt x="13241507" y="4000386"/>
                </a:moveTo>
                <a:cubicBezTo>
                  <a:pt x="13241507" y="4019186"/>
                  <a:pt x="13241507" y="4032456"/>
                  <a:pt x="13223545" y="4032456"/>
                </a:cubicBezTo>
                <a:cubicBezTo>
                  <a:pt x="13223545" y="4012554"/>
                  <a:pt x="13229532" y="4000386"/>
                  <a:pt x="13241507" y="4000386"/>
                </a:cubicBezTo>
                <a:close/>
                <a:moveTo>
                  <a:pt x="20602224" y="4000385"/>
                </a:moveTo>
                <a:cubicBezTo>
                  <a:pt x="20602224" y="4019185"/>
                  <a:pt x="20602224" y="4032455"/>
                  <a:pt x="20589100" y="4032455"/>
                </a:cubicBezTo>
                <a:cubicBezTo>
                  <a:pt x="20589100" y="4012553"/>
                  <a:pt x="20589100" y="4000385"/>
                  <a:pt x="20602224" y="4000385"/>
                </a:cubicBezTo>
                <a:close/>
                <a:moveTo>
                  <a:pt x="20033552" y="4000385"/>
                </a:moveTo>
                <a:cubicBezTo>
                  <a:pt x="20033552" y="4019185"/>
                  <a:pt x="20027564" y="4032455"/>
                  <a:pt x="20015588" y="4032455"/>
                </a:cubicBezTo>
                <a:cubicBezTo>
                  <a:pt x="20015588" y="4012553"/>
                  <a:pt x="20021576" y="4000385"/>
                  <a:pt x="20033552" y="4000385"/>
                </a:cubicBezTo>
                <a:close/>
                <a:moveTo>
                  <a:pt x="19578440" y="4000385"/>
                </a:moveTo>
                <a:cubicBezTo>
                  <a:pt x="19578440" y="4019185"/>
                  <a:pt x="19578440" y="4032455"/>
                  <a:pt x="19565316" y="4032455"/>
                </a:cubicBezTo>
                <a:cubicBezTo>
                  <a:pt x="19565316" y="4012553"/>
                  <a:pt x="19565316" y="4000385"/>
                  <a:pt x="19578440" y="4000385"/>
                </a:cubicBezTo>
                <a:close/>
                <a:moveTo>
                  <a:pt x="17702600" y="4000385"/>
                </a:moveTo>
                <a:cubicBezTo>
                  <a:pt x="17715728" y="4000385"/>
                  <a:pt x="17715728" y="4012553"/>
                  <a:pt x="17715728" y="4032456"/>
                </a:cubicBezTo>
                <a:cubicBezTo>
                  <a:pt x="17702600" y="4032456"/>
                  <a:pt x="17702600" y="4019185"/>
                  <a:pt x="17702600" y="4000385"/>
                </a:cubicBezTo>
                <a:close/>
                <a:moveTo>
                  <a:pt x="18617096" y="3982954"/>
                </a:moveTo>
                <a:cubicBezTo>
                  <a:pt x="18612260" y="3991014"/>
                  <a:pt x="18611792" y="3998672"/>
                  <a:pt x="18614008" y="4005724"/>
                </a:cubicBezTo>
                <a:lnTo>
                  <a:pt x="18617896" y="4011435"/>
                </a:lnTo>
                <a:lnTo>
                  <a:pt x="18619000" y="3997137"/>
                </a:lnTo>
                <a:cubicBezTo>
                  <a:pt x="18620628" y="3993124"/>
                  <a:pt x="18623884" y="3993124"/>
                  <a:pt x="18630404" y="4000079"/>
                </a:cubicBezTo>
                <a:cubicBezTo>
                  <a:pt x="18627440" y="4002756"/>
                  <a:pt x="18625960" y="4004093"/>
                  <a:pt x="18624332" y="4006367"/>
                </a:cubicBezTo>
                <a:lnTo>
                  <a:pt x="18619764" y="4014180"/>
                </a:lnTo>
                <a:lnTo>
                  <a:pt x="18627040" y="4024867"/>
                </a:lnTo>
                <a:cubicBezTo>
                  <a:pt x="18638860" y="4036152"/>
                  <a:pt x="18654712" y="4044213"/>
                  <a:pt x="18661160" y="4047437"/>
                </a:cubicBezTo>
                <a:cubicBezTo>
                  <a:pt x="18699852" y="4066777"/>
                  <a:pt x="18738544" y="4105471"/>
                  <a:pt x="18783684" y="4086126"/>
                </a:cubicBezTo>
                <a:cubicBezTo>
                  <a:pt x="18751444" y="4066777"/>
                  <a:pt x="18719200" y="4047437"/>
                  <a:pt x="18680508" y="4028090"/>
                </a:cubicBezTo>
                <a:cubicBezTo>
                  <a:pt x="18661160" y="4015196"/>
                  <a:pt x="18635368" y="4008746"/>
                  <a:pt x="18617096" y="3982954"/>
                </a:cubicBezTo>
                <a:close/>
                <a:moveTo>
                  <a:pt x="15127852" y="3973524"/>
                </a:moveTo>
                <a:cubicBezTo>
                  <a:pt x="15127852" y="4004068"/>
                  <a:pt x="15108586" y="3998802"/>
                  <a:pt x="15095742" y="3998802"/>
                </a:cubicBezTo>
                <a:cubicBezTo>
                  <a:pt x="15095742" y="3967206"/>
                  <a:pt x="15115008" y="3973524"/>
                  <a:pt x="15127852" y="3973524"/>
                </a:cubicBezTo>
                <a:close/>
                <a:moveTo>
                  <a:pt x="16825748" y="3973523"/>
                </a:moveTo>
                <a:cubicBezTo>
                  <a:pt x="16838044" y="3973523"/>
                  <a:pt x="16862640" y="3967206"/>
                  <a:pt x="16862640" y="3998802"/>
                </a:cubicBezTo>
                <a:cubicBezTo>
                  <a:pt x="16850344" y="3998802"/>
                  <a:pt x="16825748" y="4004067"/>
                  <a:pt x="16825748" y="3973523"/>
                </a:cubicBezTo>
                <a:close/>
                <a:moveTo>
                  <a:pt x="17828948" y="3971948"/>
                </a:moveTo>
                <a:cubicBezTo>
                  <a:pt x="17848184" y="4015602"/>
                  <a:pt x="17861012" y="4066705"/>
                  <a:pt x="17867424" y="4117814"/>
                </a:cubicBezTo>
                <a:cubicBezTo>
                  <a:pt x="17841772" y="4117814"/>
                  <a:pt x="17785128" y="4092263"/>
                  <a:pt x="17772300" y="4047544"/>
                </a:cubicBezTo>
                <a:cubicBezTo>
                  <a:pt x="17759476" y="3983660"/>
                  <a:pt x="17804364" y="3978336"/>
                  <a:pt x="17828948" y="3971948"/>
                </a:cubicBezTo>
                <a:close/>
                <a:moveTo>
                  <a:pt x="15925198" y="3971945"/>
                </a:moveTo>
                <a:cubicBezTo>
                  <a:pt x="15937838" y="3971945"/>
                  <a:pt x="15950476" y="3978580"/>
                  <a:pt x="15962062" y="3984110"/>
                </a:cubicBezTo>
                <a:cubicBezTo>
                  <a:pt x="15950476" y="4004015"/>
                  <a:pt x="15925198" y="4004015"/>
                  <a:pt x="15925198" y="3971945"/>
                </a:cubicBezTo>
                <a:close/>
                <a:moveTo>
                  <a:pt x="13601727" y="3971945"/>
                </a:moveTo>
                <a:cubicBezTo>
                  <a:pt x="13601727" y="3991286"/>
                  <a:pt x="13595740" y="3999245"/>
                  <a:pt x="13583765" y="3999245"/>
                </a:cubicBezTo>
                <a:cubicBezTo>
                  <a:pt x="13583765" y="3978771"/>
                  <a:pt x="13589752" y="3971945"/>
                  <a:pt x="13601727" y="3971945"/>
                </a:cubicBezTo>
                <a:close/>
                <a:moveTo>
                  <a:pt x="10976910" y="3971945"/>
                </a:moveTo>
                <a:cubicBezTo>
                  <a:pt x="10988885" y="3971945"/>
                  <a:pt x="10994872" y="3978771"/>
                  <a:pt x="10994872" y="3999245"/>
                </a:cubicBezTo>
                <a:cubicBezTo>
                  <a:pt x="10982897" y="3999245"/>
                  <a:pt x="10976910" y="3991286"/>
                  <a:pt x="10976910" y="3971945"/>
                </a:cubicBezTo>
                <a:close/>
                <a:moveTo>
                  <a:pt x="20541704" y="3971944"/>
                </a:moveTo>
                <a:cubicBezTo>
                  <a:pt x="20548264" y="3978769"/>
                  <a:pt x="20548264" y="3991282"/>
                  <a:pt x="20554828" y="3999245"/>
                </a:cubicBezTo>
                <a:cubicBezTo>
                  <a:pt x="20548264" y="3991282"/>
                  <a:pt x="20541704" y="3984457"/>
                  <a:pt x="20541704" y="3971944"/>
                </a:cubicBezTo>
                <a:close/>
                <a:moveTo>
                  <a:pt x="18565508" y="3971132"/>
                </a:moveTo>
                <a:cubicBezTo>
                  <a:pt x="18565508" y="3989399"/>
                  <a:pt x="18571956" y="3996927"/>
                  <a:pt x="18584852" y="3996927"/>
                </a:cubicBezTo>
                <a:cubicBezTo>
                  <a:pt x="18584852" y="3977580"/>
                  <a:pt x="18571956" y="3971132"/>
                  <a:pt x="18565508" y="3971132"/>
                </a:cubicBezTo>
                <a:close/>
                <a:moveTo>
                  <a:pt x="16566904" y="3967637"/>
                </a:moveTo>
                <a:cubicBezTo>
                  <a:pt x="16578490" y="3967637"/>
                  <a:pt x="16592446" y="3974099"/>
                  <a:pt x="16601926" y="3974099"/>
                </a:cubicBezTo>
                <a:cubicBezTo>
                  <a:pt x="16601926" y="4018266"/>
                  <a:pt x="16565060" y="3999954"/>
                  <a:pt x="16546102" y="3999954"/>
                </a:cubicBezTo>
                <a:cubicBezTo>
                  <a:pt x="16546102" y="3974100"/>
                  <a:pt x="16555318" y="3967637"/>
                  <a:pt x="16566904" y="3967637"/>
                </a:cubicBezTo>
                <a:close/>
                <a:moveTo>
                  <a:pt x="12227107" y="3941563"/>
                </a:moveTo>
                <a:lnTo>
                  <a:pt x="12213982" y="3947178"/>
                </a:lnTo>
                <a:cubicBezTo>
                  <a:pt x="12217214" y="3943976"/>
                  <a:pt x="12222063" y="3942375"/>
                  <a:pt x="12226912" y="3941576"/>
                </a:cubicBezTo>
                <a:close/>
                <a:moveTo>
                  <a:pt x="16526116" y="3940173"/>
                </a:moveTo>
                <a:cubicBezTo>
                  <a:pt x="16526116" y="3970916"/>
                  <a:pt x="16507670" y="3970916"/>
                  <a:pt x="16489224" y="3970916"/>
                </a:cubicBezTo>
                <a:cubicBezTo>
                  <a:pt x="16489224" y="3934026"/>
                  <a:pt x="16507670" y="3940173"/>
                  <a:pt x="16526116" y="3940173"/>
                </a:cubicBezTo>
                <a:close/>
                <a:moveTo>
                  <a:pt x="19526372" y="3940172"/>
                </a:moveTo>
                <a:cubicBezTo>
                  <a:pt x="19526372" y="3970916"/>
                  <a:pt x="19501780" y="3970916"/>
                  <a:pt x="19489480" y="3970916"/>
                </a:cubicBezTo>
                <a:cubicBezTo>
                  <a:pt x="19489480" y="3934025"/>
                  <a:pt x="19507928" y="3940172"/>
                  <a:pt x="19526372" y="3940172"/>
                </a:cubicBezTo>
                <a:close/>
                <a:moveTo>
                  <a:pt x="13460727" y="3938769"/>
                </a:moveTo>
                <a:cubicBezTo>
                  <a:pt x="13473495" y="3952310"/>
                  <a:pt x="13478815" y="3965856"/>
                  <a:pt x="13492647" y="3985036"/>
                </a:cubicBezTo>
                <a:cubicBezTo>
                  <a:pt x="13473495" y="3979396"/>
                  <a:pt x="13441575" y="3972623"/>
                  <a:pt x="13460727" y="3938769"/>
                </a:cubicBezTo>
                <a:close/>
                <a:moveTo>
                  <a:pt x="19735948" y="3938767"/>
                </a:moveTo>
                <a:cubicBezTo>
                  <a:pt x="19747920" y="3938767"/>
                  <a:pt x="19753908" y="3951608"/>
                  <a:pt x="19753908" y="3970875"/>
                </a:cubicBezTo>
                <a:cubicBezTo>
                  <a:pt x="19741932" y="3970875"/>
                  <a:pt x="19735948" y="3958031"/>
                  <a:pt x="19735948" y="3938767"/>
                </a:cubicBezTo>
                <a:close/>
                <a:moveTo>
                  <a:pt x="14881456" y="3938767"/>
                </a:moveTo>
                <a:cubicBezTo>
                  <a:pt x="14881456" y="3958031"/>
                  <a:pt x="14875469" y="3970875"/>
                  <a:pt x="14863494" y="3970875"/>
                </a:cubicBezTo>
                <a:cubicBezTo>
                  <a:pt x="14863494" y="3951608"/>
                  <a:pt x="14869481" y="3938767"/>
                  <a:pt x="14881456" y="3938767"/>
                </a:cubicBezTo>
                <a:close/>
                <a:moveTo>
                  <a:pt x="10133238" y="3938767"/>
                </a:moveTo>
                <a:cubicBezTo>
                  <a:pt x="10145213" y="3938767"/>
                  <a:pt x="10151200" y="3945188"/>
                  <a:pt x="10151200" y="3970875"/>
                </a:cubicBezTo>
                <a:cubicBezTo>
                  <a:pt x="10139225" y="3970875"/>
                  <a:pt x="10133238" y="3958031"/>
                  <a:pt x="10133238" y="3938767"/>
                </a:cubicBezTo>
                <a:close/>
                <a:moveTo>
                  <a:pt x="15625454" y="3938765"/>
                </a:moveTo>
                <a:cubicBezTo>
                  <a:pt x="15625454" y="3957378"/>
                  <a:pt x="15625454" y="3994609"/>
                  <a:pt x="15604980" y="3994609"/>
                </a:cubicBezTo>
                <a:cubicBezTo>
                  <a:pt x="15604980" y="3969789"/>
                  <a:pt x="15598154" y="3938765"/>
                  <a:pt x="15625454" y="3938765"/>
                </a:cubicBezTo>
                <a:close/>
                <a:moveTo>
                  <a:pt x="14925110" y="3938765"/>
                </a:moveTo>
                <a:cubicBezTo>
                  <a:pt x="14936696" y="3938765"/>
                  <a:pt x="14949335" y="3944969"/>
                  <a:pt x="14961974" y="3951175"/>
                </a:cubicBezTo>
                <a:cubicBezTo>
                  <a:pt x="14949335" y="3963581"/>
                  <a:pt x="14936696" y="3975994"/>
                  <a:pt x="14925110" y="3994609"/>
                </a:cubicBezTo>
                <a:cubicBezTo>
                  <a:pt x="14925110" y="3975994"/>
                  <a:pt x="14925110" y="3957378"/>
                  <a:pt x="14925110" y="3938765"/>
                </a:cubicBezTo>
                <a:close/>
                <a:moveTo>
                  <a:pt x="13941227" y="3936396"/>
                </a:moveTo>
                <a:cubicBezTo>
                  <a:pt x="13952861" y="3934737"/>
                  <a:pt x="13966822" y="3939713"/>
                  <a:pt x="13976130" y="3939713"/>
                </a:cubicBezTo>
                <a:cubicBezTo>
                  <a:pt x="13976130" y="3985057"/>
                  <a:pt x="13938901" y="3972892"/>
                  <a:pt x="13920286" y="3972892"/>
                </a:cubicBezTo>
                <a:cubicBezTo>
                  <a:pt x="13920286" y="3946349"/>
                  <a:pt x="13929593" y="3938054"/>
                  <a:pt x="13941227" y="3936396"/>
                </a:cubicBezTo>
                <a:close/>
                <a:moveTo>
                  <a:pt x="12242336" y="3936380"/>
                </a:moveTo>
                <a:lnTo>
                  <a:pt x="12239842" y="3940774"/>
                </a:lnTo>
                <a:lnTo>
                  <a:pt x="12227107" y="3941563"/>
                </a:lnTo>
                <a:lnTo>
                  <a:pt x="12237603" y="3937073"/>
                </a:lnTo>
                <a:close/>
                <a:moveTo>
                  <a:pt x="10939187" y="3929286"/>
                </a:moveTo>
                <a:cubicBezTo>
                  <a:pt x="10945571" y="3929286"/>
                  <a:pt x="10958339" y="3929286"/>
                  <a:pt x="10971107" y="3929286"/>
                </a:cubicBezTo>
                <a:cubicBezTo>
                  <a:pt x="10964723" y="3954755"/>
                  <a:pt x="10964723" y="3973855"/>
                  <a:pt x="10964723" y="3999323"/>
                </a:cubicBezTo>
                <a:cubicBezTo>
                  <a:pt x="10945571" y="3999323"/>
                  <a:pt x="10932803" y="3999323"/>
                  <a:pt x="10920035" y="3999323"/>
                </a:cubicBezTo>
                <a:cubicBezTo>
                  <a:pt x="10926419" y="3973855"/>
                  <a:pt x="10932803" y="3954755"/>
                  <a:pt x="10939187" y="3929286"/>
                </a:cubicBezTo>
                <a:close/>
                <a:moveTo>
                  <a:pt x="13184670" y="3919831"/>
                </a:moveTo>
                <a:cubicBezTo>
                  <a:pt x="13197575" y="3919831"/>
                  <a:pt x="13255648" y="3919831"/>
                  <a:pt x="13229838" y="3952146"/>
                </a:cubicBezTo>
                <a:cubicBezTo>
                  <a:pt x="13197575" y="3989846"/>
                  <a:pt x="13152407" y="3997390"/>
                  <a:pt x="13107238" y="4009238"/>
                </a:cubicBezTo>
                <a:cubicBezTo>
                  <a:pt x="12985714" y="4041556"/>
                  <a:pt x="12863114" y="4054482"/>
                  <a:pt x="12741590" y="4060945"/>
                </a:cubicBezTo>
                <a:cubicBezTo>
                  <a:pt x="12677064" y="4060945"/>
                  <a:pt x="12607160" y="4054482"/>
                  <a:pt x="12542634" y="4060945"/>
                </a:cubicBezTo>
                <a:cubicBezTo>
                  <a:pt x="12523276" y="4060945"/>
                  <a:pt x="12523276" y="4086799"/>
                  <a:pt x="12510371" y="4106189"/>
                </a:cubicBezTo>
                <a:cubicBezTo>
                  <a:pt x="12497466" y="4125578"/>
                  <a:pt x="12465203" y="4112651"/>
                  <a:pt x="12452298" y="4112651"/>
                </a:cubicBezTo>
                <a:cubicBezTo>
                  <a:pt x="12324321" y="4119116"/>
                  <a:pt x="12196344" y="4132041"/>
                  <a:pt x="12073744" y="4164358"/>
                </a:cubicBezTo>
                <a:cubicBezTo>
                  <a:pt x="11817790" y="4213802"/>
                  <a:pt x="11573666" y="4297825"/>
                  <a:pt x="11323089" y="4393697"/>
                </a:cubicBezTo>
                <a:cubicBezTo>
                  <a:pt x="11201565" y="4438940"/>
                  <a:pt x="11078965" y="4490646"/>
                  <a:pt x="10957441" y="4535889"/>
                </a:cubicBezTo>
                <a:cubicBezTo>
                  <a:pt x="10931630" y="4548816"/>
                  <a:pt x="10899367" y="4561742"/>
                  <a:pt x="10867104" y="4581132"/>
                </a:cubicBezTo>
                <a:cubicBezTo>
                  <a:pt x="10847746" y="4587595"/>
                  <a:pt x="10821936" y="4605908"/>
                  <a:pt x="10809031" y="4587595"/>
                </a:cubicBezTo>
                <a:cubicBezTo>
                  <a:pt x="10777843" y="4561742"/>
                  <a:pt x="10809031" y="4490646"/>
                  <a:pt x="10816559" y="4458330"/>
                </a:cubicBezTo>
                <a:cubicBezTo>
                  <a:pt x="10844789" y="4482567"/>
                  <a:pt x="10869994" y="4470448"/>
                  <a:pt x="10883555" y="4435607"/>
                </a:cubicBezTo>
                <a:lnTo>
                  <a:pt x="10892077" y="4397451"/>
                </a:lnTo>
                <a:lnTo>
                  <a:pt x="10891595" y="4396383"/>
                </a:lnTo>
                <a:lnTo>
                  <a:pt x="10892628" y="4394984"/>
                </a:lnTo>
                <a:lnTo>
                  <a:pt x="10892915" y="4393697"/>
                </a:lnTo>
                <a:lnTo>
                  <a:pt x="10893270" y="4394113"/>
                </a:lnTo>
                <a:lnTo>
                  <a:pt x="10898330" y="4387259"/>
                </a:lnTo>
                <a:cubicBezTo>
                  <a:pt x="10900576" y="4387259"/>
                  <a:pt x="10903570" y="4390300"/>
                  <a:pt x="10909557" y="4396383"/>
                </a:cubicBezTo>
                <a:lnTo>
                  <a:pt x="10902831" y="4405328"/>
                </a:lnTo>
                <a:lnTo>
                  <a:pt x="10904711" y="4407532"/>
                </a:lnTo>
                <a:cubicBezTo>
                  <a:pt x="10918322" y="4416318"/>
                  <a:pt x="10936469" y="4411471"/>
                  <a:pt x="10950988" y="4406623"/>
                </a:cubicBezTo>
                <a:cubicBezTo>
                  <a:pt x="10976799" y="4400160"/>
                  <a:pt x="11009062" y="4400160"/>
                  <a:pt x="11033797" y="4393697"/>
                </a:cubicBezTo>
                <a:cubicBezTo>
                  <a:pt x="11027344" y="4381847"/>
                  <a:pt x="11027344" y="4349531"/>
                  <a:pt x="11014439" y="4349531"/>
                </a:cubicBezTo>
                <a:cubicBezTo>
                  <a:pt x="10996157" y="4343068"/>
                  <a:pt x="10970346" y="4362457"/>
                  <a:pt x="10950988" y="4375384"/>
                </a:cubicBezTo>
                <a:cubicBezTo>
                  <a:pt x="10912273" y="4406623"/>
                  <a:pt x="10892915" y="4368921"/>
                  <a:pt x="10867104" y="4330141"/>
                </a:cubicBezTo>
                <a:cubicBezTo>
                  <a:pt x="11252110" y="4183748"/>
                  <a:pt x="11638192" y="4009238"/>
                  <a:pt x="12036104" y="4009238"/>
                </a:cubicBezTo>
                <a:cubicBezTo>
                  <a:pt x="11868336" y="4060945"/>
                  <a:pt x="11708096" y="4132041"/>
                  <a:pt x="11547856" y="4195489"/>
                </a:cubicBezTo>
                <a:cubicBezTo>
                  <a:pt x="11463971" y="4220265"/>
                  <a:pt x="11387615" y="4246118"/>
                  <a:pt x="11310184" y="4265508"/>
                </a:cubicBezTo>
                <a:cubicBezTo>
                  <a:pt x="11265016" y="4271971"/>
                  <a:pt x="11227375" y="4278435"/>
                  <a:pt x="11188660" y="4284898"/>
                </a:cubicBezTo>
                <a:cubicBezTo>
                  <a:pt x="11169302" y="4284898"/>
                  <a:pt x="11149944" y="4284898"/>
                  <a:pt x="11130586" y="4284898"/>
                </a:cubicBezTo>
                <a:cubicBezTo>
                  <a:pt x="11117681" y="4304288"/>
                  <a:pt x="11104776" y="4330141"/>
                  <a:pt x="11091870" y="4349531"/>
                </a:cubicBezTo>
                <a:cubicBezTo>
                  <a:pt x="11219847" y="4323678"/>
                  <a:pt x="11348900" y="4291361"/>
                  <a:pt x="11476877" y="4265508"/>
                </a:cubicBezTo>
                <a:cubicBezTo>
                  <a:pt x="11534950" y="4252582"/>
                  <a:pt x="11593024" y="4220265"/>
                  <a:pt x="11650022" y="4195489"/>
                </a:cubicBezTo>
                <a:cubicBezTo>
                  <a:pt x="11708096" y="4177284"/>
                  <a:pt x="11766169" y="4157895"/>
                  <a:pt x="11824243" y="4138506"/>
                </a:cubicBezTo>
                <a:cubicBezTo>
                  <a:pt x="11945767" y="4099726"/>
                  <a:pt x="12073744" y="4067409"/>
                  <a:pt x="12196344" y="4048019"/>
                </a:cubicBezTo>
                <a:cubicBezTo>
                  <a:pt x="12259794" y="4035093"/>
                  <a:pt x="12324321" y="4022165"/>
                  <a:pt x="12382394" y="4015703"/>
                </a:cubicBezTo>
                <a:cubicBezTo>
                  <a:pt x="12434015" y="4009238"/>
                  <a:pt x="12484561" y="4015703"/>
                  <a:pt x="12529729" y="3971537"/>
                </a:cubicBezTo>
                <a:cubicBezTo>
                  <a:pt x="12748043" y="3952146"/>
                  <a:pt x="12966356" y="3926293"/>
                  <a:pt x="13184670" y="3919831"/>
                </a:cubicBezTo>
                <a:close/>
                <a:moveTo>
                  <a:pt x="14203682" y="3919806"/>
                </a:moveTo>
                <a:cubicBezTo>
                  <a:pt x="14216909" y="3919806"/>
                  <a:pt x="14230136" y="3932578"/>
                  <a:pt x="14236750" y="3938958"/>
                </a:cubicBezTo>
                <a:cubicBezTo>
                  <a:pt x="14223523" y="3951727"/>
                  <a:pt x="14203682" y="3958111"/>
                  <a:pt x="14190455" y="3970880"/>
                </a:cubicBezTo>
                <a:cubicBezTo>
                  <a:pt x="14190455" y="3951727"/>
                  <a:pt x="14197069" y="3932578"/>
                  <a:pt x="14203682" y="3919806"/>
                </a:cubicBezTo>
                <a:close/>
                <a:moveTo>
                  <a:pt x="13443216" y="3919332"/>
                </a:moveTo>
                <a:cubicBezTo>
                  <a:pt x="13444856" y="3916772"/>
                  <a:pt x="13448138" y="3918477"/>
                  <a:pt x="13454700" y="3921891"/>
                </a:cubicBezTo>
                <a:cubicBezTo>
                  <a:pt x="13448138" y="3928714"/>
                  <a:pt x="13441575" y="3935542"/>
                  <a:pt x="13441575" y="3942365"/>
                </a:cubicBezTo>
                <a:cubicBezTo>
                  <a:pt x="13441575" y="3928714"/>
                  <a:pt x="13441575" y="3921891"/>
                  <a:pt x="13443216" y="3919332"/>
                </a:cubicBezTo>
                <a:close/>
                <a:moveTo>
                  <a:pt x="13860136" y="3910327"/>
                </a:moveTo>
                <a:cubicBezTo>
                  <a:pt x="13866610" y="3923040"/>
                  <a:pt x="13879557" y="3935754"/>
                  <a:pt x="13886031" y="3954824"/>
                </a:cubicBezTo>
                <a:cubicBezTo>
                  <a:pt x="13860136" y="3999323"/>
                  <a:pt x="13814819" y="3991909"/>
                  <a:pt x="13782451" y="3991909"/>
                </a:cubicBezTo>
                <a:cubicBezTo>
                  <a:pt x="13724187" y="3991909"/>
                  <a:pt x="13673475" y="3991909"/>
                  <a:pt x="13621685" y="3999323"/>
                </a:cubicBezTo>
                <a:cubicBezTo>
                  <a:pt x="13621685" y="3980253"/>
                  <a:pt x="13621685" y="3961181"/>
                  <a:pt x="13621685" y="3942111"/>
                </a:cubicBezTo>
                <a:cubicBezTo>
                  <a:pt x="13634633" y="3935754"/>
                  <a:pt x="13641106" y="3935754"/>
                  <a:pt x="13654054" y="3935754"/>
                </a:cubicBezTo>
                <a:cubicBezTo>
                  <a:pt x="13673475" y="3935754"/>
                  <a:pt x="13692897" y="3935754"/>
                  <a:pt x="13711239" y="3935754"/>
                </a:cubicBezTo>
                <a:cubicBezTo>
                  <a:pt x="13756555" y="3929396"/>
                  <a:pt x="13801872" y="3929396"/>
                  <a:pt x="13853662" y="3923040"/>
                </a:cubicBezTo>
                <a:cubicBezTo>
                  <a:pt x="13853662" y="3916684"/>
                  <a:pt x="13853662" y="3910327"/>
                  <a:pt x="13860136" y="3910327"/>
                </a:cubicBezTo>
                <a:close/>
                <a:moveTo>
                  <a:pt x="10171155" y="3910325"/>
                </a:moveTo>
                <a:cubicBezTo>
                  <a:pt x="10183130" y="3910325"/>
                  <a:pt x="10189117" y="3923168"/>
                  <a:pt x="10189117" y="3942433"/>
                </a:cubicBezTo>
                <a:cubicBezTo>
                  <a:pt x="10177142" y="3942433"/>
                  <a:pt x="10171155" y="3929588"/>
                  <a:pt x="10171155" y="3910325"/>
                </a:cubicBezTo>
                <a:close/>
                <a:moveTo>
                  <a:pt x="16710998" y="3910324"/>
                </a:moveTo>
                <a:cubicBezTo>
                  <a:pt x="16710998" y="3929586"/>
                  <a:pt x="16705010" y="3942432"/>
                  <a:pt x="16693034" y="3942432"/>
                </a:cubicBezTo>
                <a:cubicBezTo>
                  <a:pt x="16693034" y="3916745"/>
                  <a:pt x="16699022" y="3910324"/>
                  <a:pt x="16710998" y="3910324"/>
                </a:cubicBezTo>
                <a:close/>
                <a:moveTo>
                  <a:pt x="16659854" y="3910324"/>
                </a:moveTo>
                <a:cubicBezTo>
                  <a:pt x="16671828" y="3910324"/>
                  <a:pt x="16677816" y="3916745"/>
                  <a:pt x="16677816" y="3942432"/>
                </a:cubicBezTo>
                <a:cubicBezTo>
                  <a:pt x="16665840" y="3942432"/>
                  <a:pt x="16659854" y="3929586"/>
                  <a:pt x="16659854" y="3910324"/>
                </a:cubicBezTo>
                <a:close/>
                <a:moveTo>
                  <a:pt x="13298330" y="3910324"/>
                </a:moveTo>
                <a:cubicBezTo>
                  <a:pt x="13298330" y="3929587"/>
                  <a:pt x="13292010" y="3942433"/>
                  <a:pt x="13280423" y="3942433"/>
                </a:cubicBezTo>
                <a:cubicBezTo>
                  <a:pt x="13280423" y="3923167"/>
                  <a:pt x="13286743" y="3910324"/>
                  <a:pt x="13298330" y="3910324"/>
                </a:cubicBezTo>
                <a:close/>
                <a:moveTo>
                  <a:pt x="11734271" y="3910324"/>
                </a:moveTo>
                <a:cubicBezTo>
                  <a:pt x="11734271" y="3929588"/>
                  <a:pt x="11728284" y="3942433"/>
                  <a:pt x="11716309" y="3942433"/>
                </a:cubicBezTo>
                <a:cubicBezTo>
                  <a:pt x="11716309" y="3916746"/>
                  <a:pt x="11722296" y="3910324"/>
                  <a:pt x="11734271" y="3910324"/>
                </a:cubicBezTo>
                <a:close/>
                <a:moveTo>
                  <a:pt x="19579536" y="3910323"/>
                </a:moveTo>
                <a:cubicBezTo>
                  <a:pt x="19591508" y="3910323"/>
                  <a:pt x="19597496" y="3916744"/>
                  <a:pt x="19597496" y="3942431"/>
                </a:cubicBezTo>
                <a:cubicBezTo>
                  <a:pt x="19585524" y="3942431"/>
                  <a:pt x="19579536" y="3929586"/>
                  <a:pt x="19579536" y="3910323"/>
                </a:cubicBezTo>
                <a:close/>
                <a:moveTo>
                  <a:pt x="19451560" y="3910323"/>
                </a:moveTo>
                <a:cubicBezTo>
                  <a:pt x="19463148" y="3910323"/>
                  <a:pt x="19469468" y="3923166"/>
                  <a:pt x="19469468" y="3942431"/>
                </a:cubicBezTo>
                <a:cubicBezTo>
                  <a:pt x="19456828" y="3942431"/>
                  <a:pt x="19451560" y="3929586"/>
                  <a:pt x="19451560" y="3910323"/>
                </a:cubicBezTo>
                <a:close/>
                <a:moveTo>
                  <a:pt x="17375560" y="3910323"/>
                </a:moveTo>
                <a:cubicBezTo>
                  <a:pt x="17387856" y="3910323"/>
                  <a:pt x="17399128" y="3910323"/>
                  <a:pt x="17412452" y="3910323"/>
                </a:cubicBezTo>
                <a:cubicBezTo>
                  <a:pt x="17412452" y="3916745"/>
                  <a:pt x="17412452" y="3929586"/>
                  <a:pt x="17412452" y="3942432"/>
                </a:cubicBezTo>
                <a:cubicBezTo>
                  <a:pt x="17399128" y="3942432"/>
                  <a:pt x="17387856" y="3942432"/>
                  <a:pt x="17375560" y="3942432"/>
                </a:cubicBezTo>
                <a:cubicBezTo>
                  <a:pt x="17375560" y="3929586"/>
                  <a:pt x="17375560" y="3916745"/>
                  <a:pt x="17375560" y="3910323"/>
                </a:cubicBezTo>
                <a:close/>
                <a:moveTo>
                  <a:pt x="9711990" y="3908169"/>
                </a:moveTo>
                <a:cubicBezTo>
                  <a:pt x="9711990" y="3927511"/>
                  <a:pt x="9718439" y="3940409"/>
                  <a:pt x="9731335" y="3940409"/>
                </a:cubicBezTo>
                <a:cubicBezTo>
                  <a:pt x="9731335" y="3921065"/>
                  <a:pt x="9724887" y="3908169"/>
                  <a:pt x="9711990" y="3908169"/>
                </a:cubicBezTo>
                <a:close/>
                <a:moveTo>
                  <a:pt x="14696577" y="3907457"/>
                </a:moveTo>
                <a:cubicBezTo>
                  <a:pt x="14696577" y="3947139"/>
                  <a:pt x="14671982" y="3940525"/>
                  <a:pt x="14659685" y="3940525"/>
                </a:cubicBezTo>
                <a:cubicBezTo>
                  <a:pt x="14659685" y="3900843"/>
                  <a:pt x="14678131" y="3907457"/>
                  <a:pt x="14696577" y="3907457"/>
                </a:cubicBezTo>
                <a:close/>
                <a:moveTo>
                  <a:pt x="19034468" y="3906992"/>
                </a:moveTo>
                <a:cubicBezTo>
                  <a:pt x="19053424" y="3906992"/>
                  <a:pt x="19071332" y="3900843"/>
                  <a:pt x="19071332" y="3937736"/>
                </a:cubicBezTo>
                <a:cubicBezTo>
                  <a:pt x="19058692" y="3937736"/>
                  <a:pt x="19034468" y="3937736"/>
                  <a:pt x="19034468" y="3906992"/>
                </a:cubicBezTo>
                <a:close/>
                <a:moveTo>
                  <a:pt x="15364180" y="3890681"/>
                </a:moveTo>
                <a:cubicBezTo>
                  <a:pt x="15386718" y="3889888"/>
                  <a:pt x="15409256" y="3893067"/>
                  <a:pt x="15428808" y="3908982"/>
                </a:cubicBezTo>
                <a:cubicBezTo>
                  <a:pt x="15454876" y="3921714"/>
                  <a:pt x="15402738" y="3947181"/>
                  <a:pt x="15396222" y="3947181"/>
                </a:cubicBezTo>
                <a:cubicBezTo>
                  <a:pt x="15370154" y="3947181"/>
                  <a:pt x="15344084" y="3940814"/>
                  <a:pt x="15319102" y="3940814"/>
                </a:cubicBezTo>
                <a:cubicBezTo>
                  <a:pt x="15312586" y="3921714"/>
                  <a:pt x="15306068" y="3908982"/>
                  <a:pt x="15299550" y="3896249"/>
                </a:cubicBezTo>
                <a:cubicBezTo>
                  <a:pt x="15319102" y="3896249"/>
                  <a:pt x="15341640" y="3891475"/>
                  <a:pt x="15364180" y="3890681"/>
                </a:cubicBezTo>
                <a:close/>
                <a:moveTo>
                  <a:pt x="10209271" y="3877149"/>
                </a:moveTo>
                <a:cubicBezTo>
                  <a:pt x="10227046" y="3877149"/>
                  <a:pt x="10227046" y="3916312"/>
                  <a:pt x="10227046" y="3942420"/>
                </a:cubicBezTo>
                <a:cubicBezTo>
                  <a:pt x="10204334" y="3942420"/>
                  <a:pt x="10209271" y="3903258"/>
                  <a:pt x="10209271" y="3877149"/>
                </a:cubicBezTo>
                <a:close/>
                <a:moveTo>
                  <a:pt x="13393180" y="3877148"/>
                </a:moveTo>
                <a:cubicBezTo>
                  <a:pt x="13393180" y="3903258"/>
                  <a:pt x="13393180" y="3942419"/>
                  <a:pt x="13375218" y="3942419"/>
                </a:cubicBezTo>
                <a:cubicBezTo>
                  <a:pt x="13375218" y="3916311"/>
                  <a:pt x="13375218" y="3877148"/>
                  <a:pt x="13393180" y="3877148"/>
                </a:cubicBezTo>
                <a:close/>
                <a:moveTo>
                  <a:pt x="13806534" y="3877147"/>
                </a:moveTo>
                <a:cubicBezTo>
                  <a:pt x="13819761" y="3883296"/>
                  <a:pt x="13832988" y="3889449"/>
                  <a:pt x="13852829" y="3889449"/>
                </a:cubicBezTo>
                <a:cubicBezTo>
                  <a:pt x="13839602" y="3901742"/>
                  <a:pt x="13806534" y="3914039"/>
                  <a:pt x="13806534" y="3877147"/>
                </a:cubicBezTo>
                <a:close/>
                <a:moveTo>
                  <a:pt x="13659603" y="3877147"/>
                </a:moveTo>
                <a:cubicBezTo>
                  <a:pt x="13671578" y="3877147"/>
                  <a:pt x="13677565" y="3883567"/>
                  <a:pt x="13677565" y="3909253"/>
                </a:cubicBezTo>
                <a:cubicBezTo>
                  <a:pt x="13665590" y="3909253"/>
                  <a:pt x="13659603" y="3902832"/>
                  <a:pt x="13659603" y="3877147"/>
                </a:cubicBezTo>
                <a:close/>
                <a:moveTo>
                  <a:pt x="11792144" y="3877147"/>
                </a:moveTo>
                <a:cubicBezTo>
                  <a:pt x="11804119" y="3877147"/>
                  <a:pt x="11810106" y="3883567"/>
                  <a:pt x="11810106" y="3909253"/>
                </a:cubicBezTo>
                <a:cubicBezTo>
                  <a:pt x="11798131" y="3909253"/>
                  <a:pt x="11792144" y="3902832"/>
                  <a:pt x="11792144" y="3877147"/>
                </a:cubicBezTo>
                <a:close/>
                <a:moveTo>
                  <a:pt x="20014596" y="3877146"/>
                </a:moveTo>
                <a:cubicBezTo>
                  <a:pt x="20014596" y="3902831"/>
                  <a:pt x="20008608" y="3909252"/>
                  <a:pt x="19996632" y="3909252"/>
                </a:cubicBezTo>
                <a:cubicBezTo>
                  <a:pt x="19996632" y="3883566"/>
                  <a:pt x="20002620" y="3877146"/>
                  <a:pt x="20014596" y="3877146"/>
                </a:cubicBezTo>
                <a:close/>
                <a:moveTo>
                  <a:pt x="19564320" y="3877146"/>
                </a:moveTo>
                <a:cubicBezTo>
                  <a:pt x="19564320" y="3902831"/>
                  <a:pt x="19558332" y="3909253"/>
                  <a:pt x="19546356" y="3909253"/>
                </a:cubicBezTo>
                <a:cubicBezTo>
                  <a:pt x="19546356" y="3883566"/>
                  <a:pt x="19552344" y="3877146"/>
                  <a:pt x="19564320" y="3877146"/>
                </a:cubicBezTo>
                <a:close/>
                <a:moveTo>
                  <a:pt x="11051722" y="3874280"/>
                </a:moveTo>
                <a:cubicBezTo>
                  <a:pt x="11051722" y="3913961"/>
                  <a:pt x="11033276" y="3907348"/>
                  <a:pt x="11014830" y="3907348"/>
                </a:cubicBezTo>
                <a:cubicBezTo>
                  <a:pt x="11014830" y="3867666"/>
                  <a:pt x="11039425" y="3874280"/>
                  <a:pt x="11051722" y="3874280"/>
                </a:cubicBezTo>
                <a:close/>
                <a:moveTo>
                  <a:pt x="18615336" y="3873366"/>
                </a:moveTo>
                <a:lnTo>
                  <a:pt x="18616408" y="3875546"/>
                </a:lnTo>
                <a:cubicBezTo>
                  <a:pt x="18617828" y="3878439"/>
                  <a:pt x="18618536" y="3879886"/>
                  <a:pt x="18617472" y="3877715"/>
                </a:cubicBezTo>
                <a:close/>
                <a:moveTo>
                  <a:pt x="20396188" y="3864633"/>
                </a:moveTo>
                <a:cubicBezTo>
                  <a:pt x="20428572" y="3858203"/>
                  <a:pt x="20454484" y="3883920"/>
                  <a:pt x="20480392" y="3916069"/>
                </a:cubicBezTo>
                <a:cubicBezTo>
                  <a:pt x="20489568" y="3932144"/>
                  <a:pt x="20502252" y="3946610"/>
                  <a:pt x="20514264" y="3962547"/>
                </a:cubicBezTo>
                <a:lnTo>
                  <a:pt x="20542032" y="4014060"/>
                </a:lnTo>
                <a:lnTo>
                  <a:pt x="20543344" y="3997137"/>
                </a:lnTo>
                <a:cubicBezTo>
                  <a:pt x="20544984" y="3993123"/>
                  <a:pt x="20548264" y="3993123"/>
                  <a:pt x="20554828" y="4000079"/>
                </a:cubicBezTo>
                <a:cubicBezTo>
                  <a:pt x="20551548" y="4002756"/>
                  <a:pt x="20549908" y="4004093"/>
                  <a:pt x="20548264" y="4006367"/>
                </a:cubicBezTo>
                <a:lnTo>
                  <a:pt x="20543016" y="4015889"/>
                </a:lnTo>
                <a:lnTo>
                  <a:pt x="20544084" y="4017869"/>
                </a:lnTo>
                <a:cubicBezTo>
                  <a:pt x="20641244" y="4120742"/>
                  <a:pt x="20737324" y="4221376"/>
                  <a:pt x="20834484" y="4317819"/>
                </a:cubicBezTo>
                <a:cubicBezTo>
                  <a:pt x="20808576" y="4349967"/>
                  <a:pt x="20782668" y="4298530"/>
                  <a:pt x="20763236" y="4285671"/>
                </a:cubicBezTo>
                <a:cubicBezTo>
                  <a:pt x="20730848" y="4247094"/>
                  <a:pt x="20699540" y="4221376"/>
                  <a:pt x="20667156" y="4190300"/>
                </a:cubicBezTo>
                <a:cubicBezTo>
                  <a:pt x="20595904" y="4120742"/>
                  <a:pt x="20518176" y="4050018"/>
                  <a:pt x="20448004" y="3980365"/>
                </a:cubicBezTo>
                <a:cubicBezTo>
                  <a:pt x="20435052" y="3967506"/>
                  <a:pt x="20337892" y="3877492"/>
                  <a:pt x="20396188" y="3864633"/>
                </a:cubicBezTo>
                <a:close/>
                <a:moveTo>
                  <a:pt x="17478732" y="3848707"/>
                </a:moveTo>
                <a:cubicBezTo>
                  <a:pt x="17472116" y="3874134"/>
                  <a:pt x="17472116" y="3905917"/>
                  <a:pt x="17472116" y="3937701"/>
                </a:cubicBezTo>
                <a:cubicBezTo>
                  <a:pt x="17458892" y="3918629"/>
                  <a:pt x="17445664" y="3905917"/>
                  <a:pt x="17432436" y="3886845"/>
                </a:cubicBezTo>
                <a:cubicBezTo>
                  <a:pt x="17445664" y="3874134"/>
                  <a:pt x="17465504" y="3861420"/>
                  <a:pt x="17478732" y="3848707"/>
                </a:cubicBezTo>
                <a:close/>
                <a:moveTo>
                  <a:pt x="10507676" y="3843969"/>
                </a:moveTo>
                <a:cubicBezTo>
                  <a:pt x="10520457" y="3843969"/>
                  <a:pt x="10525783" y="3843969"/>
                  <a:pt x="10538564" y="3843969"/>
                </a:cubicBezTo>
                <a:cubicBezTo>
                  <a:pt x="10557736" y="3843969"/>
                  <a:pt x="10576908" y="3843969"/>
                  <a:pt x="10601406" y="3843969"/>
                </a:cubicBezTo>
                <a:cubicBezTo>
                  <a:pt x="10570518" y="3909239"/>
                  <a:pt x="10551346" y="3896185"/>
                  <a:pt x="10507676" y="3909239"/>
                </a:cubicBezTo>
                <a:cubicBezTo>
                  <a:pt x="10507676" y="3883129"/>
                  <a:pt x="10507676" y="3863550"/>
                  <a:pt x="10507676" y="3843969"/>
                </a:cubicBezTo>
                <a:close/>
                <a:moveTo>
                  <a:pt x="16710998" y="3843968"/>
                </a:moveTo>
                <a:cubicBezTo>
                  <a:pt x="16710998" y="3869654"/>
                  <a:pt x="16705010" y="3876075"/>
                  <a:pt x="16693034" y="3876075"/>
                </a:cubicBezTo>
                <a:cubicBezTo>
                  <a:pt x="16693034" y="3856811"/>
                  <a:pt x="16699022" y="3843968"/>
                  <a:pt x="16710998" y="3843968"/>
                </a:cubicBezTo>
                <a:close/>
                <a:moveTo>
                  <a:pt x="11090665" y="3843968"/>
                </a:moveTo>
                <a:cubicBezTo>
                  <a:pt x="11102962" y="3843968"/>
                  <a:pt x="11115260" y="3843968"/>
                  <a:pt x="11127557" y="3843968"/>
                </a:cubicBezTo>
                <a:cubicBezTo>
                  <a:pt x="11127557" y="3856811"/>
                  <a:pt x="11127557" y="3869654"/>
                  <a:pt x="11127557" y="3876075"/>
                </a:cubicBezTo>
                <a:cubicBezTo>
                  <a:pt x="11115260" y="3876075"/>
                  <a:pt x="11102962" y="3876075"/>
                  <a:pt x="11090665" y="3876075"/>
                </a:cubicBezTo>
                <a:cubicBezTo>
                  <a:pt x="11090665" y="3869654"/>
                  <a:pt x="11090665" y="3856811"/>
                  <a:pt x="11090665" y="3843968"/>
                </a:cubicBezTo>
                <a:close/>
                <a:moveTo>
                  <a:pt x="19110300" y="3843967"/>
                </a:moveTo>
                <a:cubicBezTo>
                  <a:pt x="19128916" y="3850388"/>
                  <a:pt x="19147532" y="3856810"/>
                  <a:pt x="19166144" y="3856810"/>
                </a:cubicBezTo>
                <a:cubicBezTo>
                  <a:pt x="19147532" y="3876075"/>
                  <a:pt x="19128916" y="3876075"/>
                  <a:pt x="19110300" y="3876075"/>
                </a:cubicBezTo>
                <a:cubicBezTo>
                  <a:pt x="19110300" y="3869653"/>
                  <a:pt x="19110300" y="3856810"/>
                  <a:pt x="19110300" y="3843967"/>
                </a:cubicBezTo>
                <a:close/>
                <a:moveTo>
                  <a:pt x="18924452" y="3843967"/>
                </a:moveTo>
                <a:cubicBezTo>
                  <a:pt x="18924452" y="3869654"/>
                  <a:pt x="18918464" y="3876075"/>
                  <a:pt x="18906492" y="3876075"/>
                </a:cubicBezTo>
                <a:cubicBezTo>
                  <a:pt x="18906492" y="3856811"/>
                  <a:pt x="18912476" y="3843967"/>
                  <a:pt x="18924452" y="3843967"/>
                </a:cubicBezTo>
                <a:close/>
                <a:moveTo>
                  <a:pt x="19477720" y="3827991"/>
                </a:moveTo>
                <a:cubicBezTo>
                  <a:pt x="19478540" y="3826496"/>
                  <a:pt x="19481824" y="3827991"/>
                  <a:pt x="19488388" y="3830993"/>
                </a:cubicBezTo>
                <a:cubicBezTo>
                  <a:pt x="19481824" y="3836978"/>
                  <a:pt x="19481824" y="3836978"/>
                  <a:pt x="19481824" y="3842965"/>
                </a:cubicBezTo>
                <a:cubicBezTo>
                  <a:pt x="19478540" y="3833985"/>
                  <a:pt x="19476900" y="3829490"/>
                  <a:pt x="19477720" y="3827991"/>
                </a:cubicBezTo>
                <a:close/>
                <a:moveTo>
                  <a:pt x="19294872" y="3820927"/>
                </a:moveTo>
                <a:cubicBezTo>
                  <a:pt x="19320944" y="3819253"/>
                  <a:pt x="19355708" y="3856933"/>
                  <a:pt x="19355708" y="3904526"/>
                </a:cubicBezTo>
                <a:cubicBezTo>
                  <a:pt x="19323924" y="3891836"/>
                  <a:pt x="19292140" y="3885488"/>
                  <a:pt x="19266712" y="3872797"/>
                </a:cubicBezTo>
                <a:cubicBezTo>
                  <a:pt x="19266712" y="3837102"/>
                  <a:pt x="19279228" y="3821930"/>
                  <a:pt x="19294872" y="3820927"/>
                </a:cubicBezTo>
                <a:close/>
                <a:moveTo>
                  <a:pt x="20298920" y="3812660"/>
                </a:moveTo>
                <a:cubicBezTo>
                  <a:pt x="20298920" y="3852342"/>
                  <a:pt x="20279964" y="3845728"/>
                  <a:pt x="20262056" y="3845728"/>
                </a:cubicBezTo>
                <a:cubicBezTo>
                  <a:pt x="20262056" y="3806049"/>
                  <a:pt x="20286280" y="3812660"/>
                  <a:pt x="20298920" y="3812660"/>
                </a:cubicBezTo>
                <a:close/>
                <a:moveTo>
                  <a:pt x="19906080" y="3811447"/>
                </a:moveTo>
                <a:cubicBezTo>
                  <a:pt x="19913300" y="3814753"/>
                  <a:pt x="19919724" y="3826325"/>
                  <a:pt x="19919724" y="3842863"/>
                </a:cubicBezTo>
                <a:cubicBezTo>
                  <a:pt x="19906880" y="3842863"/>
                  <a:pt x="19900460" y="3836249"/>
                  <a:pt x="19887620" y="3829633"/>
                </a:cubicBezTo>
                <a:cubicBezTo>
                  <a:pt x="19890828" y="3813101"/>
                  <a:pt x="19898856" y="3808141"/>
                  <a:pt x="19906080" y="3811447"/>
                </a:cubicBezTo>
                <a:close/>
                <a:moveTo>
                  <a:pt x="17342380" y="3810788"/>
                </a:moveTo>
                <a:cubicBezTo>
                  <a:pt x="17355148" y="3830373"/>
                  <a:pt x="17380684" y="3843424"/>
                  <a:pt x="17393452" y="3856477"/>
                </a:cubicBezTo>
                <a:cubicBezTo>
                  <a:pt x="17367916" y="3869531"/>
                  <a:pt x="17342380" y="3876057"/>
                  <a:pt x="17342380" y="3810788"/>
                </a:cubicBezTo>
                <a:close/>
                <a:moveTo>
                  <a:pt x="19020248" y="3810787"/>
                </a:moveTo>
                <a:cubicBezTo>
                  <a:pt x="19045024" y="3810787"/>
                  <a:pt x="19070876" y="3810787"/>
                  <a:pt x="19090268" y="3810787"/>
                </a:cubicBezTo>
                <a:cubicBezTo>
                  <a:pt x="19083804" y="3830373"/>
                  <a:pt x="19077340" y="3856477"/>
                  <a:pt x="19070876" y="3876057"/>
                </a:cubicBezTo>
                <a:cubicBezTo>
                  <a:pt x="19052564" y="3856477"/>
                  <a:pt x="19038560" y="3830373"/>
                  <a:pt x="19020248" y="3810787"/>
                </a:cubicBezTo>
                <a:close/>
                <a:moveTo>
                  <a:pt x="14204671" y="3810787"/>
                </a:moveTo>
                <a:cubicBezTo>
                  <a:pt x="14216646" y="3810787"/>
                  <a:pt x="14222633" y="3823628"/>
                  <a:pt x="14222633" y="3842894"/>
                </a:cubicBezTo>
                <a:cubicBezTo>
                  <a:pt x="14210658" y="3842894"/>
                  <a:pt x="14204671" y="3836473"/>
                  <a:pt x="14204671" y="3810787"/>
                </a:cubicBezTo>
                <a:close/>
                <a:moveTo>
                  <a:pt x="13862317" y="3810787"/>
                </a:moveTo>
                <a:cubicBezTo>
                  <a:pt x="13862317" y="3830053"/>
                  <a:pt x="13862317" y="3842894"/>
                  <a:pt x="13849192" y="3842894"/>
                </a:cubicBezTo>
                <a:cubicBezTo>
                  <a:pt x="13849192" y="3823628"/>
                  <a:pt x="13849192" y="3810787"/>
                  <a:pt x="13862317" y="3810787"/>
                </a:cubicBezTo>
                <a:close/>
                <a:moveTo>
                  <a:pt x="11189200" y="3810787"/>
                </a:moveTo>
                <a:cubicBezTo>
                  <a:pt x="11189200" y="3836473"/>
                  <a:pt x="11183213" y="3842894"/>
                  <a:pt x="11171238" y="3842894"/>
                </a:cubicBezTo>
                <a:cubicBezTo>
                  <a:pt x="11171238" y="3823628"/>
                  <a:pt x="11177225" y="3810787"/>
                  <a:pt x="11189200" y="3810787"/>
                </a:cubicBezTo>
                <a:close/>
                <a:moveTo>
                  <a:pt x="15108870" y="3810786"/>
                </a:moveTo>
                <a:cubicBezTo>
                  <a:pt x="15108870" y="3830053"/>
                  <a:pt x="15108870" y="3842893"/>
                  <a:pt x="15095742" y="3842893"/>
                </a:cubicBezTo>
                <a:cubicBezTo>
                  <a:pt x="15095742" y="3823627"/>
                  <a:pt x="15095742" y="3810786"/>
                  <a:pt x="15108870" y="3810786"/>
                </a:cubicBezTo>
                <a:close/>
                <a:moveTo>
                  <a:pt x="14811358" y="3806045"/>
                </a:moveTo>
                <a:cubicBezTo>
                  <a:pt x="14863496" y="3806045"/>
                  <a:pt x="14914548" y="3806045"/>
                  <a:pt x="14966686" y="3812193"/>
                </a:cubicBezTo>
                <a:cubicBezTo>
                  <a:pt x="14922151" y="3824490"/>
                  <a:pt x="14876530" y="3830644"/>
                  <a:pt x="14824392" y="3842937"/>
                </a:cubicBezTo>
                <a:cubicBezTo>
                  <a:pt x="14817875" y="3830644"/>
                  <a:pt x="14817875" y="3818342"/>
                  <a:pt x="14811358" y="3806045"/>
                </a:cubicBezTo>
                <a:close/>
                <a:moveTo>
                  <a:pt x="13142458" y="3804832"/>
                </a:moveTo>
                <a:cubicBezTo>
                  <a:pt x="13147069" y="3801528"/>
                  <a:pt x="13151681" y="3806489"/>
                  <a:pt x="13160904" y="3816408"/>
                </a:cubicBezTo>
                <a:cubicBezTo>
                  <a:pt x="13148607" y="3823022"/>
                  <a:pt x="13136309" y="3836250"/>
                  <a:pt x="13124012" y="3842863"/>
                </a:cubicBezTo>
                <a:cubicBezTo>
                  <a:pt x="13133235" y="3819715"/>
                  <a:pt x="13137846" y="3808142"/>
                  <a:pt x="13142458" y="3804832"/>
                </a:cubicBezTo>
                <a:close/>
                <a:moveTo>
                  <a:pt x="15147386" y="3796570"/>
                </a:moveTo>
                <a:cubicBezTo>
                  <a:pt x="15160420" y="3822227"/>
                  <a:pt x="15173456" y="3847888"/>
                  <a:pt x="15193006" y="3841474"/>
                </a:cubicBezTo>
                <a:cubicBezTo>
                  <a:pt x="15212558" y="3835060"/>
                  <a:pt x="15232110" y="3854302"/>
                  <a:pt x="15219076" y="3886373"/>
                </a:cubicBezTo>
                <a:cubicBezTo>
                  <a:pt x="15206042" y="3937694"/>
                  <a:pt x="15153904" y="3905620"/>
                  <a:pt x="15128922" y="3905620"/>
                </a:cubicBezTo>
                <a:cubicBezTo>
                  <a:pt x="15135438" y="3867130"/>
                  <a:pt x="15140870" y="3828636"/>
                  <a:pt x="15147386" y="3796570"/>
                </a:cubicBezTo>
                <a:close/>
                <a:moveTo>
                  <a:pt x="11317119" y="3796569"/>
                </a:moveTo>
                <a:cubicBezTo>
                  <a:pt x="11279200" y="3809796"/>
                  <a:pt x="11241282" y="3823022"/>
                  <a:pt x="11204417" y="3842863"/>
                </a:cubicBezTo>
                <a:cubicBezTo>
                  <a:pt x="11210737" y="3829633"/>
                  <a:pt x="11217056" y="3816408"/>
                  <a:pt x="11222323" y="3803181"/>
                </a:cubicBezTo>
                <a:cubicBezTo>
                  <a:pt x="11253921" y="3796569"/>
                  <a:pt x="11285520" y="3796569"/>
                  <a:pt x="11317119" y="3796569"/>
                </a:cubicBezTo>
                <a:close/>
                <a:moveTo>
                  <a:pt x="19875040" y="3794722"/>
                </a:moveTo>
                <a:cubicBezTo>
                  <a:pt x="19876680" y="3793143"/>
                  <a:pt x="19879964" y="3794459"/>
                  <a:pt x="19886528" y="3797092"/>
                </a:cubicBezTo>
                <a:cubicBezTo>
                  <a:pt x="19879964" y="3803411"/>
                  <a:pt x="19879964" y="3803411"/>
                  <a:pt x="19873400" y="3809732"/>
                </a:cubicBezTo>
                <a:cubicBezTo>
                  <a:pt x="19873400" y="3800778"/>
                  <a:pt x="19873400" y="3796301"/>
                  <a:pt x="19875040" y="3794722"/>
                </a:cubicBezTo>
                <a:close/>
                <a:moveTo>
                  <a:pt x="15032314" y="3791826"/>
                </a:moveTo>
                <a:cubicBezTo>
                  <a:pt x="15050930" y="3797257"/>
                  <a:pt x="15075748" y="3803773"/>
                  <a:pt x="15075748" y="3842876"/>
                </a:cubicBezTo>
                <a:cubicBezTo>
                  <a:pt x="15057134" y="3842876"/>
                  <a:pt x="15038520" y="3842876"/>
                  <a:pt x="15019906" y="3842876"/>
                </a:cubicBezTo>
                <a:cubicBezTo>
                  <a:pt x="15019906" y="3823324"/>
                  <a:pt x="15026110" y="3803773"/>
                  <a:pt x="15032314" y="3791826"/>
                </a:cubicBezTo>
                <a:close/>
                <a:moveTo>
                  <a:pt x="13056578" y="3787095"/>
                </a:moveTo>
                <a:cubicBezTo>
                  <a:pt x="13056578" y="3831922"/>
                  <a:pt x="13050114" y="3844725"/>
                  <a:pt x="13017789" y="3851127"/>
                </a:cubicBezTo>
                <a:cubicBezTo>
                  <a:pt x="12978999" y="3857532"/>
                  <a:pt x="12940210" y="3857532"/>
                  <a:pt x="12901420" y="3863935"/>
                </a:cubicBezTo>
                <a:cubicBezTo>
                  <a:pt x="12824918" y="3870337"/>
                  <a:pt x="12747339" y="3883144"/>
                  <a:pt x="12669760" y="3889551"/>
                </a:cubicBezTo>
                <a:cubicBezTo>
                  <a:pt x="12586793" y="3902355"/>
                  <a:pt x="12502749" y="3908758"/>
                  <a:pt x="12426247" y="3921564"/>
                </a:cubicBezTo>
                <a:cubicBezTo>
                  <a:pt x="12387458" y="3921564"/>
                  <a:pt x="12348668" y="3927966"/>
                  <a:pt x="12309879" y="3934373"/>
                </a:cubicBezTo>
                <a:cubicBezTo>
                  <a:pt x="12293716" y="3934373"/>
                  <a:pt x="12277554" y="3932775"/>
                  <a:pt x="12261526" y="3933574"/>
                </a:cubicBezTo>
                <a:lnTo>
                  <a:pt x="12242336" y="3936380"/>
                </a:lnTo>
                <a:lnTo>
                  <a:pt x="12252503" y="3918460"/>
                </a:lnTo>
                <a:cubicBezTo>
                  <a:pt x="12267655" y="3901954"/>
                  <a:pt x="12288868" y="3900753"/>
                  <a:pt x="12303414" y="3895951"/>
                </a:cubicBezTo>
                <a:cubicBezTo>
                  <a:pt x="12335738" y="3895951"/>
                  <a:pt x="12368063" y="3889551"/>
                  <a:pt x="12400388" y="3883144"/>
                </a:cubicBezTo>
                <a:cubicBezTo>
                  <a:pt x="12470424" y="3870337"/>
                  <a:pt x="12548004" y="3863935"/>
                  <a:pt x="12619118" y="3851127"/>
                </a:cubicBezTo>
                <a:cubicBezTo>
                  <a:pt x="12766734" y="3825512"/>
                  <a:pt x="12907885" y="3806306"/>
                  <a:pt x="13056578" y="3787095"/>
                </a:cubicBezTo>
                <a:close/>
                <a:moveTo>
                  <a:pt x="20109388" y="3787086"/>
                </a:moveTo>
                <a:cubicBezTo>
                  <a:pt x="20109388" y="3807560"/>
                  <a:pt x="20103400" y="3814385"/>
                  <a:pt x="20091424" y="3814385"/>
                </a:cubicBezTo>
                <a:cubicBezTo>
                  <a:pt x="20091424" y="3795048"/>
                  <a:pt x="20097412" y="3787086"/>
                  <a:pt x="20109388" y="3787086"/>
                </a:cubicBezTo>
                <a:close/>
                <a:moveTo>
                  <a:pt x="13090307" y="3783594"/>
                </a:moveTo>
                <a:cubicBezTo>
                  <a:pt x="13097943" y="3781829"/>
                  <a:pt x="13107159" y="3784816"/>
                  <a:pt x="13113478" y="3784816"/>
                </a:cubicBezTo>
                <a:cubicBezTo>
                  <a:pt x="13113478" y="3823915"/>
                  <a:pt x="13088200" y="3810883"/>
                  <a:pt x="13076614" y="3810883"/>
                </a:cubicBezTo>
                <a:cubicBezTo>
                  <a:pt x="13076614" y="3791875"/>
                  <a:pt x="13082670" y="3785358"/>
                  <a:pt x="13090307" y="3783594"/>
                </a:cubicBezTo>
                <a:close/>
                <a:moveTo>
                  <a:pt x="12255999" y="3775756"/>
                </a:moveTo>
                <a:cubicBezTo>
                  <a:pt x="12280581" y="3777226"/>
                  <a:pt x="12307567" y="3786578"/>
                  <a:pt x="12317186" y="3786578"/>
                </a:cubicBezTo>
                <a:cubicBezTo>
                  <a:pt x="12317186" y="3857118"/>
                  <a:pt x="12228479" y="3812228"/>
                  <a:pt x="12209241" y="3812228"/>
                </a:cubicBezTo>
                <a:cubicBezTo>
                  <a:pt x="12209241" y="3780699"/>
                  <a:pt x="12231418" y="3774286"/>
                  <a:pt x="12255999" y="3775756"/>
                </a:cubicBezTo>
                <a:close/>
                <a:moveTo>
                  <a:pt x="11753201" y="3755783"/>
                </a:moveTo>
                <a:cubicBezTo>
                  <a:pt x="11753201" y="3795463"/>
                  <a:pt x="11734755" y="3787748"/>
                  <a:pt x="11716309" y="3787748"/>
                </a:cubicBezTo>
                <a:cubicBezTo>
                  <a:pt x="11716309" y="3749170"/>
                  <a:pt x="11734755" y="3755783"/>
                  <a:pt x="11753201" y="3755783"/>
                </a:cubicBezTo>
                <a:close/>
                <a:moveTo>
                  <a:pt x="10051604" y="3754495"/>
                </a:moveTo>
                <a:cubicBezTo>
                  <a:pt x="10051604" y="3773837"/>
                  <a:pt x="10058053" y="3785658"/>
                  <a:pt x="10070949" y="3785658"/>
                </a:cubicBezTo>
                <a:cubicBezTo>
                  <a:pt x="10070949" y="3767389"/>
                  <a:pt x="10064501" y="3754495"/>
                  <a:pt x="10051604" y="3754495"/>
                </a:cubicBezTo>
                <a:close/>
                <a:moveTo>
                  <a:pt x="9904367" y="3754495"/>
                </a:moveTo>
                <a:cubicBezTo>
                  <a:pt x="9897918" y="3767389"/>
                  <a:pt x="9891470" y="3785658"/>
                  <a:pt x="9885021" y="3804998"/>
                </a:cubicBezTo>
                <a:cubicBezTo>
                  <a:pt x="9878573" y="3798554"/>
                  <a:pt x="9865676" y="3798554"/>
                  <a:pt x="9852780" y="3798554"/>
                </a:cubicBezTo>
                <a:cubicBezTo>
                  <a:pt x="9814089" y="3798554"/>
                  <a:pt x="9770026" y="3817897"/>
                  <a:pt x="9750680" y="3875928"/>
                </a:cubicBezTo>
                <a:cubicBezTo>
                  <a:pt x="9807641" y="3863039"/>
                  <a:pt x="10000017" y="3908169"/>
                  <a:pt x="10000017" y="3754495"/>
                </a:cubicBezTo>
                <a:cubicBezTo>
                  <a:pt x="9968850" y="3754495"/>
                  <a:pt x="9936608" y="3754495"/>
                  <a:pt x="9904367" y="3754495"/>
                </a:cubicBezTo>
                <a:close/>
                <a:moveTo>
                  <a:pt x="14659685" y="3753910"/>
                </a:moveTo>
                <a:cubicBezTo>
                  <a:pt x="14698162" y="3753910"/>
                  <a:pt x="14729157" y="3753910"/>
                  <a:pt x="14767633" y="3753910"/>
                </a:cubicBezTo>
                <a:cubicBezTo>
                  <a:pt x="14767633" y="3804294"/>
                  <a:pt x="14729157" y="3804294"/>
                  <a:pt x="14717400" y="3842889"/>
                </a:cubicBezTo>
                <a:cubicBezTo>
                  <a:pt x="14698162" y="3810728"/>
                  <a:pt x="14672511" y="3792503"/>
                  <a:pt x="14659685" y="3753910"/>
                </a:cubicBezTo>
                <a:close/>
                <a:moveTo>
                  <a:pt x="10527822" y="3753909"/>
                </a:moveTo>
                <a:cubicBezTo>
                  <a:pt x="10544607" y="3753909"/>
                  <a:pt x="10544607" y="3784453"/>
                  <a:pt x="10544607" y="3809732"/>
                </a:cubicBezTo>
                <a:cubicBezTo>
                  <a:pt x="10521898" y="3809732"/>
                  <a:pt x="10527822" y="3778134"/>
                  <a:pt x="10527822" y="3753909"/>
                </a:cubicBezTo>
                <a:close/>
                <a:moveTo>
                  <a:pt x="13203590" y="3753907"/>
                </a:moveTo>
                <a:cubicBezTo>
                  <a:pt x="13203590" y="3773811"/>
                  <a:pt x="13197603" y="3785977"/>
                  <a:pt x="13185628" y="3785977"/>
                </a:cubicBezTo>
                <a:cubicBezTo>
                  <a:pt x="13185628" y="3760541"/>
                  <a:pt x="13191615" y="3753907"/>
                  <a:pt x="13203590" y="3753907"/>
                </a:cubicBezTo>
                <a:close/>
                <a:moveTo>
                  <a:pt x="12413050" y="3753907"/>
                </a:moveTo>
                <a:cubicBezTo>
                  <a:pt x="12425025" y="3753907"/>
                  <a:pt x="12431012" y="3760542"/>
                  <a:pt x="12431012" y="3785977"/>
                </a:cubicBezTo>
                <a:cubicBezTo>
                  <a:pt x="12419037" y="3785977"/>
                  <a:pt x="12413050" y="3773812"/>
                  <a:pt x="12413050" y="3753907"/>
                </a:cubicBezTo>
                <a:close/>
                <a:moveTo>
                  <a:pt x="20190964" y="3753906"/>
                </a:moveTo>
                <a:cubicBezTo>
                  <a:pt x="20203260" y="3760541"/>
                  <a:pt x="20215556" y="3760541"/>
                  <a:pt x="20227856" y="3767177"/>
                </a:cubicBezTo>
                <a:cubicBezTo>
                  <a:pt x="20215556" y="3785976"/>
                  <a:pt x="20190964" y="3785976"/>
                  <a:pt x="20190964" y="3753906"/>
                </a:cubicBezTo>
                <a:close/>
                <a:moveTo>
                  <a:pt x="14578219" y="3744712"/>
                </a:moveTo>
                <a:cubicBezTo>
                  <a:pt x="14595603" y="3744851"/>
                  <a:pt x="14615471" y="3752891"/>
                  <a:pt x="14625405" y="3752891"/>
                </a:cubicBezTo>
                <a:cubicBezTo>
                  <a:pt x="14625405" y="3809711"/>
                  <a:pt x="14565801" y="3783981"/>
                  <a:pt x="14545933" y="3783981"/>
                </a:cubicBezTo>
                <a:cubicBezTo>
                  <a:pt x="14545933" y="3752355"/>
                  <a:pt x="14560834" y="3744581"/>
                  <a:pt x="14578219" y="3744712"/>
                </a:cubicBezTo>
                <a:close/>
                <a:moveTo>
                  <a:pt x="10862658" y="3741860"/>
                </a:moveTo>
                <a:cubicBezTo>
                  <a:pt x="10864155" y="3742629"/>
                  <a:pt x="10865651" y="3747250"/>
                  <a:pt x="10871639" y="3753396"/>
                </a:cubicBezTo>
                <a:cubicBezTo>
                  <a:pt x="10865651" y="3756469"/>
                  <a:pt x="10864155" y="3761081"/>
                  <a:pt x="10862658" y="3762618"/>
                </a:cubicBezTo>
                <a:lnTo>
                  <a:pt x="10861546" y="3762390"/>
                </a:lnTo>
                <a:lnTo>
                  <a:pt x="10866815" y="3766549"/>
                </a:lnTo>
                <a:cubicBezTo>
                  <a:pt x="10866815" y="3841332"/>
                  <a:pt x="10796641" y="3822372"/>
                  <a:pt x="10757776" y="3828686"/>
                </a:cubicBezTo>
                <a:cubicBezTo>
                  <a:pt x="10738343" y="3835014"/>
                  <a:pt x="10725388" y="3847652"/>
                  <a:pt x="10705955" y="3847652"/>
                </a:cubicBezTo>
                <a:cubicBezTo>
                  <a:pt x="10680045" y="3847652"/>
                  <a:pt x="10680045" y="3809734"/>
                  <a:pt x="10673567" y="3784455"/>
                </a:cubicBezTo>
                <a:cubicBezTo>
                  <a:pt x="10712433" y="3778136"/>
                  <a:pt x="10751298" y="3772868"/>
                  <a:pt x="10790164" y="3760229"/>
                </a:cubicBezTo>
                <a:cubicBezTo>
                  <a:pt x="10803119" y="3757070"/>
                  <a:pt x="10815804" y="3750751"/>
                  <a:pt x="10828490" y="3749173"/>
                </a:cubicBezTo>
                <a:cubicBezTo>
                  <a:pt x="10834833" y="3748383"/>
                  <a:pt x="10841175" y="3748777"/>
                  <a:pt x="10847551" y="3751343"/>
                </a:cubicBezTo>
                <a:lnTo>
                  <a:pt x="10858232" y="3759773"/>
                </a:lnTo>
                <a:lnTo>
                  <a:pt x="10853677" y="3753396"/>
                </a:lnTo>
                <a:cubicBezTo>
                  <a:pt x="10859665" y="3744163"/>
                  <a:pt x="10861161" y="3741094"/>
                  <a:pt x="10862658" y="3741860"/>
                </a:cubicBezTo>
                <a:close/>
                <a:moveTo>
                  <a:pt x="12579528" y="3737177"/>
                </a:moveTo>
                <a:cubicBezTo>
                  <a:pt x="12595653" y="3733998"/>
                  <a:pt x="12615003" y="3740631"/>
                  <a:pt x="12627903" y="3747276"/>
                </a:cubicBezTo>
                <a:cubicBezTo>
                  <a:pt x="12634353" y="3747276"/>
                  <a:pt x="12653703" y="3779344"/>
                  <a:pt x="12634353" y="3785980"/>
                </a:cubicBezTo>
                <a:cubicBezTo>
                  <a:pt x="12608553" y="3785980"/>
                  <a:pt x="12576303" y="3785980"/>
                  <a:pt x="12550503" y="3785980"/>
                </a:cubicBezTo>
                <a:cubicBezTo>
                  <a:pt x="12550503" y="3753354"/>
                  <a:pt x="12563403" y="3740354"/>
                  <a:pt x="12579528" y="3737177"/>
                </a:cubicBezTo>
                <a:close/>
                <a:moveTo>
                  <a:pt x="12489276" y="3730208"/>
                </a:moveTo>
                <a:cubicBezTo>
                  <a:pt x="12495661" y="3749169"/>
                  <a:pt x="12502045" y="3768127"/>
                  <a:pt x="12502045" y="3786033"/>
                </a:cubicBezTo>
                <a:cubicBezTo>
                  <a:pt x="12482892" y="3786033"/>
                  <a:pt x="12470123" y="3786033"/>
                  <a:pt x="12450970" y="3786033"/>
                </a:cubicBezTo>
                <a:cubicBezTo>
                  <a:pt x="12450970" y="3749169"/>
                  <a:pt x="12476507" y="3736528"/>
                  <a:pt x="12489276" y="3730208"/>
                </a:cubicBezTo>
                <a:close/>
                <a:moveTo>
                  <a:pt x="20472400" y="3726129"/>
                </a:moveTo>
                <a:cubicBezTo>
                  <a:pt x="20480852" y="3729434"/>
                  <a:pt x="20488540" y="3741006"/>
                  <a:pt x="20488540" y="3757544"/>
                </a:cubicBezTo>
                <a:cubicBezTo>
                  <a:pt x="20476240" y="3750932"/>
                  <a:pt x="20463944" y="3744311"/>
                  <a:pt x="20451648" y="3744311"/>
                </a:cubicBezTo>
                <a:cubicBezTo>
                  <a:pt x="20454720" y="3727782"/>
                  <a:pt x="20463944" y="3722821"/>
                  <a:pt x="20472400" y="3726129"/>
                </a:cubicBezTo>
                <a:close/>
                <a:moveTo>
                  <a:pt x="17167872" y="3720734"/>
                </a:moveTo>
                <a:cubicBezTo>
                  <a:pt x="17187260" y="3727115"/>
                  <a:pt x="17224964" y="3720734"/>
                  <a:pt x="17237892" y="3752638"/>
                </a:cubicBezTo>
                <a:cubicBezTo>
                  <a:pt x="17244352" y="3771779"/>
                  <a:pt x="17244352" y="3808997"/>
                  <a:pt x="17263744" y="3808997"/>
                </a:cubicBezTo>
                <a:cubicBezTo>
                  <a:pt x="17263744" y="3796236"/>
                  <a:pt x="17270208" y="3727115"/>
                  <a:pt x="17283132" y="3759018"/>
                </a:cubicBezTo>
                <a:cubicBezTo>
                  <a:pt x="17292828" y="3777628"/>
                  <a:pt x="17300908" y="3799692"/>
                  <a:pt x="17309792" y="3821890"/>
                </a:cubicBezTo>
                <a:lnTo>
                  <a:pt x="17335576" y="3873991"/>
                </a:lnTo>
                <a:lnTo>
                  <a:pt x="17340136" y="3858185"/>
                </a:lnTo>
                <a:cubicBezTo>
                  <a:pt x="17340136" y="3864334"/>
                  <a:pt x="17346124" y="3870482"/>
                  <a:pt x="17346124" y="3876632"/>
                </a:cubicBezTo>
                <a:lnTo>
                  <a:pt x="17339648" y="3882224"/>
                </a:lnTo>
                <a:lnTo>
                  <a:pt x="17341300" y="3885561"/>
                </a:lnTo>
                <a:cubicBezTo>
                  <a:pt x="17270208" y="3885561"/>
                  <a:pt x="17199112" y="3847282"/>
                  <a:pt x="17129092" y="3828133"/>
                </a:cubicBezTo>
                <a:cubicBezTo>
                  <a:pt x="17135556" y="3802616"/>
                  <a:pt x="17154944" y="3808997"/>
                  <a:pt x="17167872" y="3808997"/>
                </a:cubicBezTo>
                <a:cubicBezTo>
                  <a:pt x="17167872" y="3777093"/>
                  <a:pt x="17167872" y="3752638"/>
                  <a:pt x="17167872" y="3720734"/>
                </a:cubicBezTo>
                <a:close/>
                <a:moveTo>
                  <a:pt x="19412648" y="3720728"/>
                </a:moveTo>
                <a:cubicBezTo>
                  <a:pt x="19412648" y="3739992"/>
                  <a:pt x="19406660" y="3752839"/>
                  <a:pt x="19394688" y="3752839"/>
                </a:cubicBezTo>
                <a:cubicBezTo>
                  <a:pt x="19394688" y="3733571"/>
                  <a:pt x="19400672" y="3720728"/>
                  <a:pt x="19412648" y="3720728"/>
                </a:cubicBezTo>
                <a:close/>
                <a:moveTo>
                  <a:pt x="17304464" y="3720728"/>
                </a:moveTo>
                <a:cubicBezTo>
                  <a:pt x="17317592" y="3720728"/>
                  <a:pt x="17317592" y="3733571"/>
                  <a:pt x="17317592" y="3752840"/>
                </a:cubicBezTo>
                <a:cubicBezTo>
                  <a:pt x="17304464" y="3752840"/>
                  <a:pt x="17304464" y="3739992"/>
                  <a:pt x="17304464" y="3720728"/>
                </a:cubicBezTo>
                <a:close/>
                <a:moveTo>
                  <a:pt x="12715339" y="3720728"/>
                </a:moveTo>
                <a:cubicBezTo>
                  <a:pt x="12715339" y="3727151"/>
                  <a:pt x="12715339" y="3739992"/>
                  <a:pt x="12715339" y="3752840"/>
                </a:cubicBezTo>
                <a:cubicBezTo>
                  <a:pt x="12690060" y="3752840"/>
                  <a:pt x="12665835" y="3752840"/>
                  <a:pt x="12640557" y="3752840"/>
                </a:cubicBezTo>
                <a:cubicBezTo>
                  <a:pt x="12665835" y="3739992"/>
                  <a:pt x="12690060" y="3727151"/>
                  <a:pt x="12715339" y="3720728"/>
                </a:cubicBezTo>
                <a:close/>
                <a:moveTo>
                  <a:pt x="11511512" y="3720728"/>
                </a:moveTo>
                <a:cubicBezTo>
                  <a:pt x="11544580" y="3720728"/>
                  <a:pt x="11531353" y="3777550"/>
                  <a:pt x="11531353" y="3809713"/>
                </a:cubicBezTo>
                <a:cubicBezTo>
                  <a:pt x="11498285" y="3809713"/>
                  <a:pt x="11511512" y="3752893"/>
                  <a:pt x="11511512" y="3720728"/>
                </a:cubicBezTo>
                <a:close/>
                <a:moveTo>
                  <a:pt x="19110300" y="3720727"/>
                </a:moveTo>
                <a:cubicBezTo>
                  <a:pt x="19162440" y="3746801"/>
                  <a:pt x="19214576" y="3772865"/>
                  <a:pt x="19265624" y="3797848"/>
                </a:cubicBezTo>
                <a:cubicBezTo>
                  <a:pt x="19247160" y="3823915"/>
                  <a:pt x="19221092" y="3810883"/>
                  <a:pt x="19201540" y="3804364"/>
                </a:cubicBezTo>
                <a:cubicBezTo>
                  <a:pt x="19168956" y="3792417"/>
                  <a:pt x="19142888" y="3792417"/>
                  <a:pt x="19110300" y="3784814"/>
                </a:cubicBezTo>
                <a:cubicBezTo>
                  <a:pt x="19110300" y="3766349"/>
                  <a:pt x="19110300" y="3740276"/>
                  <a:pt x="19110300" y="3720727"/>
                </a:cubicBezTo>
                <a:close/>
                <a:moveTo>
                  <a:pt x="14456004" y="3720727"/>
                </a:moveTo>
                <a:cubicBezTo>
                  <a:pt x="14475359" y="3752794"/>
                  <a:pt x="14501166" y="3752794"/>
                  <a:pt x="14525898" y="3752794"/>
                </a:cubicBezTo>
                <a:cubicBezTo>
                  <a:pt x="14525898" y="3828672"/>
                  <a:pt x="14430197" y="3791268"/>
                  <a:pt x="14404391" y="3783788"/>
                </a:cubicBezTo>
                <a:cubicBezTo>
                  <a:pt x="14359229" y="3772030"/>
                  <a:pt x="14320519" y="3772030"/>
                  <a:pt x="14276432" y="3765618"/>
                </a:cubicBezTo>
                <a:cubicBezTo>
                  <a:pt x="14237722" y="3765618"/>
                  <a:pt x="14199012" y="3777374"/>
                  <a:pt x="14166753" y="3733553"/>
                </a:cubicBezTo>
                <a:cubicBezTo>
                  <a:pt x="14263529" y="3727140"/>
                  <a:pt x="14359229" y="3720727"/>
                  <a:pt x="14456004" y="3720727"/>
                </a:cubicBezTo>
                <a:close/>
                <a:moveTo>
                  <a:pt x="10937934" y="3720725"/>
                </a:moveTo>
                <a:cubicBezTo>
                  <a:pt x="10937934" y="3727110"/>
                  <a:pt x="10937934" y="3739877"/>
                  <a:pt x="10937934" y="3752649"/>
                </a:cubicBezTo>
                <a:cubicBezTo>
                  <a:pt x="10918833" y="3752649"/>
                  <a:pt x="10886999" y="3771802"/>
                  <a:pt x="10867899" y="3739877"/>
                </a:cubicBezTo>
                <a:cubicBezTo>
                  <a:pt x="10886999" y="3727110"/>
                  <a:pt x="10912467" y="3727110"/>
                  <a:pt x="10937934" y="3720725"/>
                </a:cubicBezTo>
                <a:close/>
                <a:moveTo>
                  <a:pt x="11603274" y="3718975"/>
                </a:moveTo>
                <a:cubicBezTo>
                  <a:pt x="11605426" y="3719276"/>
                  <a:pt x="11608045" y="3720881"/>
                  <a:pt x="11611039" y="3724092"/>
                </a:cubicBezTo>
                <a:cubicBezTo>
                  <a:pt x="11608046" y="3724092"/>
                  <a:pt x="11606549" y="3725697"/>
                  <a:pt x="11605052" y="3728908"/>
                </a:cubicBezTo>
                <a:lnTo>
                  <a:pt x="11600859" y="3739025"/>
                </a:lnTo>
                <a:lnTo>
                  <a:pt x="11600964" y="3739320"/>
                </a:lnTo>
                <a:cubicBezTo>
                  <a:pt x="11605174" y="3760474"/>
                  <a:pt x="11601806" y="3785980"/>
                  <a:pt x="11588335" y="3785980"/>
                </a:cubicBezTo>
                <a:cubicBezTo>
                  <a:pt x="11588335" y="3767179"/>
                  <a:pt x="11588335" y="3740632"/>
                  <a:pt x="11594322" y="3720727"/>
                </a:cubicBezTo>
                <a:lnTo>
                  <a:pt x="11598706" y="3733000"/>
                </a:lnTo>
                <a:lnTo>
                  <a:pt x="11598316" y="3721684"/>
                </a:lnTo>
                <a:cubicBezTo>
                  <a:pt x="11599438" y="3719677"/>
                  <a:pt x="11601122" y="3718674"/>
                  <a:pt x="11603274" y="3718975"/>
                </a:cubicBezTo>
                <a:close/>
                <a:moveTo>
                  <a:pt x="20432176" y="3697181"/>
                </a:moveTo>
                <a:cubicBezTo>
                  <a:pt x="20438324" y="3698786"/>
                  <a:pt x="20444472" y="3703602"/>
                  <a:pt x="20450620" y="3706811"/>
                </a:cubicBezTo>
                <a:cubicBezTo>
                  <a:pt x="20444472" y="3706811"/>
                  <a:pt x="20444472" y="3713233"/>
                  <a:pt x="20444472" y="3719654"/>
                </a:cubicBezTo>
                <a:cubicBezTo>
                  <a:pt x="20432176" y="3713233"/>
                  <a:pt x="20426028" y="3706811"/>
                  <a:pt x="20413728" y="3706811"/>
                </a:cubicBezTo>
                <a:cubicBezTo>
                  <a:pt x="20419880" y="3697181"/>
                  <a:pt x="20426028" y="3695575"/>
                  <a:pt x="20432176" y="3697181"/>
                </a:cubicBezTo>
                <a:close/>
                <a:moveTo>
                  <a:pt x="19753880" y="3689422"/>
                </a:moveTo>
                <a:cubicBezTo>
                  <a:pt x="19753880" y="3729102"/>
                  <a:pt x="19729288" y="3722488"/>
                  <a:pt x="19716988" y="3722488"/>
                </a:cubicBezTo>
                <a:cubicBezTo>
                  <a:pt x="19716988" y="3682808"/>
                  <a:pt x="19741584" y="3689422"/>
                  <a:pt x="19753880" y="3689422"/>
                </a:cubicBezTo>
                <a:close/>
                <a:moveTo>
                  <a:pt x="19265724" y="3687553"/>
                </a:moveTo>
                <a:cubicBezTo>
                  <a:pt x="19265724" y="3713233"/>
                  <a:pt x="19253876" y="3719655"/>
                  <a:pt x="19243016" y="3719655"/>
                </a:cubicBezTo>
                <a:cubicBezTo>
                  <a:pt x="19243016" y="3693972"/>
                  <a:pt x="19253876" y="3687553"/>
                  <a:pt x="19265724" y="3687553"/>
                </a:cubicBezTo>
                <a:close/>
                <a:moveTo>
                  <a:pt x="17076872" y="3687553"/>
                </a:moveTo>
                <a:cubicBezTo>
                  <a:pt x="17076872" y="3719982"/>
                  <a:pt x="17070496" y="3752414"/>
                  <a:pt x="17076872" y="3777274"/>
                </a:cubicBezTo>
                <a:cubicBezTo>
                  <a:pt x="17089620" y="3809704"/>
                  <a:pt x="17102368" y="3700525"/>
                  <a:pt x="17102368" y="3694039"/>
                </a:cubicBezTo>
                <a:cubicBezTo>
                  <a:pt x="17121492" y="3707009"/>
                  <a:pt x="17134240" y="3719982"/>
                  <a:pt x="17146988" y="3732953"/>
                </a:cubicBezTo>
                <a:cubicBezTo>
                  <a:pt x="17140612" y="3745931"/>
                  <a:pt x="17127864" y="3752414"/>
                  <a:pt x="17127864" y="3771870"/>
                </a:cubicBezTo>
                <a:cubicBezTo>
                  <a:pt x="17121492" y="3791327"/>
                  <a:pt x="17127864" y="3791327"/>
                  <a:pt x="17121492" y="3809704"/>
                </a:cubicBezTo>
                <a:cubicBezTo>
                  <a:pt x="17064124" y="3791327"/>
                  <a:pt x="17013132" y="3777274"/>
                  <a:pt x="16963200" y="3765385"/>
                </a:cubicBezTo>
                <a:cubicBezTo>
                  <a:pt x="16982320" y="3726468"/>
                  <a:pt x="17013132" y="3771870"/>
                  <a:pt x="17038628" y="3758899"/>
                </a:cubicBezTo>
                <a:cubicBezTo>
                  <a:pt x="17064124" y="3745931"/>
                  <a:pt x="17051376" y="3687553"/>
                  <a:pt x="17076872" y="3687553"/>
                </a:cubicBezTo>
                <a:close/>
                <a:moveTo>
                  <a:pt x="10161226" y="3683566"/>
                </a:moveTo>
                <a:cubicBezTo>
                  <a:pt x="10122536" y="3677117"/>
                  <a:pt x="10090294" y="3690015"/>
                  <a:pt x="10051604" y="3709359"/>
                </a:cubicBezTo>
                <a:cubicBezTo>
                  <a:pt x="10083846" y="3728701"/>
                  <a:pt x="10116088" y="3754495"/>
                  <a:pt x="10148330" y="3754495"/>
                </a:cubicBezTo>
                <a:cubicBezTo>
                  <a:pt x="10148330" y="3728701"/>
                  <a:pt x="10154778" y="3709359"/>
                  <a:pt x="10161226" y="3683566"/>
                </a:cubicBezTo>
                <a:close/>
                <a:moveTo>
                  <a:pt x="20091428" y="3678070"/>
                </a:moveTo>
                <a:cubicBezTo>
                  <a:pt x="20104160" y="3678070"/>
                  <a:pt x="20161460" y="3684683"/>
                  <a:pt x="20135996" y="3724364"/>
                </a:cubicBezTo>
                <a:cubicBezTo>
                  <a:pt x="20123260" y="3704524"/>
                  <a:pt x="20104160" y="3691296"/>
                  <a:pt x="20091428" y="3678070"/>
                </a:cubicBezTo>
                <a:close/>
                <a:moveTo>
                  <a:pt x="20394256" y="3668739"/>
                </a:moveTo>
                <a:cubicBezTo>
                  <a:pt x="20400408" y="3670345"/>
                  <a:pt x="20406556" y="3675160"/>
                  <a:pt x="20412704" y="3678371"/>
                </a:cubicBezTo>
                <a:cubicBezTo>
                  <a:pt x="20406556" y="3678371"/>
                  <a:pt x="20406556" y="3684792"/>
                  <a:pt x="20400408" y="3691213"/>
                </a:cubicBezTo>
                <a:cubicBezTo>
                  <a:pt x="20394260" y="3684792"/>
                  <a:pt x="20381960" y="3678371"/>
                  <a:pt x="20375812" y="3678371"/>
                </a:cubicBezTo>
                <a:cubicBezTo>
                  <a:pt x="20381960" y="3668739"/>
                  <a:pt x="20388108" y="3667134"/>
                  <a:pt x="20394256" y="3668739"/>
                </a:cubicBezTo>
                <a:close/>
                <a:moveTo>
                  <a:pt x="14038279" y="3659114"/>
                </a:moveTo>
                <a:cubicBezTo>
                  <a:pt x="14076932" y="3678681"/>
                  <a:pt x="14109143" y="3698248"/>
                  <a:pt x="14146722" y="3724339"/>
                </a:cubicBezTo>
                <a:cubicBezTo>
                  <a:pt x="14140280" y="3743902"/>
                  <a:pt x="14140280" y="3756951"/>
                  <a:pt x="14133838" y="3776516"/>
                </a:cubicBezTo>
                <a:cubicBezTo>
                  <a:pt x="14120954" y="3776516"/>
                  <a:pt x="14114511" y="3776516"/>
                  <a:pt x="14102701" y="3776516"/>
                </a:cubicBezTo>
                <a:cubicBezTo>
                  <a:pt x="14083374" y="3776516"/>
                  <a:pt x="14064048" y="3776516"/>
                  <a:pt x="14038279" y="3769997"/>
                </a:cubicBezTo>
                <a:cubicBezTo>
                  <a:pt x="13993184" y="3769997"/>
                  <a:pt x="13948089" y="3763473"/>
                  <a:pt x="13904067" y="3756951"/>
                </a:cubicBezTo>
                <a:cubicBezTo>
                  <a:pt x="13807434" y="3750430"/>
                  <a:pt x="13717244" y="3743902"/>
                  <a:pt x="13621685" y="3737382"/>
                </a:cubicBezTo>
                <a:cubicBezTo>
                  <a:pt x="13710802" y="3724339"/>
                  <a:pt x="13794550" y="3711293"/>
                  <a:pt x="13878298" y="3704770"/>
                </a:cubicBezTo>
                <a:cubicBezTo>
                  <a:pt x="13928762" y="3698248"/>
                  <a:pt x="13973857" y="3691726"/>
                  <a:pt x="14018952" y="3698248"/>
                </a:cubicBezTo>
                <a:cubicBezTo>
                  <a:pt x="14025395" y="3698248"/>
                  <a:pt x="14057606" y="3691726"/>
                  <a:pt x="14064048" y="3704770"/>
                </a:cubicBezTo>
                <a:cubicBezTo>
                  <a:pt x="14057606" y="3685204"/>
                  <a:pt x="14044721" y="3691726"/>
                  <a:pt x="14038279" y="3691726"/>
                </a:cubicBezTo>
                <a:cubicBezTo>
                  <a:pt x="14038279" y="3685204"/>
                  <a:pt x="14038279" y="3672158"/>
                  <a:pt x="14038279" y="3659114"/>
                </a:cubicBezTo>
                <a:close/>
                <a:moveTo>
                  <a:pt x="15905100" y="3659108"/>
                </a:moveTo>
                <a:cubicBezTo>
                  <a:pt x="15905100" y="3671951"/>
                  <a:pt x="15905100" y="3684792"/>
                  <a:pt x="15905100" y="3691214"/>
                </a:cubicBezTo>
                <a:cubicBezTo>
                  <a:pt x="15877802" y="3691214"/>
                  <a:pt x="15891450" y="3671951"/>
                  <a:pt x="15905100" y="3659108"/>
                </a:cubicBezTo>
                <a:close/>
                <a:moveTo>
                  <a:pt x="14165755" y="3659108"/>
                </a:moveTo>
                <a:cubicBezTo>
                  <a:pt x="14165755" y="3684793"/>
                  <a:pt x="14159768" y="3691214"/>
                  <a:pt x="14147793" y="3691214"/>
                </a:cubicBezTo>
                <a:cubicBezTo>
                  <a:pt x="14147793" y="3671951"/>
                  <a:pt x="14153780" y="3659108"/>
                  <a:pt x="14165755" y="3659108"/>
                </a:cubicBezTo>
                <a:close/>
                <a:moveTo>
                  <a:pt x="13602725" y="3659108"/>
                </a:moveTo>
                <a:cubicBezTo>
                  <a:pt x="13614700" y="3659108"/>
                  <a:pt x="13620687" y="3671951"/>
                  <a:pt x="13620687" y="3691214"/>
                </a:cubicBezTo>
                <a:cubicBezTo>
                  <a:pt x="13608712" y="3691214"/>
                  <a:pt x="13602725" y="3684793"/>
                  <a:pt x="13602725" y="3659108"/>
                </a:cubicBezTo>
                <a:close/>
                <a:moveTo>
                  <a:pt x="19995636" y="3659107"/>
                </a:moveTo>
                <a:cubicBezTo>
                  <a:pt x="19995636" y="3684792"/>
                  <a:pt x="19989648" y="3691213"/>
                  <a:pt x="19977672" y="3691213"/>
                </a:cubicBezTo>
                <a:cubicBezTo>
                  <a:pt x="19977672" y="3671950"/>
                  <a:pt x="19983660" y="3659107"/>
                  <a:pt x="19995636" y="3659107"/>
                </a:cubicBezTo>
                <a:close/>
                <a:moveTo>
                  <a:pt x="19227768" y="3656244"/>
                </a:moveTo>
                <a:cubicBezTo>
                  <a:pt x="19227768" y="3695925"/>
                  <a:pt x="19203172" y="3689312"/>
                  <a:pt x="19190876" y="3689312"/>
                </a:cubicBezTo>
                <a:cubicBezTo>
                  <a:pt x="19190876" y="3649631"/>
                  <a:pt x="19209320" y="3656244"/>
                  <a:pt x="19227768" y="3656244"/>
                </a:cubicBezTo>
                <a:close/>
                <a:moveTo>
                  <a:pt x="10199917" y="3651326"/>
                </a:moveTo>
                <a:cubicBezTo>
                  <a:pt x="10192393" y="3677117"/>
                  <a:pt x="10187020" y="3696463"/>
                  <a:pt x="10187020" y="3722252"/>
                </a:cubicBezTo>
                <a:cubicBezTo>
                  <a:pt x="10205290" y="3722252"/>
                  <a:pt x="10224635" y="3722252"/>
                  <a:pt x="10237532" y="3722252"/>
                </a:cubicBezTo>
                <a:cubicBezTo>
                  <a:pt x="10243980" y="3696463"/>
                  <a:pt x="10250429" y="3677117"/>
                  <a:pt x="10256877" y="3651326"/>
                </a:cubicBezTo>
                <a:cubicBezTo>
                  <a:pt x="10237532" y="3651326"/>
                  <a:pt x="10218187" y="3651326"/>
                  <a:pt x="10199917" y="3651326"/>
                </a:cubicBezTo>
                <a:close/>
                <a:moveTo>
                  <a:pt x="17125368" y="3643141"/>
                </a:moveTo>
                <a:cubicBezTo>
                  <a:pt x="17126384" y="3641644"/>
                  <a:pt x="17128416" y="3643141"/>
                  <a:pt x="17132476" y="3646135"/>
                </a:cubicBezTo>
                <a:cubicBezTo>
                  <a:pt x="17124352" y="3652124"/>
                  <a:pt x="17124352" y="3658110"/>
                  <a:pt x="17124352" y="3658110"/>
                </a:cubicBezTo>
                <a:cubicBezTo>
                  <a:pt x="17124352" y="3649129"/>
                  <a:pt x="17124352" y="3644639"/>
                  <a:pt x="17125368" y="3643141"/>
                </a:cubicBezTo>
                <a:close/>
                <a:moveTo>
                  <a:pt x="20055352" y="3626594"/>
                </a:moveTo>
                <a:cubicBezTo>
                  <a:pt x="20063776" y="3629901"/>
                  <a:pt x="20071412" y="3641474"/>
                  <a:pt x="20071412" y="3658008"/>
                </a:cubicBezTo>
                <a:cubicBezTo>
                  <a:pt x="20059828" y="3658008"/>
                  <a:pt x="20047188" y="3651394"/>
                  <a:pt x="20034548" y="3644781"/>
                </a:cubicBezTo>
                <a:cubicBezTo>
                  <a:pt x="20037708" y="3628247"/>
                  <a:pt x="20046924" y="3623287"/>
                  <a:pt x="20055352" y="3626594"/>
                </a:cubicBezTo>
                <a:close/>
                <a:moveTo>
                  <a:pt x="11255487" y="3625935"/>
                </a:moveTo>
                <a:cubicBezTo>
                  <a:pt x="11255487" y="3690730"/>
                  <a:pt x="11179617" y="3684251"/>
                  <a:pt x="11160382" y="3690730"/>
                </a:cubicBezTo>
                <a:cubicBezTo>
                  <a:pt x="11089854" y="3697210"/>
                  <a:pt x="11025738" y="3710169"/>
                  <a:pt x="10962691" y="3710169"/>
                </a:cubicBezTo>
                <a:cubicBezTo>
                  <a:pt x="11057796" y="3677772"/>
                  <a:pt x="11160382" y="3651852"/>
                  <a:pt x="11255487" y="3625935"/>
                </a:cubicBezTo>
                <a:close/>
                <a:moveTo>
                  <a:pt x="20337892" y="3625930"/>
                </a:moveTo>
                <a:cubicBezTo>
                  <a:pt x="20350188" y="3632078"/>
                  <a:pt x="20362484" y="3638227"/>
                  <a:pt x="20374784" y="3644376"/>
                </a:cubicBezTo>
                <a:cubicBezTo>
                  <a:pt x="20362484" y="3662819"/>
                  <a:pt x="20337892" y="3662819"/>
                  <a:pt x="20337892" y="3625930"/>
                </a:cubicBezTo>
                <a:close/>
                <a:moveTo>
                  <a:pt x="19266712" y="3625930"/>
                </a:moveTo>
                <a:cubicBezTo>
                  <a:pt x="19273136" y="3632079"/>
                  <a:pt x="19285980" y="3638227"/>
                  <a:pt x="19298820" y="3644376"/>
                </a:cubicBezTo>
                <a:cubicBezTo>
                  <a:pt x="19285980" y="3662820"/>
                  <a:pt x="19266712" y="3662820"/>
                  <a:pt x="19266712" y="3625930"/>
                </a:cubicBezTo>
                <a:close/>
                <a:moveTo>
                  <a:pt x="20015080" y="3603459"/>
                </a:moveTo>
                <a:cubicBezTo>
                  <a:pt x="20021228" y="3604313"/>
                  <a:pt x="20027376" y="3607721"/>
                  <a:pt x="20033524" y="3611141"/>
                </a:cubicBezTo>
                <a:cubicBezTo>
                  <a:pt x="20033524" y="3617967"/>
                  <a:pt x="20027376" y="3624791"/>
                  <a:pt x="20027376" y="3624791"/>
                </a:cubicBezTo>
                <a:cubicBezTo>
                  <a:pt x="20015080" y="3624791"/>
                  <a:pt x="20008928" y="3617967"/>
                  <a:pt x="19996632" y="3611141"/>
                </a:cubicBezTo>
                <a:cubicBezTo>
                  <a:pt x="20002780" y="3604313"/>
                  <a:pt x="20008928" y="3602607"/>
                  <a:pt x="20015080" y="3603459"/>
                </a:cubicBezTo>
                <a:close/>
                <a:moveTo>
                  <a:pt x="10429908" y="3599741"/>
                </a:moveTo>
                <a:cubicBezTo>
                  <a:pt x="10429908" y="3619092"/>
                  <a:pt x="10436357" y="3625537"/>
                  <a:pt x="10449253" y="3625537"/>
                </a:cubicBezTo>
                <a:cubicBezTo>
                  <a:pt x="10449253" y="3606185"/>
                  <a:pt x="10442805" y="3599741"/>
                  <a:pt x="10429908" y="3599741"/>
                </a:cubicBezTo>
                <a:close/>
                <a:moveTo>
                  <a:pt x="10295567" y="3599741"/>
                </a:moveTo>
                <a:cubicBezTo>
                  <a:pt x="10295567" y="3638431"/>
                  <a:pt x="10321361" y="3625537"/>
                  <a:pt x="10334257" y="3625537"/>
                </a:cubicBezTo>
                <a:cubicBezTo>
                  <a:pt x="10334257" y="3593294"/>
                  <a:pt x="10314912" y="3599741"/>
                  <a:pt x="10295567" y="3599741"/>
                </a:cubicBezTo>
                <a:close/>
                <a:moveTo>
                  <a:pt x="682360" y="3597489"/>
                </a:moveTo>
                <a:cubicBezTo>
                  <a:pt x="701323" y="3604102"/>
                  <a:pt x="720282" y="3610716"/>
                  <a:pt x="738187" y="3610716"/>
                </a:cubicBezTo>
                <a:cubicBezTo>
                  <a:pt x="720282" y="3637172"/>
                  <a:pt x="682360" y="3643784"/>
                  <a:pt x="682360" y="3597489"/>
                </a:cubicBezTo>
                <a:close/>
                <a:moveTo>
                  <a:pt x="15696664" y="3597488"/>
                </a:moveTo>
                <a:cubicBezTo>
                  <a:pt x="15684366" y="3616107"/>
                  <a:pt x="15678218" y="3634719"/>
                  <a:pt x="15678218" y="3653332"/>
                </a:cubicBezTo>
                <a:cubicBezTo>
                  <a:pt x="15672068" y="3640922"/>
                  <a:pt x="15665920" y="3628513"/>
                  <a:pt x="15659770" y="3616107"/>
                </a:cubicBezTo>
                <a:cubicBezTo>
                  <a:pt x="15672068" y="3609888"/>
                  <a:pt x="15684366" y="3603690"/>
                  <a:pt x="15696664" y="3597488"/>
                </a:cubicBezTo>
                <a:close/>
                <a:moveTo>
                  <a:pt x="19958664" y="3582900"/>
                </a:moveTo>
                <a:lnTo>
                  <a:pt x="19957744" y="3586488"/>
                </a:lnTo>
                <a:lnTo>
                  <a:pt x="19956464" y="3591463"/>
                </a:lnTo>
                <a:close/>
                <a:moveTo>
                  <a:pt x="19959512" y="3579607"/>
                </a:moveTo>
                <a:cubicBezTo>
                  <a:pt x="19960128" y="3577215"/>
                  <a:pt x="19959716" y="3578810"/>
                  <a:pt x="19958896" y="3582000"/>
                </a:cubicBezTo>
                <a:lnTo>
                  <a:pt x="19958664" y="3582900"/>
                </a:lnTo>
                <a:close/>
                <a:moveTo>
                  <a:pt x="19972936" y="3574315"/>
                </a:moveTo>
                <a:cubicBezTo>
                  <a:pt x="19979760" y="3569048"/>
                  <a:pt x="19993412" y="3580635"/>
                  <a:pt x="20000236" y="3580635"/>
                </a:cubicBezTo>
                <a:cubicBezTo>
                  <a:pt x="19986584" y="3605910"/>
                  <a:pt x="19972936" y="3569048"/>
                  <a:pt x="19972936" y="3574315"/>
                </a:cubicBezTo>
                <a:close/>
                <a:moveTo>
                  <a:pt x="20260964" y="3569051"/>
                </a:moveTo>
                <a:cubicBezTo>
                  <a:pt x="20260964" y="3588959"/>
                  <a:pt x="20260964" y="3601124"/>
                  <a:pt x="20247840" y="3601124"/>
                </a:cubicBezTo>
                <a:cubicBezTo>
                  <a:pt x="20247840" y="3581218"/>
                  <a:pt x="20247840" y="3569051"/>
                  <a:pt x="20260964" y="3569051"/>
                </a:cubicBezTo>
                <a:close/>
                <a:moveTo>
                  <a:pt x="11334144" y="3569049"/>
                </a:moveTo>
                <a:cubicBezTo>
                  <a:pt x="11334144" y="3588010"/>
                  <a:pt x="11340766" y="3605914"/>
                  <a:pt x="11340766" y="3624876"/>
                </a:cubicBezTo>
                <a:cubicBezTo>
                  <a:pt x="11314277" y="3624876"/>
                  <a:pt x="11287787" y="3624876"/>
                  <a:pt x="11261297" y="3624876"/>
                </a:cubicBezTo>
                <a:cubicBezTo>
                  <a:pt x="11261297" y="3605914"/>
                  <a:pt x="11281164" y="3605914"/>
                  <a:pt x="11294409" y="3599594"/>
                </a:cubicBezTo>
                <a:cubicBezTo>
                  <a:pt x="11307654" y="3593275"/>
                  <a:pt x="11320899" y="3580637"/>
                  <a:pt x="11334144" y="3569049"/>
                </a:cubicBezTo>
                <a:close/>
                <a:moveTo>
                  <a:pt x="12290792" y="3566250"/>
                </a:moveTo>
                <a:cubicBezTo>
                  <a:pt x="12304321" y="3564757"/>
                  <a:pt x="12320237" y="3569645"/>
                  <a:pt x="12329787" y="3569645"/>
                </a:cubicBezTo>
                <a:cubicBezTo>
                  <a:pt x="12329787" y="3575076"/>
                  <a:pt x="12336154" y="3581593"/>
                  <a:pt x="12336154" y="3581593"/>
                </a:cubicBezTo>
                <a:cubicBezTo>
                  <a:pt x="12310688" y="3589196"/>
                  <a:pt x="12285222" y="3594627"/>
                  <a:pt x="12266122" y="3601144"/>
                </a:cubicBezTo>
                <a:cubicBezTo>
                  <a:pt x="12266122" y="3575620"/>
                  <a:pt x="12277263" y="3567743"/>
                  <a:pt x="12290792" y="3566250"/>
                </a:cubicBezTo>
                <a:close/>
                <a:moveTo>
                  <a:pt x="16472248" y="3566116"/>
                </a:moveTo>
                <a:cubicBezTo>
                  <a:pt x="16483882" y="3564635"/>
                  <a:pt x="16497842" y="3569482"/>
                  <a:pt x="16507150" y="3569482"/>
                </a:cubicBezTo>
                <a:cubicBezTo>
                  <a:pt x="16507150" y="3620114"/>
                  <a:pt x="16469920" y="3600720"/>
                  <a:pt x="16451306" y="3600720"/>
                </a:cubicBezTo>
                <a:cubicBezTo>
                  <a:pt x="16451306" y="3575408"/>
                  <a:pt x="16460614" y="3567597"/>
                  <a:pt x="16472248" y="3566116"/>
                </a:cubicBezTo>
                <a:close/>
                <a:moveTo>
                  <a:pt x="11415205" y="3566116"/>
                </a:moveTo>
                <a:cubicBezTo>
                  <a:pt x="11426923" y="3564635"/>
                  <a:pt x="11440879" y="3569483"/>
                  <a:pt x="11449832" y="3569483"/>
                </a:cubicBezTo>
                <a:cubicBezTo>
                  <a:pt x="11449832" y="3620114"/>
                  <a:pt x="11412966" y="3600721"/>
                  <a:pt x="11394007" y="3600721"/>
                </a:cubicBezTo>
                <a:cubicBezTo>
                  <a:pt x="11394007" y="3575408"/>
                  <a:pt x="11403487" y="3567597"/>
                  <a:pt x="11415205" y="3566116"/>
                </a:cubicBezTo>
                <a:close/>
                <a:moveTo>
                  <a:pt x="10389337" y="3565219"/>
                </a:moveTo>
                <a:cubicBezTo>
                  <a:pt x="10377516" y="3563742"/>
                  <a:pt x="10363276" y="3568578"/>
                  <a:pt x="10353603" y="3568578"/>
                </a:cubicBezTo>
                <a:cubicBezTo>
                  <a:pt x="10353603" y="3619092"/>
                  <a:pt x="10392293" y="3599741"/>
                  <a:pt x="10410563" y="3599741"/>
                </a:cubicBezTo>
                <a:cubicBezTo>
                  <a:pt x="10410563" y="3574486"/>
                  <a:pt x="10401159" y="3566697"/>
                  <a:pt x="10389337" y="3565219"/>
                </a:cubicBezTo>
                <a:close/>
                <a:moveTo>
                  <a:pt x="12158264" y="3564306"/>
                </a:moveTo>
                <a:cubicBezTo>
                  <a:pt x="12189536" y="3566430"/>
                  <a:pt x="12219529" y="3578039"/>
                  <a:pt x="12241343" y="3613971"/>
                </a:cubicBezTo>
                <a:cubicBezTo>
                  <a:pt x="12170247" y="3613971"/>
                  <a:pt x="12092688" y="3626956"/>
                  <a:pt x="12022670" y="3659432"/>
                </a:cubicBezTo>
                <a:cubicBezTo>
                  <a:pt x="11983891" y="3672422"/>
                  <a:pt x="11912795" y="3724384"/>
                  <a:pt x="11886942" y="3652937"/>
                </a:cubicBezTo>
                <a:cubicBezTo>
                  <a:pt x="11945111" y="3594478"/>
                  <a:pt x="12016207" y="3581489"/>
                  <a:pt x="12086225" y="3569581"/>
                </a:cubicBezTo>
                <a:cubicBezTo>
                  <a:pt x="12099151" y="3567957"/>
                  <a:pt x="12112886" y="3565927"/>
                  <a:pt x="12126822" y="3564794"/>
                </a:cubicBezTo>
                <a:cubicBezTo>
                  <a:pt x="12137274" y="3563944"/>
                  <a:pt x="12147840" y="3563599"/>
                  <a:pt x="12158264" y="3564306"/>
                </a:cubicBezTo>
                <a:close/>
                <a:moveTo>
                  <a:pt x="12341457" y="3557009"/>
                </a:moveTo>
                <a:lnTo>
                  <a:pt x="12347116" y="3564273"/>
                </a:lnTo>
                <a:lnTo>
                  <a:pt x="12350438" y="3568538"/>
                </a:lnTo>
                <a:cubicBezTo>
                  <a:pt x="12338463" y="3579811"/>
                  <a:pt x="12344451" y="3586984"/>
                  <a:pt x="12332476" y="3568538"/>
                </a:cubicBezTo>
                <a:cubicBezTo>
                  <a:pt x="12335470" y="3563927"/>
                  <a:pt x="12337341" y="3560852"/>
                  <a:pt x="12338650" y="3559027"/>
                </a:cubicBezTo>
                <a:lnTo>
                  <a:pt x="12340249" y="3557877"/>
                </a:lnTo>
                <a:close/>
                <a:moveTo>
                  <a:pt x="10468598" y="3536339"/>
                </a:moveTo>
                <a:cubicBezTo>
                  <a:pt x="10449253" y="3536339"/>
                  <a:pt x="10429908" y="3536339"/>
                  <a:pt x="10429908" y="3568578"/>
                </a:cubicBezTo>
                <a:cubicBezTo>
                  <a:pt x="10442805" y="3568578"/>
                  <a:pt x="10468598" y="3573950"/>
                  <a:pt x="10468598" y="3536339"/>
                </a:cubicBezTo>
                <a:close/>
                <a:moveTo>
                  <a:pt x="15464444" y="3535873"/>
                </a:moveTo>
                <a:cubicBezTo>
                  <a:pt x="15464444" y="3555136"/>
                  <a:pt x="15458456" y="3567978"/>
                  <a:pt x="15446482" y="3567978"/>
                </a:cubicBezTo>
                <a:cubicBezTo>
                  <a:pt x="15446482" y="3548716"/>
                  <a:pt x="15452470" y="3535873"/>
                  <a:pt x="15464444" y="3535873"/>
                </a:cubicBezTo>
                <a:close/>
                <a:moveTo>
                  <a:pt x="12497286" y="3535873"/>
                </a:moveTo>
                <a:cubicBezTo>
                  <a:pt x="12451885" y="3542294"/>
                  <a:pt x="12414050" y="3555136"/>
                  <a:pt x="12375135" y="3567978"/>
                </a:cubicBezTo>
                <a:cubicBezTo>
                  <a:pt x="12375135" y="3548716"/>
                  <a:pt x="12375135" y="3548716"/>
                  <a:pt x="12497286" y="3535873"/>
                </a:cubicBezTo>
                <a:close/>
                <a:moveTo>
                  <a:pt x="18583192" y="3535872"/>
                </a:moveTo>
                <a:cubicBezTo>
                  <a:pt x="18583192" y="3555136"/>
                  <a:pt x="18577204" y="3567978"/>
                  <a:pt x="18565232" y="3567978"/>
                </a:cubicBezTo>
                <a:cubicBezTo>
                  <a:pt x="18565232" y="3548716"/>
                  <a:pt x="18571216" y="3535872"/>
                  <a:pt x="18583192" y="3535872"/>
                </a:cubicBezTo>
                <a:close/>
                <a:moveTo>
                  <a:pt x="16827728" y="3532831"/>
                </a:moveTo>
                <a:cubicBezTo>
                  <a:pt x="16839364" y="3531240"/>
                  <a:pt x="16853324" y="3536015"/>
                  <a:pt x="16862632" y="3536015"/>
                </a:cubicBezTo>
                <a:cubicBezTo>
                  <a:pt x="16862632" y="3586947"/>
                  <a:pt x="16825404" y="3567848"/>
                  <a:pt x="16806788" y="3567848"/>
                </a:cubicBezTo>
                <a:cubicBezTo>
                  <a:pt x="16806788" y="3542382"/>
                  <a:pt x="16816096" y="3534423"/>
                  <a:pt x="16827728" y="3532831"/>
                </a:cubicBezTo>
                <a:close/>
                <a:moveTo>
                  <a:pt x="20171004" y="3512172"/>
                </a:moveTo>
                <a:cubicBezTo>
                  <a:pt x="20171004" y="3532647"/>
                  <a:pt x="20159032" y="3539472"/>
                  <a:pt x="20153044" y="3539472"/>
                </a:cubicBezTo>
                <a:cubicBezTo>
                  <a:pt x="20153044" y="3518997"/>
                  <a:pt x="20159032" y="3512172"/>
                  <a:pt x="20171004" y="3512172"/>
                </a:cubicBezTo>
                <a:close/>
                <a:moveTo>
                  <a:pt x="16767872" y="3512172"/>
                </a:moveTo>
                <a:cubicBezTo>
                  <a:pt x="16767872" y="3532647"/>
                  <a:pt x="16761884" y="3539472"/>
                  <a:pt x="16749910" y="3539472"/>
                </a:cubicBezTo>
                <a:cubicBezTo>
                  <a:pt x="16749910" y="3518997"/>
                  <a:pt x="16755898" y="3512172"/>
                  <a:pt x="16767872" y="3512172"/>
                </a:cubicBezTo>
                <a:close/>
                <a:moveTo>
                  <a:pt x="15320598" y="3512171"/>
                </a:moveTo>
                <a:cubicBezTo>
                  <a:pt x="15341072" y="3512171"/>
                  <a:pt x="15341072" y="3543195"/>
                  <a:pt x="15341072" y="3568014"/>
                </a:cubicBezTo>
                <a:cubicBezTo>
                  <a:pt x="15313774" y="3568014"/>
                  <a:pt x="15320598" y="3530785"/>
                  <a:pt x="15320598" y="3512171"/>
                </a:cubicBezTo>
                <a:close/>
                <a:moveTo>
                  <a:pt x="11315420" y="3478996"/>
                </a:moveTo>
                <a:cubicBezTo>
                  <a:pt x="11315420" y="3504423"/>
                  <a:pt x="11321841" y="3542562"/>
                  <a:pt x="11308998" y="3567989"/>
                </a:cubicBezTo>
                <a:cubicBezTo>
                  <a:pt x="11302577" y="3542562"/>
                  <a:pt x="11289735" y="3478996"/>
                  <a:pt x="11315420" y="3478996"/>
                </a:cubicBezTo>
                <a:close/>
                <a:moveTo>
                  <a:pt x="12773269" y="3478995"/>
                </a:moveTo>
                <a:cubicBezTo>
                  <a:pt x="12785244" y="3478995"/>
                  <a:pt x="12791231" y="3491838"/>
                  <a:pt x="12791231" y="3511099"/>
                </a:cubicBezTo>
                <a:cubicBezTo>
                  <a:pt x="12779256" y="3511099"/>
                  <a:pt x="12773269" y="3498257"/>
                  <a:pt x="12773269" y="3478995"/>
                </a:cubicBezTo>
                <a:close/>
                <a:moveTo>
                  <a:pt x="18265632" y="3478994"/>
                </a:moveTo>
                <a:cubicBezTo>
                  <a:pt x="18265632" y="3498257"/>
                  <a:pt x="18259644" y="3511099"/>
                  <a:pt x="18247672" y="3511099"/>
                </a:cubicBezTo>
                <a:cubicBezTo>
                  <a:pt x="18247672" y="3485415"/>
                  <a:pt x="18253656" y="3478994"/>
                  <a:pt x="18265632" y="3478994"/>
                </a:cubicBezTo>
                <a:close/>
                <a:moveTo>
                  <a:pt x="16489224" y="3478994"/>
                </a:moveTo>
                <a:cubicBezTo>
                  <a:pt x="16501198" y="3478994"/>
                  <a:pt x="16507186" y="3485415"/>
                  <a:pt x="16507186" y="3511099"/>
                </a:cubicBezTo>
                <a:cubicBezTo>
                  <a:pt x="16495212" y="3511099"/>
                  <a:pt x="16489224" y="3498257"/>
                  <a:pt x="16489224" y="3478994"/>
                </a:cubicBezTo>
                <a:close/>
                <a:moveTo>
                  <a:pt x="16444646" y="3478994"/>
                </a:moveTo>
                <a:cubicBezTo>
                  <a:pt x="16456944" y="3478994"/>
                  <a:pt x="16469242" y="3485415"/>
                  <a:pt x="16469242" y="3511099"/>
                </a:cubicBezTo>
                <a:cubicBezTo>
                  <a:pt x="16456944" y="3504679"/>
                  <a:pt x="16444646" y="3498257"/>
                  <a:pt x="16432350" y="3491837"/>
                </a:cubicBezTo>
                <a:cubicBezTo>
                  <a:pt x="16438498" y="3485415"/>
                  <a:pt x="16438498" y="3478994"/>
                  <a:pt x="16444646" y="3478994"/>
                </a:cubicBezTo>
                <a:close/>
                <a:moveTo>
                  <a:pt x="10781176" y="3471639"/>
                </a:moveTo>
                <a:lnTo>
                  <a:pt x="10785145" y="3475012"/>
                </a:lnTo>
                <a:cubicBezTo>
                  <a:pt x="10787152" y="3476718"/>
                  <a:pt x="10788155" y="3477571"/>
                  <a:pt x="10786650" y="3476291"/>
                </a:cubicBezTo>
                <a:close/>
                <a:moveTo>
                  <a:pt x="15057826" y="3464774"/>
                </a:moveTo>
                <a:cubicBezTo>
                  <a:pt x="15071052" y="3464774"/>
                  <a:pt x="15090892" y="3464774"/>
                  <a:pt x="15104120" y="3471390"/>
                </a:cubicBezTo>
                <a:cubicBezTo>
                  <a:pt x="15090892" y="3478002"/>
                  <a:pt x="15084280" y="3497842"/>
                  <a:pt x="15077666" y="3511070"/>
                </a:cubicBezTo>
                <a:cubicBezTo>
                  <a:pt x="15071052" y="3497842"/>
                  <a:pt x="15064438" y="3478002"/>
                  <a:pt x="15057826" y="3464774"/>
                </a:cubicBezTo>
                <a:close/>
                <a:moveTo>
                  <a:pt x="10780211" y="3455674"/>
                </a:moveTo>
                <a:cubicBezTo>
                  <a:pt x="10780719" y="3456526"/>
                  <a:pt x="10780973" y="3458660"/>
                  <a:pt x="10781100" y="3462286"/>
                </a:cubicBezTo>
                <a:lnTo>
                  <a:pt x="10781176" y="3471639"/>
                </a:lnTo>
                <a:lnTo>
                  <a:pt x="10781227" y="3477854"/>
                </a:lnTo>
                <a:cubicBezTo>
                  <a:pt x="10781227" y="3474443"/>
                  <a:pt x="10779195" y="3471032"/>
                  <a:pt x="10777164" y="3468470"/>
                </a:cubicBezTo>
                <a:lnTo>
                  <a:pt x="10775940" y="3467185"/>
                </a:lnTo>
                <a:lnTo>
                  <a:pt x="10773101" y="3464205"/>
                </a:lnTo>
                <a:cubicBezTo>
                  <a:pt x="10777164" y="3457379"/>
                  <a:pt x="10779195" y="3453967"/>
                  <a:pt x="10780211" y="3455674"/>
                </a:cubicBezTo>
                <a:close/>
                <a:moveTo>
                  <a:pt x="16678674" y="3448507"/>
                </a:moveTo>
                <a:cubicBezTo>
                  <a:pt x="16693902" y="3449312"/>
                  <a:pt x="16709932" y="3457357"/>
                  <a:pt x="16719550" y="3463798"/>
                </a:cubicBezTo>
                <a:cubicBezTo>
                  <a:pt x="16745198" y="3489554"/>
                  <a:pt x="16732374" y="3502431"/>
                  <a:pt x="16706726" y="3508869"/>
                </a:cubicBezTo>
                <a:cubicBezTo>
                  <a:pt x="16700314" y="3508869"/>
                  <a:pt x="16642608" y="3508869"/>
                  <a:pt x="16668256" y="3534628"/>
                </a:cubicBezTo>
                <a:cubicBezTo>
                  <a:pt x="16706726" y="3572186"/>
                  <a:pt x="16751608" y="3572186"/>
                  <a:pt x="16789012" y="3586137"/>
                </a:cubicBezTo>
                <a:cubicBezTo>
                  <a:pt x="16827484" y="3604378"/>
                  <a:pt x="16872364" y="3623698"/>
                  <a:pt x="16917248" y="3636575"/>
                </a:cubicBezTo>
                <a:cubicBezTo>
                  <a:pt x="16949308" y="3655891"/>
                  <a:pt x="16962132" y="3675208"/>
                  <a:pt x="16962132" y="3739595"/>
                </a:cubicBezTo>
                <a:cubicBezTo>
                  <a:pt x="16917248" y="3771792"/>
                  <a:pt x="16865956" y="3739595"/>
                  <a:pt x="16821072" y="3726719"/>
                </a:cubicBezTo>
                <a:cubicBezTo>
                  <a:pt x="16758020" y="3707400"/>
                  <a:pt x="16700314" y="3707400"/>
                  <a:pt x="16642608" y="3720280"/>
                </a:cubicBezTo>
                <a:cubicBezTo>
                  <a:pt x="16642608" y="3700964"/>
                  <a:pt x="16642608" y="3681648"/>
                  <a:pt x="16642608" y="3655891"/>
                </a:cubicBezTo>
                <a:cubicBezTo>
                  <a:pt x="16616960" y="3668769"/>
                  <a:pt x="16592382" y="3675208"/>
                  <a:pt x="16566734" y="3688091"/>
                </a:cubicBezTo>
                <a:cubicBezTo>
                  <a:pt x="16566734" y="3636575"/>
                  <a:pt x="16560322" y="3597940"/>
                  <a:pt x="16597726" y="3578624"/>
                </a:cubicBezTo>
                <a:cubicBezTo>
                  <a:pt x="16636196" y="3566820"/>
                  <a:pt x="16629784" y="3528188"/>
                  <a:pt x="16642608" y="3476676"/>
                </a:cubicBezTo>
                <a:cubicBezTo>
                  <a:pt x="16649020" y="3454140"/>
                  <a:pt x="16663446" y="3447700"/>
                  <a:pt x="16678674" y="3448507"/>
                </a:cubicBezTo>
                <a:close/>
                <a:moveTo>
                  <a:pt x="13075589" y="3447224"/>
                </a:moveTo>
                <a:cubicBezTo>
                  <a:pt x="13075589" y="3477967"/>
                  <a:pt x="13050994" y="3477967"/>
                  <a:pt x="13038697" y="3477967"/>
                </a:cubicBezTo>
                <a:cubicBezTo>
                  <a:pt x="13038697" y="3441075"/>
                  <a:pt x="13057143" y="3447224"/>
                  <a:pt x="13075589" y="3447224"/>
                </a:cubicBezTo>
                <a:close/>
                <a:moveTo>
                  <a:pt x="18583192" y="3445817"/>
                </a:moveTo>
                <a:cubicBezTo>
                  <a:pt x="18583192" y="3465082"/>
                  <a:pt x="18577204" y="3477925"/>
                  <a:pt x="18565232" y="3477925"/>
                </a:cubicBezTo>
                <a:cubicBezTo>
                  <a:pt x="18565232" y="3452238"/>
                  <a:pt x="18571216" y="3445817"/>
                  <a:pt x="18583192" y="3445817"/>
                </a:cubicBezTo>
                <a:close/>
                <a:moveTo>
                  <a:pt x="19033468" y="3445816"/>
                </a:moveTo>
                <a:cubicBezTo>
                  <a:pt x="19033468" y="3465082"/>
                  <a:pt x="19027480" y="3477925"/>
                  <a:pt x="19015508" y="3477925"/>
                </a:cubicBezTo>
                <a:cubicBezTo>
                  <a:pt x="19015508" y="3452238"/>
                  <a:pt x="19021492" y="3445816"/>
                  <a:pt x="19033468" y="3445816"/>
                </a:cubicBezTo>
                <a:close/>
                <a:moveTo>
                  <a:pt x="12959638" y="3445815"/>
                </a:moveTo>
                <a:cubicBezTo>
                  <a:pt x="12959638" y="3465396"/>
                  <a:pt x="12966463" y="3511085"/>
                  <a:pt x="12939163" y="3511085"/>
                </a:cubicBezTo>
                <a:cubicBezTo>
                  <a:pt x="12939163" y="3484977"/>
                  <a:pt x="12939163" y="3445815"/>
                  <a:pt x="12959638" y="3445815"/>
                </a:cubicBezTo>
                <a:close/>
                <a:moveTo>
                  <a:pt x="11394007" y="3445815"/>
                </a:moveTo>
                <a:cubicBezTo>
                  <a:pt x="11406304" y="3445815"/>
                  <a:pt x="11418602" y="3445815"/>
                  <a:pt x="11430899" y="3445815"/>
                </a:cubicBezTo>
                <a:cubicBezTo>
                  <a:pt x="11430899" y="3465396"/>
                  <a:pt x="11430899" y="3484977"/>
                  <a:pt x="11430899" y="3511085"/>
                </a:cubicBezTo>
                <a:cubicBezTo>
                  <a:pt x="11418602" y="3511085"/>
                  <a:pt x="11406304" y="3511085"/>
                  <a:pt x="11394007" y="3511085"/>
                </a:cubicBezTo>
                <a:cubicBezTo>
                  <a:pt x="11394007" y="3484977"/>
                  <a:pt x="11394007" y="3465396"/>
                  <a:pt x="11394007" y="3445815"/>
                </a:cubicBezTo>
                <a:close/>
                <a:moveTo>
                  <a:pt x="20037644" y="3437353"/>
                </a:moveTo>
                <a:cubicBezTo>
                  <a:pt x="20066080" y="3432584"/>
                  <a:pt x="20109332" y="3477877"/>
                  <a:pt x="20128292" y="3487412"/>
                </a:cubicBezTo>
                <a:cubicBezTo>
                  <a:pt x="20090372" y="3474700"/>
                  <a:pt x="20053508" y="3468341"/>
                  <a:pt x="20015588" y="3461985"/>
                </a:cubicBezTo>
                <a:cubicBezTo>
                  <a:pt x="20020328" y="3446094"/>
                  <a:pt x="20028164" y="3438942"/>
                  <a:pt x="20037644" y="3437353"/>
                </a:cubicBezTo>
                <a:close/>
                <a:moveTo>
                  <a:pt x="18401800" y="3429847"/>
                </a:moveTo>
                <a:cubicBezTo>
                  <a:pt x="18402620" y="3428349"/>
                  <a:pt x="18405904" y="3429847"/>
                  <a:pt x="18412464" y="3432839"/>
                </a:cubicBezTo>
                <a:cubicBezTo>
                  <a:pt x="18412464" y="3432839"/>
                  <a:pt x="18405900" y="3438828"/>
                  <a:pt x="18405900" y="3444815"/>
                </a:cubicBezTo>
                <a:cubicBezTo>
                  <a:pt x="18402620" y="3435835"/>
                  <a:pt x="18400980" y="3431344"/>
                  <a:pt x="18401800" y="3429847"/>
                </a:cubicBezTo>
                <a:close/>
                <a:moveTo>
                  <a:pt x="19004928" y="3414509"/>
                </a:moveTo>
                <a:cubicBezTo>
                  <a:pt x="19004928" y="3454189"/>
                  <a:pt x="18978472" y="3447576"/>
                  <a:pt x="18958632" y="3447576"/>
                </a:cubicBezTo>
                <a:cubicBezTo>
                  <a:pt x="18958632" y="3407895"/>
                  <a:pt x="18985088" y="3414509"/>
                  <a:pt x="19004928" y="3414509"/>
                </a:cubicBezTo>
                <a:close/>
                <a:moveTo>
                  <a:pt x="14862471" y="3414509"/>
                </a:moveTo>
                <a:cubicBezTo>
                  <a:pt x="14862471" y="3454189"/>
                  <a:pt x="14844025" y="3447576"/>
                  <a:pt x="14825579" y="3447576"/>
                </a:cubicBezTo>
                <a:cubicBezTo>
                  <a:pt x="14825579" y="3407896"/>
                  <a:pt x="14850174" y="3414509"/>
                  <a:pt x="14862471" y="3414509"/>
                </a:cubicBezTo>
                <a:close/>
                <a:moveTo>
                  <a:pt x="10487943" y="3413830"/>
                </a:moveTo>
                <a:cubicBezTo>
                  <a:pt x="10487943" y="3452516"/>
                  <a:pt x="10507289" y="3446069"/>
                  <a:pt x="10526634" y="3446069"/>
                </a:cubicBezTo>
                <a:cubicBezTo>
                  <a:pt x="10526634" y="3407382"/>
                  <a:pt x="10500840" y="3413830"/>
                  <a:pt x="10487943" y="3413830"/>
                </a:cubicBezTo>
                <a:close/>
                <a:moveTo>
                  <a:pt x="16268100" y="3412639"/>
                </a:moveTo>
                <a:cubicBezTo>
                  <a:pt x="16325524" y="3432076"/>
                  <a:pt x="16375504" y="3445036"/>
                  <a:pt x="16426546" y="3464475"/>
                </a:cubicBezTo>
                <a:cubicBezTo>
                  <a:pt x="16407406" y="3496874"/>
                  <a:pt x="16375504" y="3464475"/>
                  <a:pt x="16357426" y="3457996"/>
                </a:cubicBezTo>
                <a:cubicBezTo>
                  <a:pt x="16325524" y="3445036"/>
                  <a:pt x="16293622" y="3438557"/>
                  <a:pt x="16261718" y="3432076"/>
                </a:cubicBezTo>
                <a:cubicBezTo>
                  <a:pt x="16261718" y="3425598"/>
                  <a:pt x="16268100" y="3419118"/>
                  <a:pt x="16268100" y="3412639"/>
                </a:cubicBezTo>
                <a:close/>
                <a:moveTo>
                  <a:pt x="14906153" y="3412639"/>
                </a:moveTo>
                <a:cubicBezTo>
                  <a:pt x="14931431" y="3419166"/>
                  <a:pt x="14955656" y="3425693"/>
                  <a:pt x="14980935" y="3432218"/>
                </a:cubicBezTo>
                <a:cubicBezTo>
                  <a:pt x="14961976" y="3445273"/>
                  <a:pt x="14961976" y="3477909"/>
                  <a:pt x="14936698" y="3477909"/>
                </a:cubicBezTo>
                <a:cubicBezTo>
                  <a:pt x="14925112" y="3477909"/>
                  <a:pt x="14917739" y="3477909"/>
                  <a:pt x="14906153" y="3477909"/>
                </a:cubicBezTo>
                <a:cubicBezTo>
                  <a:pt x="14906153" y="3458327"/>
                  <a:pt x="14906153" y="3432218"/>
                  <a:pt x="14906153" y="3412639"/>
                </a:cubicBezTo>
                <a:close/>
                <a:moveTo>
                  <a:pt x="10944622" y="3405079"/>
                </a:moveTo>
                <a:lnTo>
                  <a:pt x="10949219" y="3412066"/>
                </a:lnTo>
                <a:lnTo>
                  <a:pt x="10945985" y="3418713"/>
                </a:lnTo>
                <a:lnTo>
                  <a:pt x="10984719" y="3433376"/>
                </a:lnTo>
                <a:cubicBezTo>
                  <a:pt x="10997565" y="3439219"/>
                  <a:pt x="11007842" y="3444457"/>
                  <a:pt x="11012410" y="3446069"/>
                </a:cubicBezTo>
                <a:cubicBezTo>
                  <a:pt x="11012410" y="3402548"/>
                  <a:pt x="10980370" y="3413428"/>
                  <a:pt x="10956189" y="3410707"/>
                </a:cubicBezTo>
                <a:close/>
                <a:moveTo>
                  <a:pt x="11899418" y="3388176"/>
                </a:moveTo>
                <a:cubicBezTo>
                  <a:pt x="11892974" y="3407441"/>
                  <a:pt x="11886531" y="3426704"/>
                  <a:pt x="11880087" y="3445969"/>
                </a:cubicBezTo>
                <a:cubicBezTo>
                  <a:pt x="11899418" y="3445969"/>
                  <a:pt x="11918749" y="3445969"/>
                  <a:pt x="11938080" y="3445969"/>
                </a:cubicBezTo>
                <a:cubicBezTo>
                  <a:pt x="11938080" y="3407441"/>
                  <a:pt x="11912305" y="3401019"/>
                  <a:pt x="11899418" y="3388176"/>
                </a:cubicBezTo>
                <a:close/>
                <a:moveTo>
                  <a:pt x="14697606" y="3384202"/>
                </a:moveTo>
                <a:cubicBezTo>
                  <a:pt x="14728697" y="3389732"/>
                  <a:pt x="14767292" y="3389732"/>
                  <a:pt x="14786590" y="3436181"/>
                </a:cubicBezTo>
                <a:cubicBezTo>
                  <a:pt x="14760860" y="3436181"/>
                  <a:pt x="14728697" y="3442817"/>
                  <a:pt x="14697606" y="3449453"/>
                </a:cubicBezTo>
                <a:cubicBezTo>
                  <a:pt x="14697606" y="3429545"/>
                  <a:pt x="14697606" y="3403003"/>
                  <a:pt x="14697606" y="3384202"/>
                </a:cubicBezTo>
                <a:close/>
                <a:moveTo>
                  <a:pt x="13416739" y="3384202"/>
                </a:moveTo>
                <a:cubicBezTo>
                  <a:pt x="13416739" y="3409638"/>
                  <a:pt x="13416739" y="3449453"/>
                  <a:pt x="13396264" y="3449453"/>
                </a:cubicBezTo>
                <a:cubicBezTo>
                  <a:pt x="13396264" y="3422909"/>
                  <a:pt x="13389439" y="3384202"/>
                  <a:pt x="13416739" y="3384202"/>
                </a:cubicBezTo>
                <a:close/>
                <a:moveTo>
                  <a:pt x="16185882" y="3384201"/>
                </a:moveTo>
                <a:cubicBezTo>
                  <a:pt x="16212372" y="3389731"/>
                  <a:pt x="16238862" y="3396365"/>
                  <a:pt x="16265354" y="3403001"/>
                </a:cubicBezTo>
                <a:cubicBezTo>
                  <a:pt x="16245486" y="3429543"/>
                  <a:pt x="16185882" y="3449452"/>
                  <a:pt x="16185882" y="3384201"/>
                </a:cubicBezTo>
                <a:close/>
                <a:moveTo>
                  <a:pt x="13185628" y="3384200"/>
                </a:moveTo>
                <a:cubicBezTo>
                  <a:pt x="13217530" y="3384200"/>
                  <a:pt x="13255811" y="3389584"/>
                  <a:pt x="13287713" y="3384200"/>
                </a:cubicBezTo>
                <a:cubicBezTo>
                  <a:pt x="13293030" y="3384200"/>
                  <a:pt x="13350453" y="3384200"/>
                  <a:pt x="13337692" y="3408973"/>
                </a:cubicBezTo>
                <a:cubicBezTo>
                  <a:pt x="13318551" y="3454214"/>
                  <a:pt x="13255811" y="3441288"/>
                  <a:pt x="13223910" y="3447749"/>
                </a:cubicBezTo>
                <a:cubicBezTo>
                  <a:pt x="13211149" y="3434825"/>
                  <a:pt x="13185628" y="3421898"/>
                  <a:pt x="13185628" y="3384200"/>
                </a:cubicBezTo>
                <a:close/>
                <a:moveTo>
                  <a:pt x="18925452" y="3384199"/>
                </a:moveTo>
                <a:cubicBezTo>
                  <a:pt x="18937424" y="3384199"/>
                  <a:pt x="18943412" y="3396361"/>
                  <a:pt x="18943412" y="3416266"/>
                </a:cubicBezTo>
                <a:cubicBezTo>
                  <a:pt x="18931436" y="3416266"/>
                  <a:pt x="18925452" y="3409632"/>
                  <a:pt x="18925452" y="3384199"/>
                </a:cubicBezTo>
                <a:close/>
                <a:moveTo>
                  <a:pt x="15723070" y="3384199"/>
                </a:moveTo>
                <a:cubicBezTo>
                  <a:pt x="15735912" y="3384199"/>
                  <a:pt x="15748754" y="3389726"/>
                  <a:pt x="15748754" y="3416266"/>
                </a:cubicBezTo>
                <a:cubicBezTo>
                  <a:pt x="15742332" y="3409633"/>
                  <a:pt x="15729490" y="3402996"/>
                  <a:pt x="15716648" y="3402996"/>
                </a:cubicBezTo>
                <a:cubicBezTo>
                  <a:pt x="15716648" y="3396362"/>
                  <a:pt x="15723070" y="3389726"/>
                  <a:pt x="15723070" y="3384199"/>
                </a:cubicBezTo>
                <a:close/>
                <a:moveTo>
                  <a:pt x="13540111" y="3384199"/>
                </a:moveTo>
                <a:cubicBezTo>
                  <a:pt x="13540111" y="3409633"/>
                  <a:pt x="13534124" y="3416266"/>
                  <a:pt x="13522149" y="3416266"/>
                </a:cubicBezTo>
                <a:cubicBezTo>
                  <a:pt x="13522149" y="3396362"/>
                  <a:pt x="13528136" y="3384199"/>
                  <a:pt x="13540111" y="3384199"/>
                </a:cubicBezTo>
                <a:close/>
                <a:moveTo>
                  <a:pt x="14638347" y="3382625"/>
                </a:moveTo>
                <a:cubicBezTo>
                  <a:pt x="14656671" y="3380789"/>
                  <a:pt x="14677612" y="3381401"/>
                  <a:pt x="14677612" y="3415667"/>
                </a:cubicBezTo>
                <a:cubicBezTo>
                  <a:pt x="14658997" y="3415667"/>
                  <a:pt x="14621768" y="3435247"/>
                  <a:pt x="14621768" y="3384122"/>
                </a:cubicBezTo>
                <a:cubicBezTo>
                  <a:pt x="14626422" y="3384122"/>
                  <a:pt x="14632239" y="3383236"/>
                  <a:pt x="14638347" y="3382625"/>
                </a:cubicBezTo>
                <a:close/>
                <a:moveTo>
                  <a:pt x="17205932" y="3381122"/>
                </a:moveTo>
                <a:cubicBezTo>
                  <a:pt x="17205932" y="3405838"/>
                  <a:pt x="17211304" y="3412286"/>
                  <a:pt x="17224200" y="3412286"/>
                </a:cubicBezTo>
                <a:cubicBezTo>
                  <a:pt x="17224200" y="3392942"/>
                  <a:pt x="17217752" y="3381122"/>
                  <a:pt x="17205932" y="3381122"/>
                </a:cubicBezTo>
                <a:close/>
                <a:moveTo>
                  <a:pt x="13616195" y="3380910"/>
                </a:moveTo>
                <a:cubicBezTo>
                  <a:pt x="13634031" y="3379460"/>
                  <a:pt x="13655111" y="3384200"/>
                  <a:pt x="13668083" y="3384200"/>
                </a:cubicBezTo>
                <a:cubicBezTo>
                  <a:pt x="13718889" y="3389465"/>
                  <a:pt x="13777263" y="3384200"/>
                  <a:pt x="13829151" y="3384200"/>
                </a:cubicBezTo>
                <a:cubicBezTo>
                  <a:pt x="13829151" y="3440020"/>
                  <a:pt x="13770777" y="3421061"/>
                  <a:pt x="13751319" y="3421061"/>
                </a:cubicBezTo>
                <a:cubicBezTo>
                  <a:pt x="13694027" y="3408422"/>
                  <a:pt x="13642139" y="3414742"/>
                  <a:pt x="13583765" y="3414742"/>
                </a:cubicBezTo>
                <a:cubicBezTo>
                  <a:pt x="13583765" y="3389991"/>
                  <a:pt x="13598358" y="3382357"/>
                  <a:pt x="13616195" y="3380910"/>
                </a:cubicBezTo>
                <a:close/>
                <a:moveTo>
                  <a:pt x="11707587" y="3376606"/>
                </a:moveTo>
                <a:cubicBezTo>
                  <a:pt x="11739603" y="3376606"/>
                  <a:pt x="11778023" y="3369978"/>
                  <a:pt x="11810040" y="3403092"/>
                </a:cubicBezTo>
                <a:cubicBezTo>
                  <a:pt x="11806838" y="3409715"/>
                  <a:pt x="11805237" y="3416336"/>
                  <a:pt x="11803636" y="3423788"/>
                </a:cubicBezTo>
                <a:lnTo>
                  <a:pt x="11799155" y="3441749"/>
                </a:lnTo>
                <a:lnTo>
                  <a:pt x="11800533" y="3445300"/>
                </a:lnTo>
                <a:cubicBezTo>
                  <a:pt x="11800533" y="3451448"/>
                  <a:pt x="11793969" y="3451448"/>
                  <a:pt x="11793969" y="3463746"/>
                </a:cubicBezTo>
                <a:cubicBezTo>
                  <a:pt x="11793969" y="3460671"/>
                  <a:pt x="11792328" y="3451448"/>
                  <a:pt x="11791508" y="3443763"/>
                </a:cubicBezTo>
                <a:lnTo>
                  <a:pt x="11791459" y="3442265"/>
                </a:lnTo>
                <a:lnTo>
                  <a:pt x="11781988" y="3430482"/>
                </a:lnTo>
                <a:cubicBezTo>
                  <a:pt x="11744606" y="3398143"/>
                  <a:pt x="11695580" y="3443656"/>
                  <a:pt x="11656360" y="3449452"/>
                </a:cubicBezTo>
                <a:cubicBezTo>
                  <a:pt x="11656360" y="3429582"/>
                  <a:pt x="11649957" y="3396471"/>
                  <a:pt x="11662764" y="3389847"/>
                </a:cubicBezTo>
                <a:cubicBezTo>
                  <a:pt x="11675570" y="3376606"/>
                  <a:pt x="11694780" y="3376606"/>
                  <a:pt x="11707587" y="3376606"/>
                </a:cubicBezTo>
                <a:close/>
                <a:moveTo>
                  <a:pt x="14076568" y="3375332"/>
                </a:moveTo>
                <a:cubicBezTo>
                  <a:pt x="14096975" y="3375464"/>
                  <a:pt x="14120411" y="3383606"/>
                  <a:pt x="14132524" y="3383606"/>
                </a:cubicBezTo>
                <a:cubicBezTo>
                  <a:pt x="14132524" y="3454206"/>
                  <a:pt x="14057741" y="3415104"/>
                  <a:pt x="14038782" y="3415104"/>
                </a:cubicBezTo>
                <a:cubicBezTo>
                  <a:pt x="14038782" y="3383062"/>
                  <a:pt x="14056161" y="3375192"/>
                  <a:pt x="14076568" y="3375332"/>
                </a:cubicBezTo>
                <a:close/>
                <a:moveTo>
                  <a:pt x="12091787" y="3374676"/>
                </a:moveTo>
                <a:cubicBezTo>
                  <a:pt x="12070979" y="3374803"/>
                  <a:pt x="12047084" y="3382825"/>
                  <a:pt x="12034734" y="3382825"/>
                </a:cubicBezTo>
                <a:cubicBezTo>
                  <a:pt x="12034734" y="3452390"/>
                  <a:pt x="12104540" y="3413862"/>
                  <a:pt x="12130314" y="3413862"/>
                </a:cubicBezTo>
                <a:cubicBezTo>
                  <a:pt x="12130314" y="3382292"/>
                  <a:pt x="12112594" y="3374536"/>
                  <a:pt x="12091787" y="3374676"/>
                </a:cubicBezTo>
                <a:close/>
                <a:moveTo>
                  <a:pt x="11808108" y="3373457"/>
                </a:moveTo>
                <a:cubicBezTo>
                  <a:pt x="11810354" y="3373457"/>
                  <a:pt x="11811850" y="3376935"/>
                  <a:pt x="11814844" y="3383891"/>
                </a:cubicBezTo>
                <a:cubicBezTo>
                  <a:pt x="11808857" y="3402086"/>
                  <a:pt x="11808857" y="3402086"/>
                  <a:pt x="11796882" y="3383891"/>
                </a:cubicBezTo>
                <a:cubicBezTo>
                  <a:pt x="11802869" y="3376935"/>
                  <a:pt x="11805863" y="3373457"/>
                  <a:pt x="11808108" y="3373457"/>
                </a:cubicBezTo>
                <a:close/>
                <a:moveTo>
                  <a:pt x="15708808" y="3368091"/>
                </a:moveTo>
                <a:cubicBezTo>
                  <a:pt x="15710450" y="3366474"/>
                  <a:pt x="15713730" y="3367722"/>
                  <a:pt x="15720294" y="3370213"/>
                </a:cubicBezTo>
                <a:cubicBezTo>
                  <a:pt x="15713730" y="3376218"/>
                  <a:pt x="15707168" y="3383199"/>
                  <a:pt x="15707168" y="3383199"/>
                </a:cubicBezTo>
                <a:cubicBezTo>
                  <a:pt x="15707168" y="3374224"/>
                  <a:pt x="15707168" y="3369711"/>
                  <a:pt x="15708808" y="3368091"/>
                </a:cubicBezTo>
                <a:close/>
                <a:moveTo>
                  <a:pt x="14583850" y="3351018"/>
                </a:moveTo>
                <a:cubicBezTo>
                  <a:pt x="14595825" y="3351018"/>
                  <a:pt x="14601812" y="3363858"/>
                  <a:pt x="14601812" y="3383130"/>
                </a:cubicBezTo>
                <a:cubicBezTo>
                  <a:pt x="14589837" y="3383130"/>
                  <a:pt x="14583850" y="3369210"/>
                  <a:pt x="14583850" y="3351018"/>
                </a:cubicBezTo>
                <a:close/>
                <a:moveTo>
                  <a:pt x="14242588" y="3351018"/>
                </a:moveTo>
                <a:cubicBezTo>
                  <a:pt x="14254563" y="3351018"/>
                  <a:pt x="14260550" y="3363858"/>
                  <a:pt x="14260550" y="3383130"/>
                </a:cubicBezTo>
                <a:cubicBezTo>
                  <a:pt x="14248575" y="3383130"/>
                  <a:pt x="14242588" y="3369210"/>
                  <a:pt x="14242588" y="3351018"/>
                </a:cubicBezTo>
                <a:close/>
                <a:moveTo>
                  <a:pt x="12394092" y="3351018"/>
                </a:moveTo>
                <a:cubicBezTo>
                  <a:pt x="12406389" y="3351018"/>
                  <a:pt x="12418687" y="3351018"/>
                  <a:pt x="12430984" y="3351018"/>
                </a:cubicBezTo>
                <a:cubicBezTo>
                  <a:pt x="12430984" y="3363858"/>
                  <a:pt x="12430984" y="3375644"/>
                  <a:pt x="12430984" y="3383130"/>
                </a:cubicBezTo>
                <a:cubicBezTo>
                  <a:pt x="12418687" y="3383130"/>
                  <a:pt x="12406389" y="3383130"/>
                  <a:pt x="12394092" y="3383130"/>
                </a:cubicBezTo>
                <a:cubicBezTo>
                  <a:pt x="12394092" y="3375644"/>
                  <a:pt x="12394092" y="3363858"/>
                  <a:pt x="12394092" y="3351018"/>
                </a:cubicBezTo>
                <a:close/>
                <a:moveTo>
                  <a:pt x="18905496" y="3351017"/>
                </a:moveTo>
                <a:cubicBezTo>
                  <a:pt x="18905496" y="3369210"/>
                  <a:pt x="18899508" y="3383128"/>
                  <a:pt x="18887532" y="3383128"/>
                </a:cubicBezTo>
                <a:cubicBezTo>
                  <a:pt x="18887532" y="3363857"/>
                  <a:pt x="18887532" y="3351017"/>
                  <a:pt x="18905496" y="3351017"/>
                </a:cubicBezTo>
                <a:close/>
                <a:moveTo>
                  <a:pt x="16323334" y="3351017"/>
                </a:moveTo>
                <a:cubicBezTo>
                  <a:pt x="16335310" y="3351017"/>
                  <a:pt x="16341298" y="3363857"/>
                  <a:pt x="16341298" y="3383128"/>
                </a:cubicBezTo>
                <a:cubicBezTo>
                  <a:pt x="16329322" y="3383128"/>
                  <a:pt x="16323334" y="3375644"/>
                  <a:pt x="16323334" y="3351017"/>
                </a:cubicBezTo>
                <a:close/>
                <a:moveTo>
                  <a:pt x="14503274" y="3351016"/>
                </a:moveTo>
                <a:cubicBezTo>
                  <a:pt x="14510259" y="3351016"/>
                  <a:pt x="14516247" y="3351016"/>
                  <a:pt x="14521236" y="3351016"/>
                </a:cubicBezTo>
                <a:cubicBezTo>
                  <a:pt x="14521236" y="3376461"/>
                  <a:pt x="14521236" y="3396363"/>
                  <a:pt x="14521236" y="3416268"/>
                </a:cubicBezTo>
                <a:cubicBezTo>
                  <a:pt x="14516247" y="3416268"/>
                  <a:pt x="14510259" y="3416268"/>
                  <a:pt x="14503274" y="3416268"/>
                </a:cubicBezTo>
                <a:cubicBezTo>
                  <a:pt x="14503274" y="3396363"/>
                  <a:pt x="14503274" y="3376461"/>
                  <a:pt x="14503274" y="3351016"/>
                </a:cubicBezTo>
                <a:close/>
                <a:moveTo>
                  <a:pt x="14394263" y="3351015"/>
                </a:moveTo>
                <a:cubicBezTo>
                  <a:pt x="14407106" y="3351015"/>
                  <a:pt x="14419950" y="3351015"/>
                  <a:pt x="14426372" y="3351015"/>
                </a:cubicBezTo>
                <a:cubicBezTo>
                  <a:pt x="14426372" y="3402069"/>
                  <a:pt x="14394263" y="3395552"/>
                  <a:pt x="14394263" y="3351015"/>
                </a:cubicBezTo>
                <a:close/>
                <a:moveTo>
                  <a:pt x="12480769" y="3342679"/>
                </a:moveTo>
                <a:cubicBezTo>
                  <a:pt x="12497325" y="3341873"/>
                  <a:pt x="12517194" y="3348307"/>
                  <a:pt x="12530439" y="3348307"/>
                </a:cubicBezTo>
                <a:cubicBezTo>
                  <a:pt x="12530439" y="3411562"/>
                  <a:pt x="12470835" y="3380474"/>
                  <a:pt x="12450967" y="3380474"/>
                </a:cubicBezTo>
                <a:cubicBezTo>
                  <a:pt x="12450967" y="3351524"/>
                  <a:pt x="12464212" y="3343483"/>
                  <a:pt x="12480769" y="3342679"/>
                </a:cubicBezTo>
                <a:close/>
                <a:moveTo>
                  <a:pt x="16095256" y="3342278"/>
                </a:moveTo>
                <a:cubicBezTo>
                  <a:pt x="16115120" y="3342278"/>
                  <a:pt x="16137368" y="3350424"/>
                  <a:pt x="16146904" y="3350424"/>
                </a:cubicBezTo>
                <a:cubicBezTo>
                  <a:pt x="16146904" y="3421028"/>
                  <a:pt x="16076982" y="3383014"/>
                  <a:pt x="16057910" y="3383014"/>
                </a:cubicBezTo>
                <a:cubicBezTo>
                  <a:pt x="16057910" y="3350424"/>
                  <a:pt x="16075392" y="3342278"/>
                  <a:pt x="16095256" y="3342278"/>
                </a:cubicBezTo>
                <a:close/>
                <a:moveTo>
                  <a:pt x="17132036" y="3340947"/>
                </a:moveTo>
                <a:lnTo>
                  <a:pt x="17137072" y="3353244"/>
                </a:lnTo>
                <a:lnTo>
                  <a:pt x="17132672" y="3363445"/>
                </a:lnTo>
                <a:lnTo>
                  <a:pt x="17147892" y="3373613"/>
                </a:lnTo>
                <a:cubicBezTo>
                  <a:pt x="17160792" y="3373613"/>
                  <a:pt x="17173688" y="3381122"/>
                  <a:pt x="17186584" y="3381122"/>
                </a:cubicBezTo>
                <a:cubicBezTo>
                  <a:pt x="17186584" y="3342428"/>
                  <a:pt x="17160792" y="3348874"/>
                  <a:pt x="17147892" y="3348874"/>
                </a:cubicBezTo>
                <a:close/>
                <a:moveTo>
                  <a:pt x="15902792" y="3325880"/>
                </a:moveTo>
                <a:cubicBezTo>
                  <a:pt x="15876938" y="3325880"/>
                  <a:pt x="15864012" y="3345235"/>
                  <a:pt x="15864012" y="3383949"/>
                </a:cubicBezTo>
                <a:cubicBezTo>
                  <a:pt x="15889866" y="3369962"/>
                  <a:pt x="15915718" y="3376427"/>
                  <a:pt x="15941572" y="3383949"/>
                </a:cubicBezTo>
                <a:cubicBezTo>
                  <a:pt x="15941572" y="3338783"/>
                  <a:pt x="15928646" y="3325880"/>
                  <a:pt x="15902792" y="3325880"/>
                </a:cubicBezTo>
                <a:close/>
                <a:moveTo>
                  <a:pt x="14190455" y="3323987"/>
                </a:moveTo>
                <a:cubicBezTo>
                  <a:pt x="14203297" y="3323987"/>
                  <a:pt x="14222561" y="3317838"/>
                  <a:pt x="14222561" y="3348580"/>
                </a:cubicBezTo>
                <a:cubicBezTo>
                  <a:pt x="14209718" y="3348580"/>
                  <a:pt x="14190455" y="3354729"/>
                  <a:pt x="14190455" y="3323987"/>
                </a:cubicBezTo>
                <a:close/>
                <a:moveTo>
                  <a:pt x="17076960" y="3323082"/>
                </a:moveTo>
                <a:cubicBezTo>
                  <a:pt x="17076960" y="3355321"/>
                  <a:pt x="17096304" y="3348874"/>
                  <a:pt x="17115652" y="3348874"/>
                </a:cubicBezTo>
                <a:lnTo>
                  <a:pt x="17127324" y="3359402"/>
                </a:lnTo>
                <a:lnTo>
                  <a:pt x="17124348" y="3350065"/>
                </a:lnTo>
                <a:cubicBezTo>
                  <a:pt x="17124348" y="3346748"/>
                  <a:pt x="17125848" y="3345088"/>
                  <a:pt x="17127344" y="3343431"/>
                </a:cubicBezTo>
                <a:lnTo>
                  <a:pt x="17129120" y="3339489"/>
                </a:lnTo>
                <a:lnTo>
                  <a:pt x="17128548" y="3339202"/>
                </a:lnTo>
                <a:cubicBezTo>
                  <a:pt x="17122100" y="3334366"/>
                  <a:pt x="17115652" y="3329530"/>
                  <a:pt x="17109200" y="3329530"/>
                </a:cubicBezTo>
                <a:cubicBezTo>
                  <a:pt x="17096304" y="3323082"/>
                  <a:pt x="17083408" y="3323082"/>
                  <a:pt x="17076960" y="3323082"/>
                </a:cubicBezTo>
                <a:close/>
                <a:moveTo>
                  <a:pt x="16767872" y="3322576"/>
                </a:moveTo>
                <a:cubicBezTo>
                  <a:pt x="16767872" y="3343050"/>
                  <a:pt x="16761884" y="3349875"/>
                  <a:pt x="16749910" y="3349875"/>
                </a:cubicBezTo>
                <a:cubicBezTo>
                  <a:pt x="16749910" y="3329400"/>
                  <a:pt x="16755898" y="3322576"/>
                  <a:pt x="16767872" y="3322576"/>
                </a:cubicBezTo>
                <a:close/>
                <a:moveTo>
                  <a:pt x="16037952" y="3322576"/>
                </a:moveTo>
                <a:cubicBezTo>
                  <a:pt x="16037952" y="3343051"/>
                  <a:pt x="16025978" y="3349875"/>
                  <a:pt x="16019990" y="3349875"/>
                </a:cubicBezTo>
                <a:cubicBezTo>
                  <a:pt x="16019990" y="3329401"/>
                  <a:pt x="16025978" y="3322576"/>
                  <a:pt x="16037952" y="3322576"/>
                </a:cubicBezTo>
                <a:close/>
                <a:moveTo>
                  <a:pt x="885577" y="3305285"/>
                </a:moveTo>
                <a:cubicBezTo>
                  <a:pt x="872681" y="3298846"/>
                  <a:pt x="879127" y="3331078"/>
                  <a:pt x="885577" y="3337527"/>
                </a:cubicBezTo>
                <a:cubicBezTo>
                  <a:pt x="911364" y="3343974"/>
                  <a:pt x="929631" y="3350421"/>
                  <a:pt x="955422" y="3350421"/>
                </a:cubicBezTo>
                <a:cubicBezTo>
                  <a:pt x="929631" y="3343974"/>
                  <a:pt x="904916" y="3337527"/>
                  <a:pt x="885577" y="3305285"/>
                </a:cubicBezTo>
                <a:close/>
                <a:moveTo>
                  <a:pt x="16211220" y="3303146"/>
                </a:moveTo>
                <a:cubicBezTo>
                  <a:pt x="16212862" y="3300588"/>
                  <a:pt x="16216144" y="3302293"/>
                  <a:pt x="16222706" y="3305706"/>
                </a:cubicBezTo>
                <a:cubicBezTo>
                  <a:pt x="16216142" y="3312530"/>
                  <a:pt x="16216142" y="3319354"/>
                  <a:pt x="16209580" y="3326180"/>
                </a:cubicBezTo>
                <a:cubicBezTo>
                  <a:pt x="16209580" y="3312530"/>
                  <a:pt x="16209580" y="3305706"/>
                  <a:pt x="16211220" y="3303146"/>
                </a:cubicBezTo>
                <a:close/>
                <a:moveTo>
                  <a:pt x="18424056" y="3303145"/>
                </a:moveTo>
                <a:cubicBezTo>
                  <a:pt x="18425072" y="3300587"/>
                  <a:pt x="18427100" y="3302293"/>
                  <a:pt x="18431164" y="3305706"/>
                </a:cubicBezTo>
                <a:cubicBezTo>
                  <a:pt x="18423040" y="3312530"/>
                  <a:pt x="18423040" y="3319354"/>
                  <a:pt x="18423040" y="3326179"/>
                </a:cubicBezTo>
                <a:cubicBezTo>
                  <a:pt x="18423040" y="3312530"/>
                  <a:pt x="18423040" y="3305706"/>
                  <a:pt x="18424056" y="3303145"/>
                </a:cubicBezTo>
                <a:close/>
                <a:moveTo>
                  <a:pt x="16129004" y="3294139"/>
                </a:moveTo>
                <a:cubicBezTo>
                  <a:pt x="16140978" y="3294139"/>
                  <a:pt x="16146966" y="3306982"/>
                  <a:pt x="16146966" y="3326247"/>
                </a:cubicBezTo>
                <a:cubicBezTo>
                  <a:pt x="16134992" y="3326247"/>
                  <a:pt x="16129004" y="3313403"/>
                  <a:pt x="16129004" y="3294139"/>
                </a:cubicBezTo>
                <a:close/>
                <a:moveTo>
                  <a:pt x="13185628" y="3294139"/>
                </a:moveTo>
                <a:cubicBezTo>
                  <a:pt x="13197603" y="3294139"/>
                  <a:pt x="13203590" y="3306982"/>
                  <a:pt x="13203590" y="3326248"/>
                </a:cubicBezTo>
                <a:cubicBezTo>
                  <a:pt x="13191615" y="3326248"/>
                  <a:pt x="13185628" y="3313404"/>
                  <a:pt x="13185628" y="3294139"/>
                </a:cubicBezTo>
                <a:close/>
                <a:moveTo>
                  <a:pt x="14132588" y="3294136"/>
                </a:moveTo>
                <a:cubicBezTo>
                  <a:pt x="14132588" y="3318956"/>
                  <a:pt x="14132588" y="3349980"/>
                  <a:pt x="14114813" y="3349980"/>
                </a:cubicBezTo>
                <a:cubicBezTo>
                  <a:pt x="14114813" y="3325161"/>
                  <a:pt x="14109876" y="3294136"/>
                  <a:pt x="14132588" y="3294136"/>
                </a:cubicBezTo>
                <a:close/>
                <a:moveTo>
                  <a:pt x="13298330" y="3290807"/>
                </a:moveTo>
                <a:cubicBezTo>
                  <a:pt x="13298330" y="3321551"/>
                  <a:pt x="13280424" y="3321551"/>
                  <a:pt x="13261466" y="3321551"/>
                </a:cubicBezTo>
                <a:cubicBezTo>
                  <a:pt x="13261466" y="3284659"/>
                  <a:pt x="13286744" y="3290807"/>
                  <a:pt x="13298330" y="3290807"/>
                </a:cubicBezTo>
                <a:close/>
                <a:moveTo>
                  <a:pt x="15466530" y="3262042"/>
                </a:moveTo>
                <a:cubicBezTo>
                  <a:pt x="15466530" y="3281517"/>
                  <a:pt x="15472960" y="3294499"/>
                  <a:pt x="15485820" y="3294499"/>
                </a:cubicBezTo>
                <a:cubicBezTo>
                  <a:pt x="15485820" y="3275027"/>
                  <a:pt x="15479390" y="3262042"/>
                  <a:pt x="15466530" y="3262042"/>
                </a:cubicBezTo>
                <a:close/>
                <a:moveTo>
                  <a:pt x="13602725" y="3260959"/>
                </a:moveTo>
                <a:cubicBezTo>
                  <a:pt x="13614700" y="3260959"/>
                  <a:pt x="13620687" y="3273801"/>
                  <a:pt x="13620687" y="3293065"/>
                </a:cubicBezTo>
                <a:cubicBezTo>
                  <a:pt x="13608712" y="3293065"/>
                  <a:pt x="13602725" y="3280223"/>
                  <a:pt x="13602725" y="3260959"/>
                </a:cubicBezTo>
                <a:close/>
                <a:moveTo>
                  <a:pt x="13454796" y="3260959"/>
                </a:moveTo>
                <a:cubicBezTo>
                  <a:pt x="13454796" y="3280223"/>
                  <a:pt x="13448809" y="3293065"/>
                  <a:pt x="13436834" y="3293065"/>
                </a:cubicBezTo>
                <a:cubicBezTo>
                  <a:pt x="13436834" y="3273801"/>
                  <a:pt x="13442821" y="3260959"/>
                  <a:pt x="13454796" y="3260959"/>
                </a:cubicBezTo>
                <a:close/>
                <a:moveTo>
                  <a:pt x="16767872" y="3260958"/>
                </a:moveTo>
                <a:cubicBezTo>
                  <a:pt x="16767872" y="3280222"/>
                  <a:pt x="16761884" y="3293064"/>
                  <a:pt x="16749910" y="3293064"/>
                </a:cubicBezTo>
                <a:cubicBezTo>
                  <a:pt x="16749910" y="3273801"/>
                  <a:pt x="16755898" y="3260958"/>
                  <a:pt x="16767872" y="3260958"/>
                </a:cubicBezTo>
                <a:close/>
                <a:moveTo>
                  <a:pt x="13659603" y="3260958"/>
                </a:moveTo>
                <a:cubicBezTo>
                  <a:pt x="13671578" y="3260958"/>
                  <a:pt x="13677565" y="3273801"/>
                  <a:pt x="13677565" y="3293065"/>
                </a:cubicBezTo>
                <a:cubicBezTo>
                  <a:pt x="13665590" y="3293065"/>
                  <a:pt x="13659603" y="3280222"/>
                  <a:pt x="13659603" y="3260958"/>
                </a:cubicBezTo>
                <a:close/>
                <a:moveTo>
                  <a:pt x="15800996" y="3257333"/>
                </a:moveTo>
                <a:cubicBezTo>
                  <a:pt x="15813922" y="3258137"/>
                  <a:pt x="15828464" y="3264590"/>
                  <a:pt x="15838158" y="3267815"/>
                </a:cubicBezTo>
                <a:cubicBezTo>
                  <a:pt x="15876938" y="3280718"/>
                  <a:pt x="15922182" y="3287170"/>
                  <a:pt x="15959884" y="3293621"/>
                </a:cubicBezTo>
                <a:cubicBezTo>
                  <a:pt x="15966348" y="3345235"/>
                  <a:pt x="15972810" y="3415130"/>
                  <a:pt x="16011590" y="3428033"/>
                </a:cubicBezTo>
                <a:cubicBezTo>
                  <a:pt x="16069760" y="3447387"/>
                  <a:pt x="16127930" y="3453839"/>
                  <a:pt x="16191486" y="3473196"/>
                </a:cubicBezTo>
                <a:cubicBezTo>
                  <a:pt x="16243192" y="3486097"/>
                  <a:pt x="16301362" y="3511905"/>
                  <a:pt x="16359532" y="3518357"/>
                </a:cubicBezTo>
                <a:cubicBezTo>
                  <a:pt x="16377844" y="3518357"/>
                  <a:pt x="16397234" y="3518357"/>
                  <a:pt x="16416624" y="3531260"/>
                </a:cubicBezTo>
                <a:cubicBezTo>
                  <a:pt x="16436014" y="3544163"/>
                  <a:pt x="16429550" y="3575347"/>
                  <a:pt x="16429550" y="3601152"/>
                </a:cubicBezTo>
                <a:cubicBezTo>
                  <a:pt x="16217338" y="3550616"/>
                  <a:pt x="15998664" y="3492550"/>
                  <a:pt x="15779990" y="3434486"/>
                </a:cubicBezTo>
                <a:cubicBezTo>
                  <a:pt x="15792916" y="3389324"/>
                  <a:pt x="15799380" y="3338783"/>
                  <a:pt x="15805842" y="3293621"/>
                </a:cubicBezTo>
                <a:cubicBezTo>
                  <a:pt x="15792916" y="3287170"/>
                  <a:pt x="15779990" y="3287170"/>
                  <a:pt x="15773526" y="3280718"/>
                </a:cubicBezTo>
                <a:cubicBezTo>
                  <a:pt x="15776758" y="3261364"/>
                  <a:pt x="15788068" y="3256525"/>
                  <a:pt x="15800996" y="3257333"/>
                </a:cubicBezTo>
                <a:close/>
                <a:moveTo>
                  <a:pt x="18247672" y="3246739"/>
                </a:moveTo>
                <a:cubicBezTo>
                  <a:pt x="18273920" y="3246739"/>
                  <a:pt x="18300172" y="3246739"/>
                  <a:pt x="18326424" y="3253360"/>
                </a:cubicBezTo>
                <a:cubicBezTo>
                  <a:pt x="18346112" y="3266607"/>
                  <a:pt x="18339548" y="3299720"/>
                  <a:pt x="18339548" y="3326211"/>
                </a:cubicBezTo>
                <a:cubicBezTo>
                  <a:pt x="18300172" y="3326211"/>
                  <a:pt x="18273920" y="3279852"/>
                  <a:pt x="18247672" y="3246739"/>
                </a:cubicBezTo>
                <a:close/>
                <a:moveTo>
                  <a:pt x="12501896" y="3235127"/>
                </a:moveTo>
                <a:cubicBezTo>
                  <a:pt x="12501896" y="3254393"/>
                  <a:pt x="12514783" y="3260813"/>
                  <a:pt x="12527670" y="3260813"/>
                </a:cubicBezTo>
                <a:cubicBezTo>
                  <a:pt x="12527670" y="3241549"/>
                  <a:pt x="12514783" y="3235127"/>
                  <a:pt x="12501896" y="3235127"/>
                </a:cubicBezTo>
                <a:close/>
                <a:moveTo>
                  <a:pt x="20109360" y="3233928"/>
                </a:moveTo>
                <a:cubicBezTo>
                  <a:pt x="20109360" y="3264673"/>
                  <a:pt x="20084764" y="3258524"/>
                  <a:pt x="20072468" y="3258524"/>
                </a:cubicBezTo>
                <a:cubicBezTo>
                  <a:pt x="20072468" y="3227780"/>
                  <a:pt x="20097060" y="3233928"/>
                  <a:pt x="20109360" y="3233928"/>
                </a:cubicBezTo>
                <a:close/>
                <a:moveTo>
                  <a:pt x="12586468" y="3233522"/>
                </a:moveTo>
                <a:cubicBezTo>
                  <a:pt x="12579219" y="3231916"/>
                  <a:pt x="12569553" y="3235127"/>
                  <a:pt x="12559888" y="3235127"/>
                </a:cubicBezTo>
                <a:cubicBezTo>
                  <a:pt x="12559888" y="3267236"/>
                  <a:pt x="12585663" y="3260813"/>
                  <a:pt x="12598550" y="3260813"/>
                </a:cubicBezTo>
                <a:cubicBezTo>
                  <a:pt x="12598550" y="3241549"/>
                  <a:pt x="12593717" y="3235126"/>
                  <a:pt x="12586468" y="3233522"/>
                </a:cubicBezTo>
                <a:close/>
                <a:moveTo>
                  <a:pt x="18090192" y="3213562"/>
                </a:moveTo>
                <a:cubicBezTo>
                  <a:pt x="18071040" y="3226788"/>
                  <a:pt x="18051888" y="3240013"/>
                  <a:pt x="18039120" y="3259856"/>
                </a:cubicBezTo>
                <a:cubicBezTo>
                  <a:pt x="18045504" y="3220175"/>
                  <a:pt x="18045504" y="3220175"/>
                  <a:pt x="18090192" y="3213562"/>
                </a:cubicBezTo>
                <a:close/>
                <a:moveTo>
                  <a:pt x="15644776" y="3205553"/>
                </a:moveTo>
                <a:cubicBezTo>
                  <a:pt x="15649430" y="3206129"/>
                  <a:pt x="15654082" y="3208435"/>
                  <a:pt x="15658736" y="3213048"/>
                </a:cubicBezTo>
                <a:cubicBezTo>
                  <a:pt x="15640122" y="3219195"/>
                  <a:pt x="15621508" y="3231492"/>
                  <a:pt x="15602894" y="3231492"/>
                </a:cubicBezTo>
                <a:cubicBezTo>
                  <a:pt x="15616854" y="3217658"/>
                  <a:pt x="15630816" y="3203824"/>
                  <a:pt x="15644776" y="3205553"/>
                </a:cubicBezTo>
                <a:close/>
                <a:moveTo>
                  <a:pt x="12830147" y="3204081"/>
                </a:moveTo>
                <a:cubicBezTo>
                  <a:pt x="12843275" y="3204081"/>
                  <a:pt x="12843275" y="3216924"/>
                  <a:pt x="12843275" y="3236186"/>
                </a:cubicBezTo>
                <a:cubicBezTo>
                  <a:pt x="12830147" y="3236186"/>
                  <a:pt x="12830147" y="3223345"/>
                  <a:pt x="12830147" y="3204081"/>
                </a:cubicBezTo>
                <a:close/>
                <a:moveTo>
                  <a:pt x="15963116" y="3204080"/>
                </a:moveTo>
                <a:cubicBezTo>
                  <a:pt x="15975414" y="3204080"/>
                  <a:pt x="15987710" y="3204080"/>
                  <a:pt x="16000008" y="3204080"/>
                </a:cubicBezTo>
                <a:cubicBezTo>
                  <a:pt x="16000008" y="3210500"/>
                  <a:pt x="16000008" y="3223344"/>
                  <a:pt x="16000008" y="3236186"/>
                </a:cubicBezTo>
                <a:cubicBezTo>
                  <a:pt x="15987710" y="3236186"/>
                  <a:pt x="15975414" y="3236186"/>
                  <a:pt x="15963116" y="3236186"/>
                </a:cubicBezTo>
                <a:cubicBezTo>
                  <a:pt x="15963116" y="3223344"/>
                  <a:pt x="15963116" y="3210500"/>
                  <a:pt x="15963116" y="3204080"/>
                </a:cubicBezTo>
                <a:close/>
                <a:moveTo>
                  <a:pt x="12996038" y="3204080"/>
                </a:moveTo>
                <a:cubicBezTo>
                  <a:pt x="13008013" y="3204080"/>
                  <a:pt x="13014000" y="3216923"/>
                  <a:pt x="13014000" y="3236186"/>
                </a:cubicBezTo>
                <a:cubicBezTo>
                  <a:pt x="13002025" y="3236186"/>
                  <a:pt x="12996038" y="3223344"/>
                  <a:pt x="12996038" y="3204080"/>
                </a:cubicBezTo>
                <a:close/>
                <a:moveTo>
                  <a:pt x="12957122" y="3204080"/>
                </a:moveTo>
                <a:cubicBezTo>
                  <a:pt x="12957122" y="3223344"/>
                  <a:pt x="12951135" y="3236186"/>
                  <a:pt x="12939160" y="3236186"/>
                </a:cubicBezTo>
                <a:cubicBezTo>
                  <a:pt x="12939160" y="3216923"/>
                  <a:pt x="12945147" y="3204080"/>
                  <a:pt x="12957122" y="3204080"/>
                </a:cubicBezTo>
                <a:close/>
                <a:moveTo>
                  <a:pt x="16056886" y="3201217"/>
                </a:moveTo>
                <a:cubicBezTo>
                  <a:pt x="16056886" y="3240893"/>
                  <a:pt x="16032290" y="3234284"/>
                  <a:pt x="16019994" y="3234284"/>
                </a:cubicBezTo>
                <a:cubicBezTo>
                  <a:pt x="16019994" y="3194603"/>
                  <a:pt x="16038440" y="3201217"/>
                  <a:pt x="16056886" y="3201217"/>
                </a:cubicBezTo>
                <a:close/>
                <a:moveTo>
                  <a:pt x="17167240" y="3200567"/>
                </a:moveTo>
                <a:cubicBezTo>
                  <a:pt x="17167240" y="3219911"/>
                  <a:pt x="17167240" y="3239254"/>
                  <a:pt x="17167240" y="3258601"/>
                </a:cubicBezTo>
                <a:cubicBezTo>
                  <a:pt x="17173688" y="3258601"/>
                  <a:pt x="17186584" y="3258601"/>
                  <a:pt x="17191960" y="3258601"/>
                </a:cubicBezTo>
                <a:cubicBezTo>
                  <a:pt x="17211304" y="3258601"/>
                  <a:pt x="17224200" y="3258601"/>
                  <a:pt x="17243548" y="3258601"/>
                </a:cubicBezTo>
                <a:cubicBezTo>
                  <a:pt x="17301584" y="3284394"/>
                  <a:pt x="17353172" y="3303739"/>
                  <a:pt x="17411212" y="3303739"/>
                </a:cubicBezTo>
                <a:cubicBezTo>
                  <a:pt x="17385416" y="3258601"/>
                  <a:pt x="17346724" y="3258601"/>
                  <a:pt x="17308032" y="3245706"/>
                </a:cubicBezTo>
                <a:cubicBezTo>
                  <a:pt x="17262892" y="3239254"/>
                  <a:pt x="17211304" y="3226360"/>
                  <a:pt x="17167240" y="3200567"/>
                </a:cubicBezTo>
                <a:close/>
                <a:moveTo>
                  <a:pt x="12898229" y="3196698"/>
                </a:moveTo>
                <a:cubicBezTo>
                  <a:pt x="12909863" y="3198332"/>
                  <a:pt x="12919170" y="3206490"/>
                  <a:pt x="12919170" y="3232598"/>
                </a:cubicBezTo>
                <a:cubicBezTo>
                  <a:pt x="12900555" y="3232598"/>
                  <a:pt x="12863326" y="3245653"/>
                  <a:pt x="12863326" y="3199963"/>
                </a:cubicBezTo>
                <a:cubicBezTo>
                  <a:pt x="12872634" y="3199963"/>
                  <a:pt x="12886595" y="3195067"/>
                  <a:pt x="12898229" y="3196698"/>
                </a:cubicBezTo>
                <a:close/>
                <a:moveTo>
                  <a:pt x="18188292" y="3196697"/>
                </a:moveTo>
                <a:cubicBezTo>
                  <a:pt x="18200008" y="3195067"/>
                  <a:pt x="18213964" y="3199962"/>
                  <a:pt x="18222916" y="3199962"/>
                </a:cubicBezTo>
                <a:cubicBezTo>
                  <a:pt x="18222916" y="3245653"/>
                  <a:pt x="18186052" y="3232596"/>
                  <a:pt x="18167092" y="3232596"/>
                </a:cubicBezTo>
                <a:cubicBezTo>
                  <a:pt x="18167092" y="3206489"/>
                  <a:pt x="18176572" y="3198332"/>
                  <a:pt x="18188292" y="3196697"/>
                </a:cubicBezTo>
                <a:close/>
                <a:moveTo>
                  <a:pt x="11401461" y="3194061"/>
                </a:moveTo>
                <a:cubicBezTo>
                  <a:pt x="11385340" y="3194061"/>
                  <a:pt x="11365996" y="3202121"/>
                  <a:pt x="11353099" y="3202121"/>
                </a:cubicBezTo>
                <a:cubicBezTo>
                  <a:pt x="11353099" y="3260153"/>
                  <a:pt x="11411134" y="3234361"/>
                  <a:pt x="11430479" y="3234361"/>
                </a:cubicBezTo>
                <a:cubicBezTo>
                  <a:pt x="11430479" y="3202121"/>
                  <a:pt x="11417582" y="3194061"/>
                  <a:pt x="11401461" y="3194061"/>
                </a:cubicBezTo>
                <a:close/>
                <a:moveTo>
                  <a:pt x="15654530" y="3192852"/>
                </a:moveTo>
                <a:cubicBezTo>
                  <a:pt x="15657524" y="3192852"/>
                  <a:pt x="15660518" y="3195845"/>
                  <a:pt x="15663512" y="3201833"/>
                </a:cubicBezTo>
                <a:cubicBezTo>
                  <a:pt x="15657524" y="3207820"/>
                  <a:pt x="15651536" y="3207820"/>
                  <a:pt x="15645550" y="3201833"/>
                </a:cubicBezTo>
                <a:cubicBezTo>
                  <a:pt x="15648542" y="3195845"/>
                  <a:pt x="15651536" y="3192852"/>
                  <a:pt x="15654530" y="3192852"/>
                </a:cubicBezTo>
                <a:close/>
                <a:moveTo>
                  <a:pt x="12674799" y="3170912"/>
                </a:moveTo>
                <a:cubicBezTo>
                  <a:pt x="12674799" y="3190177"/>
                  <a:pt x="12674799" y="3209441"/>
                  <a:pt x="12674799" y="3235127"/>
                </a:cubicBezTo>
                <a:cubicBezTo>
                  <a:pt x="12681243" y="3235127"/>
                  <a:pt x="12694130" y="3235127"/>
                  <a:pt x="12700574" y="3235127"/>
                </a:cubicBezTo>
                <a:cubicBezTo>
                  <a:pt x="12719904" y="3235127"/>
                  <a:pt x="12745679" y="3228706"/>
                  <a:pt x="12765010" y="3235127"/>
                </a:cubicBezTo>
                <a:cubicBezTo>
                  <a:pt x="12771453" y="3235127"/>
                  <a:pt x="12797228" y="3241549"/>
                  <a:pt x="12803672" y="3254393"/>
                </a:cubicBezTo>
                <a:cubicBezTo>
                  <a:pt x="12810115" y="3267236"/>
                  <a:pt x="12726348" y="3280078"/>
                  <a:pt x="12719904" y="3280078"/>
                </a:cubicBezTo>
                <a:cubicBezTo>
                  <a:pt x="12681243" y="3280078"/>
                  <a:pt x="12643655" y="3286500"/>
                  <a:pt x="12604994" y="3286500"/>
                </a:cubicBezTo>
                <a:cubicBezTo>
                  <a:pt x="12514783" y="3299343"/>
                  <a:pt x="12425646" y="3312186"/>
                  <a:pt x="12335436" y="3325029"/>
                </a:cubicBezTo>
                <a:cubicBezTo>
                  <a:pt x="12303218" y="3331450"/>
                  <a:pt x="12271000" y="3337872"/>
                  <a:pt x="12239856" y="3337872"/>
                </a:cubicBezTo>
                <a:cubicBezTo>
                  <a:pt x="12220525" y="3337872"/>
                  <a:pt x="12194750" y="3331450"/>
                  <a:pt x="12175419" y="3350714"/>
                </a:cubicBezTo>
                <a:cubicBezTo>
                  <a:pt x="12149645" y="3368897"/>
                  <a:pt x="12175419" y="3388176"/>
                  <a:pt x="12188307" y="3388176"/>
                </a:cubicBezTo>
                <a:cubicBezTo>
                  <a:pt x="12207637" y="3388176"/>
                  <a:pt x="12220525" y="3382825"/>
                  <a:pt x="12239856" y="3375345"/>
                </a:cubicBezTo>
                <a:cubicBezTo>
                  <a:pt x="12258112" y="3375345"/>
                  <a:pt x="12290330" y="3363555"/>
                  <a:pt x="12309661" y="3382825"/>
                </a:cubicBezTo>
                <a:cubicBezTo>
                  <a:pt x="12335436" y="3407441"/>
                  <a:pt x="12290330" y="3420283"/>
                  <a:pt x="12283887" y="3426704"/>
                </a:cubicBezTo>
                <a:cubicBezTo>
                  <a:pt x="12194750" y="3445969"/>
                  <a:pt x="12110983" y="3452390"/>
                  <a:pt x="12028290" y="3471657"/>
                </a:cubicBezTo>
                <a:cubicBezTo>
                  <a:pt x="11847869" y="3503763"/>
                  <a:pt x="11668522" y="3535871"/>
                  <a:pt x="11489175" y="3567978"/>
                </a:cubicBezTo>
                <a:cubicBezTo>
                  <a:pt x="11489175" y="3516607"/>
                  <a:pt x="11527836" y="3548716"/>
                  <a:pt x="11540724" y="3529449"/>
                </a:cubicBezTo>
                <a:cubicBezTo>
                  <a:pt x="11560055" y="3510185"/>
                  <a:pt x="11476288" y="3484498"/>
                  <a:pt x="11469844" y="3478076"/>
                </a:cubicBezTo>
                <a:cubicBezTo>
                  <a:pt x="11476288" y="3458813"/>
                  <a:pt x="11482731" y="3439547"/>
                  <a:pt x="11489175" y="3413862"/>
                </a:cubicBezTo>
                <a:cubicBezTo>
                  <a:pt x="11502062" y="3413862"/>
                  <a:pt x="11514949" y="3407441"/>
                  <a:pt x="11527836" y="3407441"/>
                </a:cubicBezTo>
                <a:cubicBezTo>
                  <a:pt x="11560055" y="3401019"/>
                  <a:pt x="11592273" y="3401019"/>
                  <a:pt x="11618047" y="3401019"/>
                </a:cubicBezTo>
                <a:cubicBezTo>
                  <a:pt x="11629860" y="3445969"/>
                  <a:pt x="11605160" y="3465234"/>
                  <a:pt x="11585829" y="3490920"/>
                </a:cubicBezTo>
                <a:cubicBezTo>
                  <a:pt x="11637378" y="3478076"/>
                  <a:pt x="11694296" y="3471657"/>
                  <a:pt x="11745845" y="3452390"/>
                </a:cubicBezTo>
                <a:cubicBezTo>
                  <a:pt x="11758733" y="3445969"/>
                  <a:pt x="11778063" y="3433123"/>
                  <a:pt x="11790951" y="3465234"/>
                </a:cubicBezTo>
                <a:cubicBezTo>
                  <a:pt x="11810281" y="3452390"/>
                  <a:pt x="11834982" y="3445969"/>
                  <a:pt x="11854313" y="3445969"/>
                </a:cubicBezTo>
                <a:cubicBezTo>
                  <a:pt x="11847869" y="3407441"/>
                  <a:pt x="11823169" y="3394597"/>
                  <a:pt x="11810281" y="3368897"/>
                </a:cubicBezTo>
                <a:cubicBezTo>
                  <a:pt x="11867200" y="3318608"/>
                  <a:pt x="11944523" y="3318608"/>
                  <a:pt x="12008959" y="3305765"/>
                </a:cubicBezTo>
                <a:cubicBezTo>
                  <a:pt x="12085209" y="3292921"/>
                  <a:pt x="12156089" y="3273657"/>
                  <a:pt x="12233412" y="3260813"/>
                </a:cubicBezTo>
                <a:cubicBezTo>
                  <a:pt x="12380541" y="3228706"/>
                  <a:pt x="12527670" y="3196597"/>
                  <a:pt x="12674799" y="3170912"/>
                </a:cubicBezTo>
                <a:close/>
                <a:moveTo>
                  <a:pt x="14980989" y="3170904"/>
                </a:moveTo>
                <a:cubicBezTo>
                  <a:pt x="14980989" y="3190170"/>
                  <a:pt x="14975002" y="3203012"/>
                  <a:pt x="14963027" y="3203012"/>
                </a:cubicBezTo>
                <a:cubicBezTo>
                  <a:pt x="14963027" y="3178395"/>
                  <a:pt x="14969014" y="3170904"/>
                  <a:pt x="14980989" y="3170904"/>
                </a:cubicBezTo>
                <a:close/>
                <a:moveTo>
                  <a:pt x="12810191" y="3170904"/>
                </a:moveTo>
                <a:cubicBezTo>
                  <a:pt x="12810191" y="3190171"/>
                  <a:pt x="12804204" y="3203013"/>
                  <a:pt x="12792229" y="3203013"/>
                </a:cubicBezTo>
                <a:cubicBezTo>
                  <a:pt x="12792229" y="3178396"/>
                  <a:pt x="12798216" y="3170904"/>
                  <a:pt x="12810191" y="3170904"/>
                </a:cubicBezTo>
                <a:close/>
                <a:moveTo>
                  <a:pt x="20014596" y="3170903"/>
                </a:moveTo>
                <a:cubicBezTo>
                  <a:pt x="20014596" y="3190169"/>
                  <a:pt x="20008608" y="3203011"/>
                  <a:pt x="19996632" y="3203011"/>
                </a:cubicBezTo>
                <a:cubicBezTo>
                  <a:pt x="19996632" y="3178395"/>
                  <a:pt x="20002620" y="3170903"/>
                  <a:pt x="20014596" y="3170903"/>
                </a:cubicBezTo>
                <a:close/>
                <a:moveTo>
                  <a:pt x="15943158" y="3170903"/>
                </a:moveTo>
                <a:cubicBezTo>
                  <a:pt x="15943158" y="3190169"/>
                  <a:pt x="15937170" y="3203012"/>
                  <a:pt x="15925194" y="3203012"/>
                </a:cubicBezTo>
                <a:cubicBezTo>
                  <a:pt x="15925194" y="3178395"/>
                  <a:pt x="15931182" y="3170903"/>
                  <a:pt x="15943158" y="3170903"/>
                </a:cubicBezTo>
                <a:close/>
                <a:moveTo>
                  <a:pt x="19185112" y="3167569"/>
                </a:moveTo>
                <a:cubicBezTo>
                  <a:pt x="19185112" y="3198313"/>
                  <a:pt x="19160516" y="3198313"/>
                  <a:pt x="19148220" y="3198313"/>
                </a:cubicBezTo>
                <a:cubicBezTo>
                  <a:pt x="19148220" y="3161420"/>
                  <a:pt x="19166664" y="3167569"/>
                  <a:pt x="19185112" y="3167569"/>
                </a:cubicBezTo>
                <a:close/>
                <a:moveTo>
                  <a:pt x="11504367" y="3167062"/>
                </a:moveTo>
                <a:cubicBezTo>
                  <a:pt x="11492276" y="3165318"/>
                  <a:pt x="11477767" y="3169883"/>
                  <a:pt x="11468095" y="3169883"/>
                </a:cubicBezTo>
                <a:cubicBezTo>
                  <a:pt x="11468095" y="3215019"/>
                  <a:pt x="11506785" y="3202121"/>
                  <a:pt x="11526130" y="3202121"/>
                </a:cubicBezTo>
                <a:cubicBezTo>
                  <a:pt x="11526130" y="3176868"/>
                  <a:pt x="11516457" y="3168808"/>
                  <a:pt x="11504367" y="3167062"/>
                </a:cubicBezTo>
                <a:close/>
                <a:moveTo>
                  <a:pt x="13156298" y="3161176"/>
                </a:moveTo>
                <a:cubicBezTo>
                  <a:pt x="13173682" y="3161042"/>
                  <a:pt x="13193550" y="3168815"/>
                  <a:pt x="13203484" y="3168815"/>
                </a:cubicBezTo>
                <a:cubicBezTo>
                  <a:pt x="13203484" y="3226706"/>
                  <a:pt x="13150503" y="3200975"/>
                  <a:pt x="13124012" y="3200975"/>
                </a:cubicBezTo>
                <a:cubicBezTo>
                  <a:pt x="13124012" y="3169351"/>
                  <a:pt x="13138913" y="3161310"/>
                  <a:pt x="13156298" y="3161176"/>
                </a:cubicBezTo>
                <a:close/>
                <a:moveTo>
                  <a:pt x="14881790" y="3159429"/>
                </a:moveTo>
                <a:cubicBezTo>
                  <a:pt x="14897519" y="3161781"/>
                  <a:pt x="14914075" y="3169798"/>
                  <a:pt x="14924008" y="3169798"/>
                </a:cubicBezTo>
                <a:cubicBezTo>
                  <a:pt x="14924008" y="3177539"/>
                  <a:pt x="14924008" y="3189706"/>
                  <a:pt x="14924008" y="3202976"/>
                </a:cubicBezTo>
                <a:cubicBezTo>
                  <a:pt x="14897519" y="3196340"/>
                  <a:pt x="14871029" y="3189706"/>
                  <a:pt x="14844539" y="3183070"/>
                </a:cubicBezTo>
                <a:cubicBezTo>
                  <a:pt x="14851161" y="3160397"/>
                  <a:pt x="14866062" y="3157079"/>
                  <a:pt x="14881790" y="3159429"/>
                </a:cubicBezTo>
                <a:close/>
                <a:moveTo>
                  <a:pt x="17943300" y="3139596"/>
                </a:moveTo>
                <a:cubicBezTo>
                  <a:pt x="17943300" y="3179277"/>
                  <a:pt x="17918704" y="3171561"/>
                  <a:pt x="17906408" y="3171561"/>
                </a:cubicBezTo>
                <a:cubicBezTo>
                  <a:pt x="17906408" y="3132983"/>
                  <a:pt x="17924852" y="3139596"/>
                  <a:pt x="17943300" y="3139596"/>
                </a:cubicBezTo>
                <a:close/>
                <a:moveTo>
                  <a:pt x="19673720" y="3139159"/>
                </a:moveTo>
                <a:cubicBezTo>
                  <a:pt x="19687496" y="3135351"/>
                  <a:pt x="19701716" y="3150585"/>
                  <a:pt x="19715936" y="3150585"/>
                </a:cubicBezTo>
                <a:cubicBezTo>
                  <a:pt x="19715936" y="3157356"/>
                  <a:pt x="19709616" y="3163005"/>
                  <a:pt x="19709616" y="3169770"/>
                </a:cubicBezTo>
                <a:cubicBezTo>
                  <a:pt x="19690656" y="3163005"/>
                  <a:pt x="19678016" y="3157356"/>
                  <a:pt x="19660112" y="3150585"/>
                </a:cubicBezTo>
                <a:cubicBezTo>
                  <a:pt x="19664588" y="3143814"/>
                  <a:pt x="19669128" y="3140427"/>
                  <a:pt x="19673720" y="3139159"/>
                </a:cubicBezTo>
                <a:close/>
                <a:moveTo>
                  <a:pt x="11616407" y="3138718"/>
                </a:moveTo>
                <a:cubicBezTo>
                  <a:pt x="11616407" y="3177405"/>
                  <a:pt x="11641126" y="3169883"/>
                  <a:pt x="11654023" y="3169883"/>
                </a:cubicBezTo>
                <a:cubicBezTo>
                  <a:pt x="11654023" y="3132271"/>
                  <a:pt x="11635752" y="3138718"/>
                  <a:pt x="11616407" y="3138718"/>
                </a:cubicBezTo>
                <a:close/>
                <a:moveTo>
                  <a:pt x="11314409" y="3138718"/>
                </a:moveTo>
                <a:cubicBezTo>
                  <a:pt x="11243477" y="3151613"/>
                  <a:pt x="11167171" y="3169883"/>
                  <a:pt x="11089791" y="3182777"/>
                </a:cubicBezTo>
                <a:cubicBezTo>
                  <a:pt x="11076894" y="3189223"/>
                  <a:pt x="11057549" y="3189223"/>
                  <a:pt x="11044652" y="3195674"/>
                </a:cubicBezTo>
                <a:cubicBezTo>
                  <a:pt x="11025307" y="3202121"/>
                  <a:pt x="11019934" y="3221465"/>
                  <a:pt x="11007037" y="3234361"/>
                </a:cubicBezTo>
                <a:cubicBezTo>
                  <a:pt x="10981243" y="3247260"/>
                  <a:pt x="10949002" y="3247260"/>
                  <a:pt x="10916760" y="3253706"/>
                </a:cubicBezTo>
                <a:cubicBezTo>
                  <a:pt x="10845828" y="3273049"/>
                  <a:pt x="10775970" y="3305285"/>
                  <a:pt x="10705038" y="3337527"/>
                </a:cubicBezTo>
                <a:cubicBezTo>
                  <a:pt x="10666348" y="3350421"/>
                  <a:pt x="10634106" y="3375162"/>
                  <a:pt x="10601865" y="3382670"/>
                </a:cubicBezTo>
                <a:cubicBezTo>
                  <a:pt x="10583594" y="3382670"/>
                  <a:pt x="10564249" y="3382670"/>
                  <a:pt x="10564249" y="3413830"/>
                </a:cubicBezTo>
                <a:cubicBezTo>
                  <a:pt x="10634106" y="3375162"/>
                  <a:pt x="10711487" y="3363310"/>
                  <a:pt x="10788867" y="3350421"/>
                </a:cubicBezTo>
                <a:cubicBezTo>
                  <a:pt x="10788867" y="3382670"/>
                  <a:pt x="10756625" y="3394488"/>
                  <a:pt x="10743729" y="3407382"/>
                </a:cubicBezTo>
                <a:cubicBezTo>
                  <a:pt x="10717935" y="3433170"/>
                  <a:pt x="10705038" y="3446069"/>
                  <a:pt x="10679245" y="3452516"/>
                </a:cubicBezTo>
                <a:cubicBezTo>
                  <a:pt x="10653451" y="3458965"/>
                  <a:pt x="10621210" y="3471864"/>
                  <a:pt x="10596491" y="3478308"/>
                </a:cubicBezTo>
                <a:cubicBezTo>
                  <a:pt x="10583594" y="3478308"/>
                  <a:pt x="10557801" y="3484756"/>
                  <a:pt x="10551352" y="3510547"/>
                </a:cubicBezTo>
                <a:cubicBezTo>
                  <a:pt x="10532007" y="3510547"/>
                  <a:pt x="10507289" y="3510547"/>
                  <a:pt x="10487943" y="3510547"/>
                </a:cubicBezTo>
                <a:cubicBezTo>
                  <a:pt x="10487943" y="3555685"/>
                  <a:pt x="10583594" y="3516994"/>
                  <a:pt x="10601865" y="3510547"/>
                </a:cubicBezTo>
                <a:cubicBezTo>
                  <a:pt x="10634106" y="3497652"/>
                  <a:pt x="10666348" y="3484756"/>
                  <a:pt x="10705038" y="3478308"/>
                </a:cubicBezTo>
                <a:cubicBezTo>
                  <a:pt x="10724383" y="3478308"/>
                  <a:pt x="10743729" y="3465411"/>
                  <a:pt x="10763074" y="3478308"/>
                </a:cubicBezTo>
                <a:cubicBezTo>
                  <a:pt x="10775970" y="3491204"/>
                  <a:pt x="10788867" y="3510547"/>
                  <a:pt x="10807138" y="3510547"/>
                </a:cubicBezTo>
                <a:cubicBezTo>
                  <a:pt x="10807138" y="3484756"/>
                  <a:pt x="10807138" y="3465411"/>
                  <a:pt x="10807138" y="3446069"/>
                </a:cubicBezTo>
                <a:cubicBezTo>
                  <a:pt x="10845828" y="3452516"/>
                  <a:pt x="10884518" y="3465411"/>
                  <a:pt x="10916760" y="3478308"/>
                </a:cubicBezTo>
                <a:cubicBezTo>
                  <a:pt x="10916760" y="3446069"/>
                  <a:pt x="10897415" y="3446069"/>
                  <a:pt x="10884518" y="3446069"/>
                </a:cubicBezTo>
                <a:cubicBezTo>
                  <a:pt x="10884518" y="3419477"/>
                  <a:pt x="10899933" y="3411924"/>
                  <a:pt x="10920167" y="3413206"/>
                </a:cubicBezTo>
                <a:lnTo>
                  <a:pt x="10936750" y="3416184"/>
                </a:lnTo>
                <a:lnTo>
                  <a:pt x="10935748" y="3412066"/>
                </a:lnTo>
                <a:lnTo>
                  <a:pt x="10938954" y="3402320"/>
                </a:lnTo>
                <a:lnTo>
                  <a:pt x="10936105" y="3400935"/>
                </a:lnTo>
                <a:lnTo>
                  <a:pt x="10939921" y="3399383"/>
                </a:lnTo>
                <a:lnTo>
                  <a:pt x="10940238" y="3398418"/>
                </a:lnTo>
                <a:lnTo>
                  <a:pt x="10940672" y="3399077"/>
                </a:lnTo>
                <a:lnTo>
                  <a:pt x="11066550" y="3347869"/>
                </a:lnTo>
                <a:cubicBezTo>
                  <a:pt x="11109136" y="3331078"/>
                  <a:pt x="11151051" y="3314961"/>
                  <a:pt x="11192965" y="3298846"/>
                </a:cubicBezTo>
                <a:cubicBezTo>
                  <a:pt x="11217683" y="3285943"/>
                  <a:pt x="11249925" y="3292393"/>
                  <a:pt x="11269270" y="3266602"/>
                </a:cubicBezTo>
                <a:cubicBezTo>
                  <a:pt x="11301512" y="3240801"/>
                  <a:pt x="11301512" y="3182777"/>
                  <a:pt x="11314409" y="3138718"/>
                </a:cubicBezTo>
                <a:close/>
                <a:moveTo>
                  <a:pt x="15828898" y="3138563"/>
                </a:moveTo>
                <a:cubicBezTo>
                  <a:pt x="15837512" y="3139503"/>
                  <a:pt x="15845716" y="3143193"/>
                  <a:pt x="15852278" y="3149757"/>
                </a:cubicBezTo>
                <a:cubicBezTo>
                  <a:pt x="15858840" y="3161787"/>
                  <a:pt x="15871966" y="3188039"/>
                  <a:pt x="15852278" y="3194601"/>
                </a:cubicBezTo>
                <a:cubicBezTo>
                  <a:pt x="15826028" y="3207727"/>
                  <a:pt x="15799776" y="3201164"/>
                  <a:pt x="15773526" y="3201164"/>
                </a:cubicBezTo>
                <a:cubicBezTo>
                  <a:pt x="15773526" y="3157686"/>
                  <a:pt x="15803058" y="3135742"/>
                  <a:pt x="15828898" y="3138563"/>
                </a:cubicBezTo>
                <a:close/>
                <a:moveTo>
                  <a:pt x="20128348" y="3137724"/>
                </a:moveTo>
                <a:cubicBezTo>
                  <a:pt x="20128348" y="3163162"/>
                  <a:pt x="20122360" y="3169793"/>
                  <a:pt x="20110384" y="3169793"/>
                </a:cubicBezTo>
                <a:cubicBezTo>
                  <a:pt x="20110384" y="3144359"/>
                  <a:pt x="20116372" y="3137724"/>
                  <a:pt x="20128348" y="3137724"/>
                </a:cubicBezTo>
                <a:close/>
                <a:moveTo>
                  <a:pt x="19848704" y="3137724"/>
                </a:moveTo>
                <a:cubicBezTo>
                  <a:pt x="19848704" y="3163162"/>
                  <a:pt x="19842716" y="3169793"/>
                  <a:pt x="19830740" y="3169793"/>
                </a:cubicBezTo>
                <a:cubicBezTo>
                  <a:pt x="19830740" y="3144359"/>
                  <a:pt x="19836728" y="3137724"/>
                  <a:pt x="19848704" y="3137724"/>
                </a:cubicBezTo>
                <a:close/>
                <a:moveTo>
                  <a:pt x="14754483" y="3137724"/>
                </a:moveTo>
                <a:cubicBezTo>
                  <a:pt x="14786267" y="3144360"/>
                  <a:pt x="14811695" y="3150995"/>
                  <a:pt x="14843480" y="3150995"/>
                </a:cubicBezTo>
                <a:cubicBezTo>
                  <a:pt x="14830766" y="3183068"/>
                  <a:pt x="14754483" y="3202975"/>
                  <a:pt x="14754483" y="3137724"/>
                </a:cubicBezTo>
                <a:close/>
                <a:moveTo>
                  <a:pt x="14038779" y="3137724"/>
                </a:moveTo>
                <a:cubicBezTo>
                  <a:pt x="14050754" y="3137724"/>
                  <a:pt x="14056741" y="3144359"/>
                  <a:pt x="14056741" y="3169794"/>
                </a:cubicBezTo>
                <a:cubicBezTo>
                  <a:pt x="14044766" y="3169794"/>
                  <a:pt x="14038779" y="3163162"/>
                  <a:pt x="14038779" y="3137724"/>
                </a:cubicBezTo>
                <a:close/>
                <a:moveTo>
                  <a:pt x="13393180" y="3137724"/>
                </a:moveTo>
                <a:cubicBezTo>
                  <a:pt x="13393180" y="3163162"/>
                  <a:pt x="13387193" y="3169794"/>
                  <a:pt x="13375218" y="3169794"/>
                </a:cubicBezTo>
                <a:cubicBezTo>
                  <a:pt x="13375218" y="3144359"/>
                  <a:pt x="13381205" y="3137724"/>
                  <a:pt x="13393180" y="3137724"/>
                </a:cubicBezTo>
                <a:close/>
                <a:moveTo>
                  <a:pt x="19615152" y="3127169"/>
                </a:moveTo>
                <a:lnTo>
                  <a:pt x="19614560" y="3129476"/>
                </a:lnTo>
                <a:cubicBezTo>
                  <a:pt x="19613532" y="3133467"/>
                  <a:pt x="19612712" y="3136659"/>
                  <a:pt x="19612712" y="3136659"/>
                </a:cubicBezTo>
                <a:close/>
                <a:moveTo>
                  <a:pt x="19617112" y="3119540"/>
                </a:moveTo>
                <a:lnTo>
                  <a:pt x="19615152" y="3127169"/>
                </a:lnTo>
                <a:lnTo>
                  <a:pt x="19616480" y="3121992"/>
                </a:lnTo>
                <a:close/>
                <a:moveTo>
                  <a:pt x="18432520" y="3118767"/>
                </a:moveTo>
                <a:cubicBezTo>
                  <a:pt x="18484296" y="3118767"/>
                  <a:pt x="18536076" y="3125330"/>
                  <a:pt x="18587852" y="3151581"/>
                </a:cubicBezTo>
                <a:cubicBezTo>
                  <a:pt x="18568436" y="3163612"/>
                  <a:pt x="18549020" y="3183300"/>
                  <a:pt x="18529604" y="3202988"/>
                </a:cubicBezTo>
                <a:cubicBezTo>
                  <a:pt x="18510184" y="3151581"/>
                  <a:pt x="18464880" y="3138456"/>
                  <a:pt x="18432520" y="3118767"/>
                </a:cubicBezTo>
                <a:close/>
                <a:moveTo>
                  <a:pt x="16711994" y="3118764"/>
                </a:moveTo>
                <a:cubicBezTo>
                  <a:pt x="16764132" y="3125084"/>
                  <a:pt x="16815184" y="3131405"/>
                  <a:pt x="16867320" y="3137724"/>
                </a:cubicBezTo>
                <a:cubicBezTo>
                  <a:pt x="16834736" y="3231466"/>
                  <a:pt x="16757614" y="3144043"/>
                  <a:pt x="16711994" y="3118764"/>
                </a:cubicBezTo>
                <a:close/>
                <a:moveTo>
                  <a:pt x="19618252" y="3115111"/>
                </a:moveTo>
                <a:cubicBezTo>
                  <a:pt x="19618864" y="3112718"/>
                  <a:pt x="19618456" y="3114314"/>
                  <a:pt x="19617636" y="3117506"/>
                </a:cubicBezTo>
                <a:lnTo>
                  <a:pt x="19617112" y="3119540"/>
                </a:lnTo>
                <a:close/>
                <a:moveTo>
                  <a:pt x="19635128" y="3114978"/>
                </a:moveTo>
                <a:cubicBezTo>
                  <a:pt x="19642048" y="3114175"/>
                  <a:pt x="19651268" y="3117386"/>
                  <a:pt x="19654344" y="3117386"/>
                </a:cubicBezTo>
                <a:cubicBezTo>
                  <a:pt x="19648196" y="3130230"/>
                  <a:pt x="19642048" y="3136652"/>
                  <a:pt x="19629748" y="3136652"/>
                </a:cubicBezTo>
                <a:cubicBezTo>
                  <a:pt x="19623600" y="3120597"/>
                  <a:pt x="19628212" y="3115781"/>
                  <a:pt x="19635128" y="3114978"/>
                </a:cubicBezTo>
                <a:close/>
                <a:moveTo>
                  <a:pt x="11994711" y="3106481"/>
                </a:moveTo>
                <a:cubicBezTo>
                  <a:pt x="11994711" y="3132271"/>
                  <a:pt x="11994711" y="3169883"/>
                  <a:pt x="12014056" y="3169883"/>
                </a:cubicBezTo>
                <a:cubicBezTo>
                  <a:pt x="12014056" y="3145166"/>
                  <a:pt x="12014056" y="3106481"/>
                  <a:pt x="11994711" y="3106481"/>
                </a:cubicBezTo>
                <a:close/>
                <a:moveTo>
                  <a:pt x="19967092" y="3106419"/>
                </a:moveTo>
                <a:cubicBezTo>
                  <a:pt x="19967092" y="3146099"/>
                  <a:pt x="19940636" y="3139486"/>
                  <a:pt x="19920796" y="3139486"/>
                </a:cubicBezTo>
                <a:cubicBezTo>
                  <a:pt x="19920796" y="3099805"/>
                  <a:pt x="19947252" y="3106419"/>
                  <a:pt x="19967092" y="3106419"/>
                </a:cubicBezTo>
                <a:close/>
                <a:moveTo>
                  <a:pt x="19338524" y="3105569"/>
                </a:moveTo>
                <a:cubicBezTo>
                  <a:pt x="19338524" y="3124908"/>
                  <a:pt x="19344976" y="3137801"/>
                  <a:pt x="19357880" y="3137801"/>
                </a:cubicBezTo>
                <a:cubicBezTo>
                  <a:pt x="19357880" y="3118462"/>
                  <a:pt x="19351428" y="3105569"/>
                  <a:pt x="19338524" y="3105569"/>
                </a:cubicBezTo>
                <a:close/>
                <a:moveTo>
                  <a:pt x="12958120" y="3104543"/>
                </a:moveTo>
                <a:cubicBezTo>
                  <a:pt x="12970095" y="3104543"/>
                  <a:pt x="12976082" y="3117387"/>
                  <a:pt x="12976082" y="3136652"/>
                </a:cubicBezTo>
                <a:cubicBezTo>
                  <a:pt x="12964107" y="3136652"/>
                  <a:pt x="12958120" y="3130231"/>
                  <a:pt x="12958120" y="3104543"/>
                </a:cubicBezTo>
                <a:close/>
                <a:moveTo>
                  <a:pt x="18039120" y="3104542"/>
                </a:moveTo>
                <a:cubicBezTo>
                  <a:pt x="18052244" y="3104542"/>
                  <a:pt x="18052244" y="3117386"/>
                  <a:pt x="18052244" y="3136652"/>
                </a:cubicBezTo>
                <a:cubicBezTo>
                  <a:pt x="18039120" y="3136652"/>
                  <a:pt x="18039120" y="3123809"/>
                  <a:pt x="18039120" y="3104542"/>
                </a:cubicBezTo>
                <a:close/>
                <a:moveTo>
                  <a:pt x="13849192" y="3104542"/>
                </a:moveTo>
                <a:cubicBezTo>
                  <a:pt x="13862317" y="3104542"/>
                  <a:pt x="13862317" y="3117387"/>
                  <a:pt x="13862317" y="3136652"/>
                </a:cubicBezTo>
                <a:cubicBezTo>
                  <a:pt x="13849192" y="3136652"/>
                  <a:pt x="13849192" y="3123809"/>
                  <a:pt x="13849192" y="3104542"/>
                </a:cubicBezTo>
                <a:close/>
                <a:moveTo>
                  <a:pt x="13203590" y="3104542"/>
                </a:moveTo>
                <a:cubicBezTo>
                  <a:pt x="13203590" y="3130230"/>
                  <a:pt x="13197603" y="3136652"/>
                  <a:pt x="13185628" y="3136652"/>
                </a:cubicBezTo>
                <a:cubicBezTo>
                  <a:pt x="13185628" y="3117387"/>
                  <a:pt x="13191615" y="3104542"/>
                  <a:pt x="13203590" y="3104542"/>
                </a:cubicBezTo>
                <a:close/>
                <a:moveTo>
                  <a:pt x="13124012" y="3104542"/>
                </a:moveTo>
                <a:cubicBezTo>
                  <a:pt x="13143853" y="3104542"/>
                  <a:pt x="13157080" y="3104542"/>
                  <a:pt x="13170307" y="3104542"/>
                </a:cubicBezTo>
                <a:cubicBezTo>
                  <a:pt x="13170307" y="3117387"/>
                  <a:pt x="13170307" y="3130231"/>
                  <a:pt x="13170307" y="3136652"/>
                </a:cubicBezTo>
                <a:cubicBezTo>
                  <a:pt x="13157080" y="3136652"/>
                  <a:pt x="13143853" y="3136652"/>
                  <a:pt x="13124012" y="3136652"/>
                </a:cubicBezTo>
                <a:cubicBezTo>
                  <a:pt x="13124012" y="3130231"/>
                  <a:pt x="13124012" y="3117387"/>
                  <a:pt x="13124012" y="3104542"/>
                </a:cubicBezTo>
                <a:close/>
                <a:moveTo>
                  <a:pt x="20431688" y="3104541"/>
                </a:moveTo>
                <a:cubicBezTo>
                  <a:pt x="20431688" y="3123808"/>
                  <a:pt x="20425700" y="3136650"/>
                  <a:pt x="20413728" y="3136650"/>
                </a:cubicBezTo>
                <a:cubicBezTo>
                  <a:pt x="20413728" y="3117386"/>
                  <a:pt x="20419712" y="3104541"/>
                  <a:pt x="20431688" y="3104541"/>
                </a:cubicBezTo>
                <a:close/>
                <a:moveTo>
                  <a:pt x="20090428" y="3104541"/>
                </a:moveTo>
                <a:cubicBezTo>
                  <a:pt x="20090428" y="3123808"/>
                  <a:pt x="20084440" y="3136652"/>
                  <a:pt x="20072468" y="3136652"/>
                </a:cubicBezTo>
                <a:cubicBezTo>
                  <a:pt x="20072468" y="3117386"/>
                  <a:pt x="20079452" y="3104541"/>
                  <a:pt x="20090428" y="3104541"/>
                </a:cubicBezTo>
                <a:close/>
                <a:moveTo>
                  <a:pt x="19810784" y="3104541"/>
                </a:moveTo>
                <a:cubicBezTo>
                  <a:pt x="19810784" y="3123809"/>
                  <a:pt x="19804796" y="3136652"/>
                  <a:pt x="19792824" y="3136652"/>
                </a:cubicBezTo>
                <a:cubicBezTo>
                  <a:pt x="19792824" y="3117386"/>
                  <a:pt x="19798812" y="3104541"/>
                  <a:pt x="19810784" y="3104541"/>
                </a:cubicBezTo>
                <a:close/>
                <a:moveTo>
                  <a:pt x="17749992" y="3085585"/>
                </a:moveTo>
                <a:cubicBezTo>
                  <a:pt x="17787912" y="3098710"/>
                  <a:pt x="17824776" y="3105269"/>
                  <a:pt x="17862696" y="3118398"/>
                </a:cubicBezTo>
                <a:cubicBezTo>
                  <a:pt x="17831096" y="3131523"/>
                  <a:pt x="17800552" y="3151211"/>
                  <a:pt x="17768952" y="3169805"/>
                </a:cubicBezTo>
                <a:cubicBezTo>
                  <a:pt x="17775272" y="3151211"/>
                  <a:pt x="17775272" y="3138086"/>
                  <a:pt x="17781592" y="3131523"/>
                </a:cubicBezTo>
                <a:cubicBezTo>
                  <a:pt x="17775272" y="3118398"/>
                  <a:pt x="17762632" y="3105269"/>
                  <a:pt x="17749992" y="3085585"/>
                </a:cubicBezTo>
                <a:close/>
                <a:moveTo>
                  <a:pt x="14427442" y="3085584"/>
                </a:moveTo>
                <a:cubicBezTo>
                  <a:pt x="14522746" y="3092148"/>
                  <a:pt x="14619120" y="3098708"/>
                  <a:pt x="14715494" y="3105268"/>
                </a:cubicBezTo>
                <a:cubicBezTo>
                  <a:pt x="14715494" y="3169804"/>
                  <a:pt x="14644820" y="3144648"/>
                  <a:pt x="14619120" y="3144648"/>
                </a:cubicBezTo>
                <a:cubicBezTo>
                  <a:pt x="14586995" y="3138085"/>
                  <a:pt x="14554870" y="3151210"/>
                  <a:pt x="14522746" y="3138085"/>
                </a:cubicBezTo>
                <a:cubicBezTo>
                  <a:pt x="14491692" y="3131523"/>
                  <a:pt x="14459567" y="3105268"/>
                  <a:pt x="14427442" y="3085584"/>
                </a:cubicBezTo>
                <a:close/>
                <a:moveTo>
                  <a:pt x="19759008" y="3076766"/>
                </a:moveTo>
                <a:cubicBezTo>
                  <a:pt x="19766692" y="3080073"/>
                  <a:pt x="19772840" y="3091648"/>
                  <a:pt x="19772840" y="3108181"/>
                </a:cubicBezTo>
                <a:cubicBezTo>
                  <a:pt x="19760544" y="3108181"/>
                  <a:pt x="19748248" y="3101566"/>
                  <a:pt x="19735948" y="3094954"/>
                </a:cubicBezTo>
                <a:cubicBezTo>
                  <a:pt x="19742096" y="3078419"/>
                  <a:pt x="19751320" y="3073460"/>
                  <a:pt x="19759008" y="3076766"/>
                </a:cubicBezTo>
                <a:close/>
                <a:moveTo>
                  <a:pt x="19905580" y="3076105"/>
                </a:moveTo>
                <a:cubicBezTo>
                  <a:pt x="19905580" y="3101791"/>
                  <a:pt x="19899592" y="3108214"/>
                  <a:pt x="19887620" y="3108214"/>
                </a:cubicBezTo>
                <a:cubicBezTo>
                  <a:pt x="19887620" y="3088948"/>
                  <a:pt x="19893604" y="3076105"/>
                  <a:pt x="19905580" y="3076105"/>
                </a:cubicBezTo>
                <a:close/>
                <a:moveTo>
                  <a:pt x="13260440" y="3076102"/>
                </a:moveTo>
                <a:cubicBezTo>
                  <a:pt x="13260440" y="3112995"/>
                  <a:pt x="13241994" y="3106847"/>
                  <a:pt x="13223548" y="3106847"/>
                </a:cubicBezTo>
                <a:cubicBezTo>
                  <a:pt x="13223548" y="3076102"/>
                  <a:pt x="13248143" y="3076102"/>
                  <a:pt x="13260440" y="3076102"/>
                </a:cubicBezTo>
                <a:close/>
                <a:moveTo>
                  <a:pt x="15044272" y="3074878"/>
                </a:moveTo>
                <a:cubicBezTo>
                  <a:pt x="15069992" y="3074878"/>
                  <a:pt x="15102144" y="3087860"/>
                  <a:pt x="15127866" y="3094351"/>
                </a:cubicBezTo>
                <a:cubicBezTo>
                  <a:pt x="15210388" y="3120316"/>
                  <a:pt x="15306844" y="3133300"/>
                  <a:pt x="15389366" y="3152773"/>
                </a:cubicBezTo>
                <a:cubicBezTo>
                  <a:pt x="15344354" y="3229587"/>
                  <a:pt x="15229680" y="3061892"/>
                  <a:pt x="15203958" y="3203621"/>
                </a:cubicBezTo>
                <a:cubicBezTo>
                  <a:pt x="15242540" y="3210111"/>
                  <a:pt x="15485820" y="3313974"/>
                  <a:pt x="15485820" y="3203621"/>
                </a:cubicBezTo>
                <a:cubicBezTo>
                  <a:pt x="15466530" y="3203621"/>
                  <a:pt x="15434378" y="3216604"/>
                  <a:pt x="15434378" y="3171165"/>
                </a:cubicBezTo>
                <a:cubicBezTo>
                  <a:pt x="15460100" y="3171165"/>
                  <a:pt x="15492252" y="3178739"/>
                  <a:pt x="15524402" y="3184146"/>
                </a:cubicBezTo>
                <a:cubicBezTo>
                  <a:pt x="15479390" y="3229587"/>
                  <a:pt x="15581204" y="3249062"/>
                  <a:pt x="15581204" y="3294499"/>
                </a:cubicBezTo>
                <a:cubicBezTo>
                  <a:pt x="15574774" y="3294499"/>
                  <a:pt x="15543694" y="3288008"/>
                  <a:pt x="15543694" y="3307482"/>
                </a:cubicBezTo>
                <a:cubicBezTo>
                  <a:pt x="15543694" y="3333448"/>
                  <a:pt x="15568344" y="3333448"/>
                  <a:pt x="15574774" y="3333448"/>
                </a:cubicBezTo>
                <a:cubicBezTo>
                  <a:pt x="15606926" y="3333448"/>
                  <a:pt x="15639078" y="3313974"/>
                  <a:pt x="15677660" y="3294499"/>
                </a:cubicBezTo>
                <a:cubicBezTo>
                  <a:pt x="15671228" y="3313974"/>
                  <a:pt x="15664798" y="3339940"/>
                  <a:pt x="15658368" y="3359411"/>
                </a:cubicBezTo>
                <a:cubicBezTo>
                  <a:pt x="15645508" y="3359411"/>
                  <a:pt x="15632646" y="3359411"/>
                  <a:pt x="15613356" y="3359411"/>
                </a:cubicBezTo>
                <a:cubicBezTo>
                  <a:pt x="15587634" y="3352919"/>
                  <a:pt x="15555482" y="3352919"/>
                  <a:pt x="15524402" y="3352919"/>
                </a:cubicBezTo>
                <a:cubicBezTo>
                  <a:pt x="15466530" y="3352919"/>
                  <a:pt x="15415088" y="3339940"/>
                  <a:pt x="15357214" y="3326957"/>
                </a:cubicBezTo>
                <a:cubicBezTo>
                  <a:pt x="15242540" y="3300991"/>
                  <a:pt x="15134296" y="3268534"/>
                  <a:pt x="15018550" y="3262042"/>
                </a:cubicBezTo>
                <a:cubicBezTo>
                  <a:pt x="15024980" y="3216604"/>
                  <a:pt x="15037840" y="3171165"/>
                  <a:pt x="15063562" y="3152773"/>
                </a:cubicBezTo>
                <a:cubicBezTo>
                  <a:pt x="15095714" y="3120316"/>
                  <a:pt x="15134296" y="3146282"/>
                  <a:pt x="15165376" y="3152773"/>
                </a:cubicBezTo>
                <a:cubicBezTo>
                  <a:pt x="15139654" y="3139790"/>
                  <a:pt x="15120364" y="3126808"/>
                  <a:pt x="15095714" y="3107335"/>
                </a:cubicBezTo>
                <a:cubicBezTo>
                  <a:pt x="15082854" y="3120316"/>
                  <a:pt x="15076422" y="3126808"/>
                  <a:pt x="15076422" y="3139790"/>
                </a:cubicBezTo>
                <a:cubicBezTo>
                  <a:pt x="15063562" y="3133300"/>
                  <a:pt x="15057132" y="3120316"/>
                  <a:pt x="15050702" y="3113825"/>
                </a:cubicBezTo>
                <a:cubicBezTo>
                  <a:pt x="15037840" y="3133300"/>
                  <a:pt x="15037840" y="3152773"/>
                  <a:pt x="15024980" y="3171165"/>
                </a:cubicBezTo>
                <a:cubicBezTo>
                  <a:pt x="15018550" y="3126808"/>
                  <a:pt x="15005690" y="3074878"/>
                  <a:pt x="15044272" y="3074878"/>
                </a:cubicBezTo>
                <a:close/>
                <a:moveTo>
                  <a:pt x="14143552" y="3073450"/>
                </a:moveTo>
                <a:cubicBezTo>
                  <a:pt x="14145797" y="3070037"/>
                  <a:pt x="14150287" y="3070037"/>
                  <a:pt x="14156275" y="3073450"/>
                </a:cubicBezTo>
                <a:lnTo>
                  <a:pt x="14145745" y="3091452"/>
                </a:lnTo>
                <a:lnTo>
                  <a:pt x="14146699" y="3094064"/>
                </a:lnTo>
                <a:cubicBezTo>
                  <a:pt x="14140137" y="3094064"/>
                  <a:pt x="14140137" y="3094064"/>
                  <a:pt x="14133574" y="3094064"/>
                </a:cubicBezTo>
                <a:cubicBezTo>
                  <a:pt x="14133574" y="3088077"/>
                  <a:pt x="14133574" y="3082089"/>
                  <a:pt x="14140137" y="3076102"/>
                </a:cubicBezTo>
                <a:lnTo>
                  <a:pt x="14144039" y="3086783"/>
                </a:lnTo>
                <a:close/>
                <a:moveTo>
                  <a:pt x="19491304" y="3061880"/>
                </a:moveTo>
                <a:cubicBezTo>
                  <a:pt x="19497868" y="3074725"/>
                  <a:pt x="19497868" y="3081146"/>
                  <a:pt x="19491304" y="3093988"/>
                </a:cubicBezTo>
                <a:cubicBezTo>
                  <a:pt x="19484740" y="3081146"/>
                  <a:pt x="19484740" y="3074725"/>
                  <a:pt x="19491304" y="3061880"/>
                </a:cubicBezTo>
                <a:close/>
                <a:moveTo>
                  <a:pt x="15613966" y="3061376"/>
                </a:moveTo>
                <a:cubicBezTo>
                  <a:pt x="15665232" y="3066958"/>
                  <a:pt x="15713420" y="3089263"/>
                  <a:pt x="15748756" y="3149818"/>
                </a:cubicBezTo>
                <a:cubicBezTo>
                  <a:pt x="15729482" y="3161504"/>
                  <a:pt x="15690932" y="3212499"/>
                  <a:pt x="15665232" y="3187000"/>
                </a:cubicBezTo>
                <a:cubicBezTo>
                  <a:pt x="15652382" y="3167878"/>
                  <a:pt x="15658806" y="3143444"/>
                  <a:pt x="15633106" y="3130693"/>
                </a:cubicBezTo>
                <a:cubicBezTo>
                  <a:pt x="15607408" y="3117947"/>
                  <a:pt x="15575282" y="3117947"/>
                  <a:pt x="15549582" y="3111573"/>
                </a:cubicBezTo>
                <a:cubicBezTo>
                  <a:pt x="15518528" y="3098824"/>
                  <a:pt x="15486404" y="3092452"/>
                  <a:pt x="15460704" y="3073328"/>
                </a:cubicBezTo>
                <a:cubicBezTo>
                  <a:pt x="15508356" y="3066958"/>
                  <a:pt x="15562700" y="3055798"/>
                  <a:pt x="15613966" y="3061376"/>
                </a:cubicBezTo>
                <a:close/>
                <a:moveTo>
                  <a:pt x="14137225" y="3058554"/>
                </a:moveTo>
                <a:cubicBezTo>
                  <a:pt x="14092499" y="3089298"/>
                  <a:pt x="14046682" y="3077001"/>
                  <a:pt x="14000865" y="3083149"/>
                </a:cubicBezTo>
                <a:cubicBezTo>
                  <a:pt x="14040137" y="3052405"/>
                  <a:pt x="14092499" y="3058554"/>
                  <a:pt x="14137225" y="3058554"/>
                </a:cubicBezTo>
                <a:close/>
                <a:moveTo>
                  <a:pt x="19725972" y="3053635"/>
                </a:moveTo>
                <a:cubicBezTo>
                  <a:pt x="19728964" y="3054488"/>
                  <a:pt x="19731956" y="3057901"/>
                  <a:pt x="19734952" y="3061312"/>
                </a:cubicBezTo>
                <a:cubicBezTo>
                  <a:pt x="19734952" y="3068140"/>
                  <a:pt x="19728964" y="3068140"/>
                  <a:pt x="19722976" y="3074963"/>
                </a:cubicBezTo>
                <a:cubicBezTo>
                  <a:pt x="19722976" y="3068140"/>
                  <a:pt x="19722976" y="3068140"/>
                  <a:pt x="19716988" y="3061312"/>
                </a:cubicBezTo>
                <a:cubicBezTo>
                  <a:pt x="19719984" y="3054488"/>
                  <a:pt x="19722976" y="3052782"/>
                  <a:pt x="19725972" y="3053635"/>
                </a:cubicBezTo>
                <a:close/>
                <a:moveTo>
                  <a:pt x="15374890" y="3049345"/>
                </a:moveTo>
                <a:cubicBezTo>
                  <a:pt x="15382114" y="3050952"/>
                  <a:pt x="15388534" y="3058977"/>
                  <a:pt x="15388534" y="3075031"/>
                </a:cubicBezTo>
                <a:cubicBezTo>
                  <a:pt x="15382114" y="3075031"/>
                  <a:pt x="15369272" y="3068612"/>
                  <a:pt x="15356430" y="3062187"/>
                </a:cubicBezTo>
                <a:cubicBezTo>
                  <a:pt x="15359640" y="3052556"/>
                  <a:pt x="15367666" y="3047741"/>
                  <a:pt x="15374890" y="3049345"/>
                </a:cubicBezTo>
                <a:close/>
                <a:moveTo>
                  <a:pt x="19867604" y="3049072"/>
                </a:moveTo>
                <a:cubicBezTo>
                  <a:pt x="19867604" y="3079816"/>
                  <a:pt x="19843380" y="3073668"/>
                  <a:pt x="19830740" y="3073668"/>
                </a:cubicBezTo>
                <a:cubicBezTo>
                  <a:pt x="19830740" y="3042924"/>
                  <a:pt x="19849700" y="3049072"/>
                  <a:pt x="19867604" y="3049072"/>
                </a:cubicBezTo>
                <a:close/>
                <a:moveTo>
                  <a:pt x="18958628" y="3047664"/>
                </a:moveTo>
                <a:cubicBezTo>
                  <a:pt x="18970604" y="3047664"/>
                  <a:pt x="18976592" y="3054488"/>
                  <a:pt x="18976592" y="3074964"/>
                </a:cubicBezTo>
                <a:cubicBezTo>
                  <a:pt x="18970604" y="3074964"/>
                  <a:pt x="18958628" y="3068141"/>
                  <a:pt x="18958628" y="3047664"/>
                </a:cubicBezTo>
                <a:close/>
                <a:moveTo>
                  <a:pt x="15436004" y="3047664"/>
                </a:moveTo>
                <a:cubicBezTo>
                  <a:pt x="15436004" y="3068141"/>
                  <a:pt x="15424030" y="3074964"/>
                  <a:pt x="15418042" y="3074964"/>
                </a:cubicBezTo>
                <a:cubicBezTo>
                  <a:pt x="15418042" y="3054488"/>
                  <a:pt x="15424030" y="3047664"/>
                  <a:pt x="15436004" y="3047664"/>
                </a:cubicBezTo>
                <a:close/>
                <a:moveTo>
                  <a:pt x="14981987" y="3047664"/>
                </a:moveTo>
                <a:cubicBezTo>
                  <a:pt x="14994284" y="3054085"/>
                  <a:pt x="15006582" y="3054085"/>
                  <a:pt x="15018880" y="3060507"/>
                </a:cubicBezTo>
                <a:cubicBezTo>
                  <a:pt x="15006582" y="3079773"/>
                  <a:pt x="14981987" y="3079773"/>
                  <a:pt x="14981987" y="3047664"/>
                </a:cubicBezTo>
                <a:close/>
                <a:moveTo>
                  <a:pt x="16471316" y="3045891"/>
                </a:moveTo>
                <a:cubicBezTo>
                  <a:pt x="16471316" y="3065080"/>
                  <a:pt x="16477790" y="3071485"/>
                  <a:pt x="16490736" y="3071485"/>
                </a:cubicBezTo>
                <a:cubicBezTo>
                  <a:pt x="16490736" y="3052289"/>
                  <a:pt x="16484264" y="3045891"/>
                  <a:pt x="16471316" y="3045891"/>
                </a:cubicBezTo>
                <a:close/>
                <a:moveTo>
                  <a:pt x="14333049" y="3044416"/>
                </a:moveTo>
                <a:cubicBezTo>
                  <a:pt x="14320958" y="3043611"/>
                  <a:pt x="14306449" y="3048447"/>
                  <a:pt x="14296777" y="3048447"/>
                </a:cubicBezTo>
                <a:cubicBezTo>
                  <a:pt x="14296777" y="3093583"/>
                  <a:pt x="14335467" y="3074240"/>
                  <a:pt x="14354813" y="3074240"/>
                </a:cubicBezTo>
                <a:cubicBezTo>
                  <a:pt x="14354813" y="3051671"/>
                  <a:pt x="14345140" y="3045227"/>
                  <a:pt x="14333049" y="3044416"/>
                </a:cubicBezTo>
                <a:close/>
                <a:moveTo>
                  <a:pt x="11750748" y="3029103"/>
                </a:moveTo>
                <a:cubicBezTo>
                  <a:pt x="11609959" y="3054895"/>
                  <a:pt x="11474543" y="3080688"/>
                  <a:pt x="11333754" y="3106481"/>
                </a:cubicBezTo>
                <a:cubicBezTo>
                  <a:pt x="11346651" y="3158061"/>
                  <a:pt x="11378892" y="3158061"/>
                  <a:pt x="11404686" y="3151613"/>
                </a:cubicBezTo>
                <a:cubicBezTo>
                  <a:pt x="11448750" y="3138718"/>
                  <a:pt x="11487440" y="3132271"/>
                  <a:pt x="11532578" y="3132271"/>
                </a:cubicBezTo>
                <a:cubicBezTo>
                  <a:pt x="11571269" y="3125822"/>
                  <a:pt x="11616407" y="3100031"/>
                  <a:pt x="11660471" y="3112926"/>
                </a:cubicBezTo>
                <a:lnTo>
                  <a:pt x="11687347" y="3112926"/>
                </a:lnTo>
                <a:lnTo>
                  <a:pt x="11683133" y="3108712"/>
                </a:lnTo>
                <a:cubicBezTo>
                  <a:pt x="11686545" y="3105297"/>
                  <a:pt x="11689958" y="3103166"/>
                  <a:pt x="11692944" y="3102206"/>
                </a:cubicBezTo>
                <a:lnTo>
                  <a:pt x="11695851" y="3102420"/>
                </a:lnTo>
                <a:lnTo>
                  <a:pt x="11692713" y="3093583"/>
                </a:lnTo>
                <a:cubicBezTo>
                  <a:pt x="11712058" y="3067798"/>
                  <a:pt x="11731403" y="3048447"/>
                  <a:pt x="11750748" y="3029103"/>
                </a:cubicBezTo>
                <a:close/>
                <a:moveTo>
                  <a:pt x="15348590" y="3028233"/>
                </a:moveTo>
                <a:cubicBezTo>
                  <a:pt x="15350232" y="3025673"/>
                  <a:pt x="15353512" y="3027380"/>
                  <a:pt x="15360074" y="3030792"/>
                </a:cubicBezTo>
                <a:cubicBezTo>
                  <a:pt x="15353512" y="3037617"/>
                  <a:pt x="15353512" y="3037617"/>
                  <a:pt x="15346950" y="3051267"/>
                </a:cubicBezTo>
                <a:cubicBezTo>
                  <a:pt x="15346950" y="3037617"/>
                  <a:pt x="15346950" y="3030792"/>
                  <a:pt x="15348590" y="3028233"/>
                </a:cubicBezTo>
                <a:close/>
                <a:moveTo>
                  <a:pt x="19687628" y="3019060"/>
                </a:moveTo>
                <a:cubicBezTo>
                  <a:pt x="19696976" y="3021541"/>
                  <a:pt x="19706456" y="3028154"/>
                  <a:pt x="19715936" y="3031460"/>
                </a:cubicBezTo>
                <a:cubicBezTo>
                  <a:pt x="19715936" y="3038074"/>
                  <a:pt x="19709616" y="3044688"/>
                  <a:pt x="19709616" y="3051301"/>
                </a:cubicBezTo>
                <a:cubicBezTo>
                  <a:pt x="19690656" y="3044688"/>
                  <a:pt x="19678016" y="3038074"/>
                  <a:pt x="19660112" y="3031460"/>
                </a:cubicBezTo>
                <a:cubicBezTo>
                  <a:pt x="19669064" y="3018234"/>
                  <a:pt x="19678280" y="3016580"/>
                  <a:pt x="19687628" y="3019060"/>
                </a:cubicBezTo>
                <a:close/>
                <a:moveTo>
                  <a:pt x="18886480" y="3016359"/>
                </a:moveTo>
                <a:cubicBezTo>
                  <a:pt x="18886480" y="3056040"/>
                  <a:pt x="18861200" y="3049425"/>
                  <a:pt x="18849616" y="3049425"/>
                </a:cubicBezTo>
                <a:cubicBezTo>
                  <a:pt x="18849616" y="3009745"/>
                  <a:pt x="18867520" y="3016359"/>
                  <a:pt x="18886480" y="3016359"/>
                </a:cubicBezTo>
                <a:close/>
                <a:moveTo>
                  <a:pt x="11770093" y="3016207"/>
                </a:moveTo>
                <a:cubicBezTo>
                  <a:pt x="11770093" y="3035555"/>
                  <a:pt x="11776542" y="3048447"/>
                  <a:pt x="11789438" y="3048447"/>
                </a:cubicBezTo>
                <a:cubicBezTo>
                  <a:pt x="11789438" y="3022655"/>
                  <a:pt x="11782990" y="3016207"/>
                  <a:pt x="11770093" y="3016207"/>
                </a:cubicBezTo>
                <a:close/>
                <a:moveTo>
                  <a:pt x="10653451" y="3016207"/>
                </a:moveTo>
                <a:cubicBezTo>
                  <a:pt x="10653451" y="3035555"/>
                  <a:pt x="10659900" y="3048447"/>
                  <a:pt x="10672797" y="3048447"/>
                </a:cubicBezTo>
                <a:cubicBezTo>
                  <a:pt x="10672797" y="3022655"/>
                  <a:pt x="10666348" y="3016207"/>
                  <a:pt x="10653451" y="3016207"/>
                </a:cubicBezTo>
                <a:close/>
                <a:moveTo>
                  <a:pt x="10634106" y="3016207"/>
                </a:moveTo>
                <a:cubicBezTo>
                  <a:pt x="10621210" y="3016207"/>
                  <a:pt x="10621210" y="3029103"/>
                  <a:pt x="10621210" y="3048447"/>
                </a:cubicBezTo>
                <a:cubicBezTo>
                  <a:pt x="10634106" y="3048447"/>
                  <a:pt x="10634106" y="3035555"/>
                  <a:pt x="10634106" y="3016207"/>
                </a:cubicBezTo>
                <a:close/>
                <a:moveTo>
                  <a:pt x="19976580" y="3014484"/>
                </a:moveTo>
                <a:cubicBezTo>
                  <a:pt x="19976580" y="3033747"/>
                  <a:pt x="19976580" y="3046589"/>
                  <a:pt x="19963452" y="3046589"/>
                </a:cubicBezTo>
                <a:cubicBezTo>
                  <a:pt x="19963452" y="3027326"/>
                  <a:pt x="19963452" y="3014484"/>
                  <a:pt x="19976580" y="3014484"/>
                </a:cubicBezTo>
                <a:close/>
                <a:moveTo>
                  <a:pt x="18564232" y="3014484"/>
                </a:moveTo>
                <a:cubicBezTo>
                  <a:pt x="18564232" y="3033747"/>
                  <a:pt x="18558244" y="3046590"/>
                  <a:pt x="18546272" y="3046590"/>
                </a:cubicBezTo>
                <a:cubicBezTo>
                  <a:pt x="18546272" y="3027326"/>
                  <a:pt x="18552256" y="3014484"/>
                  <a:pt x="18564232" y="3014484"/>
                </a:cubicBezTo>
                <a:close/>
                <a:moveTo>
                  <a:pt x="15640814" y="3014484"/>
                </a:moveTo>
                <a:cubicBezTo>
                  <a:pt x="15652788" y="3014484"/>
                  <a:pt x="15658776" y="3020905"/>
                  <a:pt x="15658776" y="3046590"/>
                </a:cubicBezTo>
                <a:cubicBezTo>
                  <a:pt x="15646800" y="3046590"/>
                  <a:pt x="15640814" y="3033747"/>
                  <a:pt x="15640814" y="3014484"/>
                </a:cubicBezTo>
                <a:close/>
                <a:moveTo>
                  <a:pt x="13993207" y="3014484"/>
                </a:moveTo>
                <a:cubicBezTo>
                  <a:pt x="13993207" y="3021047"/>
                  <a:pt x="13999771" y="3021047"/>
                  <a:pt x="13999771" y="3027609"/>
                </a:cubicBezTo>
                <a:cubicBezTo>
                  <a:pt x="13986643" y="3027609"/>
                  <a:pt x="13986643" y="3027609"/>
                  <a:pt x="13993207" y="3014484"/>
                </a:cubicBezTo>
                <a:close/>
                <a:moveTo>
                  <a:pt x="13883617" y="3005006"/>
                </a:moveTo>
                <a:cubicBezTo>
                  <a:pt x="13895592" y="3018656"/>
                  <a:pt x="13883617" y="3032306"/>
                  <a:pt x="13877630" y="3018656"/>
                </a:cubicBezTo>
                <a:cubicBezTo>
                  <a:pt x="13877630" y="3011832"/>
                  <a:pt x="13883617" y="3005006"/>
                  <a:pt x="13883617" y="3005006"/>
                </a:cubicBezTo>
                <a:close/>
                <a:moveTo>
                  <a:pt x="10730832" y="2983968"/>
                </a:moveTo>
                <a:cubicBezTo>
                  <a:pt x="10730832" y="3022655"/>
                  <a:pt x="10769522" y="3029103"/>
                  <a:pt x="10769522" y="2983968"/>
                </a:cubicBezTo>
                <a:cubicBezTo>
                  <a:pt x="10756625" y="2983968"/>
                  <a:pt x="10743729" y="2983968"/>
                  <a:pt x="10730832" y="2983968"/>
                </a:cubicBezTo>
                <a:close/>
                <a:moveTo>
                  <a:pt x="17905384" y="2982714"/>
                </a:moveTo>
                <a:cubicBezTo>
                  <a:pt x="17905384" y="3013458"/>
                  <a:pt x="17880788" y="3013458"/>
                  <a:pt x="17868492" y="3013458"/>
                </a:cubicBezTo>
                <a:cubicBezTo>
                  <a:pt x="17868492" y="2976565"/>
                  <a:pt x="17886936" y="2982714"/>
                  <a:pt x="17905384" y="2982714"/>
                </a:cubicBezTo>
                <a:close/>
                <a:moveTo>
                  <a:pt x="15489142" y="2982714"/>
                </a:moveTo>
                <a:cubicBezTo>
                  <a:pt x="15507588" y="2982714"/>
                  <a:pt x="15526034" y="2976568"/>
                  <a:pt x="15526034" y="3013459"/>
                </a:cubicBezTo>
                <a:cubicBezTo>
                  <a:pt x="15513736" y="3013459"/>
                  <a:pt x="15489142" y="3013459"/>
                  <a:pt x="15489142" y="2982714"/>
                </a:cubicBezTo>
                <a:close/>
                <a:moveTo>
                  <a:pt x="18266628" y="2981307"/>
                </a:moveTo>
                <a:cubicBezTo>
                  <a:pt x="18279752" y="2981307"/>
                  <a:pt x="18279752" y="2994150"/>
                  <a:pt x="18279752" y="3013415"/>
                </a:cubicBezTo>
                <a:cubicBezTo>
                  <a:pt x="18266628" y="3013415"/>
                  <a:pt x="18266628" y="3000572"/>
                  <a:pt x="18266628" y="2981307"/>
                </a:cubicBezTo>
                <a:close/>
                <a:moveTo>
                  <a:pt x="416894" y="2981307"/>
                </a:moveTo>
                <a:cubicBezTo>
                  <a:pt x="435506" y="2987920"/>
                  <a:pt x="454120" y="2987920"/>
                  <a:pt x="472737" y="3001148"/>
                </a:cubicBezTo>
                <a:cubicBezTo>
                  <a:pt x="454120" y="3020988"/>
                  <a:pt x="416894" y="3027602"/>
                  <a:pt x="416894" y="2981307"/>
                </a:cubicBezTo>
                <a:close/>
                <a:moveTo>
                  <a:pt x="955961" y="2967983"/>
                </a:moveTo>
                <a:cubicBezTo>
                  <a:pt x="932051" y="2965699"/>
                  <a:pt x="904916" y="2972146"/>
                  <a:pt x="892023" y="2972146"/>
                </a:cubicBezTo>
                <a:cubicBezTo>
                  <a:pt x="904916" y="3048447"/>
                  <a:pt x="968322" y="3016207"/>
                  <a:pt x="1000565" y="3016207"/>
                </a:cubicBezTo>
                <a:cubicBezTo>
                  <a:pt x="1000565" y="2981283"/>
                  <a:pt x="979874" y="2970265"/>
                  <a:pt x="955961" y="2967983"/>
                </a:cubicBezTo>
                <a:close/>
                <a:moveTo>
                  <a:pt x="13060079" y="2962897"/>
                </a:moveTo>
                <a:lnTo>
                  <a:pt x="13058159" y="2966150"/>
                </a:lnTo>
                <a:lnTo>
                  <a:pt x="13057472" y="2967312"/>
                </a:lnTo>
                <a:close/>
                <a:moveTo>
                  <a:pt x="18448224" y="2957672"/>
                </a:moveTo>
                <a:cubicBezTo>
                  <a:pt x="18464744" y="2953650"/>
                  <a:pt x="18483104" y="2974218"/>
                  <a:pt x="18497788" y="2983181"/>
                </a:cubicBezTo>
                <a:cubicBezTo>
                  <a:pt x="18478208" y="2989697"/>
                  <a:pt x="18452100" y="2983181"/>
                  <a:pt x="18432520" y="2971232"/>
                </a:cubicBezTo>
                <a:cubicBezTo>
                  <a:pt x="18437416" y="2963087"/>
                  <a:pt x="18442716" y="2959013"/>
                  <a:pt x="18448224" y="2957672"/>
                </a:cubicBezTo>
                <a:close/>
                <a:moveTo>
                  <a:pt x="15436004" y="2952867"/>
                </a:moveTo>
                <a:cubicBezTo>
                  <a:pt x="15436004" y="2978305"/>
                  <a:pt x="15424030" y="2984939"/>
                  <a:pt x="15418042" y="2984939"/>
                </a:cubicBezTo>
                <a:cubicBezTo>
                  <a:pt x="15418042" y="2958395"/>
                  <a:pt x="15424030" y="2952867"/>
                  <a:pt x="15436004" y="2952867"/>
                </a:cubicBezTo>
                <a:close/>
                <a:moveTo>
                  <a:pt x="19886620" y="2952866"/>
                </a:moveTo>
                <a:cubicBezTo>
                  <a:pt x="19886620" y="2978304"/>
                  <a:pt x="19874644" y="2984939"/>
                  <a:pt x="19868660" y="2984939"/>
                </a:cubicBezTo>
                <a:cubicBezTo>
                  <a:pt x="19868660" y="2958395"/>
                  <a:pt x="19874644" y="2952866"/>
                  <a:pt x="19886620" y="2952866"/>
                </a:cubicBezTo>
                <a:close/>
                <a:moveTo>
                  <a:pt x="13065997" y="2952866"/>
                </a:moveTo>
                <a:lnTo>
                  <a:pt x="13060079" y="2962897"/>
                </a:lnTo>
                <a:lnTo>
                  <a:pt x="13062158" y="2959372"/>
                </a:lnTo>
                <a:cubicBezTo>
                  <a:pt x="13064291" y="2955758"/>
                  <a:pt x="13065997" y="2952866"/>
                  <a:pt x="13065997" y="2952866"/>
                </a:cubicBezTo>
                <a:close/>
                <a:moveTo>
                  <a:pt x="15351162" y="2951202"/>
                </a:moveTo>
                <a:cubicBezTo>
                  <a:pt x="15363540" y="2951907"/>
                  <a:pt x="15374336" y="2961780"/>
                  <a:pt x="15374336" y="2984916"/>
                </a:cubicBezTo>
                <a:cubicBezTo>
                  <a:pt x="15355376" y="2978145"/>
                  <a:pt x="15337470" y="2972502"/>
                  <a:pt x="15318510" y="2972502"/>
                </a:cubicBezTo>
                <a:cubicBezTo>
                  <a:pt x="15324830" y="2958961"/>
                  <a:pt x="15338786" y="2950496"/>
                  <a:pt x="15351162" y="2951202"/>
                </a:cubicBezTo>
                <a:close/>
                <a:moveTo>
                  <a:pt x="10882100" y="2949445"/>
                </a:moveTo>
                <a:cubicBezTo>
                  <a:pt x="10870009" y="2947968"/>
                  <a:pt x="10855500" y="2952806"/>
                  <a:pt x="10845828" y="2952806"/>
                </a:cubicBezTo>
                <a:cubicBezTo>
                  <a:pt x="10845828" y="3003312"/>
                  <a:pt x="10884518" y="2983968"/>
                  <a:pt x="10903863" y="2983968"/>
                </a:cubicBezTo>
                <a:cubicBezTo>
                  <a:pt x="10903863" y="2958714"/>
                  <a:pt x="10894191" y="2950922"/>
                  <a:pt x="10882100" y="2949445"/>
                </a:cubicBezTo>
                <a:close/>
                <a:moveTo>
                  <a:pt x="15301378" y="2938647"/>
                </a:moveTo>
                <a:cubicBezTo>
                  <a:pt x="15306302" y="2948278"/>
                  <a:pt x="15303840" y="2961522"/>
                  <a:pt x="15299532" y="2959415"/>
                </a:cubicBezTo>
                <a:lnTo>
                  <a:pt x="15298226" y="2957220"/>
                </a:lnTo>
                <a:lnTo>
                  <a:pt x="15303196" y="2970825"/>
                </a:lnTo>
                <a:cubicBezTo>
                  <a:pt x="15296634" y="2970825"/>
                  <a:pt x="15293352" y="2970825"/>
                  <a:pt x="15292532" y="2968580"/>
                </a:cubicBezTo>
                <a:lnTo>
                  <a:pt x="15296328" y="2954034"/>
                </a:lnTo>
                <a:lnTo>
                  <a:pt x="15294814" y="2951488"/>
                </a:lnTo>
                <a:cubicBezTo>
                  <a:pt x="15294814" y="2945068"/>
                  <a:pt x="15294814" y="2938647"/>
                  <a:pt x="15301378" y="2938647"/>
                </a:cubicBezTo>
                <a:close/>
                <a:moveTo>
                  <a:pt x="19834840" y="2924938"/>
                </a:moveTo>
                <a:cubicBezTo>
                  <a:pt x="19842528" y="2927243"/>
                  <a:pt x="19848676" y="2936467"/>
                  <a:pt x="19848676" y="2951840"/>
                </a:cubicBezTo>
                <a:cubicBezTo>
                  <a:pt x="19836376" y="2945690"/>
                  <a:pt x="19824080" y="2939541"/>
                  <a:pt x="19811784" y="2939541"/>
                </a:cubicBezTo>
                <a:cubicBezTo>
                  <a:pt x="19817932" y="2927243"/>
                  <a:pt x="19827156" y="2922632"/>
                  <a:pt x="19834840" y="2924938"/>
                </a:cubicBezTo>
                <a:close/>
                <a:moveTo>
                  <a:pt x="17397800" y="2924426"/>
                </a:moveTo>
                <a:cubicBezTo>
                  <a:pt x="17404364" y="2954971"/>
                  <a:pt x="17417488" y="2980249"/>
                  <a:pt x="17443740" y="2980249"/>
                </a:cubicBezTo>
                <a:lnTo>
                  <a:pt x="17445824" y="2986272"/>
                </a:lnTo>
                <a:lnTo>
                  <a:pt x="17447900" y="2971826"/>
                </a:lnTo>
                <a:lnTo>
                  <a:pt x="17451620" y="2974059"/>
                </a:lnTo>
                <a:lnTo>
                  <a:pt x="17485320" y="2953747"/>
                </a:lnTo>
                <a:cubicBezTo>
                  <a:pt x="17496608" y="2949707"/>
                  <a:pt x="17507868" y="2948265"/>
                  <a:pt x="17519096" y="2948875"/>
                </a:cubicBezTo>
                <a:cubicBezTo>
                  <a:pt x="17586464" y="2952544"/>
                  <a:pt x="17652620" y="3030135"/>
                  <a:pt x="17715740" y="3064347"/>
                </a:cubicBezTo>
                <a:cubicBezTo>
                  <a:pt x="17676896" y="3057832"/>
                  <a:pt x="17619712" y="3038282"/>
                  <a:pt x="17587344" y="3103452"/>
                </a:cubicBezTo>
                <a:cubicBezTo>
                  <a:pt x="17564684" y="3090419"/>
                  <a:pt x="17540408" y="3072497"/>
                  <a:pt x="17516940" y="3050637"/>
                </a:cubicBezTo>
                <a:lnTo>
                  <a:pt x="17459840" y="2984049"/>
                </a:lnTo>
                <a:lnTo>
                  <a:pt x="17447900" y="3003900"/>
                </a:lnTo>
                <a:lnTo>
                  <a:pt x="17447140" y="2998318"/>
                </a:lnTo>
                <a:lnTo>
                  <a:pt x="17408192" y="2987359"/>
                </a:lnTo>
                <a:cubicBezTo>
                  <a:pt x="17393700" y="2984988"/>
                  <a:pt x="17379208" y="2983409"/>
                  <a:pt x="17366080" y="2980249"/>
                </a:cubicBezTo>
                <a:cubicBezTo>
                  <a:pt x="17372644" y="2961290"/>
                  <a:pt x="17385768" y="2943385"/>
                  <a:pt x="17397800" y="2924426"/>
                </a:cubicBezTo>
                <a:close/>
                <a:moveTo>
                  <a:pt x="18394600" y="2919691"/>
                </a:moveTo>
                <a:cubicBezTo>
                  <a:pt x="18407240" y="2926459"/>
                  <a:pt x="18419880" y="2933231"/>
                  <a:pt x="18431464" y="2940002"/>
                </a:cubicBezTo>
                <a:cubicBezTo>
                  <a:pt x="18419880" y="2946773"/>
                  <a:pt x="18394600" y="2965956"/>
                  <a:pt x="18394600" y="2919691"/>
                </a:cubicBezTo>
                <a:close/>
                <a:moveTo>
                  <a:pt x="17242848" y="2919691"/>
                </a:moveTo>
                <a:cubicBezTo>
                  <a:pt x="17268312" y="2926324"/>
                  <a:pt x="17293780" y="2932962"/>
                  <a:pt x="17312876" y="2939596"/>
                </a:cubicBezTo>
                <a:cubicBezTo>
                  <a:pt x="17300144" y="2965034"/>
                  <a:pt x="17242848" y="2984940"/>
                  <a:pt x="17242848" y="2919691"/>
                </a:cubicBezTo>
                <a:close/>
                <a:moveTo>
                  <a:pt x="19711224" y="2919688"/>
                </a:moveTo>
                <a:cubicBezTo>
                  <a:pt x="19711224" y="2956549"/>
                  <a:pt x="19692776" y="2951282"/>
                  <a:pt x="19674332" y="2951282"/>
                </a:cubicBezTo>
                <a:cubicBezTo>
                  <a:pt x="19674332" y="2919688"/>
                  <a:pt x="19698924" y="2919688"/>
                  <a:pt x="19711224" y="2919688"/>
                </a:cubicBezTo>
                <a:close/>
                <a:moveTo>
                  <a:pt x="18693204" y="2919688"/>
                </a:moveTo>
                <a:cubicBezTo>
                  <a:pt x="18705500" y="2926005"/>
                  <a:pt x="18717800" y="2932322"/>
                  <a:pt x="18730096" y="2938645"/>
                </a:cubicBezTo>
                <a:cubicBezTo>
                  <a:pt x="18717800" y="2956549"/>
                  <a:pt x="18693204" y="2956549"/>
                  <a:pt x="18693204" y="2919688"/>
                </a:cubicBezTo>
                <a:close/>
                <a:moveTo>
                  <a:pt x="17767928" y="2919688"/>
                </a:moveTo>
                <a:cubicBezTo>
                  <a:pt x="17767928" y="2956549"/>
                  <a:pt x="17749484" y="2951284"/>
                  <a:pt x="17731036" y="2951284"/>
                </a:cubicBezTo>
                <a:cubicBezTo>
                  <a:pt x="17731036" y="2919688"/>
                  <a:pt x="17755632" y="2919688"/>
                  <a:pt x="17767928" y="2919688"/>
                </a:cubicBezTo>
                <a:close/>
                <a:moveTo>
                  <a:pt x="14564890" y="2919688"/>
                </a:moveTo>
                <a:cubicBezTo>
                  <a:pt x="14583336" y="2919688"/>
                  <a:pt x="14601782" y="2919688"/>
                  <a:pt x="14601782" y="2951284"/>
                </a:cubicBezTo>
                <a:cubicBezTo>
                  <a:pt x="14583336" y="2951284"/>
                  <a:pt x="14564890" y="2956550"/>
                  <a:pt x="14564890" y="2919688"/>
                </a:cubicBezTo>
                <a:close/>
                <a:moveTo>
                  <a:pt x="15973320" y="2893469"/>
                </a:moveTo>
                <a:cubicBezTo>
                  <a:pt x="15985762" y="2894683"/>
                  <a:pt x="15999980" y="2932345"/>
                  <a:pt x="15999980" y="2951785"/>
                </a:cubicBezTo>
                <a:cubicBezTo>
                  <a:pt x="15993660" y="2951785"/>
                  <a:pt x="15944156" y="2932345"/>
                  <a:pt x="15962062" y="2906428"/>
                </a:cubicBezTo>
                <a:cubicBezTo>
                  <a:pt x="15965222" y="2896708"/>
                  <a:pt x="15969172" y="2893064"/>
                  <a:pt x="15973320" y="2893469"/>
                </a:cubicBezTo>
                <a:close/>
                <a:moveTo>
                  <a:pt x="17529024" y="2891759"/>
                </a:moveTo>
                <a:cubicBezTo>
                  <a:pt x="17537476" y="2894065"/>
                  <a:pt x="17545164" y="2903288"/>
                  <a:pt x="17545164" y="2918658"/>
                </a:cubicBezTo>
                <a:cubicBezTo>
                  <a:pt x="17532864" y="2918658"/>
                  <a:pt x="17520568" y="2912511"/>
                  <a:pt x="17508272" y="2906362"/>
                </a:cubicBezTo>
                <a:cubicBezTo>
                  <a:pt x="17511344" y="2894065"/>
                  <a:pt x="17520568" y="2889453"/>
                  <a:pt x="17529024" y="2891759"/>
                </a:cubicBezTo>
                <a:close/>
                <a:moveTo>
                  <a:pt x="15059170" y="2888758"/>
                </a:moveTo>
                <a:cubicBezTo>
                  <a:pt x="15065278" y="2889267"/>
                  <a:pt x="15071094" y="2890082"/>
                  <a:pt x="15075748" y="2890082"/>
                </a:cubicBezTo>
                <a:cubicBezTo>
                  <a:pt x="15075748" y="2942299"/>
                  <a:pt x="15038520" y="2922718"/>
                  <a:pt x="15019906" y="2922718"/>
                </a:cubicBezTo>
                <a:cubicBezTo>
                  <a:pt x="15019906" y="2888452"/>
                  <a:pt x="15040846" y="2887228"/>
                  <a:pt x="15059170" y="2888758"/>
                </a:cubicBezTo>
                <a:close/>
                <a:moveTo>
                  <a:pt x="13732545" y="2888327"/>
                </a:moveTo>
                <a:cubicBezTo>
                  <a:pt x="13719649" y="2894774"/>
                  <a:pt x="13719649" y="2894774"/>
                  <a:pt x="13732545" y="2920566"/>
                </a:cubicBezTo>
                <a:cubicBezTo>
                  <a:pt x="13732545" y="2907666"/>
                  <a:pt x="13732545" y="2901221"/>
                  <a:pt x="13732545" y="2888327"/>
                </a:cubicBezTo>
                <a:close/>
                <a:moveTo>
                  <a:pt x="13675585" y="2888327"/>
                </a:moveTo>
                <a:lnTo>
                  <a:pt x="13680782" y="2891501"/>
                </a:lnTo>
                <a:lnTo>
                  <a:pt x="13676487" y="2893083"/>
                </a:lnTo>
                <a:close/>
                <a:moveTo>
                  <a:pt x="18905496" y="2886509"/>
                </a:moveTo>
                <a:cubicBezTo>
                  <a:pt x="18905496" y="2905773"/>
                  <a:pt x="18899508" y="2918616"/>
                  <a:pt x="18887532" y="2918616"/>
                </a:cubicBezTo>
                <a:cubicBezTo>
                  <a:pt x="18887532" y="2899352"/>
                  <a:pt x="18887532" y="2886509"/>
                  <a:pt x="18905496" y="2886509"/>
                </a:cubicBezTo>
                <a:close/>
                <a:moveTo>
                  <a:pt x="15824664" y="2886509"/>
                </a:moveTo>
                <a:cubicBezTo>
                  <a:pt x="15824664" y="2912196"/>
                  <a:pt x="15818676" y="2918617"/>
                  <a:pt x="15806702" y="2918617"/>
                </a:cubicBezTo>
                <a:cubicBezTo>
                  <a:pt x="15806702" y="2899352"/>
                  <a:pt x="15812690" y="2886509"/>
                  <a:pt x="15824664" y="2886509"/>
                </a:cubicBezTo>
                <a:close/>
                <a:moveTo>
                  <a:pt x="14787662" y="2886509"/>
                </a:moveTo>
                <a:cubicBezTo>
                  <a:pt x="14808137" y="2886509"/>
                  <a:pt x="14814962" y="2899355"/>
                  <a:pt x="14814962" y="2918618"/>
                </a:cubicBezTo>
                <a:cubicBezTo>
                  <a:pt x="14794487" y="2918618"/>
                  <a:pt x="14787662" y="2912196"/>
                  <a:pt x="14787662" y="2886509"/>
                </a:cubicBezTo>
                <a:close/>
                <a:moveTo>
                  <a:pt x="20540612" y="2886508"/>
                </a:moveTo>
                <a:cubicBezTo>
                  <a:pt x="20540612" y="2905773"/>
                  <a:pt x="20540612" y="2918616"/>
                  <a:pt x="20527484" y="2918616"/>
                </a:cubicBezTo>
                <a:cubicBezTo>
                  <a:pt x="20527484" y="2899352"/>
                  <a:pt x="20527484" y="2886508"/>
                  <a:pt x="20540612" y="2886508"/>
                </a:cubicBezTo>
                <a:close/>
                <a:moveTo>
                  <a:pt x="19773868" y="2886508"/>
                </a:moveTo>
                <a:cubicBezTo>
                  <a:pt x="19786164" y="2892929"/>
                  <a:pt x="19798460" y="2899352"/>
                  <a:pt x="19810760" y="2905773"/>
                </a:cubicBezTo>
                <a:cubicBezTo>
                  <a:pt x="19804608" y="2912195"/>
                  <a:pt x="19804608" y="2918616"/>
                  <a:pt x="19798460" y="2918616"/>
                </a:cubicBezTo>
                <a:cubicBezTo>
                  <a:pt x="19786164" y="2918616"/>
                  <a:pt x="19773868" y="2918616"/>
                  <a:pt x="19773868" y="2886508"/>
                </a:cubicBezTo>
                <a:close/>
                <a:moveTo>
                  <a:pt x="15322112" y="2886507"/>
                </a:moveTo>
                <a:cubicBezTo>
                  <a:pt x="15322112" y="2906088"/>
                  <a:pt x="15322112" y="2919143"/>
                  <a:pt x="15322112" y="2938724"/>
                </a:cubicBezTo>
                <a:cubicBezTo>
                  <a:pt x="15315288" y="2938724"/>
                  <a:pt x="15315288" y="2945251"/>
                  <a:pt x="15308462" y="2951777"/>
                </a:cubicBezTo>
                <a:cubicBezTo>
                  <a:pt x="15301638" y="2932196"/>
                  <a:pt x="15294814" y="2886507"/>
                  <a:pt x="15322112" y="2886507"/>
                </a:cubicBezTo>
                <a:close/>
                <a:moveTo>
                  <a:pt x="18636328" y="2886505"/>
                </a:moveTo>
                <a:cubicBezTo>
                  <a:pt x="18654772" y="2886505"/>
                  <a:pt x="18673220" y="2886505"/>
                  <a:pt x="18673220" y="2917249"/>
                </a:cubicBezTo>
                <a:cubicBezTo>
                  <a:pt x="18660920" y="2917249"/>
                  <a:pt x="18636328" y="2923397"/>
                  <a:pt x="18636328" y="2886505"/>
                </a:cubicBezTo>
                <a:close/>
                <a:moveTo>
                  <a:pt x="16195902" y="2880282"/>
                </a:moveTo>
                <a:cubicBezTo>
                  <a:pt x="16250164" y="2886567"/>
                  <a:pt x="16304896" y="2910186"/>
                  <a:pt x="16355874" y="2931780"/>
                </a:cubicBezTo>
                <a:cubicBezTo>
                  <a:pt x="16445422" y="2970173"/>
                  <a:pt x="16536050" y="3013897"/>
                  <a:pt x="16625598" y="3045891"/>
                </a:cubicBezTo>
                <a:cubicBezTo>
                  <a:pt x="16619124" y="3065080"/>
                  <a:pt x="16612652" y="3097079"/>
                  <a:pt x="16599704" y="3097079"/>
                </a:cubicBezTo>
                <a:cubicBezTo>
                  <a:pt x="16580284" y="3103477"/>
                  <a:pt x="16561944" y="3103477"/>
                  <a:pt x="16542524" y="3103477"/>
                </a:cubicBezTo>
                <a:cubicBezTo>
                  <a:pt x="16503684" y="3103477"/>
                  <a:pt x="16464844" y="3097079"/>
                  <a:pt x="16426002" y="3077884"/>
                </a:cubicBezTo>
                <a:cubicBezTo>
                  <a:pt x="16406582" y="3065080"/>
                  <a:pt x="16393636" y="3045891"/>
                  <a:pt x="16380690" y="3026695"/>
                </a:cubicBezTo>
                <a:cubicBezTo>
                  <a:pt x="16355874" y="3026695"/>
                  <a:pt x="16336454" y="3026695"/>
                  <a:pt x="16317034" y="3026695"/>
                </a:cubicBezTo>
                <a:cubicBezTo>
                  <a:pt x="16271722" y="3026695"/>
                  <a:pt x="16232882" y="3020296"/>
                  <a:pt x="16187568" y="3001100"/>
                </a:cubicBezTo>
                <a:cubicBezTo>
                  <a:pt x="16187568" y="2988303"/>
                  <a:pt x="16194040" y="2981904"/>
                  <a:pt x="16200514" y="2981904"/>
                </a:cubicBezTo>
                <a:cubicBezTo>
                  <a:pt x="16174620" y="2962709"/>
                  <a:pt x="16156280" y="2981904"/>
                  <a:pt x="16130386" y="2970173"/>
                </a:cubicBezTo>
                <a:cubicBezTo>
                  <a:pt x="16110966" y="2956310"/>
                  <a:pt x="16091546" y="2931780"/>
                  <a:pt x="16072126" y="2906187"/>
                </a:cubicBezTo>
                <a:cubicBezTo>
                  <a:pt x="16094782" y="2891791"/>
                  <a:pt x="16118182" y="2883792"/>
                  <a:pt x="16141950" y="2880492"/>
                </a:cubicBezTo>
                <a:cubicBezTo>
                  <a:pt x="16159778" y="2878019"/>
                  <a:pt x="16177814" y="2878188"/>
                  <a:pt x="16195902" y="2880282"/>
                </a:cubicBezTo>
                <a:close/>
                <a:moveTo>
                  <a:pt x="19605004" y="2872561"/>
                </a:moveTo>
                <a:cubicBezTo>
                  <a:pt x="19619332" y="2875021"/>
                  <a:pt x="19636840" y="2886506"/>
                  <a:pt x="19649572" y="2889788"/>
                </a:cubicBezTo>
                <a:cubicBezTo>
                  <a:pt x="19635248" y="2899633"/>
                  <a:pt x="19613760" y="2924241"/>
                  <a:pt x="19595852" y="2922088"/>
                </a:cubicBezTo>
                <a:lnTo>
                  <a:pt x="19592456" y="2919462"/>
                </a:lnTo>
                <a:lnTo>
                  <a:pt x="19583776" y="2929354"/>
                </a:lnTo>
                <a:cubicBezTo>
                  <a:pt x="19580784" y="2929354"/>
                  <a:pt x="19577788" y="2925941"/>
                  <a:pt x="19574796" y="2919115"/>
                </a:cubicBezTo>
                <a:cubicBezTo>
                  <a:pt x="19576292" y="2915703"/>
                  <a:pt x="19577788" y="2913571"/>
                  <a:pt x="19579284" y="2912398"/>
                </a:cubicBezTo>
                <a:lnTo>
                  <a:pt x="19582448" y="2911723"/>
                </a:lnTo>
                <a:lnTo>
                  <a:pt x="19579540" y="2909476"/>
                </a:lnTo>
                <a:cubicBezTo>
                  <a:pt x="19579540" y="2876662"/>
                  <a:pt x="19590680" y="2870099"/>
                  <a:pt x="19605004" y="2872561"/>
                </a:cubicBezTo>
                <a:close/>
                <a:moveTo>
                  <a:pt x="15218912" y="2867551"/>
                </a:moveTo>
                <a:cubicBezTo>
                  <a:pt x="15238778" y="2874031"/>
                  <a:pt x="15252024" y="2880511"/>
                  <a:pt x="15265268" y="2886990"/>
                </a:cubicBezTo>
                <a:cubicBezTo>
                  <a:pt x="15258646" y="2912908"/>
                  <a:pt x="15258646" y="2932345"/>
                  <a:pt x="15252024" y="2951785"/>
                </a:cubicBezTo>
                <a:cubicBezTo>
                  <a:pt x="15232156" y="2932345"/>
                  <a:pt x="15212288" y="2932345"/>
                  <a:pt x="15185798" y="2938827"/>
                </a:cubicBezTo>
                <a:cubicBezTo>
                  <a:pt x="15199044" y="2912908"/>
                  <a:pt x="15205666" y="2886990"/>
                  <a:pt x="15218912" y="2867551"/>
                </a:cubicBezTo>
                <a:close/>
                <a:moveTo>
                  <a:pt x="18602124" y="2864682"/>
                </a:moveTo>
                <a:cubicBezTo>
                  <a:pt x="18602124" y="2904360"/>
                  <a:pt x="18577528" y="2891134"/>
                  <a:pt x="18565232" y="2891134"/>
                </a:cubicBezTo>
                <a:cubicBezTo>
                  <a:pt x="18565232" y="2858067"/>
                  <a:pt x="18583676" y="2864682"/>
                  <a:pt x="18602124" y="2864682"/>
                </a:cubicBezTo>
                <a:close/>
                <a:moveTo>
                  <a:pt x="14076700" y="2864216"/>
                </a:moveTo>
                <a:cubicBezTo>
                  <a:pt x="14089339" y="2864216"/>
                  <a:pt x="14113564" y="2858067"/>
                  <a:pt x="14113564" y="2888811"/>
                </a:cubicBezTo>
                <a:cubicBezTo>
                  <a:pt x="14094605" y="2888811"/>
                  <a:pt x="14076700" y="2894959"/>
                  <a:pt x="14076700" y="2864216"/>
                </a:cubicBezTo>
                <a:close/>
                <a:moveTo>
                  <a:pt x="13578001" y="2864216"/>
                </a:moveTo>
                <a:cubicBezTo>
                  <a:pt x="13578001" y="2894959"/>
                  <a:pt x="13559555" y="2888811"/>
                  <a:pt x="13541109" y="2888811"/>
                </a:cubicBezTo>
                <a:cubicBezTo>
                  <a:pt x="13541109" y="2858068"/>
                  <a:pt x="13565704" y="2864216"/>
                  <a:pt x="13578001" y="2864216"/>
                </a:cubicBezTo>
                <a:close/>
                <a:moveTo>
                  <a:pt x="16056876" y="2862810"/>
                </a:moveTo>
                <a:cubicBezTo>
                  <a:pt x="16056876" y="2882392"/>
                  <a:pt x="16056876" y="2921552"/>
                  <a:pt x="16044468" y="2921552"/>
                </a:cubicBezTo>
                <a:cubicBezTo>
                  <a:pt x="16025852" y="2928080"/>
                  <a:pt x="16007238" y="2908499"/>
                  <a:pt x="16001034" y="2882392"/>
                </a:cubicBezTo>
                <a:cubicBezTo>
                  <a:pt x="16019648" y="2869337"/>
                  <a:pt x="16038262" y="2869337"/>
                  <a:pt x="16056876" y="2862810"/>
                </a:cubicBezTo>
                <a:close/>
                <a:moveTo>
                  <a:pt x="17451392" y="2862808"/>
                </a:moveTo>
                <a:cubicBezTo>
                  <a:pt x="17470008" y="2869421"/>
                  <a:pt x="17488624" y="2876034"/>
                  <a:pt x="17507236" y="2876034"/>
                </a:cubicBezTo>
                <a:cubicBezTo>
                  <a:pt x="17494828" y="2902488"/>
                  <a:pt x="17451392" y="2909102"/>
                  <a:pt x="17451392" y="2862808"/>
                </a:cubicBezTo>
                <a:close/>
                <a:moveTo>
                  <a:pt x="15697688" y="2862808"/>
                </a:moveTo>
                <a:cubicBezTo>
                  <a:pt x="15703676" y="2862808"/>
                  <a:pt x="15715650" y="2869632"/>
                  <a:pt x="15715650" y="2890107"/>
                </a:cubicBezTo>
                <a:cubicBezTo>
                  <a:pt x="15703676" y="2890107"/>
                  <a:pt x="15697688" y="2883283"/>
                  <a:pt x="15697688" y="2862808"/>
                </a:cubicBezTo>
                <a:close/>
                <a:moveTo>
                  <a:pt x="11828129" y="2862535"/>
                </a:moveTo>
                <a:cubicBezTo>
                  <a:pt x="11828129" y="2881878"/>
                  <a:pt x="11833502" y="2888327"/>
                  <a:pt x="11846399" y="2888327"/>
                </a:cubicBezTo>
                <a:cubicBezTo>
                  <a:pt x="11846399" y="2868983"/>
                  <a:pt x="11833502" y="2862535"/>
                  <a:pt x="11828129" y="2862535"/>
                </a:cubicBezTo>
                <a:close/>
                <a:moveTo>
                  <a:pt x="19230976" y="2859636"/>
                </a:moveTo>
                <a:cubicBezTo>
                  <a:pt x="19253588" y="2860233"/>
                  <a:pt x="19279520" y="2894851"/>
                  <a:pt x="19298820" y="2904400"/>
                </a:cubicBezTo>
                <a:cubicBezTo>
                  <a:pt x="19266656" y="2904400"/>
                  <a:pt x="19235564" y="2898034"/>
                  <a:pt x="19209836" y="2872568"/>
                </a:cubicBezTo>
                <a:cubicBezTo>
                  <a:pt x="19216268" y="2863018"/>
                  <a:pt x="19223436" y="2859439"/>
                  <a:pt x="19230976" y="2859636"/>
                </a:cubicBezTo>
                <a:close/>
                <a:moveTo>
                  <a:pt x="15155756" y="2857099"/>
                </a:moveTo>
                <a:cubicBezTo>
                  <a:pt x="15167976" y="2855443"/>
                  <a:pt x="15179382" y="2857099"/>
                  <a:pt x="15185898" y="2870343"/>
                </a:cubicBezTo>
                <a:cubicBezTo>
                  <a:pt x="15198932" y="2896833"/>
                  <a:pt x="15185898" y="2923322"/>
                  <a:pt x="15166346" y="2916699"/>
                </a:cubicBezTo>
                <a:cubicBezTo>
                  <a:pt x="15140278" y="2916699"/>
                  <a:pt x="15120726" y="2916699"/>
                  <a:pt x="15095742" y="2923322"/>
                </a:cubicBezTo>
                <a:cubicBezTo>
                  <a:pt x="15095742" y="2890210"/>
                  <a:pt x="15095742" y="2863721"/>
                  <a:pt x="15120726" y="2863721"/>
                </a:cubicBezTo>
                <a:cubicBezTo>
                  <a:pt x="15130502" y="2863721"/>
                  <a:pt x="15143536" y="2858754"/>
                  <a:pt x="15155756" y="2857099"/>
                </a:cubicBezTo>
                <a:close/>
                <a:moveTo>
                  <a:pt x="14905535" y="2855416"/>
                </a:moveTo>
                <a:cubicBezTo>
                  <a:pt x="14914225" y="2852003"/>
                  <a:pt x="14923729" y="2852003"/>
                  <a:pt x="14933504" y="2855416"/>
                </a:cubicBezTo>
                <a:cubicBezTo>
                  <a:pt x="14913953" y="2862239"/>
                  <a:pt x="14895488" y="2869065"/>
                  <a:pt x="14882454" y="2875890"/>
                </a:cubicBezTo>
                <a:cubicBezTo>
                  <a:pt x="14888971" y="2865652"/>
                  <a:pt x="14896846" y="2858827"/>
                  <a:pt x="14905535" y="2855416"/>
                </a:cubicBezTo>
                <a:close/>
                <a:moveTo>
                  <a:pt x="13028326" y="2853810"/>
                </a:moveTo>
                <a:cubicBezTo>
                  <a:pt x="13045709" y="2853810"/>
                  <a:pt x="13065577" y="2860290"/>
                  <a:pt x="13075510" y="2860290"/>
                </a:cubicBezTo>
                <a:cubicBezTo>
                  <a:pt x="13075510" y="2918606"/>
                  <a:pt x="13015908" y="2886208"/>
                  <a:pt x="12996041" y="2886208"/>
                </a:cubicBezTo>
                <a:cubicBezTo>
                  <a:pt x="12996041" y="2860290"/>
                  <a:pt x="13010942" y="2853810"/>
                  <a:pt x="13028326" y="2853810"/>
                </a:cubicBezTo>
                <a:close/>
                <a:moveTo>
                  <a:pt x="15960480" y="2843852"/>
                </a:moveTo>
                <a:cubicBezTo>
                  <a:pt x="15960480" y="2850677"/>
                  <a:pt x="15966800" y="2857501"/>
                  <a:pt x="15966800" y="2864325"/>
                </a:cubicBezTo>
                <a:cubicBezTo>
                  <a:pt x="15960480" y="2871149"/>
                  <a:pt x="15948894" y="2864325"/>
                  <a:pt x="15960480" y="2843852"/>
                </a:cubicBezTo>
                <a:close/>
                <a:moveTo>
                  <a:pt x="17972312" y="2843851"/>
                </a:moveTo>
                <a:cubicBezTo>
                  <a:pt x="18003948" y="2843851"/>
                  <a:pt x="18043220" y="2875449"/>
                  <a:pt x="18075948" y="2888087"/>
                </a:cubicBezTo>
                <a:cubicBezTo>
                  <a:pt x="18075948" y="2956551"/>
                  <a:pt x="17991948" y="2919688"/>
                  <a:pt x="17965768" y="2907045"/>
                </a:cubicBezTo>
                <a:cubicBezTo>
                  <a:pt x="17939588" y="2894407"/>
                  <a:pt x="17939588" y="2843851"/>
                  <a:pt x="17972312" y="2843851"/>
                </a:cubicBezTo>
                <a:close/>
                <a:moveTo>
                  <a:pt x="19208740" y="2843848"/>
                </a:moveTo>
                <a:cubicBezTo>
                  <a:pt x="19202180" y="2849834"/>
                  <a:pt x="19202180" y="2855822"/>
                  <a:pt x="19195616" y="2861809"/>
                </a:cubicBezTo>
                <a:cubicBezTo>
                  <a:pt x="19195616" y="2843848"/>
                  <a:pt x="19195616" y="2843848"/>
                  <a:pt x="19208740" y="2843848"/>
                </a:cubicBezTo>
                <a:close/>
                <a:moveTo>
                  <a:pt x="12033401" y="2830301"/>
                </a:moveTo>
                <a:cubicBezTo>
                  <a:pt x="12033401" y="2849642"/>
                  <a:pt x="12038775" y="2862535"/>
                  <a:pt x="12051672" y="2862535"/>
                </a:cubicBezTo>
                <a:cubicBezTo>
                  <a:pt x="12051672" y="2843195"/>
                  <a:pt x="12046298" y="2830301"/>
                  <a:pt x="12033401" y="2830301"/>
                </a:cubicBezTo>
                <a:close/>
                <a:moveTo>
                  <a:pt x="17110132" y="2829636"/>
                </a:moveTo>
                <a:cubicBezTo>
                  <a:pt x="17142448" y="2835991"/>
                  <a:pt x="17168304" y="2829636"/>
                  <a:pt x="17193080" y="2842347"/>
                </a:cubicBezTo>
                <a:cubicBezTo>
                  <a:pt x="17251248" y="2867773"/>
                  <a:pt x="17161840" y="2912272"/>
                  <a:pt x="17148912" y="2918627"/>
                </a:cubicBezTo>
                <a:cubicBezTo>
                  <a:pt x="17135988" y="2893201"/>
                  <a:pt x="17123060" y="2861418"/>
                  <a:pt x="17110132" y="2829636"/>
                </a:cubicBezTo>
                <a:close/>
                <a:moveTo>
                  <a:pt x="19711248" y="2829631"/>
                </a:moveTo>
                <a:cubicBezTo>
                  <a:pt x="19711248" y="2848893"/>
                  <a:pt x="19705260" y="2861738"/>
                  <a:pt x="19693288" y="2861738"/>
                </a:cubicBezTo>
                <a:cubicBezTo>
                  <a:pt x="19693288" y="2842473"/>
                  <a:pt x="19699276" y="2829631"/>
                  <a:pt x="19711248" y="2829631"/>
                </a:cubicBezTo>
                <a:close/>
                <a:moveTo>
                  <a:pt x="20488540" y="2829626"/>
                </a:moveTo>
                <a:cubicBezTo>
                  <a:pt x="20488540" y="2866517"/>
                  <a:pt x="20463944" y="2860369"/>
                  <a:pt x="20451648" y="2860369"/>
                </a:cubicBezTo>
                <a:cubicBezTo>
                  <a:pt x="20451648" y="2829626"/>
                  <a:pt x="20470092" y="2829626"/>
                  <a:pt x="20488540" y="2829626"/>
                </a:cubicBezTo>
                <a:close/>
                <a:moveTo>
                  <a:pt x="10620404" y="2827080"/>
                </a:moveTo>
                <a:cubicBezTo>
                  <a:pt x="10609925" y="2828694"/>
                  <a:pt x="10601865" y="2836747"/>
                  <a:pt x="10601865" y="2862535"/>
                </a:cubicBezTo>
                <a:cubicBezTo>
                  <a:pt x="10621210" y="2862535"/>
                  <a:pt x="10653451" y="2881878"/>
                  <a:pt x="10653451" y="2830301"/>
                </a:cubicBezTo>
                <a:cubicBezTo>
                  <a:pt x="10643779" y="2830301"/>
                  <a:pt x="10630882" y="2825468"/>
                  <a:pt x="10620404" y="2827080"/>
                </a:cubicBezTo>
                <a:close/>
                <a:moveTo>
                  <a:pt x="17386476" y="2825331"/>
                </a:moveTo>
                <a:cubicBezTo>
                  <a:pt x="17395920" y="2825331"/>
                  <a:pt x="17405496" y="2828639"/>
                  <a:pt x="17412412" y="2828639"/>
                </a:cubicBezTo>
                <a:cubicBezTo>
                  <a:pt x="17412412" y="2841864"/>
                  <a:pt x="17412412" y="2848477"/>
                  <a:pt x="17412412" y="2861705"/>
                </a:cubicBezTo>
                <a:cubicBezTo>
                  <a:pt x="17398580" y="2855091"/>
                  <a:pt x="17380492" y="2848477"/>
                  <a:pt x="17361340" y="2841864"/>
                </a:cubicBezTo>
                <a:cubicBezTo>
                  <a:pt x="17367724" y="2828640"/>
                  <a:pt x="17377032" y="2825331"/>
                  <a:pt x="17386476" y="2825331"/>
                </a:cubicBezTo>
                <a:close/>
                <a:moveTo>
                  <a:pt x="11956021" y="2822248"/>
                </a:moveTo>
                <a:cubicBezTo>
                  <a:pt x="11935064" y="2822248"/>
                  <a:pt x="11910883" y="2830301"/>
                  <a:pt x="11897986" y="2830301"/>
                </a:cubicBezTo>
                <a:cubicBezTo>
                  <a:pt x="11897986" y="2901221"/>
                  <a:pt x="11968918" y="2862535"/>
                  <a:pt x="11994711" y="2862535"/>
                </a:cubicBezTo>
                <a:cubicBezTo>
                  <a:pt x="11994711" y="2830301"/>
                  <a:pt x="11976978" y="2822248"/>
                  <a:pt x="11956021" y="2822248"/>
                </a:cubicBezTo>
                <a:close/>
                <a:moveTo>
                  <a:pt x="15870978" y="2820033"/>
                </a:moveTo>
                <a:cubicBezTo>
                  <a:pt x="15903458" y="2821572"/>
                  <a:pt x="15938522" y="2835103"/>
                  <a:pt x="15962034" y="2874477"/>
                </a:cubicBezTo>
                <a:cubicBezTo>
                  <a:pt x="15943388" y="2904009"/>
                  <a:pt x="15916836" y="2867094"/>
                  <a:pt x="15915670" y="2877247"/>
                </a:cubicBezTo>
                <a:lnTo>
                  <a:pt x="15917266" y="2886254"/>
                </a:lnTo>
                <a:lnTo>
                  <a:pt x="15922280" y="2883449"/>
                </a:lnTo>
                <a:cubicBezTo>
                  <a:pt x="15927202" y="2878633"/>
                  <a:pt x="15924742" y="2895490"/>
                  <a:pt x="15923202" y="2904219"/>
                </a:cubicBezTo>
                <a:lnTo>
                  <a:pt x="15923194" y="2904270"/>
                </a:lnTo>
                <a:lnTo>
                  <a:pt x="15924200" y="2907288"/>
                </a:lnTo>
                <a:lnTo>
                  <a:pt x="15922796" y="2906383"/>
                </a:lnTo>
                <a:lnTo>
                  <a:pt x="15922280" y="2909137"/>
                </a:lnTo>
                <a:lnTo>
                  <a:pt x="15920932" y="2905181"/>
                </a:lnTo>
                <a:lnTo>
                  <a:pt x="15877176" y="2876938"/>
                </a:lnTo>
                <a:cubicBezTo>
                  <a:pt x="15862584" y="2862992"/>
                  <a:pt x="15849612" y="2844946"/>
                  <a:pt x="15839882" y="2821983"/>
                </a:cubicBezTo>
                <a:cubicBezTo>
                  <a:pt x="15849610" y="2820341"/>
                  <a:pt x="15860150" y="2819526"/>
                  <a:pt x="15870978" y="2820033"/>
                </a:cubicBezTo>
                <a:close/>
                <a:moveTo>
                  <a:pt x="17348760" y="2811050"/>
                </a:moveTo>
                <a:cubicBezTo>
                  <a:pt x="17350400" y="2809329"/>
                  <a:pt x="17353680" y="2812769"/>
                  <a:pt x="17360244" y="2819586"/>
                </a:cubicBezTo>
                <a:cubicBezTo>
                  <a:pt x="17353680" y="2826408"/>
                  <a:pt x="17347120" y="2826408"/>
                  <a:pt x="17347120" y="2833234"/>
                </a:cubicBezTo>
                <a:cubicBezTo>
                  <a:pt x="17347120" y="2819585"/>
                  <a:pt x="17347120" y="2812769"/>
                  <a:pt x="17348760" y="2811050"/>
                </a:cubicBezTo>
                <a:close/>
                <a:moveTo>
                  <a:pt x="14763053" y="2801454"/>
                </a:moveTo>
                <a:cubicBezTo>
                  <a:pt x="14792430" y="2800636"/>
                  <a:pt x="14821142" y="2808831"/>
                  <a:pt x="14843473" y="2844944"/>
                </a:cubicBezTo>
                <a:cubicBezTo>
                  <a:pt x="14817951" y="2851506"/>
                  <a:pt x="14786049" y="2871193"/>
                  <a:pt x="14754147" y="2858068"/>
                </a:cubicBezTo>
                <a:cubicBezTo>
                  <a:pt x="14728625" y="2844944"/>
                  <a:pt x="14704167" y="2825255"/>
                  <a:pt x="14678645" y="2812121"/>
                </a:cubicBezTo>
                <a:cubicBezTo>
                  <a:pt x="14703635" y="2812121"/>
                  <a:pt x="14733676" y="2802277"/>
                  <a:pt x="14763053" y="2801454"/>
                </a:cubicBezTo>
                <a:close/>
                <a:moveTo>
                  <a:pt x="10692142" y="2798035"/>
                </a:moveTo>
                <a:cubicBezTo>
                  <a:pt x="10679245" y="2798035"/>
                  <a:pt x="10672797" y="2810946"/>
                  <a:pt x="10672797" y="2830301"/>
                </a:cubicBezTo>
                <a:cubicBezTo>
                  <a:pt x="10685693" y="2830301"/>
                  <a:pt x="10692142" y="2817421"/>
                  <a:pt x="10692142" y="2798035"/>
                </a:cubicBezTo>
                <a:close/>
                <a:moveTo>
                  <a:pt x="17052180" y="2796444"/>
                </a:moveTo>
                <a:cubicBezTo>
                  <a:pt x="17052180" y="2815563"/>
                  <a:pt x="17052180" y="2841018"/>
                  <a:pt x="17052180" y="2860116"/>
                </a:cubicBezTo>
                <a:cubicBezTo>
                  <a:pt x="17039252" y="2860116"/>
                  <a:pt x="17019864" y="2866482"/>
                  <a:pt x="17001548" y="2853749"/>
                </a:cubicBezTo>
                <a:cubicBezTo>
                  <a:pt x="16982160" y="2841018"/>
                  <a:pt x="17052180" y="2796444"/>
                  <a:pt x="17052180" y="2796444"/>
                </a:cubicBezTo>
                <a:close/>
                <a:moveTo>
                  <a:pt x="19654372" y="2796442"/>
                </a:moveTo>
                <a:cubicBezTo>
                  <a:pt x="19654372" y="2815725"/>
                  <a:pt x="19648384" y="2828557"/>
                  <a:pt x="19636408" y="2828557"/>
                </a:cubicBezTo>
                <a:cubicBezTo>
                  <a:pt x="19636408" y="2809275"/>
                  <a:pt x="19642396" y="2796442"/>
                  <a:pt x="19654372" y="2796442"/>
                </a:cubicBezTo>
                <a:close/>
                <a:moveTo>
                  <a:pt x="19228796" y="2796442"/>
                </a:moveTo>
                <a:cubicBezTo>
                  <a:pt x="19241924" y="2796442"/>
                  <a:pt x="19241924" y="2809275"/>
                  <a:pt x="19241924" y="2828557"/>
                </a:cubicBezTo>
                <a:cubicBezTo>
                  <a:pt x="19228796" y="2828557"/>
                  <a:pt x="19228796" y="2815725"/>
                  <a:pt x="19228796" y="2796442"/>
                </a:cubicBezTo>
                <a:close/>
                <a:moveTo>
                  <a:pt x="17317612" y="2796442"/>
                </a:moveTo>
                <a:cubicBezTo>
                  <a:pt x="17317612" y="2833344"/>
                  <a:pt x="17298348" y="2827196"/>
                  <a:pt x="17285504" y="2827196"/>
                </a:cubicBezTo>
                <a:cubicBezTo>
                  <a:pt x="17285504" y="2796442"/>
                  <a:pt x="17304772" y="2796442"/>
                  <a:pt x="17317612" y="2796442"/>
                </a:cubicBezTo>
                <a:close/>
                <a:moveTo>
                  <a:pt x="15356430" y="2786970"/>
                </a:moveTo>
                <a:cubicBezTo>
                  <a:pt x="15427336" y="2786970"/>
                  <a:pt x="15504688" y="2806825"/>
                  <a:pt x="15580966" y="2806825"/>
                </a:cubicBezTo>
                <a:cubicBezTo>
                  <a:pt x="15606750" y="2806825"/>
                  <a:pt x="15677656" y="2800212"/>
                  <a:pt x="15677656" y="2866442"/>
                </a:cubicBezTo>
                <a:cubicBezTo>
                  <a:pt x="15638980" y="2866442"/>
                  <a:pt x="15600304" y="2866442"/>
                  <a:pt x="15561628" y="2866442"/>
                </a:cubicBezTo>
                <a:cubicBezTo>
                  <a:pt x="15491796" y="2839954"/>
                  <a:pt x="15427336" y="2813476"/>
                  <a:pt x="15356430" y="2786970"/>
                </a:cubicBezTo>
                <a:close/>
                <a:moveTo>
                  <a:pt x="16981960" y="2778778"/>
                </a:moveTo>
                <a:cubicBezTo>
                  <a:pt x="16987264" y="2779181"/>
                  <a:pt x="16991908" y="2782825"/>
                  <a:pt x="16994872" y="2790923"/>
                </a:cubicBezTo>
                <a:cubicBezTo>
                  <a:pt x="17014260" y="2842768"/>
                  <a:pt x="16957168" y="2829808"/>
                  <a:pt x="16944244" y="2829808"/>
                </a:cubicBezTo>
                <a:cubicBezTo>
                  <a:pt x="16944244" y="2805493"/>
                  <a:pt x="16966056" y="2777562"/>
                  <a:pt x="16981960" y="2778778"/>
                </a:cubicBezTo>
                <a:close/>
                <a:moveTo>
                  <a:pt x="19129260" y="2772745"/>
                </a:moveTo>
                <a:cubicBezTo>
                  <a:pt x="19141232" y="2772745"/>
                  <a:pt x="19147220" y="2779570"/>
                  <a:pt x="19147220" y="2800041"/>
                </a:cubicBezTo>
                <a:cubicBezTo>
                  <a:pt x="19135248" y="2800041"/>
                  <a:pt x="19129260" y="2793219"/>
                  <a:pt x="19129260" y="2772745"/>
                </a:cubicBezTo>
                <a:close/>
                <a:moveTo>
                  <a:pt x="19090348" y="2772744"/>
                </a:moveTo>
                <a:cubicBezTo>
                  <a:pt x="19090348" y="2797558"/>
                  <a:pt x="19090348" y="2828593"/>
                  <a:pt x="19072384" y="2828593"/>
                </a:cubicBezTo>
                <a:cubicBezTo>
                  <a:pt x="19072384" y="2803766"/>
                  <a:pt x="19072384" y="2772744"/>
                  <a:pt x="19090348" y="2772744"/>
                </a:cubicBezTo>
                <a:close/>
                <a:moveTo>
                  <a:pt x="17260752" y="2772744"/>
                </a:moveTo>
                <a:cubicBezTo>
                  <a:pt x="17260752" y="2791359"/>
                  <a:pt x="17260752" y="2809980"/>
                  <a:pt x="17260752" y="2828593"/>
                </a:cubicBezTo>
                <a:cubicBezTo>
                  <a:pt x="17248112" y="2828593"/>
                  <a:pt x="17235472" y="2828593"/>
                  <a:pt x="17222836" y="2828593"/>
                </a:cubicBezTo>
                <a:cubicBezTo>
                  <a:pt x="17216516" y="2816193"/>
                  <a:pt x="17210196" y="2803766"/>
                  <a:pt x="17204928" y="2791359"/>
                </a:cubicBezTo>
                <a:cubicBezTo>
                  <a:pt x="17222836" y="2778948"/>
                  <a:pt x="17241792" y="2772744"/>
                  <a:pt x="17260752" y="2772744"/>
                </a:cubicBezTo>
                <a:close/>
                <a:moveTo>
                  <a:pt x="15730866" y="2772744"/>
                </a:moveTo>
                <a:cubicBezTo>
                  <a:pt x="15761958" y="2778949"/>
                  <a:pt x="15787688" y="2791359"/>
                  <a:pt x="15819850" y="2797558"/>
                </a:cubicBezTo>
                <a:cubicBezTo>
                  <a:pt x="15787688" y="2803766"/>
                  <a:pt x="15761958" y="2816193"/>
                  <a:pt x="15730866" y="2828593"/>
                </a:cubicBezTo>
                <a:cubicBezTo>
                  <a:pt x="15730866" y="2809980"/>
                  <a:pt x="15730866" y="2791359"/>
                  <a:pt x="15730866" y="2772744"/>
                </a:cubicBezTo>
                <a:close/>
                <a:moveTo>
                  <a:pt x="19595244" y="2770102"/>
                </a:moveTo>
                <a:cubicBezTo>
                  <a:pt x="19604336" y="2768447"/>
                  <a:pt x="19615908" y="2771753"/>
                  <a:pt x="19625828" y="2771753"/>
                </a:cubicBezTo>
                <a:cubicBezTo>
                  <a:pt x="19625828" y="2804813"/>
                  <a:pt x="19599376" y="2798205"/>
                  <a:pt x="19579536" y="2798205"/>
                </a:cubicBezTo>
                <a:cubicBezTo>
                  <a:pt x="19579536" y="2778367"/>
                  <a:pt x="19586148" y="2771754"/>
                  <a:pt x="19595244" y="2770102"/>
                </a:cubicBezTo>
                <a:close/>
                <a:moveTo>
                  <a:pt x="17184944" y="2741601"/>
                </a:moveTo>
                <a:cubicBezTo>
                  <a:pt x="17184944" y="2781097"/>
                  <a:pt x="17166496" y="2774327"/>
                  <a:pt x="17148052" y="2774327"/>
                </a:cubicBezTo>
                <a:cubicBezTo>
                  <a:pt x="17148052" y="2734829"/>
                  <a:pt x="17172644" y="2741601"/>
                  <a:pt x="17184944" y="2741601"/>
                </a:cubicBezTo>
                <a:close/>
                <a:moveTo>
                  <a:pt x="17730040" y="2739568"/>
                </a:moveTo>
                <a:cubicBezTo>
                  <a:pt x="17730040" y="2758367"/>
                  <a:pt x="17724052" y="2771638"/>
                  <a:pt x="17712076" y="2771638"/>
                </a:cubicBezTo>
                <a:cubicBezTo>
                  <a:pt x="17712076" y="2746203"/>
                  <a:pt x="17718064" y="2739568"/>
                  <a:pt x="17730040" y="2739568"/>
                </a:cubicBezTo>
                <a:close/>
                <a:moveTo>
                  <a:pt x="15184802" y="2739568"/>
                </a:moveTo>
                <a:cubicBezTo>
                  <a:pt x="15184802" y="2758368"/>
                  <a:pt x="15178814" y="2771638"/>
                  <a:pt x="15166838" y="2771638"/>
                </a:cubicBezTo>
                <a:cubicBezTo>
                  <a:pt x="15166838" y="2746204"/>
                  <a:pt x="15172826" y="2739568"/>
                  <a:pt x="15184802" y="2739568"/>
                </a:cubicBezTo>
                <a:close/>
                <a:moveTo>
                  <a:pt x="12595215" y="2737736"/>
                </a:moveTo>
                <a:cubicBezTo>
                  <a:pt x="12583124" y="2736259"/>
                  <a:pt x="12568615" y="2741094"/>
                  <a:pt x="12558943" y="2741094"/>
                </a:cubicBezTo>
                <a:cubicBezTo>
                  <a:pt x="12558943" y="2785149"/>
                  <a:pt x="12597633" y="2772256"/>
                  <a:pt x="12616978" y="2772256"/>
                </a:cubicBezTo>
                <a:cubicBezTo>
                  <a:pt x="12616978" y="2747005"/>
                  <a:pt x="12607305" y="2739212"/>
                  <a:pt x="12595215" y="2737736"/>
                </a:cubicBezTo>
                <a:close/>
                <a:moveTo>
                  <a:pt x="19019644" y="2736633"/>
                </a:moveTo>
                <a:cubicBezTo>
                  <a:pt x="19030016" y="2735153"/>
                  <a:pt x="19042784" y="2739999"/>
                  <a:pt x="19052364" y="2739999"/>
                </a:cubicBezTo>
                <a:cubicBezTo>
                  <a:pt x="19052364" y="2790626"/>
                  <a:pt x="19020440" y="2771235"/>
                  <a:pt x="19001288" y="2771235"/>
                </a:cubicBezTo>
                <a:cubicBezTo>
                  <a:pt x="19001288" y="2745923"/>
                  <a:pt x="19009268" y="2738113"/>
                  <a:pt x="19019644" y="2736633"/>
                </a:cubicBezTo>
                <a:close/>
                <a:moveTo>
                  <a:pt x="19515076" y="2706584"/>
                </a:moveTo>
                <a:cubicBezTo>
                  <a:pt x="19525160" y="2709775"/>
                  <a:pt x="19536020" y="2719353"/>
                  <a:pt x="19545324" y="2725737"/>
                </a:cubicBezTo>
                <a:cubicBezTo>
                  <a:pt x="19539120" y="2725737"/>
                  <a:pt x="19539120" y="2732121"/>
                  <a:pt x="19532916" y="2738505"/>
                </a:cubicBezTo>
                <a:cubicBezTo>
                  <a:pt x="19520504" y="2732121"/>
                  <a:pt x="19501892" y="2725737"/>
                  <a:pt x="19489480" y="2725737"/>
                </a:cubicBezTo>
                <a:cubicBezTo>
                  <a:pt x="19495688" y="2706584"/>
                  <a:pt x="19504992" y="2703392"/>
                  <a:pt x="19515076" y="2706584"/>
                </a:cubicBezTo>
                <a:close/>
                <a:moveTo>
                  <a:pt x="20317936" y="2706391"/>
                </a:moveTo>
                <a:cubicBezTo>
                  <a:pt x="20317936" y="2725656"/>
                  <a:pt x="20311948" y="2738499"/>
                  <a:pt x="20299976" y="2738499"/>
                </a:cubicBezTo>
                <a:cubicBezTo>
                  <a:pt x="20299976" y="2719233"/>
                  <a:pt x="20305960" y="2706391"/>
                  <a:pt x="20317936" y="2706391"/>
                </a:cubicBezTo>
                <a:close/>
                <a:moveTo>
                  <a:pt x="19938756" y="2706391"/>
                </a:moveTo>
                <a:cubicBezTo>
                  <a:pt x="19938756" y="2725656"/>
                  <a:pt x="19932768" y="2738499"/>
                  <a:pt x="19920796" y="2738499"/>
                </a:cubicBezTo>
                <a:cubicBezTo>
                  <a:pt x="19920796" y="2712813"/>
                  <a:pt x="19926780" y="2706391"/>
                  <a:pt x="19938756" y="2706391"/>
                </a:cubicBezTo>
                <a:close/>
                <a:moveTo>
                  <a:pt x="17654108" y="2706391"/>
                </a:moveTo>
                <a:cubicBezTo>
                  <a:pt x="17654108" y="2725656"/>
                  <a:pt x="17654108" y="2738499"/>
                  <a:pt x="17640984" y="2738499"/>
                </a:cubicBezTo>
                <a:cubicBezTo>
                  <a:pt x="17640984" y="2719234"/>
                  <a:pt x="17640984" y="2706391"/>
                  <a:pt x="17654108" y="2706391"/>
                </a:cubicBezTo>
                <a:close/>
                <a:moveTo>
                  <a:pt x="15557604" y="2706390"/>
                </a:moveTo>
                <a:cubicBezTo>
                  <a:pt x="15582882" y="2719660"/>
                  <a:pt x="15639760" y="2706390"/>
                  <a:pt x="15639760" y="2771641"/>
                </a:cubicBezTo>
                <a:cubicBezTo>
                  <a:pt x="15601842" y="2771641"/>
                  <a:pt x="15563924" y="2771641"/>
                  <a:pt x="15527058" y="2771641"/>
                </a:cubicBezTo>
                <a:cubicBezTo>
                  <a:pt x="15532324" y="2746204"/>
                  <a:pt x="15546018" y="2726296"/>
                  <a:pt x="15557604" y="2706390"/>
                </a:cubicBezTo>
                <a:close/>
                <a:moveTo>
                  <a:pt x="17071416" y="2704216"/>
                </a:moveTo>
                <a:cubicBezTo>
                  <a:pt x="17085792" y="2702439"/>
                  <a:pt x="17099256" y="2709548"/>
                  <a:pt x="17109048" y="2709548"/>
                </a:cubicBezTo>
                <a:cubicBezTo>
                  <a:pt x="17109048" y="2752732"/>
                  <a:pt x="17076412" y="2759051"/>
                  <a:pt x="17050304" y="2771691"/>
                </a:cubicBezTo>
                <a:cubicBezTo>
                  <a:pt x="17050304" y="2752732"/>
                  <a:pt x="17043776" y="2722187"/>
                  <a:pt x="17056832" y="2709548"/>
                </a:cubicBezTo>
                <a:cubicBezTo>
                  <a:pt x="17061728" y="2706389"/>
                  <a:pt x="17066620" y="2704809"/>
                  <a:pt x="17071416" y="2704216"/>
                </a:cubicBezTo>
                <a:close/>
                <a:moveTo>
                  <a:pt x="19477720" y="2690421"/>
                </a:moveTo>
                <a:cubicBezTo>
                  <a:pt x="19478540" y="2688924"/>
                  <a:pt x="19481824" y="2690421"/>
                  <a:pt x="19488388" y="2693415"/>
                </a:cubicBezTo>
                <a:cubicBezTo>
                  <a:pt x="19481824" y="2693415"/>
                  <a:pt x="19481824" y="2699402"/>
                  <a:pt x="19481824" y="2705389"/>
                </a:cubicBezTo>
                <a:cubicBezTo>
                  <a:pt x="19478540" y="2696408"/>
                  <a:pt x="19476900" y="2691919"/>
                  <a:pt x="19477720" y="2690421"/>
                </a:cubicBezTo>
                <a:close/>
                <a:moveTo>
                  <a:pt x="12790010" y="2683064"/>
                </a:moveTo>
                <a:cubicBezTo>
                  <a:pt x="12738423" y="2695958"/>
                  <a:pt x="12686836" y="2708855"/>
                  <a:pt x="12636324" y="2721752"/>
                </a:cubicBezTo>
                <a:cubicBezTo>
                  <a:pt x="12649220" y="2734643"/>
                  <a:pt x="12662117" y="2752914"/>
                  <a:pt x="12673939" y="2772256"/>
                </a:cubicBezTo>
                <a:cubicBezTo>
                  <a:pt x="12686836" y="2766883"/>
                  <a:pt x="12699732" y="2759362"/>
                  <a:pt x="12719078" y="2759362"/>
                </a:cubicBezTo>
                <a:cubicBezTo>
                  <a:pt x="12744871" y="2752914"/>
                  <a:pt x="12777113" y="2747539"/>
                  <a:pt x="12809355" y="2741094"/>
                </a:cubicBezTo>
                <a:cubicBezTo>
                  <a:pt x="12802906" y="2721752"/>
                  <a:pt x="12796458" y="2702408"/>
                  <a:pt x="12790010" y="2683064"/>
                </a:cubicBezTo>
                <a:close/>
                <a:moveTo>
                  <a:pt x="15389606" y="2677952"/>
                </a:moveTo>
                <a:cubicBezTo>
                  <a:pt x="15402450" y="2691005"/>
                  <a:pt x="15408872" y="2697532"/>
                  <a:pt x="15421716" y="2710586"/>
                </a:cubicBezTo>
                <a:cubicBezTo>
                  <a:pt x="15408872" y="2717113"/>
                  <a:pt x="15402450" y="2730168"/>
                  <a:pt x="15389606" y="2743221"/>
                </a:cubicBezTo>
                <a:cubicBezTo>
                  <a:pt x="15389606" y="2723640"/>
                  <a:pt x="15389606" y="2697532"/>
                  <a:pt x="15389606" y="2677952"/>
                </a:cubicBezTo>
                <a:close/>
                <a:moveTo>
                  <a:pt x="15358514" y="2677952"/>
                </a:moveTo>
                <a:cubicBezTo>
                  <a:pt x="15378990" y="2677952"/>
                  <a:pt x="15378990" y="2717113"/>
                  <a:pt x="15378990" y="2743221"/>
                </a:cubicBezTo>
                <a:cubicBezTo>
                  <a:pt x="15351690" y="2743221"/>
                  <a:pt x="15358514" y="2704060"/>
                  <a:pt x="15358514" y="2677952"/>
                </a:cubicBezTo>
                <a:close/>
                <a:moveTo>
                  <a:pt x="19090348" y="2677951"/>
                </a:moveTo>
                <a:cubicBezTo>
                  <a:pt x="19090348" y="2703637"/>
                  <a:pt x="19084360" y="2710058"/>
                  <a:pt x="19072384" y="2710058"/>
                </a:cubicBezTo>
                <a:cubicBezTo>
                  <a:pt x="19072384" y="2684372"/>
                  <a:pt x="19078372" y="2677951"/>
                  <a:pt x="19090348" y="2677951"/>
                </a:cubicBezTo>
                <a:close/>
                <a:moveTo>
                  <a:pt x="20279964" y="2677950"/>
                </a:moveTo>
                <a:cubicBezTo>
                  <a:pt x="20279964" y="2703637"/>
                  <a:pt x="20274696" y="2710058"/>
                  <a:pt x="20262056" y="2710058"/>
                </a:cubicBezTo>
                <a:cubicBezTo>
                  <a:pt x="20262056" y="2684372"/>
                  <a:pt x="20274696" y="2677950"/>
                  <a:pt x="20279964" y="2677950"/>
                </a:cubicBezTo>
                <a:close/>
                <a:moveTo>
                  <a:pt x="15317486" y="2675084"/>
                </a:moveTo>
                <a:cubicBezTo>
                  <a:pt x="15317486" y="2714765"/>
                  <a:pt x="15292892" y="2708152"/>
                  <a:pt x="15280594" y="2708152"/>
                </a:cubicBezTo>
                <a:cubicBezTo>
                  <a:pt x="15280594" y="2668471"/>
                  <a:pt x="15305188" y="2675084"/>
                  <a:pt x="15317486" y="2675084"/>
                </a:cubicBezTo>
                <a:close/>
                <a:moveTo>
                  <a:pt x="15066042" y="2650925"/>
                </a:moveTo>
                <a:cubicBezTo>
                  <a:pt x="15093454" y="2643406"/>
                  <a:pt x="15151552" y="2703541"/>
                  <a:pt x="15151552" y="2743630"/>
                </a:cubicBezTo>
                <a:cubicBezTo>
                  <a:pt x="15126970" y="2743630"/>
                  <a:pt x="15082082" y="2762173"/>
                  <a:pt x="15062844" y="2743630"/>
                </a:cubicBezTo>
                <a:cubicBezTo>
                  <a:pt x="15043606" y="2723995"/>
                  <a:pt x="15056432" y="2684723"/>
                  <a:pt x="15056432" y="2658542"/>
                </a:cubicBezTo>
                <a:cubicBezTo>
                  <a:pt x="15058836" y="2654451"/>
                  <a:pt x="15062126" y="2651997"/>
                  <a:pt x="15066042" y="2650925"/>
                </a:cubicBezTo>
                <a:close/>
                <a:moveTo>
                  <a:pt x="15203688" y="2644775"/>
                </a:moveTo>
                <a:cubicBezTo>
                  <a:pt x="15197266" y="2664356"/>
                  <a:pt x="15190846" y="2683937"/>
                  <a:pt x="15184424" y="2710044"/>
                </a:cubicBezTo>
                <a:cubicBezTo>
                  <a:pt x="15178002" y="2696990"/>
                  <a:pt x="15178002" y="2683937"/>
                  <a:pt x="15171580" y="2670883"/>
                </a:cubicBezTo>
                <a:cubicBezTo>
                  <a:pt x="15178002" y="2657828"/>
                  <a:pt x="15190846" y="2651302"/>
                  <a:pt x="15203688" y="2644775"/>
                </a:cubicBezTo>
                <a:close/>
                <a:moveTo>
                  <a:pt x="16426612" y="2644774"/>
                </a:moveTo>
                <a:cubicBezTo>
                  <a:pt x="16426612" y="2670459"/>
                  <a:pt x="16420624" y="2676880"/>
                  <a:pt x="16408650" y="2676880"/>
                </a:cubicBezTo>
                <a:cubicBezTo>
                  <a:pt x="16408650" y="2657616"/>
                  <a:pt x="16414638" y="2644774"/>
                  <a:pt x="16426612" y="2644774"/>
                </a:cubicBezTo>
                <a:close/>
                <a:moveTo>
                  <a:pt x="14223628" y="2644774"/>
                </a:moveTo>
                <a:cubicBezTo>
                  <a:pt x="14235603" y="2644774"/>
                  <a:pt x="14241590" y="2657617"/>
                  <a:pt x="14241590" y="2676880"/>
                </a:cubicBezTo>
                <a:cubicBezTo>
                  <a:pt x="14229615" y="2676880"/>
                  <a:pt x="14223628" y="2670459"/>
                  <a:pt x="14223628" y="2644774"/>
                </a:cubicBezTo>
                <a:close/>
                <a:moveTo>
                  <a:pt x="20246840" y="2644773"/>
                </a:moveTo>
                <a:cubicBezTo>
                  <a:pt x="20246840" y="2670458"/>
                  <a:pt x="20240852" y="2676879"/>
                  <a:pt x="20228880" y="2676879"/>
                </a:cubicBezTo>
                <a:cubicBezTo>
                  <a:pt x="20228880" y="2657615"/>
                  <a:pt x="20234864" y="2644773"/>
                  <a:pt x="20246840" y="2644773"/>
                </a:cubicBezTo>
                <a:close/>
                <a:moveTo>
                  <a:pt x="19867608" y="2644773"/>
                </a:moveTo>
                <a:cubicBezTo>
                  <a:pt x="19867608" y="2664038"/>
                  <a:pt x="19862340" y="2676879"/>
                  <a:pt x="19849700" y="2676879"/>
                </a:cubicBezTo>
                <a:cubicBezTo>
                  <a:pt x="19849700" y="2657615"/>
                  <a:pt x="19849700" y="2644773"/>
                  <a:pt x="19867608" y="2644773"/>
                </a:cubicBezTo>
                <a:close/>
                <a:moveTo>
                  <a:pt x="18110216" y="2644773"/>
                </a:moveTo>
                <a:cubicBezTo>
                  <a:pt x="18122192" y="2644773"/>
                  <a:pt x="18128180" y="2657616"/>
                  <a:pt x="18128180" y="2676880"/>
                </a:cubicBezTo>
                <a:cubicBezTo>
                  <a:pt x="18116204" y="2676880"/>
                  <a:pt x="18110216" y="2670459"/>
                  <a:pt x="18110216" y="2644773"/>
                </a:cubicBezTo>
                <a:close/>
                <a:moveTo>
                  <a:pt x="18064292" y="2644517"/>
                </a:moveTo>
                <a:cubicBezTo>
                  <a:pt x="18076396" y="2639905"/>
                  <a:pt x="18090232" y="2649128"/>
                  <a:pt x="18090232" y="2672186"/>
                </a:cubicBezTo>
                <a:cubicBezTo>
                  <a:pt x="18077932" y="2666037"/>
                  <a:pt x="18065636" y="2659888"/>
                  <a:pt x="18053340" y="2653740"/>
                </a:cubicBezTo>
                <a:cubicBezTo>
                  <a:pt x="18056412" y="2649128"/>
                  <a:pt x="18060256" y="2646054"/>
                  <a:pt x="18064292" y="2644517"/>
                </a:cubicBezTo>
                <a:close/>
                <a:moveTo>
                  <a:pt x="13694930" y="2644376"/>
                </a:moveTo>
                <a:cubicBezTo>
                  <a:pt x="13694930" y="2670168"/>
                  <a:pt x="13700304" y="2676615"/>
                  <a:pt x="13713200" y="2676615"/>
                </a:cubicBezTo>
                <a:cubicBezTo>
                  <a:pt x="13713200" y="2657271"/>
                  <a:pt x="13706752" y="2644376"/>
                  <a:pt x="13694930" y="2644376"/>
                </a:cubicBezTo>
                <a:close/>
                <a:moveTo>
                  <a:pt x="12956592" y="2644376"/>
                </a:moveTo>
                <a:cubicBezTo>
                  <a:pt x="12956592" y="2663721"/>
                  <a:pt x="12950144" y="2702408"/>
                  <a:pt x="12969489" y="2708855"/>
                </a:cubicBezTo>
                <a:cubicBezTo>
                  <a:pt x="12988834" y="2715302"/>
                  <a:pt x="13014628" y="2708855"/>
                  <a:pt x="13040421" y="2708855"/>
                </a:cubicBezTo>
                <a:cubicBezTo>
                  <a:pt x="13084485" y="2708855"/>
                  <a:pt x="13129623" y="2708855"/>
                  <a:pt x="13174762" y="2715302"/>
                </a:cubicBezTo>
                <a:cubicBezTo>
                  <a:pt x="13239246" y="2721752"/>
                  <a:pt x="13322000" y="2747539"/>
                  <a:pt x="13373586" y="2657271"/>
                </a:cubicBezTo>
                <a:cubicBezTo>
                  <a:pt x="13232797" y="2657271"/>
                  <a:pt x="13097382" y="2650824"/>
                  <a:pt x="12956592" y="2644376"/>
                </a:cubicBezTo>
                <a:close/>
                <a:moveTo>
                  <a:pt x="12148397" y="2644376"/>
                </a:moveTo>
                <a:cubicBezTo>
                  <a:pt x="12148397" y="2663721"/>
                  <a:pt x="12148397" y="2676615"/>
                  <a:pt x="12167742" y="2676615"/>
                </a:cubicBezTo>
                <a:cubicBezTo>
                  <a:pt x="12167742" y="2657271"/>
                  <a:pt x="12161294" y="2644376"/>
                  <a:pt x="12148397" y="2644376"/>
                </a:cubicBezTo>
                <a:close/>
                <a:moveTo>
                  <a:pt x="18793296" y="2643603"/>
                </a:moveTo>
                <a:cubicBezTo>
                  <a:pt x="18793296" y="2669388"/>
                  <a:pt x="18799748" y="2675834"/>
                  <a:pt x="18812652" y="2675834"/>
                </a:cubicBezTo>
                <a:cubicBezTo>
                  <a:pt x="18812652" y="2656495"/>
                  <a:pt x="18806200" y="2643603"/>
                  <a:pt x="18793296" y="2643603"/>
                </a:cubicBezTo>
                <a:close/>
                <a:moveTo>
                  <a:pt x="19036300" y="2642281"/>
                </a:moveTo>
                <a:cubicBezTo>
                  <a:pt x="19041988" y="2642791"/>
                  <a:pt x="19047576" y="2643606"/>
                  <a:pt x="19052364" y="2643606"/>
                </a:cubicBezTo>
                <a:cubicBezTo>
                  <a:pt x="19052364" y="2695822"/>
                  <a:pt x="19020440" y="2676241"/>
                  <a:pt x="19001288" y="2676241"/>
                </a:cubicBezTo>
                <a:cubicBezTo>
                  <a:pt x="19001288" y="2641974"/>
                  <a:pt x="19019244" y="2640750"/>
                  <a:pt x="19036300" y="2642281"/>
                </a:cubicBezTo>
                <a:close/>
                <a:moveTo>
                  <a:pt x="16888708" y="2642281"/>
                </a:moveTo>
                <a:cubicBezTo>
                  <a:pt x="16894816" y="2642791"/>
                  <a:pt x="16900632" y="2643608"/>
                  <a:pt x="16905288" y="2643608"/>
                </a:cubicBezTo>
                <a:cubicBezTo>
                  <a:pt x="16905288" y="2695823"/>
                  <a:pt x="16868060" y="2676242"/>
                  <a:pt x="16849444" y="2676242"/>
                </a:cubicBezTo>
                <a:cubicBezTo>
                  <a:pt x="16849444" y="2641974"/>
                  <a:pt x="16870384" y="2640751"/>
                  <a:pt x="16888708" y="2642281"/>
                </a:cubicBezTo>
                <a:close/>
                <a:moveTo>
                  <a:pt x="15084454" y="2637070"/>
                </a:moveTo>
                <a:lnTo>
                  <a:pt x="15090332" y="2642069"/>
                </a:lnTo>
                <a:cubicBezTo>
                  <a:pt x="15091838" y="2643348"/>
                  <a:pt x="15090834" y="2642496"/>
                  <a:pt x="15088826" y="2640789"/>
                </a:cubicBezTo>
                <a:close/>
                <a:moveTo>
                  <a:pt x="12238943" y="2636316"/>
                </a:moveTo>
                <a:cubicBezTo>
                  <a:pt x="12219061" y="2636316"/>
                  <a:pt x="12196760" y="2644376"/>
                  <a:pt x="12187087" y="2644376"/>
                </a:cubicBezTo>
                <a:cubicBezTo>
                  <a:pt x="12187087" y="2715302"/>
                  <a:pt x="12256945" y="2676615"/>
                  <a:pt x="12276290" y="2676615"/>
                </a:cubicBezTo>
                <a:cubicBezTo>
                  <a:pt x="12276290" y="2644376"/>
                  <a:pt x="12258826" y="2636316"/>
                  <a:pt x="12238943" y="2636316"/>
                </a:cubicBezTo>
                <a:close/>
                <a:moveTo>
                  <a:pt x="15083892" y="2628806"/>
                </a:moveTo>
                <a:lnTo>
                  <a:pt x="15084454" y="2637070"/>
                </a:lnTo>
                <a:lnTo>
                  <a:pt x="15084908" y="2643775"/>
                </a:lnTo>
                <a:cubicBezTo>
                  <a:pt x="15076782" y="2643775"/>
                  <a:pt x="15076782" y="2637787"/>
                  <a:pt x="15076782" y="2631800"/>
                </a:cubicBezTo>
                <a:cubicBezTo>
                  <a:pt x="15080844" y="2628806"/>
                  <a:pt x="15082876" y="2627310"/>
                  <a:pt x="15083892" y="2628806"/>
                </a:cubicBezTo>
                <a:close/>
                <a:moveTo>
                  <a:pt x="18245872" y="2616338"/>
                </a:moveTo>
                <a:cubicBezTo>
                  <a:pt x="18271840" y="2687841"/>
                  <a:pt x="18317288" y="2720342"/>
                  <a:pt x="18362736" y="2751760"/>
                </a:cubicBezTo>
                <a:cubicBezTo>
                  <a:pt x="18426576" y="2784258"/>
                  <a:pt x="18485008" y="2810267"/>
                  <a:pt x="18549932" y="2842765"/>
                </a:cubicBezTo>
                <a:cubicBezTo>
                  <a:pt x="18478516" y="2823268"/>
                  <a:pt x="18408180" y="2810267"/>
                  <a:pt x="18336764" y="2816767"/>
                </a:cubicBezTo>
                <a:cubicBezTo>
                  <a:pt x="18343256" y="2810267"/>
                  <a:pt x="18343256" y="2803747"/>
                  <a:pt x="18349748" y="2797259"/>
                </a:cubicBezTo>
                <a:cubicBezTo>
                  <a:pt x="18330272" y="2784258"/>
                  <a:pt x="18310796" y="2810267"/>
                  <a:pt x="18297812" y="2790759"/>
                </a:cubicBezTo>
                <a:cubicBezTo>
                  <a:pt x="18284824" y="2771259"/>
                  <a:pt x="18284824" y="2739841"/>
                  <a:pt x="18278332" y="2720342"/>
                </a:cubicBezTo>
                <a:cubicBezTo>
                  <a:pt x="18278332" y="2733341"/>
                  <a:pt x="18271840" y="2765843"/>
                  <a:pt x="18258856" y="2765843"/>
                </a:cubicBezTo>
                <a:cubicBezTo>
                  <a:pt x="18245872" y="2765843"/>
                  <a:pt x="18226392" y="2758259"/>
                  <a:pt x="18226392" y="2733341"/>
                </a:cubicBezTo>
                <a:cubicBezTo>
                  <a:pt x="18226392" y="2707342"/>
                  <a:pt x="18214492" y="2681341"/>
                  <a:pt x="18219900" y="2655340"/>
                </a:cubicBezTo>
                <a:cubicBezTo>
                  <a:pt x="18226392" y="2642340"/>
                  <a:pt x="18239380" y="2629340"/>
                  <a:pt x="18245872" y="2616338"/>
                </a:cubicBezTo>
                <a:close/>
                <a:moveTo>
                  <a:pt x="18020336" y="2613509"/>
                </a:moveTo>
                <a:cubicBezTo>
                  <a:pt x="18032400" y="2615526"/>
                  <a:pt x="18045176" y="2624907"/>
                  <a:pt x="18052284" y="2628397"/>
                </a:cubicBezTo>
                <a:cubicBezTo>
                  <a:pt x="18039648" y="2653216"/>
                  <a:pt x="18014368" y="2634602"/>
                  <a:pt x="17996460" y="2628397"/>
                </a:cubicBezTo>
                <a:cubicBezTo>
                  <a:pt x="17999620" y="2620641"/>
                  <a:pt x="18003900" y="2616374"/>
                  <a:pt x="18008740" y="2614436"/>
                </a:cubicBezTo>
                <a:cubicBezTo>
                  <a:pt x="18012368" y="2612981"/>
                  <a:pt x="18016312" y="2612836"/>
                  <a:pt x="18020336" y="2613509"/>
                </a:cubicBezTo>
                <a:close/>
                <a:moveTo>
                  <a:pt x="17683308" y="2612256"/>
                </a:moveTo>
                <a:cubicBezTo>
                  <a:pt x="17693228" y="2615562"/>
                  <a:pt x="17701496" y="2627136"/>
                  <a:pt x="17701496" y="2643671"/>
                </a:cubicBezTo>
                <a:cubicBezTo>
                  <a:pt x="17688268" y="2643671"/>
                  <a:pt x="17668428" y="2637057"/>
                  <a:pt x="17655200" y="2630443"/>
                </a:cubicBezTo>
                <a:cubicBezTo>
                  <a:pt x="17661816" y="2613909"/>
                  <a:pt x="17673388" y="2608950"/>
                  <a:pt x="17683308" y="2612256"/>
                </a:cubicBezTo>
                <a:close/>
                <a:moveTo>
                  <a:pt x="12488011" y="2612137"/>
                </a:moveTo>
                <a:cubicBezTo>
                  <a:pt x="12488011" y="2631480"/>
                  <a:pt x="12488011" y="2644376"/>
                  <a:pt x="12500908" y="2644376"/>
                </a:cubicBezTo>
                <a:cubicBezTo>
                  <a:pt x="12500908" y="2625034"/>
                  <a:pt x="12500908" y="2612137"/>
                  <a:pt x="12488011" y="2612137"/>
                </a:cubicBezTo>
                <a:close/>
                <a:moveTo>
                  <a:pt x="12411705" y="2612137"/>
                </a:moveTo>
                <a:cubicBezTo>
                  <a:pt x="12411705" y="2650824"/>
                  <a:pt x="12431051" y="2644376"/>
                  <a:pt x="12449321" y="2644376"/>
                </a:cubicBezTo>
                <a:cubicBezTo>
                  <a:pt x="12449321" y="2612137"/>
                  <a:pt x="12424602" y="2612137"/>
                  <a:pt x="12411705" y="2612137"/>
                </a:cubicBezTo>
                <a:close/>
                <a:moveTo>
                  <a:pt x="11975366" y="2612137"/>
                </a:moveTo>
                <a:cubicBezTo>
                  <a:pt x="11789438" y="2676615"/>
                  <a:pt x="11603510" y="2715302"/>
                  <a:pt x="11411134" y="2759362"/>
                </a:cubicBezTo>
                <a:cubicBezTo>
                  <a:pt x="11372444" y="2766883"/>
                  <a:pt x="11327306" y="2766883"/>
                  <a:pt x="11282167" y="2778702"/>
                </a:cubicBezTo>
                <a:cubicBezTo>
                  <a:pt x="11243477" y="2791595"/>
                  <a:pt x="11212310" y="2836748"/>
                  <a:pt x="11173620" y="2843195"/>
                </a:cubicBezTo>
                <a:cubicBezTo>
                  <a:pt x="11089791" y="2875432"/>
                  <a:pt x="11007037" y="2920566"/>
                  <a:pt x="10916760" y="2920566"/>
                </a:cubicBezTo>
                <a:cubicBezTo>
                  <a:pt x="10916760" y="2933464"/>
                  <a:pt x="10916760" y="2946355"/>
                  <a:pt x="10916760" y="2952806"/>
                </a:cubicBezTo>
                <a:cubicBezTo>
                  <a:pt x="11122033" y="2881878"/>
                  <a:pt x="11333754" y="2849642"/>
                  <a:pt x="11539027" y="2804473"/>
                </a:cubicBezTo>
                <a:cubicBezTo>
                  <a:pt x="11590614" y="2798035"/>
                  <a:pt x="11647574" y="2804473"/>
                  <a:pt x="11692713" y="2778702"/>
                </a:cubicBezTo>
                <a:cubicBezTo>
                  <a:pt x="11712058" y="2766883"/>
                  <a:pt x="11724955" y="2741094"/>
                  <a:pt x="11744300" y="2734643"/>
                </a:cubicBezTo>
                <a:cubicBezTo>
                  <a:pt x="11770093" y="2734643"/>
                  <a:pt x="11795887" y="2728196"/>
                  <a:pt x="11821680" y="2721752"/>
                </a:cubicBezTo>
                <a:cubicBezTo>
                  <a:pt x="11923779" y="2708855"/>
                  <a:pt x="12026953" y="2695958"/>
                  <a:pt x="12129052" y="2676615"/>
                </a:cubicBezTo>
                <a:cubicBezTo>
                  <a:pt x="12103259" y="2579897"/>
                  <a:pt x="12020505" y="2657271"/>
                  <a:pt x="11975366" y="2676615"/>
                </a:cubicBezTo>
                <a:cubicBezTo>
                  <a:pt x="11975366" y="2657271"/>
                  <a:pt x="11975366" y="2637928"/>
                  <a:pt x="11975366" y="2612137"/>
                </a:cubicBezTo>
                <a:close/>
                <a:moveTo>
                  <a:pt x="15279596" y="2611594"/>
                </a:moveTo>
                <a:cubicBezTo>
                  <a:pt x="15279596" y="2630859"/>
                  <a:pt x="15273608" y="2643702"/>
                  <a:pt x="15261634" y="2643702"/>
                </a:cubicBezTo>
                <a:cubicBezTo>
                  <a:pt x="15261634" y="2624438"/>
                  <a:pt x="15267622" y="2611594"/>
                  <a:pt x="15279596" y="2611594"/>
                </a:cubicBezTo>
                <a:close/>
                <a:moveTo>
                  <a:pt x="18154280" y="2611593"/>
                </a:moveTo>
                <a:cubicBezTo>
                  <a:pt x="18172728" y="2611593"/>
                  <a:pt x="18185024" y="2618016"/>
                  <a:pt x="18185024" y="2643702"/>
                </a:cubicBezTo>
                <a:cubicBezTo>
                  <a:pt x="18172728" y="2643702"/>
                  <a:pt x="18160432" y="2637280"/>
                  <a:pt x="18148132" y="2630858"/>
                </a:cubicBezTo>
                <a:cubicBezTo>
                  <a:pt x="18148132" y="2624438"/>
                  <a:pt x="18154280" y="2618016"/>
                  <a:pt x="18154280" y="2611593"/>
                </a:cubicBezTo>
                <a:close/>
                <a:moveTo>
                  <a:pt x="15019906" y="2611591"/>
                </a:moveTo>
                <a:cubicBezTo>
                  <a:pt x="15026054" y="2611591"/>
                  <a:pt x="15032202" y="2611591"/>
                  <a:pt x="15038352" y="2611591"/>
                </a:cubicBezTo>
                <a:cubicBezTo>
                  <a:pt x="15044500" y="2617738"/>
                  <a:pt x="15050648" y="2623888"/>
                  <a:pt x="15056798" y="2630037"/>
                </a:cubicBezTo>
                <a:cubicBezTo>
                  <a:pt x="15038352" y="2648483"/>
                  <a:pt x="15026054" y="2623888"/>
                  <a:pt x="15019906" y="2611591"/>
                </a:cubicBezTo>
                <a:close/>
                <a:moveTo>
                  <a:pt x="19375704" y="2610389"/>
                </a:moveTo>
                <a:cubicBezTo>
                  <a:pt x="19397744" y="2605733"/>
                  <a:pt x="19426304" y="2642984"/>
                  <a:pt x="19436240" y="2657884"/>
                </a:cubicBezTo>
                <a:cubicBezTo>
                  <a:pt x="19409748" y="2651263"/>
                  <a:pt x="19383260" y="2644640"/>
                  <a:pt x="19356768" y="2631394"/>
                </a:cubicBezTo>
                <a:cubicBezTo>
                  <a:pt x="19361736" y="2618151"/>
                  <a:pt x="19368360" y="2611941"/>
                  <a:pt x="19375704" y="2610389"/>
                </a:cubicBezTo>
                <a:close/>
                <a:moveTo>
                  <a:pt x="14057213" y="2602603"/>
                </a:moveTo>
                <a:cubicBezTo>
                  <a:pt x="14077488" y="2602603"/>
                  <a:pt x="14094604" y="2610665"/>
                  <a:pt x="14094604" y="2642914"/>
                </a:cubicBezTo>
                <a:cubicBezTo>
                  <a:pt x="14070378" y="2642914"/>
                  <a:pt x="14000862" y="2681614"/>
                  <a:pt x="14000862" y="2610665"/>
                </a:cubicBezTo>
                <a:cubicBezTo>
                  <a:pt x="14013502" y="2610665"/>
                  <a:pt x="14036937" y="2602603"/>
                  <a:pt x="14057213" y="2602603"/>
                </a:cubicBezTo>
                <a:close/>
                <a:moveTo>
                  <a:pt x="18522576" y="2597378"/>
                </a:moveTo>
                <a:cubicBezTo>
                  <a:pt x="18535700" y="2597378"/>
                  <a:pt x="18529136" y="2629481"/>
                  <a:pt x="18529136" y="2629481"/>
                </a:cubicBezTo>
                <a:cubicBezTo>
                  <a:pt x="18529136" y="2623060"/>
                  <a:pt x="18522576" y="2616638"/>
                  <a:pt x="18522576" y="2610217"/>
                </a:cubicBezTo>
                <a:cubicBezTo>
                  <a:pt x="18522576" y="2610217"/>
                  <a:pt x="18522576" y="2603797"/>
                  <a:pt x="18522576" y="2597378"/>
                </a:cubicBezTo>
                <a:close/>
                <a:moveTo>
                  <a:pt x="19318852" y="2587894"/>
                </a:moveTo>
                <a:cubicBezTo>
                  <a:pt x="19331148" y="2594716"/>
                  <a:pt x="19343448" y="2601543"/>
                  <a:pt x="19355744" y="2601543"/>
                </a:cubicBezTo>
                <a:cubicBezTo>
                  <a:pt x="19355744" y="2608369"/>
                  <a:pt x="19349596" y="2615194"/>
                  <a:pt x="19349596" y="2615194"/>
                </a:cubicBezTo>
                <a:cubicBezTo>
                  <a:pt x="19337300" y="2615194"/>
                  <a:pt x="19318852" y="2615194"/>
                  <a:pt x="19318852" y="2587894"/>
                </a:cubicBezTo>
                <a:close/>
                <a:moveTo>
                  <a:pt x="18091256" y="2587894"/>
                </a:moveTo>
                <a:cubicBezTo>
                  <a:pt x="18109872" y="2594505"/>
                  <a:pt x="18128484" y="2594505"/>
                  <a:pt x="18147100" y="2601122"/>
                </a:cubicBezTo>
                <a:cubicBezTo>
                  <a:pt x="18134692" y="2614348"/>
                  <a:pt x="18091256" y="2634189"/>
                  <a:pt x="18091256" y="2587894"/>
                </a:cubicBezTo>
                <a:close/>
                <a:moveTo>
                  <a:pt x="17622024" y="2587894"/>
                </a:moveTo>
                <a:cubicBezTo>
                  <a:pt x="17634868" y="2594313"/>
                  <a:pt x="17641288" y="2600737"/>
                  <a:pt x="17654132" y="2600737"/>
                </a:cubicBezTo>
                <a:cubicBezTo>
                  <a:pt x="17647708" y="2620001"/>
                  <a:pt x="17622024" y="2620001"/>
                  <a:pt x="17622024" y="2587894"/>
                </a:cubicBezTo>
                <a:close/>
                <a:moveTo>
                  <a:pt x="10773452" y="2587654"/>
                </a:moveTo>
                <a:cubicBezTo>
                  <a:pt x="10745341" y="2579494"/>
                  <a:pt x="10687306" y="2612137"/>
                  <a:pt x="10672797" y="2612137"/>
                </a:cubicBezTo>
                <a:cubicBezTo>
                  <a:pt x="10634106" y="2618587"/>
                  <a:pt x="10596491" y="2631480"/>
                  <a:pt x="10564249" y="2657271"/>
                </a:cubicBezTo>
                <a:cubicBezTo>
                  <a:pt x="10609388" y="2657271"/>
                  <a:pt x="10647003" y="2644376"/>
                  <a:pt x="10692142" y="2644376"/>
                </a:cubicBezTo>
                <a:cubicBezTo>
                  <a:pt x="10705038" y="2637928"/>
                  <a:pt x="10717935" y="2612137"/>
                  <a:pt x="10737280" y="2612137"/>
                </a:cubicBezTo>
                <a:cubicBezTo>
                  <a:pt x="10750177" y="2612137"/>
                  <a:pt x="10769522" y="2612137"/>
                  <a:pt x="10788867" y="2612137"/>
                </a:cubicBezTo>
                <a:cubicBezTo>
                  <a:pt x="10788867" y="2597635"/>
                  <a:pt x="10782822" y="2590373"/>
                  <a:pt x="10773452" y="2587654"/>
                </a:cubicBezTo>
                <a:close/>
                <a:moveTo>
                  <a:pt x="1340057" y="2585027"/>
                </a:moveTo>
                <a:cubicBezTo>
                  <a:pt x="1340057" y="2624709"/>
                  <a:pt x="1315832" y="2611482"/>
                  <a:pt x="1303190" y="2611482"/>
                </a:cubicBezTo>
                <a:cubicBezTo>
                  <a:pt x="1303190" y="2578414"/>
                  <a:pt x="1328469" y="2585027"/>
                  <a:pt x="1340057" y="2585027"/>
                </a:cubicBezTo>
                <a:close/>
                <a:moveTo>
                  <a:pt x="14844536" y="2584562"/>
                </a:moveTo>
                <a:cubicBezTo>
                  <a:pt x="14862982" y="2584562"/>
                  <a:pt x="14881428" y="2578414"/>
                  <a:pt x="14881428" y="2609157"/>
                </a:cubicBezTo>
                <a:cubicBezTo>
                  <a:pt x="14869131" y="2609157"/>
                  <a:pt x="14844536" y="2615305"/>
                  <a:pt x="14844536" y="2584562"/>
                </a:cubicBezTo>
                <a:close/>
                <a:moveTo>
                  <a:pt x="17995896" y="2568937"/>
                </a:moveTo>
                <a:cubicBezTo>
                  <a:pt x="18001584" y="2575761"/>
                  <a:pt x="18009544" y="2582585"/>
                  <a:pt x="18009544" y="2589410"/>
                </a:cubicBezTo>
                <a:cubicBezTo>
                  <a:pt x="18001584" y="2596235"/>
                  <a:pt x="17982244" y="2589410"/>
                  <a:pt x="17995896" y="2568937"/>
                </a:cubicBezTo>
                <a:close/>
                <a:moveTo>
                  <a:pt x="10564249" y="2554106"/>
                </a:moveTo>
                <a:cubicBezTo>
                  <a:pt x="10564249" y="2573448"/>
                  <a:pt x="10564249" y="2586345"/>
                  <a:pt x="10577146" y="2586345"/>
                </a:cubicBezTo>
                <a:cubicBezTo>
                  <a:pt x="10577146" y="2566999"/>
                  <a:pt x="10577146" y="2554106"/>
                  <a:pt x="10564249" y="2554106"/>
                </a:cubicBezTo>
                <a:close/>
                <a:moveTo>
                  <a:pt x="18878460" y="2546713"/>
                </a:moveTo>
                <a:lnTo>
                  <a:pt x="18875656" y="2550499"/>
                </a:lnTo>
                <a:cubicBezTo>
                  <a:pt x="18874276" y="2552361"/>
                  <a:pt x="18873316" y="2553657"/>
                  <a:pt x="18873316" y="2553657"/>
                </a:cubicBezTo>
                <a:close/>
                <a:moveTo>
                  <a:pt x="18829076" y="2540496"/>
                </a:moveTo>
                <a:cubicBezTo>
                  <a:pt x="18829076" y="2545432"/>
                  <a:pt x="18834344" y="2545432"/>
                  <a:pt x="18834344" y="2551357"/>
                </a:cubicBezTo>
                <a:lnTo>
                  <a:pt x="18831112" y="2554711"/>
                </a:lnTo>
                <a:lnTo>
                  <a:pt x="18825784" y="2560242"/>
                </a:lnTo>
                <a:cubicBezTo>
                  <a:pt x="18822756" y="2560242"/>
                  <a:pt x="18819596" y="2557281"/>
                  <a:pt x="18816436" y="2551357"/>
                </a:cubicBezTo>
                <a:cubicBezTo>
                  <a:pt x="18822756" y="2545432"/>
                  <a:pt x="18822756" y="2540496"/>
                  <a:pt x="18829076" y="2540496"/>
                </a:cubicBezTo>
                <a:close/>
                <a:moveTo>
                  <a:pt x="18883140" y="2540395"/>
                </a:moveTo>
                <a:lnTo>
                  <a:pt x="18880516" y="2543938"/>
                </a:lnTo>
                <a:lnTo>
                  <a:pt x="18878460" y="2546713"/>
                </a:lnTo>
                <a:close/>
                <a:moveTo>
                  <a:pt x="18884836" y="2538105"/>
                </a:moveTo>
                <a:cubicBezTo>
                  <a:pt x="18885796" y="2536809"/>
                  <a:pt x="18885556" y="2537134"/>
                  <a:pt x="18884656" y="2538349"/>
                </a:cubicBezTo>
                <a:lnTo>
                  <a:pt x="18883140" y="2540395"/>
                </a:lnTo>
                <a:close/>
                <a:moveTo>
                  <a:pt x="12449321" y="2522941"/>
                </a:moveTo>
                <a:cubicBezTo>
                  <a:pt x="12449321" y="2561628"/>
                  <a:pt x="12468666" y="2554106"/>
                  <a:pt x="12488011" y="2554106"/>
                </a:cubicBezTo>
                <a:cubicBezTo>
                  <a:pt x="12488011" y="2516495"/>
                  <a:pt x="12462218" y="2522941"/>
                  <a:pt x="12449321" y="2522941"/>
                </a:cubicBezTo>
                <a:close/>
                <a:moveTo>
                  <a:pt x="10601865" y="2522941"/>
                </a:moveTo>
                <a:cubicBezTo>
                  <a:pt x="10601865" y="2542284"/>
                  <a:pt x="10601865" y="2566999"/>
                  <a:pt x="10601865" y="2586345"/>
                </a:cubicBezTo>
                <a:cubicBezTo>
                  <a:pt x="10621210" y="2573448"/>
                  <a:pt x="10672797" y="2579897"/>
                  <a:pt x="10672797" y="2522941"/>
                </a:cubicBezTo>
                <a:cubicBezTo>
                  <a:pt x="10647003" y="2522941"/>
                  <a:pt x="10621210" y="2522941"/>
                  <a:pt x="10601865" y="2522941"/>
                </a:cubicBezTo>
                <a:close/>
                <a:moveTo>
                  <a:pt x="9789371" y="2522941"/>
                </a:moveTo>
                <a:cubicBezTo>
                  <a:pt x="9789371" y="2561628"/>
                  <a:pt x="9807641" y="2554106"/>
                  <a:pt x="9826986" y="2554106"/>
                </a:cubicBezTo>
                <a:cubicBezTo>
                  <a:pt x="9826986" y="2516495"/>
                  <a:pt x="9801193" y="2522941"/>
                  <a:pt x="9789371" y="2522941"/>
                </a:cubicBezTo>
                <a:close/>
                <a:moveTo>
                  <a:pt x="17848536" y="2521536"/>
                </a:moveTo>
                <a:cubicBezTo>
                  <a:pt x="17848536" y="2541441"/>
                  <a:pt x="17842548" y="2553605"/>
                  <a:pt x="17830572" y="2553605"/>
                </a:cubicBezTo>
                <a:cubicBezTo>
                  <a:pt x="17830572" y="2534806"/>
                  <a:pt x="17836560" y="2521536"/>
                  <a:pt x="17848536" y="2521536"/>
                </a:cubicBezTo>
                <a:close/>
                <a:moveTo>
                  <a:pt x="14695029" y="2510960"/>
                </a:moveTo>
                <a:cubicBezTo>
                  <a:pt x="14718913" y="2512710"/>
                  <a:pt x="14744408" y="2522405"/>
                  <a:pt x="14757289" y="2522405"/>
                </a:cubicBezTo>
                <a:cubicBezTo>
                  <a:pt x="14744408" y="2579497"/>
                  <a:pt x="14744408" y="2598887"/>
                  <a:pt x="14776611" y="2637665"/>
                </a:cubicBezTo>
                <a:cubicBezTo>
                  <a:pt x="14783052" y="2605350"/>
                  <a:pt x="14783052" y="2553644"/>
                  <a:pt x="14815256" y="2553644"/>
                </a:cubicBezTo>
                <a:cubicBezTo>
                  <a:pt x="14815256" y="2585960"/>
                  <a:pt x="14815256" y="2618278"/>
                  <a:pt x="14815256" y="2644129"/>
                </a:cubicBezTo>
                <a:cubicBezTo>
                  <a:pt x="14828137" y="2650591"/>
                  <a:pt x="14841019" y="2657055"/>
                  <a:pt x="14853900" y="2657055"/>
                </a:cubicBezTo>
                <a:cubicBezTo>
                  <a:pt x="14886104" y="2669982"/>
                  <a:pt x="14911866" y="2682908"/>
                  <a:pt x="14942997" y="2695834"/>
                </a:cubicBezTo>
                <a:cubicBezTo>
                  <a:pt x="14853900" y="2676445"/>
                  <a:pt x="14770171" y="2669982"/>
                  <a:pt x="14681074" y="2657055"/>
                </a:cubicBezTo>
                <a:cubicBezTo>
                  <a:pt x="14668193" y="2631203"/>
                  <a:pt x="14635989" y="2585960"/>
                  <a:pt x="14642430" y="2547181"/>
                </a:cubicBezTo>
                <a:cubicBezTo>
                  <a:pt x="14648870" y="2515403"/>
                  <a:pt x="14671145" y="2509210"/>
                  <a:pt x="14695029" y="2510960"/>
                </a:cubicBezTo>
                <a:close/>
                <a:moveTo>
                  <a:pt x="19171920" y="2497837"/>
                </a:moveTo>
                <a:cubicBezTo>
                  <a:pt x="19198028" y="2497837"/>
                  <a:pt x="19217608" y="2510134"/>
                  <a:pt x="19237188" y="2522431"/>
                </a:cubicBezTo>
                <a:cubicBezTo>
                  <a:pt x="19211080" y="2534728"/>
                  <a:pt x="19191500" y="2516283"/>
                  <a:pt x="19171920" y="2497837"/>
                </a:cubicBezTo>
                <a:close/>
                <a:moveTo>
                  <a:pt x="9860840" y="2495538"/>
                </a:moveTo>
                <a:cubicBezTo>
                  <a:pt x="9852780" y="2497149"/>
                  <a:pt x="9846331" y="2503598"/>
                  <a:pt x="9846331" y="2522941"/>
                </a:cubicBezTo>
                <a:cubicBezTo>
                  <a:pt x="9859228" y="2522941"/>
                  <a:pt x="9885021" y="2529389"/>
                  <a:pt x="9885021" y="2497149"/>
                </a:cubicBezTo>
                <a:cubicBezTo>
                  <a:pt x="9878573" y="2497149"/>
                  <a:pt x="9868901" y="2493927"/>
                  <a:pt x="9860840" y="2495538"/>
                </a:cubicBezTo>
                <a:close/>
                <a:moveTo>
                  <a:pt x="18479444" y="2483534"/>
                </a:moveTo>
                <a:lnTo>
                  <a:pt x="18477704" y="2488949"/>
                </a:lnTo>
                <a:lnTo>
                  <a:pt x="18475336" y="2496308"/>
                </a:lnTo>
                <a:close/>
                <a:moveTo>
                  <a:pt x="18425672" y="2478984"/>
                </a:moveTo>
                <a:cubicBezTo>
                  <a:pt x="18434232" y="2478984"/>
                  <a:pt x="18442788" y="2480974"/>
                  <a:pt x="18451184" y="2484158"/>
                </a:cubicBezTo>
                <a:lnTo>
                  <a:pt x="18475336" y="2496308"/>
                </a:lnTo>
                <a:lnTo>
                  <a:pt x="18475704" y="2496493"/>
                </a:lnTo>
                <a:cubicBezTo>
                  <a:pt x="18482024" y="2502860"/>
                  <a:pt x="18482024" y="2502860"/>
                  <a:pt x="18488344" y="2509226"/>
                </a:cubicBezTo>
                <a:cubicBezTo>
                  <a:pt x="18456744" y="2534692"/>
                  <a:pt x="18413560" y="2521959"/>
                  <a:pt x="18375640" y="2509226"/>
                </a:cubicBezTo>
                <a:cubicBezTo>
                  <a:pt x="18391440" y="2486943"/>
                  <a:pt x="18408556" y="2478984"/>
                  <a:pt x="18425672" y="2478984"/>
                </a:cubicBezTo>
                <a:close/>
                <a:moveTo>
                  <a:pt x="18481900" y="2475899"/>
                </a:moveTo>
                <a:lnTo>
                  <a:pt x="18480336" y="2480767"/>
                </a:lnTo>
                <a:lnTo>
                  <a:pt x="18479444" y="2483534"/>
                </a:lnTo>
                <a:close/>
                <a:moveTo>
                  <a:pt x="18482756" y="2473243"/>
                </a:moveTo>
                <a:lnTo>
                  <a:pt x="18481900" y="2475899"/>
                </a:lnTo>
                <a:lnTo>
                  <a:pt x="18481912" y="2475861"/>
                </a:lnTo>
                <a:cubicBezTo>
                  <a:pt x="18483036" y="2472371"/>
                  <a:pt x="18483596" y="2470625"/>
                  <a:pt x="18482756" y="2473243"/>
                </a:cubicBezTo>
                <a:close/>
                <a:moveTo>
                  <a:pt x="10826483" y="2464911"/>
                </a:moveTo>
                <a:cubicBezTo>
                  <a:pt x="10814661" y="2464911"/>
                  <a:pt x="10814661" y="2464911"/>
                  <a:pt x="10826483" y="2497149"/>
                </a:cubicBezTo>
                <a:cubicBezTo>
                  <a:pt x="10826483" y="2477804"/>
                  <a:pt x="10826483" y="2471358"/>
                  <a:pt x="10826483" y="2464911"/>
                </a:cubicBezTo>
                <a:close/>
                <a:moveTo>
                  <a:pt x="19170824" y="2464657"/>
                </a:moveTo>
                <a:cubicBezTo>
                  <a:pt x="19170824" y="2471077"/>
                  <a:pt x="19170824" y="2477499"/>
                  <a:pt x="19170824" y="2496762"/>
                </a:cubicBezTo>
                <a:cubicBezTo>
                  <a:pt x="19157700" y="2464657"/>
                  <a:pt x="19157700" y="2464657"/>
                  <a:pt x="19170824" y="2464657"/>
                </a:cubicBezTo>
                <a:close/>
                <a:moveTo>
                  <a:pt x="17001116" y="2464657"/>
                </a:moveTo>
                <a:cubicBezTo>
                  <a:pt x="17012704" y="2464657"/>
                  <a:pt x="17019024" y="2471077"/>
                  <a:pt x="17019024" y="2496762"/>
                </a:cubicBezTo>
                <a:cubicBezTo>
                  <a:pt x="17006384" y="2496762"/>
                  <a:pt x="17001116" y="2483920"/>
                  <a:pt x="17001116" y="2464657"/>
                </a:cubicBezTo>
                <a:close/>
                <a:moveTo>
                  <a:pt x="19625796" y="2464656"/>
                </a:moveTo>
                <a:cubicBezTo>
                  <a:pt x="19625796" y="2483920"/>
                  <a:pt x="19618968" y="2496762"/>
                  <a:pt x="19598496" y="2496762"/>
                </a:cubicBezTo>
                <a:cubicBezTo>
                  <a:pt x="19598496" y="2471077"/>
                  <a:pt x="19605320" y="2464656"/>
                  <a:pt x="19625796" y="2464656"/>
                </a:cubicBezTo>
                <a:close/>
                <a:moveTo>
                  <a:pt x="17704408" y="2460359"/>
                </a:moveTo>
                <a:cubicBezTo>
                  <a:pt x="17714492" y="2460359"/>
                  <a:pt x="17723796" y="2463666"/>
                  <a:pt x="17730000" y="2476892"/>
                </a:cubicBezTo>
                <a:cubicBezTo>
                  <a:pt x="17711388" y="2476892"/>
                  <a:pt x="17692772" y="2483507"/>
                  <a:pt x="17674160" y="2496733"/>
                </a:cubicBezTo>
                <a:cubicBezTo>
                  <a:pt x="17674160" y="2483507"/>
                  <a:pt x="17674160" y="2470279"/>
                  <a:pt x="17674160" y="2463666"/>
                </a:cubicBezTo>
                <a:cubicBezTo>
                  <a:pt x="17683468" y="2463666"/>
                  <a:pt x="17694324" y="2460359"/>
                  <a:pt x="17704408" y="2460359"/>
                </a:cubicBezTo>
                <a:close/>
                <a:moveTo>
                  <a:pt x="13332893" y="2457583"/>
                </a:moveTo>
                <a:cubicBezTo>
                  <a:pt x="13341851" y="2454704"/>
                  <a:pt x="13346970" y="2462382"/>
                  <a:pt x="13336732" y="2477737"/>
                </a:cubicBezTo>
                <a:cubicBezTo>
                  <a:pt x="13329907" y="2470913"/>
                  <a:pt x="13329907" y="2464088"/>
                  <a:pt x="13323082" y="2464088"/>
                </a:cubicBezTo>
                <a:cubicBezTo>
                  <a:pt x="13326494" y="2460675"/>
                  <a:pt x="13329907" y="2458543"/>
                  <a:pt x="13332893" y="2457583"/>
                </a:cubicBezTo>
                <a:close/>
                <a:moveTo>
                  <a:pt x="17730568" y="2450355"/>
                </a:moveTo>
                <a:lnTo>
                  <a:pt x="17726300" y="2463623"/>
                </a:lnTo>
                <a:cubicBezTo>
                  <a:pt x="17726300" y="2463623"/>
                  <a:pt x="17727420" y="2460132"/>
                  <a:pt x="17728824" y="2455770"/>
                </a:cubicBezTo>
                <a:close/>
                <a:moveTo>
                  <a:pt x="17731036" y="2445698"/>
                </a:moveTo>
                <a:lnTo>
                  <a:pt x="17732004" y="2445888"/>
                </a:lnTo>
                <a:lnTo>
                  <a:pt x="17742520" y="2447943"/>
                </a:lnTo>
                <a:cubicBezTo>
                  <a:pt x="17744164" y="2450189"/>
                  <a:pt x="17744164" y="2454680"/>
                  <a:pt x="17744164" y="2463660"/>
                </a:cubicBezTo>
                <a:lnTo>
                  <a:pt x="17731752" y="2446677"/>
                </a:lnTo>
                <a:lnTo>
                  <a:pt x="17731456" y="2447589"/>
                </a:lnTo>
                <a:lnTo>
                  <a:pt x="17730568" y="2450355"/>
                </a:lnTo>
                <a:lnTo>
                  <a:pt x="17731748" y="2446677"/>
                </a:lnTo>
                <a:close/>
                <a:moveTo>
                  <a:pt x="17733876" y="2440064"/>
                </a:moveTo>
                <a:cubicBezTo>
                  <a:pt x="17734720" y="2437446"/>
                  <a:pt x="17734156" y="2439191"/>
                  <a:pt x="17733036" y="2442682"/>
                </a:cubicBezTo>
                <a:lnTo>
                  <a:pt x="17732004" y="2445888"/>
                </a:lnTo>
                <a:close/>
                <a:moveTo>
                  <a:pt x="10916760" y="2432672"/>
                </a:moveTo>
                <a:cubicBezTo>
                  <a:pt x="10916760" y="2452014"/>
                  <a:pt x="10923208" y="2464911"/>
                  <a:pt x="10936105" y="2464911"/>
                </a:cubicBezTo>
                <a:cubicBezTo>
                  <a:pt x="10936105" y="2439119"/>
                  <a:pt x="10929656" y="2432672"/>
                  <a:pt x="10916760" y="2432672"/>
                </a:cubicBezTo>
                <a:close/>
                <a:moveTo>
                  <a:pt x="10429908" y="2432672"/>
                </a:moveTo>
                <a:cubicBezTo>
                  <a:pt x="10340706" y="2452014"/>
                  <a:pt x="10263325" y="2522941"/>
                  <a:pt x="10174123" y="2547657"/>
                </a:cubicBezTo>
                <a:cubicBezTo>
                  <a:pt x="10154778" y="2547657"/>
                  <a:pt x="10096743" y="2547657"/>
                  <a:pt x="10109639" y="2599243"/>
                </a:cubicBezTo>
                <a:cubicBezTo>
                  <a:pt x="10122536" y="2650824"/>
                  <a:pt x="10167675" y="2605690"/>
                  <a:pt x="10167675" y="2566999"/>
                </a:cubicBezTo>
                <a:cubicBezTo>
                  <a:pt x="10187020" y="2542284"/>
                  <a:pt x="10205290" y="2561628"/>
                  <a:pt x="10224635" y="2554106"/>
                </a:cubicBezTo>
                <a:cubicBezTo>
                  <a:pt x="10256877" y="2554106"/>
                  <a:pt x="10282671" y="2542284"/>
                  <a:pt x="10308464" y="2535836"/>
                </a:cubicBezTo>
                <a:cubicBezTo>
                  <a:pt x="10334257" y="2529389"/>
                  <a:pt x="10360051" y="2516495"/>
                  <a:pt x="10385844" y="2510046"/>
                </a:cubicBezTo>
                <a:cubicBezTo>
                  <a:pt x="10405189" y="2503598"/>
                  <a:pt x="10417011" y="2497149"/>
                  <a:pt x="10429908" y="2497149"/>
                </a:cubicBezTo>
                <a:cubicBezTo>
                  <a:pt x="10429908" y="2471358"/>
                  <a:pt x="10429908" y="2452014"/>
                  <a:pt x="10429908" y="2432672"/>
                </a:cubicBezTo>
                <a:close/>
                <a:moveTo>
                  <a:pt x="10032259" y="2432672"/>
                </a:moveTo>
                <a:cubicBezTo>
                  <a:pt x="10032259" y="2452014"/>
                  <a:pt x="10038707" y="2464911"/>
                  <a:pt x="10051604" y="2464911"/>
                </a:cubicBezTo>
                <a:cubicBezTo>
                  <a:pt x="10051604" y="2439119"/>
                  <a:pt x="10045156" y="2432672"/>
                  <a:pt x="10032259" y="2432672"/>
                </a:cubicBezTo>
                <a:close/>
                <a:moveTo>
                  <a:pt x="17843544" y="2431480"/>
                </a:moveTo>
                <a:cubicBezTo>
                  <a:pt x="17856516" y="2437997"/>
                  <a:pt x="17875976" y="2444514"/>
                  <a:pt x="17888948" y="2457549"/>
                </a:cubicBezTo>
                <a:cubicBezTo>
                  <a:pt x="17914892" y="2464066"/>
                  <a:pt x="17934348" y="2477100"/>
                  <a:pt x="17960292" y="2490135"/>
                </a:cubicBezTo>
                <a:cubicBezTo>
                  <a:pt x="17986236" y="2503170"/>
                  <a:pt x="18012180" y="2516204"/>
                  <a:pt x="18031640" y="2529239"/>
                </a:cubicBezTo>
                <a:cubicBezTo>
                  <a:pt x="18050016" y="2542273"/>
                  <a:pt x="18062988" y="2547704"/>
                  <a:pt x="18075960" y="2554221"/>
                </a:cubicBezTo>
                <a:cubicBezTo>
                  <a:pt x="18075960" y="2567255"/>
                  <a:pt x="18075960" y="2573773"/>
                  <a:pt x="18075960" y="2586807"/>
                </a:cubicBezTo>
                <a:cubicBezTo>
                  <a:pt x="18056500" y="2586807"/>
                  <a:pt x="18031640" y="2586807"/>
                  <a:pt x="18012180" y="2586807"/>
                </a:cubicBezTo>
                <a:cubicBezTo>
                  <a:pt x="17999208" y="2561824"/>
                  <a:pt x="17979752" y="2554221"/>
                  <a:pt x="17960292" y="2547704"/>
                </a:cubicBezTo>
                <a:cubicBezTo>
                  <a:pt x="17914892" y="2529239"/>
                  <a:pt x="17875976" y="2509687"/>
                  <a:pt x="17830572" y="2496652"/>
                </a:cubicBezTo>
                <a:cubicBezTo>
                  <a:pt x="17830572" y="2470584"/>
                  <a:pt x="17837060" y="2451032"/>
                  <a:pt x="17843544" y="2431480"/>
                </a:cubicBezTo>
                <a:close/>
                <a:moveTo>
                  <a:pt x="17147052" y="2431480"/>
                </a:moveTo>
                <a:cubicBezTo>
                  <a:pt x="17147052" y="2450745"/>
                  <a:pt x="17141064" y="2463588"/>
                  <a:pt x="17129092" y="2463588"/>
                </a:cubicBezTo>
                <a:cubicBezTo>
                  <a:pt x="17129092" y="2444323"/>
                  <a:pt x="17135076" y="2431480"/>
                  <a:pt x="17147052" y="2431480"/>
                </a:cubicBezTo>
                <a:close/>
                <a:moveTo>
                  <a:pt x="16322338" y="2431480"/>
                </a:moveTo>
                <a:cubicBezTo>
                  <a:pt x="16322338" y="2450745"/>
                  <a:pt x="16316350" y="2463588"/>
                  <a:pt x="16304374" y="2463588"/>
                </a:cubicBezTo>
                <a:cubicBezTo>
                  <a:pt x="16304374" y="2437902"/>
                  <a:pt x="16310362" y="2431480"/>
                  <a:pt x="16322338" y="2431480"/>
                </a:cubicBezTo>
                <a:close/>
                <a:moveTo>
                  <a:pt x="13824427" y="2431480"/>
                </a:moveTo>
                <a:cubicBezTo>
                  <a:pt x="13824427" y="2477774"/>
                  <a:pt x="13786123" y="2464547"/>
                  <a:pt x="13773355" y="2464547"/>
                </a:cubicBezTo>
                <a:cubicBezTo>
                  <a:pt x="13786123" y="2444707"/>
                  <a:pt x="13805275" y="2438093"/>
                  <a:pt x="13824427" y="2431480"/>
                </a:cubicBezTo>
                <a:close/>
                <a:moveTo>
                  <a:pt x="845495" y="2427183"/>
                </a:moveTo>
                <a:cubicBezTo>
                  <a:pt x="909640" y="2432309"/>
                  <a:pt x="974391" y="2467285"/>
                  <a:pt x="1032486" y="2491407"/>
                </a:cubicBezTo>
                <a:cubicBezTo>
                  <a:pt x="1116401" y="2523569"/>
                  <a:pt x="1199240" y="2554659"/>
                  <a:pt x="1283154" y="2586821"/>
                </a:cubicBezTo>
                <a:cubicBezTo>
                  <a:pt x="1283154" y="2676876"/>
                  <a:pt x="1142219" y="2567524"/>
                  <a:pt x="1122855" y="2554659"/>
                </a:cubicBezTo>
                <a:cubicBezTo>
                  <a:pt x="1013120" y="2478542"/>
                  <a:pt x="885099" y="2530001"/>
                  <a:pt x="781817" y="2433515"/>
                </a:cubicBezTo>
                <a:cubicBezTo>
                  <a:pt x="802796" y="2427083"/>
                  <a:pt x="824111" y="2425475"/>
                  <a:pt x="845495" y="2427183"/>
                </a:cubicBezTo>
                <a:close/>
                <a:moveTo>
                  <a:pt x="11472595" y="2422901"/>
                </a:moveTo>
                <a:cubicBezTo>
                  <a:pt x="11449623" y="2421390"/>
                  <a:pt x="11422419" y="2440731"/>
                  <a:pt x="11398238" y="2445566"/>
                </a:cubicBezTo>
                <a:cubicBezTo>
                  <a:pt x="11365996" y="2458463"/>
                  <a:pt x="11333754" y="2471358"/>
                  <a:pt x="11301512" y="2484256"/>
                </a:cubicBezTo>
                <a:cubicBezTo>
                  <a:pt x="11262822" y="2497149"/>
                  <a:pt x="11230580" y="2516495"/>
                  <a:pt x="11192965" y="2522941"/>
                </a:cubicBezTo>
                <a:cubicBezTo>
                  <a:pt x="11167171" y="2529389"/>
                  <a:pt x="11134929" y="2522941"/>
                  <a:pt x="11115584" y="2554106"/>
                </a:cubicBezTo>
                <a:cubicBezTo>
                  <a:pt x="11051101" y="2522941"/>
                  <a:pt x="10981243" y="2573448"/>
                  <a:pt x="10916760" y="2599243"/>
                </a:cubicBezTo>
                <a:cubicBezTo>
                  <a:pt x="10974795" y="2599243"/>
                  <a:pt x="11025307" y="2599243"/>
                  <a:pt x="11076894" y="2586345"/>
                </a:cubicBezTo>
                <a:cubicBezTo>
                  <a:pt x="11122033" y="2573448"/>
                  <a:pt x="11173620" y="2547657"/>
                  <a:pt x="11217683" y="2542284"/>
                </a:cubicBezTo>
                <a:cubicBezTo>
                  <a:pt x="11314409" y="2529389"/>
                  <a:pt x="11411134" y="2497149"/>
                  <a:pt x="11493888" y="2432672"/>
                </a:cubicBezTo>
                <a:cubicBezTo>
                  <a:pt x="11487440" y="2426225"/>
                  <a:pt x="11480253" y="2423404"/>
                  <a:pt x="11472595" y="2422901"/>
                </a:cubicBezTo>
                <a:close/>
                <a:moveTo>
                  <a:pt x="13900203" y="2400427"/>
                </a:moveTo>
                <a:cubicBezTo>
                  <a:pt x="13900203" y="2419778"/>
                  <a:pt x="13900203" y="2439119"/>
                  <a:pt x="13900203" y="2464911"/>
                </a:cubicBezTo>
                <a:cubicBezTo>
                  <a:pt x="13893755" y="2464911"/>
                  <a:pt x="13874409" y="2452014"/>
                  <a:pt x="13861513" y="2471358"/>
                </a:cubicBezTo>
                <a:cubicBezTo>
                  <a:pt x="13855064" y="2497149"/>
                  <a:pt x="13886231" y="2497149"/>
                  <a:pt x="13893755" y="2503598"/>
                </a:cubicBezTo>
                <a:cubicBezTo>
                  <a:pt x="13924922" y="2503598"/>
                  <a:pt x="13963612" y="2510046"/>
                  <a:pt x="13995854" y="2477804"/>
                </a:cubicBezTo>
                <a:cubicBezTo>
                  <a:pt x="13982957" y="2471358"/>
                  <a:pt x="13970060" y="2464911"/>
                  <a:pt x="13963612" y="2452014"/>
                </a:cubicBezTo>
                <a:cubicBezTo>
                  <a:pt x="13963612" y="2439119"/>
                  <a:pt x="13963612" y="2426225"/>
                  <a:pt x="13963612" y="2419778"/>
                </a:cubicBezTo>
                <a:cubicBezTo>
                  <a:pt x="13957163" y="2406870"/>
                  <a:pt x="13944267" y="2419778"/>
                  <a:pt x="13937818" y="2419778"/>
                </a:cubicBezTo>
                <a:cubicBezTo>
                  <a:pt x="13924922" y="2419778"/>
                  <a:pt x="13912025" y="2406870"/>
                  <a:pt x="13900203" y="2400427"/>
                </a:cubicBezTo>
                <a:close/>
                <a:moveTo>
                  <a:pt x="19041560" y="2393591"/>
                </a:moveTo>
                <a:cubicBezTo>
                  <a:pt x="19070144" y="2392376"/>
                  <a:pt x="19104508" y="2434899"/>
                  <a:pt x="19128208" y="2444618"/>
                </a:cubicBezTo>
                <a:cubicBezTo>
                  <a:pt x="19090288" y="2444618"/>
                  <a:pt x="19053424" y="2438139"/>
                  <a:pt x="19015508" y="2412219"/>
                </a:cubicBezTo>
                <a:cubicBezTo>
                  <a:pt x="19023144" y="2399260"/>
                  <a:pt x="19032028" y="2393995"/>
                  <a:pt x="19041560" y="2393591"/>
                </a:cubicBezTo>
                <a:close/>
                <a:moveTo>
                  <a:pt x="11128481" y="2381086"/>
                </a:moveTo>
                <a:cubicBezTo>
                  <a:pt x="11051101" y="2381086"/>
                  <a:pt x="11051101" y="2381086"/>
                  <a:pt x="10961898" y="2432672"/>
                </a:cubicBezTo>
                <a:cubicBezTo>
                  <a:pt x="11089791" y="2413338"/>
                  <a:pt x="11089791" y="2413338"/>
                  <a:pt x="11128481" y="2381086"/>
                </a:cubicBezTo>
                <a:close/>
                <a:moveTo>
                  <a:pt x="16987428" y="2369862"/>
                </a:moveTo>
                <a:cubicBezTo>
                  <a:pt x="17001120" y="2369862"/>
                  <a:pt x="17019024" y="2376283"/>
                  <a:pt x="17019024" y="2401967"/>
                </a:cubicBezTo>
                <a:cubicBezTo>
                  <a:pt x="17006384" y="2395546"/>
                  <a:pt x="16993744" y="2389125"/>
                  <a:pt x="16982160" y="2382704"/>
                </a:cubicBezTo>
                <a:cubicBezTo>
                  <a:pt x="16982160" y="2376283"/>
                  <a:pt x="16987428" y="2376283"/>
                  <a:pt x="16987428" y="2369862"/>
                </a:cubicBezTo>
                <a:close/>
                <a:moveTo>
                  <a:pt x="18534660" y="2366944"/>
                </a:moveTo>
                <a:cubicBezTo>
                  <a:pt x="18543128" y="2373742"/>
                  <a:pt x="18544340" y="2399727"/>
                  <a:pt x="18549180" y="2419067"/>
                </a:cubicBezTo>
                <a:cubicBezTo>
                  <a:pt x="18568536" y="2464188"/>
                  <a:pt x="18620156" y="2425513"/>
                  <a:pt x="18620156" y="2496418"/>
                </a:cubicBezTo>
                <a:cubicBezTo>
                  <a:pt x="18607248" y="2496418"/>
                  <a:pt x="18587892" y="2489973"/>
                  <a:pt x="18587892" y="2522203"/>
                </a:cubicBezTo>
                <a:cubicBezTo>
                  <a:pt x="18594344" y="2522203"/>
                  <a:pt x="18620156" y="2509311"/>
                  <a:pt x="18620156" y="2541541"/>
                </a:cubicBezTo>
                <a:cubicBezTo>
                  <a:pt x="18613704" y="2566250"/>
                  <a:pt x="18620156" y="2560878"/>
                  <a:pt x="18631984" y="2546914"/>
                </a:cubicBezTo>
                <a:cubicBezTo>
                  <a:pt x="18664248" y="2515755"/>
                  <a:pt x="18702960" y="2509311"/>
                  <a:pt x="18748128" y="2522203"/>
                </a:cubicBezTo>
                <a:lnTo>
                  <a:pt x="18765596" y="2529864"/>
                </a:lnTo>
                <a:lnTo>
                  <a:pt x="18759564" y="2520160"/>
                </a:lnTo>
                <a:cubicBezTo>
                  <a:pt x="18765548" y="2513738"/>
                  <a:pt x="18771536" y="2507316"/>
                  <a:pt x="18771536" y="2507316"/>
                </a:cubicBezTo>
                <a:cubicBezTo>
                  <a:pt x="18774532" y="2513738"/>
                  <a:pt x="18776028" y="2518554"/>
                  <a:pt x="18776028" y="2523370"/>
                </a:cubicBezTo>
                <a:lnTo>
                  <a:pt x="18773268" y="2533230"/>
                </a:lnTo>
                <a:lnTo>
                  <a:pt x="18781196" y="2536706"/>
                </a:lnTo>
                <a:cubicBezTo>
                  <a:pt x="18793296" y="2543152"/>
                  <a:pt x="18806200" y="2551210"/>
                  <a:pt x="18819104" y="2560878"/>
                </a:cubicBezTo>
                <a:cubicBezTo>
                  <a:pt x="18832008" y="2572696"/>
                  <a:pt x="18851368" y="2585588"/>
                  <a:pt x="18863196" y="2572696"/>
                </a:cubicBezTo>
                <a:cubicBezTo>
                  <a:pt x="18901912" y="2541541"/>
                  <a:pt x="18947076" y="2604927"/>
                  <a:pt x="18979340" y="2624266"/>
                </a:cubicBezTo>
                <a:cubicBezTo>
                  <a:pt x="18947076" y="2650048"/>
                  <a:pt x="18908364" y="2675834"/>
                  <a:pt x="18876100" y="2708063"/>
                </a:cubicBezTo>
                <a:cubicBezTo>
                  <a:pt x="18953528" y="2771448"/>
                  <a:pt x="19030960" y="2842360"/>
                  <a:pt x="19107312" y="2906818"/>
                </a:cubicBezTo>
                <a:cubicBezTo>
                  <a:pt x="19146028" y="2939048"/>
                  <a:pt x="19184740" y="2971278"/>
                  <a:pt x="19229908" y="3008879"/>
                </a:cubicBezTo>
                <a:cubicBezTo>
                  <a:pt x="19254644" y="3028218"/>
                  <a:pt x="19286904" y="3060446"/>
                  <a:pt x="19319168" y="3060446"/>
                </a:cubicBezTo>
                <a:cubicBezTo>
                  <a:pt x="19306264" y="3028218"/>
                  <a:pt x="19299808" y="2989542"/>
                  <a:pt x="19286904" y="2951942"/>
                </a:cubicBezTo>
                <a:cubicBezTo>
                  <a:pt x="19306264" y="2939048"/>
                  <a:pt x="19332072" y="2932601"/>
                  <a:pt x="19357880" y="2919712"/>
                </a:cubicBezTo>
                <a:cubicBezTo>
                  <a:pt x="19357880" y="2951942"/>
                  <a:pt x="19357880" y="2983096"/>
                  <a:pt x="19357880" y="3015325"/>
                </a:cubicBezTo>
                <a:cubicBezTo>
                  <a:pt x="19377240" y="3015325"/>
                  <a:pt x="19390144" y="2976653"/>
                  <a:pt x="19409500" y="2976653"/>
                </a:cubicBezTo>
                <a:cubicBezTo>
                  <a:pt x="19441764" y="2976653"/>
                  <a:pt x="19466496" y="3015325"/>
                  <a:pt x="19492308" y="3028218"/>
                </a:cubicBezTo>
                <a:cubicBezTo>
                  <a:pt x="19448216" y="3099124"/>
                  <a:pt x="19550380" y="3162515"/>
                  <a:pt x="19550380" y="3073341"/>
                </a:cubicBezTo>
                <a:cubicBezTo>
                  <a:pt x="19531020" y="3073341"/>
                  <a:pt x="19505212" y="3086232"/>
                  <a:pt x="19492308" y="3060446"/>
                </a:cubicBezTo>
                <a:cubicBezTo>
                  <a:pt x="19524568" y="3002434"/>
                  <a:pt x="19589092" y="3079786"/>
                  <a:pt x="19627808" y="3092678"/>
                </a:cubicBezTo>
                <a:cubicBezTo>
                  <a:pt x="19608452" y="3105569"/>
                  <a:pt x="19582640" y="3105569"/>
                  <a:pt x="19582640" y="3137801"/>
                </a:cubicBezTo>
                <a:cubicBezTo>
                  <a:pt x="19621356" y="3137801"/>
                  <a:pt x="19634260" y="3194740"/>
                  <a:pt x="19660068" y="3226970"/>
                </a:cubicBezTo>
                <a:cubicBezTo>
                  <a:pt x="19684804" y="3265647"/>
                  <a:pt x="19717068" y="3291431"/>
                  <a:pt x="19755780" y="3310769"/>
                </a:cubicBezTo>
                <a:cubicBezTo>
                  <a:pt x="19839664" y="3362334"/>
                  <a:pt x="19935372" y="3381680"/>
                  <a:pt x="20019256" y="3432170"/>
                </a:cubicBezTo>
                <a:cubicBezTo>
                  <a:pt x="20006348" y="3445062"/>
                  <a:pt x="20012804" y="3483739"/>
                  <a:pt x="19999896" y="3503076"/>
                </a:cubicBezTo>
                <a:cubicBezTo>
                  <a:pt x="19986992" y="3522414"/>
                  <a:pt x="19967636" y="3522414"/>
                  <a:pt x="19954732" y="3528860"/>
                </a:cubicBezTo>
                <a:cubicBezTo>
                  <a:pt x="19954732" y="3541751"/>
                  <a:pt x="19961184" y="3548197"/>
                  <a:pt x="19967636" y="3554644"/>
                </a:cubicBezTo>
                <a:cubicBezTo>
                  <a:pt x="19961184" y="3554644"/>
                  <a:pt x="19954732" y="3561091"/>
                  <a:pt x="19954732" y="3567536"/>
                </a:cubicBezTo>
                <a:lnTo>
                  <a:pt x="19956224" y="3592397"/>
                </a:lnTo>
                <a:lnTo>
                  <a:pt x="19956344" y="3594395"/>
                </a:lnTo>
                <a:cubicBezTo>
                  <a:pt x="19957956" y="3602182"/>
                  <a:pt x="19961184" y="3608356"/>
                  <a:pt x="19967636" y="3611589"/>
                </a:cubicBezTo>
                <a:cubicBezTo>
                  <a:pt x="19948280" y="3624478"/>
                  <a:pt x="19935372" y="3630923"/>
                  <a:pt x="19922468" y="3643813"/>
                </a:cubicBezTo>
                <a:cubicBezTo>
                  <a:pt x="19922468" y="3618033"/>
                  <a:pt x="19916016" y="3598691"/>
                  <a:pt x="19909564" y="3579354"/>
                </a:cubicBezTo>
                <a:cubicBezTo>
                  <a:pt x="19909564" y="3572907"/>
                  <a:pt x="19916016" y="3567536"/>
                  <a:pt x="19916016" y="3561091"/>
                </a:cubicBezTo>
                <a:cubicBezTo>
                  <a:pt x="19922468" y="3541751"/>
                  <a:pt x="19909564" y="3554644"/>
                  <a:pt x="19903112" y="3554644"/>
                </a:cubicBezTo>
                <a:cubicBezTo>
                  <a:pt x="19883752" y="3579354"/>
                  <a:pt x="19852568" y="3554644"/>
                  <a:pt x="19833208" y="3535307"/>
                </a:cubicBezTo>
                <a:cubicBezTo>
                  <a:pt x="19762232" y="3470848"/>
                  <a:pt x="19684804" y="3425725"/>
                  <a:pt x="19608452" y="3367695"/>
                </a:cubicBezTo>
                <a:cubicBezTo>
                  <a:pt x="19531020" y="3310769"/>
                  <a:pt x="19454668" y="3252754"/>
                  <a:pt x="19370788" y="3194740"/>
                </a:cubicBezTo>
                <a:cubicBezTo>
                  <a:pt x="19332072" y="3168956"/>
                  <a:pt x="19299808" y="3144246"/>
                  <a:pt x="19262172" y="3118462"/>
                </a:cubicBezTo>
                <a:cubicBezTo>
                  <a:pt x="19242812" y="3105569"/>
                  <a:pt x="19223456" y="3092678"/>
                  <a:pt x="19204100" y="3086232"/>
                </a:cubicBezTo>
                <a:cubicBezTo>
                  <a:pt x="19178288" y="3066896"/>
                  <a:pt x="19197648" y="3060446"/>
                  <a:pt x="19191196" y="3028218"/>
                </a:cubicBezTo>
                <a:cubicBezTo>
                  <a:pt x="19178288" y="2983096"/>
                  <a:pt x="19126668" y="2971278"/>
                  <a:pt x="19100860" y="2957311"/>
                </a:cubicBezTo>
                <a:cubicBezTo>
                  <a:pt x="19068600" y="2945494"/>
                  <a:pt x="19037412" y="2919712"/>
                  <a:pt x="18998696" y="2900372"/>
                </a:cubicBezTo>
                <a:cubicBezTo>
                  <a:pt x="18921268" y="2848806"/>
                  <a:pt x="18837388" y="2797226"/>
                  <a:pt x="18754580" y="2752111"/>
                </a:cubicBezTo>
                <a:cubicBezTo>
                  <a:pt x="18683604" y="2708063"/>
                  <a:pt x="18607248" y="2662938"/>
                  <a:pt x="18536272" y="2604927"/>
                </a:cubicBezTo>
                <a:cubicBezTo>
                  <a:pt x="18523368" y="2592034"/>
                  <a:pt x="18484656" y="2566250"/>
                  <a:pt x="18491108" y="2535095"/>
                </a:cubicBezTo>
                <a:cubicBezTo>
                  <a:pt x="18497560" y="2509311"/>
                  <a:pt x="18529820" y="2528649"/>
                  <a:pt x="18529820" y="2496418"/>
                </a:cubicBezTo>
                <a:cubicBezTo>
                  <a:pt x="18516916" y="2496418"/>
                  <a:pt x="18504012" y="2489973"/>
                  <a:pt x="18491108" y="2477081"/>
                </a:cubicBezTo>
                <a:cubicBezTo>
                  <a:pt x="18504012" y="2470634"/>
                  <a:pt x="18516916" y="2464188"/>
                  <a:pt x="18529820" y="2464188"/>
                </a:cubicBezTo>
                <a:cubicBezTo>
                  <a:pt x="18523368" y="2438405"/>
                  <a:pt x="18497560" y="2386835"/>
                  <a:pt x="18523368" y="2367497"/>
                </a:cubicBezTo>
                <a:cubicBezTo>
                  <a:pt x="18528208" y="2364544"/>
                  <a:pt x="18531836" y="2364678"/>
                  <a:pt x="18534660" y="2366944"/>
                </a:cubicBezTo>
                <a:close/>
                <a:moveTo>
                  <a:pt x="14178042" y="2365763"/>
                </a:moveTo>
                <a:cubicBezTo>
                  <a:pt x="14188125" y="2366531"/>
                  <a:pt x="14197432" y="2369606"/>
                  <a:pt x="14203637" y="2378829"/>
                </a:cubicBezTo>
                <a:cubicBezTo>
                  <a:pt x="14185022" y="2384977"/>
                  <a:pt x="14166408" y="2391126"/>
                  <a:pt x="14147793" y="2397274"/>
                </a:cubicBezTo>
                <a:cubicBezTo>
                  <a:pt x="14147793" y="2391126"/>
                  <a:pt x="14147793" y="2378829"/>
                  <a:pt x="14147793" y="2366531"/>
                </a:cubicBezTo>
                <a:cubicBezTo>
                  <a:pt x="14157101" y="2366531"/>
                  <a:pt x="14167959" y="2364994"/>
                  <a:pt x="14178042" y="2365763"/>
                </a:cubicBezTo>
                <a:close/>
                <a:moveTo>
                  <a:pt x="15749418" y="2360442"/>
                </a:moveTo>
                <a:cubicBezTo>
                  <a:pt x="15769250" y="2360578"/>
                  <a:pt x="15786672" y="2368725"/>
                  <a:pt x="15786672" y="2400767"/>
                </a:cubicBezTo>
                <a:cubicBezTo>
                  <a:pt x="15767374" y="2400767"/>
                  <a:pt x="15697690" y="2439870"/>
                  <a:pt x="15697690" y="2368181"/>
                </a:cubicBezTo>
                <a:cubicBezTo>
                  <a:pt x="15707338" y="2368181"/>
                  <a:pt x="15729584" y="2360306"/>
                  <a:pt x="15749418" y="2360442"/>
                </a:cubicBezTo>
                <a:close/>
                <a:moveTo>
                  <a:pt x="18389036" y="2358528"/>
                </a:moveTo>
                <a:cubicBezTo>
                  <a:pt x="18423704" y="2356568"/>
                  <a:pt x="18463592" y="2401794"/>
                  <a:pt x="18493048" y="2411447"/>
                </a:cubicBezTo>
                <a:cubicBezTo>
                  <a:pt x="18447228" y="2411447"/>
                  <a:pt x="18402500" y="2405010"/>
                  <a:pt x="18356684" y="2379282"/>
                </a:cubicBezTo>
                <a:cubicBezTo>
                  <a:pt x="18366500" y="2365077"/>
                  <a:pt x="18377480" y="2359181"/>
                  <a:pt x="18389036" y="2358528"/>
                </a:cubicBezTo>
                <a:close/>
                <a:moveTo>
                  <a:pt x="18495776" y="2349279"/>
                </a:moveTo>
                <a:cubicBezTo>
                  <a:pt x="18497416" y="2347907"/>
                  <a:pt x="18500696" y="2349653"/>
                  <a:pt x="18507260" y="2353146"/>
                </a:cubicBezTo>
                <a:cubicBezTo>
                  <a:pt x="18500696" y="2358135"/>
                  <a:pt x="18500696" y="2358135"/>
                  <a:pt x="18494136" y="2364123"/>
                </a:cubicBezTo>
                <a:cubicBezTo>
                  <a:pt x="18494136" y="2355142"/>
                  <a:pt x="18494136" y="2350651"/>
                  <a:pt x="18495776" y="2349279"/>
                </a:cubicBezTo>
                <a:close/>
                <a:moveTo>
                  <a:pt x="16969580" y="2349279"/>
                </a:moveTo>
                <a:cubicBezTo>
                  <a:pt x="16971224" y="2347907"/>
                  <a:pt x="16974504" y="2349653"/>
                  <a:pt x="16981068" y="2353146"/>
                </a:cubicBezTo>
                <a:cubicBezTo>
                  <a:pt x="16974504" y="2358135"/>
                  <a:pt x="16974504" y="2358135"/>
                  <a:pt x="16967940" y="2364123"/>
                </a:cubicBezTo>
                <a:cubicBezTo>
                  <a:pt x="16967940" y="2355142"/>
                  <a:pt x="16967940" y="2350651"/>
                  <a:pt x="16969580" y="2349279"/>
                </a:cubicBezTo>
                <a:close/>
                <a:moveTo>
                  <a:pt x="11692713" y="2348847"/>
                </a:moveTo>
                <a:cubicBezTo>
                  <a:pt x="11660471" y="2356369"/>
                  <a:pt x="11609959" y="2337027"/>
                  <a:pt x="11597062" y="2400427"/>
                </a:cubicBezTo>
                <a:cubicBezTo>
                  <a:pt x="11673368" y="2381086"/>
                  <a:pt x="11673368" y="2381086"/>
                  <a:pt x="11692713" y="2348847"/>
                </a:cubicBezTo>
                <a:close/>
                <a:moveTo>
                  <a:pt x="13918473" y="2337027"/>
                </a:moveTo>
                <a:cubicBezTo>
                  <a:pt x="13918473" y="2361740"/>
                  <a:pt x="13924922" y="2368190"/>
                  <a:pt x="13937818" y="2368190"/>
                </a:cubicBezTo>
                <a:cubicBezTo>
                  <a:pt x="13937818" y="2348847"/>
                  <a:pt x="13931370" y="2337027"/>
                  <a:pt x="13918473" y="2337027"/>
                </a:cubicBezTo>
                <a:close/>
                <a:moveTo>
                  <a:pt x="15583936" y="2336684"/>
                </a:moveTo>
                <a:cubicBezTo>
                  <a:pt x="15595910" y="2336684"/>
                  <a:pt x="15601898" y="2348849"/>
                  <a:pt x="15601898" y="2368757"/>
                </a:cubicBezTo>
                <a:cubicBezTo>
                  <a:pt x="15589924" y="2368757"/>
                  <a:pt x="15583936" y="2362120"/>
                  <a:pt x="15583936" y="2336684"/>
                </a:cubicBezTo>
                <a:close/>
                <a:moveTo>
                  <a:pt x="18265900" y="2322616"/>
                </a:moveTo>
                <a:cubicBezTo>
                  <a:pt x="18279500" y="2322616"/>
                  <a:pt x="18297004" y="2325826"/>
                  <a:pt x="18303468" y="2325826"/>
                </a:cubicBezTo>
                <a:cubicBezTo>
                  <a:pt x="18290544" y="2345090"/>
                  <a:pt x="18271152" y="2338669"/>
                  <a:pt x="18251764" y="2338669"/>
                </a:cubicBezTo>
                <a:cubicBezTo>
                  <a:pt x="18242608" y="2325826"/>
                  <a:pt x="18252304" y="2322616"/>
                  <a:pt x="18265900" y="2322616"/>
                </a:cubicBezTo>
                <a:close/>
                <a:moveTo>
                  <a:pt x="14337383" y="2322530"/>
                </a:moveTo>
                <a:cubicBezTo>
                  <a:pt x="14587803" y="2347248"/>
                  <a:pt x="14844672" y="2398834"/>
                  <a:pt x="15095092" y="2431077"/>
                </a:cubicBezTo>
                <a:cubicBezTo>
                  <a:pt x="15216540" y="2450421"/>
                  <a:pt x="15332614" y="2463317"/>
                  <a:pt x="15447614" y="2502007"/>
                </a:cubicBezTo>
                <a:cubicBezTo>
                  <a:pt x="15562614" y="2540695"/>
                  <a:pt x="15685138" y="2546069"/>
                  <a:pt x="15800138" y="2578310"/>
                </a:cubicBezTo>
                <a:cubicBezTo>
                  <a:pt x="15929110" y="2610551"/>
                  <a:pt x="16050558" y="2649240"/>
                  <a:pt x="16178454" y="2694378"/>
                </a:cubicBezTo>
                <a:cubicBezTo>
                  <a:pt x="16236492" y="2713722"/>
                  <a:pt x="16486912" y="2783576"/>
                  <a:pt x="16506258" y="2802908"/>
                </a:cubicBezTo>
                <a:cubicBezTo>
                  <a:pt x="16551398" y="2848065"/>
                  <a:pt x="16608360" y="2841618"/>
                  <a:pt x="16653500" y="2854514"/>
                </a:cubicBezTo>
                <a:cubicBezTo>
                  <a:pt x="16711538" y="2873857"/>
                  <a:pt x="16769574" y="2893202"/>
                  <a:pt x="16826540" y="2918995"/>
                </a:cubicBezTo>
                <a:cubicBezTo>
                  <a:pt x="16884576" y="2944787"/>
                  <a:pt x="16942612" y="2963057"/>
                  <a:pt x="17000652" y="2988849"/>
                </a:cubicBezTo>
                <a:cubicBezTo>
                  <a:pt x="17044716" y="3008194"/>
                  <a:pt x="17180136" y="3059779"/>
                  <a:pt x="17237100" y="3066234"/>
                </a:cubicBezTo>
                <a:cubicBezTo>
                  <a:pt x="17256444" y="3066234"/>
                  <a:pt x="17275792" y="3059779"/>
                  <a:pt x="17295136" y="3079125"/>
                </a:cubicBezTo>
                <a:cubicBezTo>
                  <a:pt x="17308032" y="3092026"/>
                  <a:pt x="17506864" y="3143608"/>
                  <a:pt x="17558452" y="3175848"/>
                </a:cubicBezTo>
                <a:cubicBezTo>
                  <a:pt x="17584248" y="3187669"/>
                  <a:pt x="17602520" y="3213464"/>
                  <a:pt x="17628312" y="3226360"/>
                </a:cubicBezTo>
                <a:cubicBezTo>
                  <a:pt x="17647660" y="3232807"/>
                  <a:pt x="17910976" y="3355321"/>
                  <a:pt x="17930320" y="3348874"/>
                </a:cubicBezTo>
                <a:cubicBezTo>
                  <a:pt x="17949668" y="3348874"/>
                  <a:pt x="17975464" y="3348874"/>
                  <a:pt x="17994808" y="3373613"/>
                </a:cubicBezTo>
                <a:cubicBezTo>
                  <a:pt x="18032424" y="3425183"/>
                  <a:pt x="18077564" y="3457419"/>
                  <a:pt x="18122704" y="3476768"/>
                </a:cubicBezTo>
                <a:cubicBezTo>
                  <a:pt x="18174292" y="3496111"/>
                  <a:pt x="18455880" y="3649795"/>
                  <a:pt x="18494572" y="3669140"/>
                </a:cubicBezTo>
                <a:cubicBezTo>
                  <a:pt x="18584852" y="3720724"/>
                  <a:pt x="18680508" y="3772311"/>
                  <a:pt x="18770788" y="3822821"/>
                </a:cubicBezTo>
                <a:cubicBezTo>
                  <a:pt x="18866440" y="3880855"/>
                  <a:pt x="18963172" y="3932447"/>
                  <a:pt x="19058824" y="3989399"/>
                </a:cubicBezTo>
                <a:cubicBezTo>
                  <a:pt x="19103964" y="4015196"/>
                  <a:pt x="19149104" y="4040988"/>
                  <a:pt x="19194244" y="4060333"/>
                </a:cubicBezTo>
                <a:cubicBezTo>
                  <a:pt x="19226488" y="4079678"/>
                  <a:pt x="19405972" y="4118365"/>
                  <a:pt x="19469384" y="4163505"/>
                </a:cubicBezTo>
                <a:cubicBezTo>
                  <a:pt x="19501628" y="4188223"/>
                  <a:pt x="19533872" y="4206396"/>
                  <a:pt x="19566112" y="4232189"/>
                </a:cubicBezTo>
                <a:cubicBezTo>
                  <a:pt x="19585460" y="4245085"/>
                  <a:pt x="19630600" y="4354705"/>
                  <a:pt x="19611252" y="4335361"/>
                </a:cubicBezTo>
                <a:cubicBezTo>
                  <a:pt x="19591908" y="4316016"/>
                  <a:pt x="19226488" y="4176401"/>
                  <a:pt x="19027656" y="4099024"/>
                </a:cubicBezTo>
                <a:cubicBezTo>
                  <a:pt x="18943824" y="4060333"/>
                  <a:pt x="18853544" y="4040988"/>
                  <a:pt x="18777236" y="3977580"/>
                </a:cubicBezTo>
                <a:cubicBezTo>
                  <a:pt x="18741768" y="3945339"/>
                  <a:pt x="18703348" y="3917933"/>
                  <a:pt x="18664116" y="3895366"/>
                </a:cubicBezTo>
                <a:lnTo>
                  <a:pt x="18615336" y="3873366"/>
                </a:lnTo>
                <a:lnTo>
                  <a:pt x="18546164" y="3842168"/>
                </a:lnTo>
                <a:cubicBezTo>
                  <a:pt x="18546164" y="3887300"/>
                  <a:pt x="18584852" y="3880855"/>
                  <a:pt x="18604200" y="3893754"/>
                </a:cubicBezTo>
                <a:cubicBezTo>
                  <a:pt x="18642892" y="3913099"/>
                  <a:pt x="18674060" y="3951788"/>
                  <a:pt x="18712752" y="3971132"/>
                </a:cubicBezTo>
                <a:cubicBezTo>
                  <a:pt x="18733708" y="3980536"/>
                  <a:pt x="18754196" y="3992024"/>
                  <a:pt x="18774348" y="4005068"/>
                </a:cubicBezTo>
                <a:lnTo>
                  <a:pt x="18788216" y="4015151"/>
                </a:lnTo>
                <a:lnTo>
                  <a:pt x="18783260" y="4000079"/>
                </a:lnTo>
                <a:cubicBezTo>
                  <a:pt x="18789244" y="3986165"/>
                  <a:pt x="18789244" y="3992589"/>
                  <a:pt x="18801220" y="4000079"/>
                </a:cubicBezTo>
                <a:cubicBezTo>
                  <a:pt x="18798228" y="4002756"/>
                  <a:pt x="18795232" y="4004093"/>
                  <a:pt x="18792988" y="4006367"/>
                </a:cubicBezTo>
                <a:lnTo>
                  <a:pt x="18789852" y="4016339"/>
                </a:lnTo>
                <a:lnTo>
                  <a:pt x="18833932" y="4048377"/>
                </a:lnTo>
                <a:cubicBezTo>
                  <a:pt x="18873160" y="4079678"/>
                  <a:pt x="18911584" y="4115143"/>
                  <a:pt x="18950272" y="4150608"/>
                </a:cubicBezTo>
                <a:cubicBezTo>
                  <a:pt x="18930928" y="4157057"/>
                  <a:pt x="18905132" y="4150608"/>
                  <a:pt x="18898684" y="4194574"/>
                </a:cubicBezTo>
                <a:cubicBezTo>
                  <a:pt x="18898684" y="4212844"/>
                  <a:pt x="18892236" y="4219292"/>
                  <a:pt x="18879340" y="4219292"/>
                </a:cubicBezTo>
                <a:cubicBezTo>
                  <a:pt x="18853544" y="4219292"/>
                  <a:pt x="18834200" y="4188223"/>
                  <a:pt x="18809480" y="4182849"/>
                </a:cubicBezTo>
                <a:cubicBezTo>
                  <a:pt x="18809480" y="4197800"/>
                  <a:pt x="18815660" y="4203710"/>
                  <a:pt x="18823584" y="4208277"/>
                </a:cubicBezTo>
                <a:lnTo>
                  <a:pt x="18835700" y="4214809"/>
                </a:lnTo>
                <a:lnTo>
                  <a:pt x="18847372" y="4208674"/>
                </a:lnTo>
                <a:cubicBezTo>
                  <a:pt x="18849616" y="4209291"/>
                  <a:pt x="18850864" y="4212007"/>
                  <a:pt x="18853360" y="4214969"/>
                </a:cubicBezTo>
                <a:cubicBezTo>
                  <a:pt x="18850864" y="4217932"/>
                  <a:pt x="18849616" y="4220894"/>
                  <a:pt x="18847372" y="4221635"/>
                </a:cubicBezTo>
                <a:lnTo>
                  <a:pt x="18837244" y="4215997"/>
                </a:lnTo>
                <a:lnTo>
                  <a:pt x="18848172" y="4225741"/>
                </a:lnTo>
                <a:cubicBezTo>
                  <a:pt x="18828824" y="4257982"/>
                  <a:pt x="18796584" y="4225741"/>
                  <a:pt x="18777236" y="4212844"/>
                </a:cubicBezTo>
                <a:cubicBezTo>
                  <a:pt x="18744992" y="4194574"/>
                  <a:pt x="18712752" y="4182849"/>
                  <a:pt x="18680508" y="4163505"/>
                </a:cubicBezTo>
                <a:cubicBezTo>
                  <a:pt x="18610648" y="4124816"/>
                  <a:pt x="18539712" y="4086126"/>
                  <a:pt x="18468780" y="4047437"/>
                </a:cubicBezTo>
                <a:cubicBezTo>
                  <a:pt x="18327984" y="3971132"/>
                  <a:pt x="18187192" y="3893754"/>
                  <a:pt x="18038872" y="3822821"/>
                </a:cubicBezTo>
                <a:cubicBezTo>
                  <a:pt x="17898080" y="3752968"/>
                  <a:pt x="17750836" y="3669140"/>
                  <a:pt x="17602520" y="3630451"/>
                </a:cubicBezTo>
                <a:cubicBezTo>
                  <a:pt x="17571352" y="3617555"/>
                  <a:pt x="17532660" y="3624002"/>
                  <a:pt x="17500416" y="3598206"/>
                </a:cubicBezTo>
                <a:cubicBezTo>
                  <a:pt x="17474620" y="3586387"/>
                  <a:pt x="17468172" y="3541249"/>
                  <a:pt x="17448828" y="3528353"/>
                </a:cubicBezTo>
                <a:cubicBezTo>
                  <a:pt x="17429480" y="3502559"/>
                  <a:pt x="17416584" y="3547694"/>
                  <a:pt x="17397240" y="3554146"/>
                </a:cubicBezTo>
                <a:cubicBezTo>
                  <a:pt x="17378968" y="3560593"/>
                  <a:pt x="17076960" y="3418733"/>
                  <a:pt x="17031820" y="3392942"/>
                </a:cubicBezTo>
                <a:cubicBezTo>
                  <a:pt x="17006024" y="3381122"/>
                  <a:pt x="16986680" y="3348874"/>
                  <a:pt x="16961960" y="3329530"/>
                </a:cubicBezTo>
                <a:cubicBezTo>
                  <a:pt x="16949060" y="3323082"/>
                  <a:pt x="16923268" y="3329530"/>
                  <a:pt x="16923268" y="3290841"/>
                </a:cubicBezTo>
                <a:cubicBezTo>
                  <a:pt x="16945836" y="3290841"/>
                  <a:pt x="16968140" y="3294066"/>
                  <a:pt x="16989636" y="3299710"/>
                </a:cubicBezTo>
                <a:lnTo>
                  <a:pt x="16998876" y="3303219"/>
                </a:lnTo>
                <a:lnTo>
                  <a:pt x="16995632" y="3290157"/>
                </a:lnTo>
                <a:cubicBezTo>
                  <a:pt x="16997876" y="3286745"/>
                  <a:pt x="17002364" y="3286745"/>
                  <a:pt x="17004860" y="3293569"/>
                </a:cubicBezTo>
                <a:cubicBezTo>
                  <a:pt x="17002364" y="3296981"/>
                  <a:pt x="17001120" y="3298689"/>
                  <a:pt x="17000496" y="3300395"/>
                </a:cubicBezTo>
                <a:lnTo>
                  <a:pt x="17000192" y="3303718"/>
                </a:lnTo>
                <a:lnTo>
                  <a:pt x="17051164" y="3323082"/>
                </a:lnTo>
                <a:cubicBezTo>
                  <a:pt x="17051164" y="3290841"/>
                  <a:pt x="17038268" y="3290841"/>
                  <a:pt x="17018920" y="3290841"/>
                </a:cubicBezTo>
                <a:cubicBezTo>
                  <a:pt x="17000652" y="3284394"/>
                  <a:pt x="16981304" y="3265049"/>
                  <a:pt x="16961960" y="3258601"/>
                </a:cubicBezTo>
                <a:cubicBezTo>
                  <a:pt x="16936164" y="3252153"/>
                  <a:pt x="16916820" y="3252153"/>
                  <a:pt x="16897472" y="3239254"/>
                </a:cubicBezTo>
                <a:cubicBezTo>
                  <a:pt x="16878128" y="3219911"/>
                  <a:pt x="16884576" y="3194117"/>
                  <a:pt x="16884576" y="3168325"/>
                </a:cubicBezTo>
                <a:cubicBezTo>
                  <a:pt x="16968408" y="3187669"/>
                  <a:pt x="17051164" y="3219911"/>
                  <a:pt x="17141444" y="3194117"/>
                </a:cubicBezTo>
                <a:cubicBezTo>
                  <a:pt x="17096304" y="3181222"/>
                  <a:pt x="17051164" y="3175848"/>
                  <a:pt x="17012472" y="3161879"/>
                </a:cubicBezTo>
                <a:cubicBezTo>
                  <a:pt x="16986680" y="3156504"/>
                  <a:pt x="16961960" y="3156504"/>
                  <a:pt x="16936164" y="3143608"/>
                </a:cubicBezTo>
                <a:cubicBezTo>
                  <a:pt x="16916820" y="3130709"/>
                  <a:pt x="16929716" y="3111367"/>
                  <a:pt x="16916820" y="3085574"/>
                </a:cubicBezTo>
                <a:cubicBezTo>
                  <a:pt x="16910372" y="3072677"/>
                  <a:pt x="16897472" y="3059779"/>
                  <a:pt x="16884576" y="3053332"/>
                </a:cubicBezTo>
                <a:cubicBezTo>
                  <a:pt x="16852332" y="3040434"/>
                  <a:pt x="16820092" y="3040434"/>
                  <a:pt x="16787848" y="3033986"/>
                </a:cubicBezTo>
                <a:cubicBezTo>
                  <a:pt x="16672846" y="3021090"/>
                  <a:pt x="16557846" y="2963057"/>
                  <a:pt x="16441772" y="2931889"/>
                </a:cubicBezTo>
                <a:cubicBezTo>
                  <a:pt x="16320324" y="2886754"/>
                  <a:pt x="15942006" y="2770680"/>
                  <a:pt x="15877520" y="2757784"/>
                </a:cubicBezTo>
                <a:cubicBezTo>
                  <a:pt x="15851726" y="2751337"/>
                  <a:pt x="15832380" y="2757784"/>
                  <a:pt x="15806586" y="2745966"/>
                </a:cubicBezTo>
                <a:cubicBezTo>
                  <a:pt x="15780792" y="2739515"/>
                  <a:pt x="15787240" y="2720168"/>
                  <a:pt x="15787240" y="2687931"/>
                </a:cubicBezTo>
                <a:cubicBezTo>
                  <a:pt x="15780792" y="2649240"/>
                  <a:pt x="15730278" y="2662135"/>
                  <a:pt x="15710932" y="2662135"/>
                </a:cubicBezTo>
                <a:cubicBezTo>
                  <a:pt x="15678690" y="2655689"/>
                  <a:pt x="15652894" y="2649240"/>
                  <a:pt x="15620652" y="2642793"/>
                </a:cubicBezTo>
                <a:cubicBezTo>
                  <a:pt x="15556166" y="2629896"/>
                  <a:pt x="15499204" y="2616998"/>
                  <a:pt x="15434718" y="2604104"/>
                </a:cubicBezTo>
                <a:cubicBezTo>
                  <a:pt x="15306820" y="2578310"/>
                  <a:pt x="15184298" y="2565413"/>
                  <a:pt x="15056400" y="2527799"/>
                </a:cubicBezTo>
                <a:cubicBezTo>
                  <a:pt x="15030606" y="2521352"/>
                  <a:pt x="15011260" y="2489110"/>
                  <a:pt x="14985466" y="2482665"/>
                </a:cubicBezTo>
                <a:cubicBezTo>
                  <a:pt x="14959672" y="2476213"/>
                  <a:pt x="14928504" y="2463317"/>
                  <a:pt x="14902709" y="2456869"/>
                </a:cubicBezTo>
                <a:cubicBezTo>
                  <a:pt x="14838223" y="2443973"/>
                  <a:pt x="14780186" y="2431077"/>
                  <a:pt x="14716775" y="2418183"/>
                </a:cubicBezTo>
                <a:cubicBezTo>
                  <a:pt x="14587803" y="2392385"/>
                  <a:pt x="14466355" y="2360144"/>
                  <a:pt x="14337383" y="2322530"/>
                </a:cubicBezTo>
                <a:close/>
                <a:moveTo>
                  <a:pt x="11757197" y="2317683"/>
                </a:moveTo>
                <a:cubicBezTo>
                  <a:pt x="11737851" y="2324131"/>
                  <a:pt x="11712058" y="2330579"/>
                  <a:pt x="11712058" y="2368190"/>
                </a:cubicBezTo>
                <a:cubicBezTo>
                  <a:pt x="11731403" y="2368190"/>
                  <a:pt x="11750748" y="2368190"/>
                  <a:pt x="11770093" y="2368190"/>
                </a:cubicBezTo>
                <a:cubicBezTo>
                  <a:pt x="11763645" y="2348847"/>
                  <a:pt x="11757197" y="2337027"/>
                  <a:pt x="11757197" y="2317683"/>
                </a:cubicBezTo>
                <a:close/>
                <a:moveTo>
                  <a:pt x="19052428" y="2312984"/>
                </a:moveTo>
                <a:cubicBezTo>
                  <a:pt x="19052428" y="2333459"/>
                  <a:pt x="19045444" y="2340284"/>
                  <a:pt x="19034468" y="2340284"/>
                </a:cubicBezTo>
                <a:cubicBezTo>
                  <a:pt x="19034468" y="2319809"/>
                  <a:pt x="19039456" y="2312984"/>
                  <a:pt x="19052428" y="2312984"/>
                </a:cubicBezTo>
                <a:close/>
                <a:moveTo>
                  <a:pt x="14280505" y="2309654"/>
                </a:moveTo>
                <a:cubicBezTo>
                  <a:pt x="14293144" y="2309654"/>
                  <a:pt x="14317369" y="2303505"/>
                  <a:pt x="14317369" y="2334248"/>
                </a:cubicBezTo>
                <a:cubicBezTo>
                  <a:pt x="14305783" y="2334248"/>
                  <a:pt x="14280505" y="2340396"/>
                  <a:pt x="14280505" y="2309654"/>
                </a:cubicBezTo>
                <a:close/>
                <a:moveTo>
                  <a:pt x="10449253" y="2291889"/>
                </a:moveTo>
                <a:cubicBezTo>
                  <a:pt x="10295567" y="2324131"/>
                  <a:pt x="10167675" y="2381086"/>
                  <a:pt x="10167675" y="2400427"/>
                </a:cubicBezTo>
                <a:cubicBezTo>
                  <a:pt x="10263325" y="2361740"/>
                  <a:pt x="10353603" y="2330579"/>
                  <a:pt x="10449253" y="2291889"/>
                </a:cubicBezTo>
                <a:close/>
                <a:moveTo>
                  <a:pt x="15292532" y="2288812"/>
                </a:moveTo>
                <a:cubicBezTo>
                  <a:pt x="15293352" y="2286253"/>
                  <a:pt x="15296634" y="2287959"/>
                  <a:pt x="15303196" y="2291371"/>
                </a:cubicBezTo>
                <a:cubicBezTo>
                  <a:pt x="15296634" y="2298195"/>
                  <a:pt x="15296634" y="2298195"/>
                  <a:pt x="15296634" y="2311846"/>
                </a:cubicBezTo>
                <a:cubicBezTo>
                  <a:pt x="15293352" y="2298195"/>
                  <a:pt x="15291710" y="2291371"/>
                  <a:pt x="15292532" y="2288812"/>
                </a:cubicBezTo>
                <a:close/>
                <a:moveTo>
                  <a:pt x="15242674" y="2279804"/>
                </a:moveTo>
                <a:cubicBezTo>
                  <a:pt x="15254648" y="2279804"/>
                  <a:pt x="15260636" y="2286226"/>
                  <a:pt x="15260636" y="2311914"/>
                </a:cubicBezTo>
                <a:cubicBezTo>
                  <a:pt x="15248660" y="2311914"/>
                  <a:pt x="15242674" y="2299068"/>
                  <a:pt x="15242674" y="2279804"/>
                </a:cubicBezTo>
                <a:close/>
                <a:moveTo>
                  <a:pt x="15152620" y="2279804"/>
                </a:moveTo>
                <a:cubicBezTo>
                  <a:pt x="15165748" y="2279804"/>
                  <a:pt x="15165748" y="2292648"/>
                  <a:pt x="15165748" y="2311914"/>
                </a:cubicBezTo>
                <a:cubicBezTo>
                  <a:pt x="15152620" y="2311914"/>
                  <a:pt x="15152620" y="2299069"/>
                  <a:pt x="15152620" y="2279804"/>
                </a:cubicBezTo>
                <a:close/>
                <a:moveTo>
                  <a:pt x="11828129" y="2278994"/>
                </a:moveTo>
                <a:cubicBezTo>
                  <a:pt x="11828129" y="2317683"/>
                  <a:pt x="11846399" y="2311236"/>
                  <a:pt x="11865744" y="2311236"/>
                </a:cubicBezTo>
                <a:cubicBezTo>
                  <a:pt x="11865744" y="2272546"/>
                  <a:pt x="11841025" y="2278994"/>
                  <a:pt x="11828129" y="2278994"/>
                </a:cubicBezTo>
                <a:close/>
                <a:moveTo>
                  <a:pt x="11789438" y="2278994"/>
                </a:moveTo>
                <a:cubicBezTo>
                  <a:pt x="11789438" y="2304791"/>
                  <a:pt x="11789438" y="2337027"/>
                  <a:pt x="11808783" y="2337027"/>
                </a:cubicBezTo>
                <a:cubicBezTo>
                  <a:pt x="11808783" y="2311236"/>
                  <a:pt x="11808783" y="2278994"/>
                  <a:pt x="11789438" y="2278994"/>
                </a:cubicBezTo>
                <a:close/>
                <a:moveTo>
                  <a:pt x="19014480" y="2276473"/>
                </a:moveTo>
                <a:cubicBezTo>
                  <a:pt x="19014480" y="2307217"/>
                  <a:pt x="18996036" y="2307217"/>
                  <a:pt x="18977588" y="2307217"/>
                </a:cubicBezTo>
                <a:cubicBezTo>
                  <a:pt x="18977588" y="2270324"/>
                  <a:pt x="19002184" y="2276473"/>
                  <a:pt x="19014480" y="2276473"/>
                </a:cubicBezTo>
                <a:close/>
                <a:moveTo>
                  <a:pt x="12830150" y="2246625"/>
                </a:moveTo>
                <a:cubicBezTo>
                  <a:pt x="12843422" y="2253153"/>
                  <a:pt x="12856693" y="2253153"/>
                  <a:pt x="12862223" y="2259680"/>
                </a:cubicBezTo>
                <a:cubicBezTo>
                  <a:pt x="12850057" y="2272734"/>
                  <a:pt x="12836786" y="2292315"/>
                  <a:pt x="12830150" y="2311896"/>
                </a:cubicBezTo>
                <a:cubicBezTo>
                  <a:pt x="12830150" y="2292315"/>
                  <a:pt x="12830150" y="2266207"/>
                  <a:pt x="12830150" y="2246625"/>
                </a:cubicBezTo>
                <a:close/>
                <a:moveTo>
                  <a:pt x="15057822" y="2246624"/>
                </a:moveTo>
                <a:cubicBezTo>
                  <a:pt x="15069796" y="2246624"/>
                  <a:pt x="15075784" y="2253047"/>
                  <a:pt x="15075784" y="2278730"/>
                </a:cubicBezTo>
                <a:cubicBezTo>
                  <a:pt x="15063810" y="2278730"/>
                  <a:pt x="15057822" y="2265888"/>
                  <a:pt x="15057822" y="2246624"/>
                </a:cubicBezTo>
                <a:close/>
                <a:moveTo>
                  <a:pt x="15000946" y="2246624"/>
                </a:moveTo>
                <a:cubicBezTo>
                  <a:pt x="15012920" y="2246624"/>
                  <a:pt x="15018908" y="2253047"/>
                  <a:pt x="15018908" y="2278730"/>
                </a:cubicBezTo>
                <a:cubicBezTo>
                  <a:pt x="15006932" y="2278730"/>
                  <a:pt x="15000946" y="2265888"/>
                  <a:pt x="15000946" y="2246624"/>
                </a:cubicBezTo>
                <a:close/>
                <a:moveTo>
                  <a:pt x="12939160" y="2246624"/>
                </a:moveTo>
                <a:cubicBezTo>
                  <a:pt x="12951135" y="2246624"/>
                  <a:pt x="12957122" y="2259467"/>
                  <a:pt x="12957122" y="2278730"/>
                </a:cubicBezTo>
                <a:cubicBezTo>
                  <a:pt x="12945147" y="2278730"/>
                  <a:pt x="12939160" y="2265889"/>
                  <a:pt x="12939160" y="2246624"/>
                </a:cubicBezTo>
                <a:close/>
                <a:moveTo>
                  <a:pt x="12887024" y="2246624"/>
                </a:moveTo>
                <a:cubicBezTo>
                  <a:pt x="12900152" y="2246624"/>
                  <a:pt x="12900152" y="2259467"/>
                  <a:pt x="12900152" y="2278730"/>
                </a:cubicBezTo>
                <a:cubicBezTo>
                  <a:pt x="12887024" y="2278730"/>
                  <a:pt x="12887024" y="2265889"/>
                  <a:pt x="12887024" y="2246624"/>
                </a:cubicBezTo>
                <a:close/>
                <a:moveTo>
                  <a:pt x="17244828" y="2243584"/>
                </a:moveTo>
                <a:cubicBezTo>
                  <a:pt x="17256460" y="2241992"/>
                  <a:pt x="17270424" y="2246766"/>
                  <a:pt x="17279728" y="2246766"/>
                </a:cubicBezTo>
                <a:cubicBezTo>
                  <a:pt x="17279728" y="2297699"/>
                  <a:pt x="17242500" y="2278600"/>
                  <a:pt x="17223884" y="2278600"/>
                </a:cubicBezTo>
                <a:cubicBezTo>
                  <a:pt x="17223884" y="2253134"/>
                  <a:pt x="17233192" y="2245175"/>
                  <a:pt x="17244828" y="2243584"/>
                </a:cubicBezTo>
                <a:close/>
                <a:moveTo>
                  <a:pt x="10504870" y="2243531"/>
                </a:moveTo>
                <a:cubicBezTo>
                  <a:pt x="10492779" y="2241919"/>
                  <a:pt x="10478270" y="2246753"/>
                  <a:pt x="10468598" y="2246753"/>
                </a:cubicBezTo>
                <a:cubicBezTo>
                  <a:pt x="10468598" y="2298334"/>
                  <a:pt x="10507289" y="2278994"/>
                  <a:pt x="10526634" y="2278994"/>
                </a:cubicBezTo>
                <a:cubicBezTo>
                  <a:pt x="10526634" y="2253207"/>
                  <a:pt x="10516961" y="2245142"/>
                  <a:pt x="10504870" y="2243531"/>
                </a:cubicBezTo>
                <a:close/>
                <a:moveTo>
                  <a:pt x="18934424" y="2241230"/>
                </a:moveTo>
                <a:cubicBezTo>
                  <a:pt x="18946396" y="2243624"/>
                  <a:pt x="18957568" y="2256393"/>
                  <a:pt x="18957568" y="2278736"/>
                </a:cubicBezTo>
                <a:cubicBezTo>
                  <a:pt x="18938416" y="2272352"/>
                  <a:pt x="18919260" y="2265969"/>
                  <a:pt x="18906492" y="2265969"/>
                </a:cubicBezTo>
                <a:cubicBezTo>
                  <a:pt x="18909684" y="2246816"/>
                  <a:pt x="18922452" y="2238836"/>
                  <a:pt x="18934424" y="2241230"/>
                </a:cubicBezTo>
                <a:close/>
                <a:moveTo>
                  <a:pt x="18874764" y="2221773"/>
                </a:moveTo>
                <a:cubicBezTo>
                  <a:pt x="18884900" y="2224079"/>
                  <a:pt x="18895960" y="2230227"/>
                  <a:pt x="18905440" y="2233302"/>
                </a:cubicBezTo>
                <a:cubicBezTo>
                  <a:pt x="18899120" y="2233302"/>
                  <a:pt x="18899120" y="2239451"/>
                  <a:pt x="18892800" y="2245599"/>
                </a:cubicBezTo>
                <a:cubicBezTo>
                  <a:pt x="18880160" y="2239451"/>
                  <a:pt x="18861200" y="2233302"/>
                  <a:pt x="18849616" y="2233302"/>
                </a:cubicBezTo>
                <a:cubicBezTo>
                  <a:pt x="18855408" y="2221003"/>
                  <a:pt x="18864624" y="2219466"/>
                  <a:pt x="18874764" y="2221773"/>
                </a:cubicBezTo>
                <a:close/>
                <a:moveTo>
                  <a:pt x="11641126" y="2220961"/>
                </a:moveTo>
                <a:cubicBezTo>
                  <a:pt x="11616407" y="2246753"/>
                  <a:pt x="11590614" y="2272546"/>
                  <a:pt x="11564820" y="2298334"/>
                </a:cubicBezTo>
                <a:cubicBezTo>
                  <a:pt x="11590614" y="2348847"/>
                  <a:pt x="11622856" y="2324131"/>
                  <a:pt x="11654023" y="2311236"/>
                </a:cubicBezTo>
                <a:cubicBezTo>
                  <a:pt x="11647574" y="2278994"/>
                  <a:pt x="11641126" y="2253207"/>
                  <a:pt x="11641126" y="2220961"/>
                </a:cubicBezTo>
                <a:close/>
                <a:moveTo>
                  <a:pt x="17184972" y="2213445"/>
                </a:moveTo>
                <a:cubicBezTo>
                  <a:pt x="17184972" y="2239131"/>
                  <a:pt x="17178984" y="2245554"/>
                  <a:pt x="17167008" y="2245554"/>
                </a:cubicBezTo>
                <a:cubicBezTo>
                  <a:pt x="17167008" y="2219865"/>
                  <a:pt x="17172996" y="2213445"/>
                  <a:pt x="17184972" y="2213445"/>
                </a:cubicBezTo>
                <a:close/>
                <a:moveTo>
                  <a:pt x="14957293" y="2213445"/>
                </a:moveTo>
                <a:cubicBezTo>
                  <a:pt x="14957293" y="2239133"/>
                  <a:pt x="14951306" y="2245554"/>
                  <a:pt x="14939331" y="2245554"/>
                </a:cubicBezTo>
                <a:cubicBezTo>
                  <a:pt x="14939331" y="2219865"/>
                  <a:pt x="14945318" y="2213445"/>
                  <a:pt x="14957293" y="2213445"/>
                </a:cubicBezTo>
                <a:close/>
                <a:moveTo>
                  <a:pt x="14906153" y="2213445"/>
                </a:moveTo>
                <a:cubicBezTo>
                  <a:pt x="14917130" y="2213445"/>
                  <a:pt x="14924115" y="2219865"/>
                  <a:pt x="14924115" y="2245554"/>
                </a:cubicBezTo>
                <a:cubicBezTo>
                  <a:pt x="14912140" y="2245554"/>
                  <a:pt x="14906153" y="2239133"/>
                  <a:pt x="14906153" y="2213445"/>
                </a:cubicBezTo>
                <a:close/>
                <a:moveTo>
                  <a:pt x="17242848" y="2199234"/>
                </a:moveTo>
                <a:cubicBezTo>
                  <a:pt x="17396656" y="2199234"/>
                  <a:pt x="17538636" y="2301716"/>
                  <a:pt x="17673088" y="2377508"/>
                </a:cubicBezTo>
                <a:cubicBezTo>
                  <a:pt x="17666632" y="2396722"/>
                  <a:pt x="17634364" y="2435154"/>
                  <a:pt x="17616080" y="2409533"/>
                </a:cubicBezTo>
                <a:cubicBezTo>
                  <a:pt x="17596720" y="2377508"/>
                  <a:pt x="17564452" y="2383913"/>
                  <a:pt x="17532184" y="2390317"/>
                </a:cubicBezTo>
                <a:cubicBezTo>
                  <a:pt x="17506368" y="2396722"/>
                  <a:pt x="17512820" y="2364698"/>
                  <a:pt x="17487008" y="2345482"/>
                </a:cubicBezTo>
                <a:cubicBezTo>
                  <a:pt x="17474100" y="2327334"/>
                  <a:pt x="17448284" y="2345482"/>
                  <a:pt x="17428924" y="2352955"/>
                </a:cubicBezTo>
                <a:cubicBezTo>
                  <a:pt x="17435380" y="2333740"/>
                  <a:pt x="17448284" y="2327334"/>
                  <a:pt x="17448284" y="2308120"/>
                </a:cubicBezTo>
                <a:cubicBezTo>
                  <a:pt x="17441832" y="2314525"/>
                  <a:pt x="17428924" y="2320931"/>
                  <a:pt x="17422472" y="2333740"/>
                </a:cubicBezTo>
                <a:cubicBezTo>
                  <a:pt x="17416016" y="2276095"/>
                  <a:pt x="17384824" y="2263284"/>
                  <a:pt x="17352556" y="2244070"/>
                </a:cubicBezTo>
                <a:cubicBezTo>
                  <a:pt x="17313836" y="2231259"/>
                  <a:pt x="17281568" y="2212043"/>
                  <a:pt x="17242848" y="2199234"/>
                </a:cubicBezTo>
                <a:close/>
                <a:moveTo>
                  <a:pt x="12282738" y="2188728"/>
                </a:moveTo>
                <a:cubicBezTo>
                  <a:pt x="12263393" y="2201616"/>
                  <a:pt x="12238674" y="2208069"/>
                  <a:pt x="12238674" y="2246753"/>
                </a:cubicBezTo>
                <a:cubicBezTo>
                  <a:pt x="12256945" y="2246753"/>
                  <a:pt x="12276290" y="2246753"/>
                  <a:pt x="12295635" y="2246753"/>
                </a:cubicBezTo>
                <a:cubicBezTo>
                  <a:pt x="12289187" y="2227413"/>
                  <a:pt x="12282738" y="2208069"/>
                  <a:pt x="12282738" y="2188728"/>
                </a:cubicBezTo>
                <a:close/>
                <a:moveTo>
                  <a:pt x="15280434" y="2183365"/>
                </a:moveTo>
                <a:lnTo>
                  <a:pt x="15286416" y="2187014"/>
                </a:lnTo>
                <a:lnTo>
                  <a:pt x="15280844" y="2185551"/>
                </a:lnTo>
                <a:close/>
                <a:moveTo>
                  <a:pt x="12468666" y="2182276"/>
                </a:moveTo>
                <a:cubicBezTo>
                  <a:pt x="12468666" y="2208069"/>
                  <a:pt x="12475114" y="2214516"/>
                  <a:pt x="12488011" y="2214516"/>
                </a:cubicBezTo>
                <a:cubicBezTo>
                  <a:pt x="12488011" y="2195172"/>
                  <a:pt x="12481563" y="2182276"/>
                  <a:pt x="12468666" y="2182276"/>
                </a:cubicBezTo>
                <a:close/>
                <a:moveTo>
                  <a:pt x="11846399" y="2182276"/>
                </a:moveTo>
                <a:cubicBezTo>
                  <a:pt x="11846399" y="2208069"/>
                  <a:pt x="11852847" y="2214516"/>
                  <a:pt x="11865744" y="2214516"/>
                </a:cubicBezTo>
                <a:cubicBezTo>
                  <a:pt x="11865744" y="2195172"/>
                  <a:pt x="11859296" y="2182276"/>
                  <a:pt x="11846399" y="2182276"/>
                </a:cubicBezTo>
                <a:close/>
                <a:moveTo>
                  <a:pt x="18661904" y="2180635"/>
                </a:moveTo>
                <a:cubicBezTo>
                  <a:pt x="18677732" y="2183857"/>
                  <a:pt x="18693564" y="2193518"/>
                  <a:pt x="18706440" y="2199959"/>
                </a:cubicBezTo>
                <a:cubicBezTo>
                  <a:pt x="18738636" y="2212842"/>
                  <a:pt x="18770828" y="2232165"/>
                  <a:pt x="18809464" y="2245047"/>
                </a:cubicBezTo>
                <a:cubicBezTo>
                  <a:pt x="18879216" y="2290136"/>
                  <a:pt x="18943604" y="2335224"/>
                  <a:pt x="19014432" y="2379238"/>
                </a:cubicBezTo>
                <a:cubicBezTo>
                  <a:pt x="18995116" y="2411447"/>
                  <a:pt x="18969360" y="2379238"/>
                  <a:pt x="18950044" y="2372798"/>
                </a:cubicBezTo>
                <a:cubicBezTo>
                  <a:pt x="18917848" y="2354548"/>
                  <a:pt x="18885656" y="2335224"/>
                  <a:pt x="18848096" y="2322341"/>
                </a:cubicBezTo>
                <a:cubicBezTo>
                  <a:pt x="18815900" y="2303019"/>
                  <a:pt x="18783708" y="2290136"/>
                  <a:pt x="18751512" y="2270812"/>
                </a:cubicBezTo>
                <a:cubicBezTo>
                  <a:pt x="18725756" y="2257930"/>
                  <a:pt x="18693564" y="2251491"/>
                  <a:pt x="18674244" y="2212842"/>
                </a:cubicBezTo>
                <a:cubicBezTo>
                  <a:pt x="18654928" y="2206400"/>
                  <a:pt x="18635612" y="2199959"/>
                  <a:pt x="18617368" y="2199959"/>
                </a:cubicBezTo>
                <a:cubicBezTo>
                  <a:pt x="18630248" y="2180635"/>
                  <a:pt x="18646076" y="2177414"/>
                  <a:pt x="18661904" y="2180635"/>
                </a:cubicBezTo>
                <a:close/>
                <a:moveTo>
                  <a:pt x="11247076" y="2180269"/>
                </a:moveTo>
                <a:cubicBezTo>
                  <a:pt x="11260204" y="2180269"/>
                  <a:pt x="11260204" y="2193111"/>
                  <a:pt x="11260204" y="2212375"/>
                </a:cubicBezTo>
                <a:cubicBezTo>
                  <a:pt x="11247076" y="2212375"/>
                  <a:pt x="11247076" y="2199532"/>
                  <a:pt x="11247076" y="2180269"/>
                </a:cubicBezTo>
                <a:close/>
                <a:moveTo>
                  <a:pt x="18811700" y="2180268"/>
                </a:moveTo>
                <a:cubicBezTo>
                  <a:pt x="18823996" y="2186416"/>
                  <a:pt x="18835268" y="2192565"/>
                  <a:pt x="18848592" y="2198714"/>
                </a:cubicBezTo>
                <a:cubicBezTo>
                  <a:pt x="18835268" y="2217160"/>
                  <a:pt x="18811700" y="2217160"/>
                  <a:pt x="18811700" y="2180268"/>
                </a:cubicBezTo>
                <a:close/>
                <a:moveTo>
                  <a:pt x="14754483" y="2180268"/>
                </a:moveTo>
                <a:cubicBezTo>
                  <a:pt x="14767326" y="2180268"/>
                  <a:pt x="14786592" y="2180268"/>
                  <a:pt x="14786592" y="2211011"/>
                </a:cubicBezTo>
                <a:cubicBezTo>
                  <a:pt x="14773748" y="2211011"/>
                  <a:pt x="14754483" y="2217160"/>
                  <a:pt x="14754483" y="2180268"/>
                </a:cubicBezTo>
                <a:close/>
                <a:moveTo>
                  <a:pt x="14697603" y="2180268"/>
                </a:moveTo>
                <a:cubicBezTo>
                  <a:pt x="14708580" y="2180268"/>
                  <a:pt x="14715565" y="2193111"/>
                  <a:pt x="14715565" y="2212374"/>
                </a:cubicBezTo>
                <a:cubicBezTo>
                  <a:pt x="14703590" y="2212374"/>
                  <a:pt x="14697603" y="2199532"/>
                  <a:pt x="14697603" y="2180268"/>
                </a:cubicBezTo>
                <a:close/>
                <a:moveTo>
                  <a:pt x="10695937" y="2175627"/>
                </a:moveTo>
                <a:cubicBezTo>
                  <a:pt x="10645458" y="2173813"/>
                  <a:pt x="10591655" y="2191949"/>
                  <a:pt x="10577146" y="2278994"/>
                </a:cubicBezTo>
                <a:cubicBezTo>
                  <a:pt x="10634106" y="2246753"/>
                  <a:pt x="10685693" y="2214516"/>
                  <a:pt x="10743729" y="2182276"/>
                </a:cubicBezTo>
                <a:cubicBezTo>
                  <a:pt x="10729220" y="2179054"/>
                  <a:pt x="10712763" y="2176230"/>
                  <a:pt x="10695937" y="2175627"/>
                </a:cubicBezTo>
                <a:close/>
                <a:moveTo>
                  <a:pt x="16337056" y="2173999"/>
                </a:moveTo>
                <a:cubicBezTo>
                  <a:pt x="16340048" y="2173999"/>
                  <a:pt x="16343042" y="2177208"/>
                  <a:pt x="16346036" y="2183630"/>
                </a:cubicBezTo>
                <a:lnTo>
                  <a:pt x="16339536" y="2197569"/>
                </a:lnTo>
                <a:lnTo>
                  <a:pt x="16341268" y="2198879"/>
                </a:lnTo>
                <a:cubicBezTo>
                  <a:pt x="16341268" y="2236109"/>
                  <a:pt x="16304374" y="2211289"/>
                  <a:pt x="16304374" y="2180265"/>
                </a:cubicBezTo>
                <a:cubicBezTo>
                  <a:pt x="16310522" y="2180265"/>
                  <a:pt x="16316672" y="2181817"/>
                  <a:pt x="16322820" y="2184919"/>
                </a:cubicBezTo>
                <a:lnTo>
                  <a:pt x="16338004" y="2196409"/>
                </a:lnTo>
                <a:lnTo>
                  <a:pt x="16328074" y="2183630"/>
                </a:lnTo>
                <a:cubicBezTo>
                  <a:pt x="16331068" y="2177208"/>
                  <a:pt x="16334062" y="2173999"/>
                  <a:pt x="16337056" y="2173999"/>
                </a:cubicBezTo>
                <a:close/>
                <a:moveTo>
                  <a:pt x="16457660" y="2170178"/>
                </a:moveTo>
                <a:cubicBezTo>
                  <a:pt x="16463106" y="2171096"/>
                  <a:pt x="16468350" y="2172727"/>
                  <a:pt x="16473190" y="2174357"/>
                </a:cubicBezTo>
                <a:cubicBezTo>
                  <a:pt x="16511916" y="2187403"/>
                  <a:pt x="16544186" y="2193925"/>
                  <a:pt x="16575380" y="2206970"/>
                </a:cubicBezTo>
                <a:cubicBezTo>
                  <a:pt x="16614106" y="2213492"/>
                  <a:pt x="16646376" y="2226537"/>
                  <a:pt x="16685100" y="2233059"/>
                </a:cubicBezTo>
                <a:cubicBezTo>
                  <a:pt x="16698008" y="2239582"/>
                  <a:pt x="16710916" y="2246104"/>
                  <a:pt x="16710916" y="2278716"/>
                </a:cubicBezTo>
                <a:cubicBezTo>
                  <a:pt x="16607650" y="2278716"/>
                  <a:pt x="16511916" y="2233059"/>
                  <a:pt x="16408650" y="2200446"/>
                </a:cubicBezTo>
                <a:cubicBezTo>
                  <a:pt x="16423172" y="2171096"/>
                  <a:pt x="16441324" y="2167428"/>
                  <a:pt x="16457660" y="2170178"/>
                </a:cubicBezTo>
                <a:close/>
                <a:moveTo>
                  <a:pt x="18613644" y="2164301"/>
                </a:moveTo>
                <a:cubicBezTo>
                  <a:pt x="18614660" y="2162804"/>
                  <a:pt x="18616688" y="2164301"/>
                  <a:pt x="18620752" y="2167294"/>
                </a:cubicBezTo>
                <a:cubicBezTo>
                  <a:pt x="18620752" y="2173282"/>
                  <a:pt x="18620752" y="2179269"/>
                  <a:pt x="18612628" y="2179269"/>
                </a:cubicBezTo>
                <a:cubicBezTo>
                  <a:pt x="18612628" y="2170288"/>
                  <a:pt x="18612628" y="2165797"/>
                  <a:pt x="18613644" y="2164301"/>
                </a:cubicBezTo>
                <a:close/>
                <a:moveTo>
                  <a:pt x="14522234" y="2151829"/>
                </a:moveTo>
                <a:cubicBezTo>
                  <a:pt x="14534531" y="2157358"/>
                  <a:pt x="14546829" y="2163994"/>
                  <a:pt x="14559126" y="2170631"/>
                </a:cubicBezTo>
                <a:cubicBezTo>
                  <a:pt x="14546829" y="2183902"/>
                  <a:pt x="14534531" y="2203809"/>
                  <a:pt x="14522234" y="2217080"/>
                </a:cubicBezTo>
                <a:cubicBezTo>
                  <a:pt x="14522234" y="2197173"/>
                  <a:pt x="14522234" y="2177265"/>
                  <a:pt x="14522234" y="2151829"/>
                </a:cubicBezTo>
                <a:close/>
                <a:moveTo>
                  <a:pt x="16147962" y="2151828"/>
                </a:moveTo>
                <a:cubicBezTo>
                  <a:pt x="16160602" y="2151828"/>
                  <a:pt x="16165868" y="2163992"/>
                  <a:pt x="16165868" y="2183897"/>
                </a:cubicBezTo>
                <a:cubicBezTo>
                  <a:pt x="16154282" y="2183897"/>
                  <a:pt x="16147962" y="2177261"/>
                  <a:pt x="16147962" y="2151828"/>
                </a:cubicBezTo>
                <a:close/>
                <a:moveTo>
                  <a:pt x="13697520" y="2151828"/>
                </a:moveTo>
                <a:cubicBezTo>
                  <a:pt x="13709107" y="2151828"/>
                  <a:pt x="13715427" y="2163992"/>
                  <a:pt x="13715427" y="2183898"/>
                </a:cubicBezTo>
                <a:cubicBezTo>
                  <a:pt x="13702787" y="2183898"/>
                  <a:pt x="13697520" y="2177262"/>
                  <a:pt x="13697520" y="2151828"/>
                </a:cubicBezTo>
                <a:close/>
                <a:moveTo>
                  <a:pt x="11318172" y="2151828"/>
                </a:moveTo>
                <a:cubicBezTo>
                  <a:pt x="11330147" y="2151828"/>
                  <a:pt x="11336134" y="2163992"/>
                  <a:pt x="11336134" y="2183898"/>
                </a:cubicBezTo>
                <a:cubicBezTo>
                  <a:pt x="11324159" y="2183898"/>
                  <a:pt x="11318172" y="2177262"/>
                  <a:pt x="11318172" y="2151828"/>
                </a:cubicBezTo>
                <a:close/>
                <a:moveTo>
                  <a:pt x="12500908" y="2151111"/>
                </a:moveTo>
                <a:cubicBezTo>
                  <a:pt x="12500908" y="2188728"/>
                  <a:pt x="12526701" y="2182276"/>
                  <a:pt x="12546046" y="2182276"/>
                </a:cubicBezTo>
                <a:cubicBezTo>
                  <a:pt x="12546046" y="2143586"/>
                  <a:pt x="12520253" y="2151111"/>
                  <a:pt x="12500908" y="2151111"/>
                </a:cubicBezTo>
                <a:close/>
                <a:moveTo>
                  <a:pt x="12014056" y="2151111"/>
                </a:moveTo>
                <a:cubicBezTo>
                  <a:pt x="12014056" y="2182276"/>
                  <a:pt x="12014056" y="2214516"/>
                  <a:pt x="12014056" y="2246753"/>
                </a:cubicBezTo>
                <a:cubicBezTo>
                  <a:pt x="11994711" y="2246753"/>
                  <a:pt x="11975366" y="2246753"/>
                  <a:pt x="11956021" y="2246753"/>
                </a:cubicBezTo>
                <a:cubicBezTo>
                  <a:pt x="11956021" y="2291889"/>
                  <a:pt x="11994711" y="2285443"/>
                  <a:pt x="12014056" y="2278994"/>
                </a:cubicBezTo>
                <a:cubicBezTo>
                  <a:pt x="12046298" y="2272546"/>
                  <a:pt x="12083914" y="2298334"/>
                  <a:pt x="12122604" y="2278994"/>
                </a:cubicBezTo>
                <a:cubicBezTo>
                  <a:pt x="12135501" y="2266099"/>
                  <a:pt x="12129052" y="2246753"/>
                  <a:pt x="12116155" y="2240307"/>
                </a:cubicBezTo>
                <a:cubicBezTo>
                  <a:pt x="12103259" y="2233859"/>
                  <a:pt x="12090362" y="2233859"/>
                  <a:pt x="12077465" y="2233859"/>
                </a:cubicBezTo>
                <a:cubicBezTo>
                  <a:pt x="12046298" y="2233859"/>
                  <a:pt x="12038775" y="2175828"/>
                  <a:pt x="12014056" y="2151111"/>
                </a:cubicBezTo>
                <a:close/>
                <a:moveTo>
                  <a:pt x="14635094" y="2143357"/>
                </a:moveTo>
                <a:cubicBezTo>
                  <a:pt x="14652478" y="2142687"/>
                  <a:pt x="14672346" y="2149120"/>
                  <a:pt x="14682280" y="2149120"/>
                </a:cubicBezTo>
                <a:cubicBezTo>
                  <a:pt x="14682280" y="2212371"/>
                  <a:pt x="14622676" y="2180210"/>
                  <a:pt x="14602808" y="2180210"/>
                </a:cubicBezTo>
                <a:cubicBezTo>
                  <a:pt x="14602808" y="2151800"/>
                  <a:pt x="14617709" y="2144027"/>
                  <a:pt x="14635094" y="2143357"/>
                </a:cubicBezTo>
                <a:close/>
                <a:moveTo>
                  <a:pt x="15190046" y="2132885"/>
                </a:moveTo>
                <a:cubicBezTo>
                  <a:pt x="15201344" y="2151950"/>
                  <a:pt x="15216274" y="2164637"/>
                  <a:pt x="15233206" y="2173044"/>
                </a:cubicBezTo>
                <a:lnTo>
                  <a:pt x="15280844" y="2185551"/>
                </a:lnTo>
                <a:lnTo>
                  <a:pt x="15285276" y="2209141"/>
                </a:lnTo>
                <a:cubicBezTo>
                  <a:pt x="15288504" y="2213975"/>
                  <a:pt x="15293346" y="2215586"/>
                  <a:pt x="15299802" y="2215586"/>
                </a:cubicBezTo>
                <a:cubicBezTo>
                  <a:pt x="15299802" y="2205919"/>
                  <a:pt x="15298188" y="2197864"/>
                  <a:pt x="15294960" y="2192225"/>
                </a:cubicBezTo>
                <a:lnTo>
                  <a:pt x="15286416" y="2187014"/>
                </a:lnTo>
                <a:lnTo>
                  <a:pt x="15288370" y="2187525"/>
                </a:lnTo>
                <a:cubicBezTo>
                  <a:pt x="15326972" y="2191420"/>
                  <a:pt x="15367056" y="2186586"/>
                  <a:pt x="15395570" y="2189810"/>
                </a:cubicBezTo>
                <a:cubicBezTo>
                  <a:pt x="15479500" y="2202698"/>
                  <a:pt x="15562354" y="2222032"/>
                  <a:pt x="15652742" y="2247805"/>
                </a:cubicBezTo>
                <a:cubicBezTo>
                  <a:pt x="15736134" y="2270361"/>
                  <a:pt x="15821140" y="2297748"/>
                  <a:pt x="15906954" y="2327420"/>
                </a:cubicBezTo>
                <a:lnTo>
                  <a:pt x="16083400" y="2390971"/>
                </a:lnTo>
                <a:lnTo>
                  <a:pt x="16078862" y="2383508"/>
                </a:lnTo>
                <a:cubicBezTo>
                  <a:pt x="16078114" y="2376283"/>
                  <a:pt x="16081106" y="2369862"/>
                  <a:pt x="16090088" y="2369862"/>
                </a:cubicBezTo>
                <a:cubicBezTo>
                  <a:pt x="16090088" y="2376283"/>
                  <a:pt x="16090088" y="2381100"/>
                  <a:pt x="16090088" y="2385915"/>
                </a:cubicBezTo>
                <a:lnTo>
                  <a:pt x="16090088" y="2393380"/>
                </a:lnTo>
                <a:lnTo>
                  <a:pt x="16166010" y="2420726"/>
                </a:lnTo>
                <a:cubicBezTo>
                  <a:pt x="16249940" y="2452947"/>
                  <a:pt x="16333870" y="2485168"/>
                  <a:pt x="16416724" y="2517388"/>
                </a:cubicBezTo>
                <a:cubicBezTo>
                  <a:pt x="16455462" y="2536721"/>
                  <a:pt x="16494200" y="2548535"/>
                  <a:pt x="16539392" y="2548535"/>
                </a:cubicBezTo>
                <a:cubicBezTo>
                  <a:pt x="16558762" y="2554979"/>
                  <a:pt x="16558762" y="2574312"/>
                  <a:pt x="16571674" y="2600090"/>
                </a:cubicBezTo>
                <a:cubicBezTo>
                  <a:pt x="16583510" y="2645198"/>
                  <a:pt x="16615790" y="2645198"/>
                  <a:pt x="16641616" y="2651642"/>
                </a:cubicBezTo>
                <a:cubicBezTo>
                  <a:pt x="16680354" y="2664532"/>
                  <a:pt x="16712634" y="2683863"/>
                  <a:pt x="16751372" y="2683863"/>
                </a:cubicBezTo>
                <a:cubicBezTo>
                  <a:pt x="16782576" y="2683863"/>
                  <a:pt x="16796564" y="2709639"/>
                  <a:pt x="16814860" y="2735416"/>
                </a:cubicBezTo>
                <a:cubicBezTo>
                  <a:pt x="16840684" y="2773006"/>
                  <a:pt x="16872964" y="2767637"/>
                  <a:pt x="16905244" y="2785893"/>
                </a:cubicBezTo>
                <a:cubicBezTo>
                  <a:pt x="16751372" y="2785893"/>
                  <a:pt x="16602878" y="2690308"/>
                  <a:pt x="16449006" y="2632309"/>
                </a:cubicBezTo>
                <a:cubicBezTo>
                  <a:pt x="16461918" y="2600090"/>
                  <a:pt x="16507112" y="2638754"/>
                  <a:pt x="16507112" y="2587200"/>
                </a:cubicBezTo>
                <a:cubicBezTo>
                  <a:pt x="16474830" y="2593644"/>
                  <a:pt x="16442550" y="2619421"/>
                  <a:pt x="16410268" y="2600090"/>
                </a:cubicBezTo>
                <a:cubicBezTo>
                  <a:pt x="16416724" y="2587200"/>
                  <a:pt x="16423182" y="2574312"/>
                  <a:pt x="16429638" y="2567868"/>
                </a:cubicBezTo>
                <a:cubicBezTo>
                  <a:pt x="16160628" y="2478722"/>
                  <a:pt x="15890544" y="2357358"/>
                  <a:pt x="15614004" y="2280027"/>
                </a:cubicBezTo>
                <a:cubicBezTo>
                  <a:pt x="15549442" y="2267140"/>
                  <a:pt x="15479500" y="2260695"/>
                  <a:pt x="15421394" y="2228474"/>
                </a:cubicBezTo>
                <a:cubicBezTo>
                  <a:pt x="15402026" y="2222032"/>
                  <a:pt x="15376200" y="2202698"/>
                  <a:pt x="15356832" y="2215586"/>
                </a:cubicBezTo>
                <a:cubicBezTo>
                  <a:pt x="15343920" y="2228474"/>
                  <a:pt x="15343920" y="2267140"/>
                  <a:pt x="15324550" y="2267140"/>
                </a:cubicBezTo>
                <a:cubicBezTo>
                  <a:pt x="15267522" y="2267140"/>
                  <a:pt x="15196502" y="2222032"/>
                  <a:pt x="15138398" y="2202698"/>
                </a:cubicBezTo>
                <a:cubicBezTo>
                  <a:pt x="15074912" y="2183365"/>
                  <a:pt x="15003894" y="2164033"/>
                  <a:pt x="14939331" y="2139329"/>
                </a:cubicBezTo>
                <a:cubicBezTo>
                  <a:pt x="15023262" y="2139329"/>
                  <a:pt x="15107192" y="2132885"/>
                  <a:pt x="15190046" y="2132885"/>
                </a:cubicBezTo>
                <a:close/>
                <a:moveTo>
                  <a:pt x="18508352" y="2125419"/>
                </a:moveTo>
                <a:cubicBezTo>
                  <a:pt x="18520652" y="2125419"/>
                  <a:pt x="18545244" y="2118648"/>
                  <a:pt x="18545244" y="2152502"/>
                </a:cubicBezTo>
                <a:cubicBezTo>
                  <a:pt x="18532948" y="2152502"/>
                  <a:pt x="18508352" y="2164916"/>
                  <a:pt x="18508352" y="2125419"/>
                </a:cubicBezTo>
                <a:close/>
                <a:moveTo>
                  <a:pt x="14919346" y="2125419"/>
                </a:moveTo>
                <a:cubicBezTo>
                  <a:pt x="14919346" y="2164916"/>
                  <a:pt x="14894751" y="2152503"/>
                  <a:pt x="14882454" y="2152503"/>
                </a:cubicBezTo>
                <a:cubicBezTo>
                  <a:pt x="14882454" y="2118648"/>
                  <a:pt x="14907049" y="2125419"/>
                  <a:pt x="14919346" y="2125419"/>
                </a:cubicBezTo>
                <a:close/>
                <a:moveTo>
                  <a:pt x="16261716" y="2123390"/>
                </a:moveTo>
                <a:cubicBezTo>
                  <a:pt x="16273690" y="2123390"/>
                  <a:pt x="16279678" y="2130215"/>
                  <a:pt x="16279678" y="2150689"/>
                </a:cubicBezTo>
                <a:cubicBezTo>
                  <a:pt x="16267704" y="2150689"/>
                  <a:pt x="16261716" y="2142727"/>
                  <a:pt x="16261716" y="2123390"/>
                </a:cubicBezTo>
                <a:close/>
                <a:moveTo>
                  <a:pt x="18693204" y="2123389"/>
                </a:moveTo>
                <a:cubicBezTo>
                  <a:pt x="18705180" y="2123389"/>
                  <a:pt x="18711168" y="2130215"/>
                  <a:pt x="18711168" y="2150689"/>
                </a:cubicBezTo>
                <a:cubicBezTo>
                  <a:pt x="18705180" y="2150689"/>
                  <a:pt x="18693204" y="2142727"/>
                  <a:pt x="18693204" y="2123389"/>
                </a:cubicBezTo>
                <a:close/>
                <a:moveTo>
                  <a:pt x="16123246" y="2118775"/>
                </a:moveTo>
                <a:lnTo>
                  <a:pt x="16125026" y="2121793"/>
                </a:lnTo>
                <a:cubicBezTo>
                  <a:pt x="16126304" y="2123963"/>
                  <a:pt x="16127104" y="2125319"/>
                  <a:pt x="16126884" y="2124947"/>
                </a:cubicBezTo>
                <a:close/>
                <a:moveTo>
                  <a:pt x="16122316" y="2117209"/>
                </a:moveTo>
                <a:lnTo>
                  <a:pt x="16122626" y="2117724"/>
                </a:lnTo>
                <a:lnTo>
                  <a:pt x="16123246" y="2118775"/>
                </a:lnTo>
                <a:close/>
                <a:moveTo>
                  <a:pt x="12411705" y="2105976"/>
                </a:moveTo>
                <a:cubicBezTo>
                  <a:pt x="12385912" y="2112430"/>
                  <a:pt x="12308532" y="2093081"/>
                  <a:pt x="12314980" y="2169380"/>
                </a:cubicBezTo>
                <a:cubicBezTo>
                  <a:pt x="12321428" y="2220961"/>
                  <a:pt x="12347222" y="2220961"/>
                  <a:pt x="12373015" y="2220961"/>
                </a:cubicBezTo>
                <a:cubicBezTo>
                  <a:pt x="12392360" y="2220961"/>
                  <a:pt x="12437499" y="2233859"/>
                  <a:pt x="12449321" y="2201616"/>
                </a:cubicBezTo>
                <a:cubicBezTo>
                  <a:pt x="12468666" y="2151111"/>
                  <a:pt x="12405257" y="2143586"/>
                  <a:pt x="12392360" y="2138215"/>
                </a:cubicBezTo>
                <a:cubicBezTo>
                  <a:pt x="12398809" y="2125320"/>
                  <a:pt x="12405257" y="2118874"/>
                  <a:pt x="12411705" y="2105976"/>
                </a:cubicBezTo>
                <a:close/>
                <a:moveTo>
                  <a:pt x="16114788" y="2104432"/>
                </a:moveTo>
                <a:cubicBezTo>
                  <a:pt x="16114788" y="2104432"/>
                  <a:pt x="16116494" y="2107326"/>
                  <a:pt x="16118628" y="2110942"/>
                </a:cubicBezTo>
                <a:lnTo>
                  <a:pt x="16120838" y="2114693"/>
                </a:lnTo>
                <a:close/>
                <a:moveTo>
                  <a:pt x="17981248" y="2101373"/>
                </a:moveTo>
                <a:cubicBezTo>
                  <a:pt x="17981248" y="2120637"/>
                  <a:pt x="17969272" y="2127057"/>
                  <a:pt x="17963284" y="2127057"/>
                </a:cubicBezTo>
                <a:cubicBezTo>
                  <a:pt x="17963284" y="2107794"/>
                  <a:pt x="17969272" y="2094952"/>
                  <a:pt x="17981248" y="2101373"/>
                </a:cubicBezTo>
                <a:close/>
                <a:moveTo>
                  <a:pt x="17104208" y="2099691"/>
                </a:moveTo>
                <a:cubicBezTo>
                  <a:pt x="17117240" y="2099691"/>
                  <a:pt x="17123760" y="2106090"/>
                  <a:pt x="17136792" y="2112489"/>
                </a:cubicBezTo>
                <a:cubicBezTo>
                  <a:pt x="17156344" y="2118887"/>
                  <a:pt x="17175896" y="2125286"/>
                  <a:pt x="17194360" y="2131685"/>
                </a:cubicBezTo>
                <a:cubicBezTo>
                  <a:pt x="17208480" y="2138083"/>
                  <a:pt x="17246496" y="2162611"/>
                  <a:pt x="17220428" y="2194605"/>
                </a:cubicBezTo>
                <a:cubicBezTo>
                  <a:pt x="17188928" y="2226598"/>
                  <a:pt x="17123760" y="2169010"/>
                  <a:pt x="17091172" y="2150880"/>
                </a:cubicBezTo>
                <a:cubicBezTo>
                  <a:pt x="17097692" y="2131685"/>
                  <a:pt x="17104208" y="2118887"/>
                  <a:pt x="17104208" y="2099691"/>
                </a:cubicBezTo>
                <a:close/>
                <a:moveTo>
                  <a:pt x="14260920" y="2099689"/>
                </a:moveTo>
                <a:cubicBezTo>
                  <a:pt x="14267326" y="2119242"/>
                  <a:pt x="14273732" y="2157259"/>
                  <a:pt x="14292950" y="2151828"/>
                </a:cubicBezTo>
                <a:cubicBezTo>
                  <a:pt x="14317506" y="2151828"/>
                  <a:pt x="14336723" y="2144225"/>
                  <a:pt x="14362347" y="2144225"/>
                </a:cubicBezTo>
                <a:cubicBezTo>
                  <a:pt x="14413594" y="2144225"/>
                  <a:pt x="14458436" y="2157259"/>
                  <a:pt x="14502209" y="2170292"/>
                </a:cubicBezTo>
                <a:cubicBezTo>
                  <a:pt x="14407188" y="2255018"/>
                  <a:pt x="14292950" y="2189845"/>
                  <a:pt x="14190455" y="2170292"/>
                </a:cubicBezTo>
                <a:cubicBezTo>
                  <a:pt x="14209673" y="2144225"/>
                  <a:pt x="14235296" y="2119242"/>
                  <a:pt x="14260920" y="2099689"/>
                </a:cubicBezTo>
                <a:close/>
                <a:moveTo>
                  <a:pt x="14190452" y="2094952"/>
                </a:moveTo>
                <a:cubicBezTo>
                  <a:pt x="14203577" y="2094952"/>
                  <a:pt x="14203577" y="2107794"/>
                  <a:pt x="14203577" y="2127058"/>
                </a:cubicBezTo>
                <a:cubicBezTo>
                  <a:pt x="14190452" y="2127058"/>
                  <a:pt x="14190452" y="2114216"/>
                  <a:pt x="14190452" y="2094952"/>
                </a:cubicBezTo>
                <a:close/>
                <a:moveTo>
                  <a:pt x="14133574" y="2094952"/>
                </a:moveTo>
                <a:cubicBezTo>
                  <a:pt x="14146699" y="2094952"/>
                  <a:pt x="14146699" y="2107794"/>
                  <a:pt x="14146699" y="2127058"/>
                </a:cubicBezTo>
                <a:cubicBezTo>
                  <a:pt x="14133574" y="2127058"/>
                  <a:pt x="14133574" y="2114216"/>
                  <a:pt x="14133574" y="2094952"/>
                </a:cubicBezTo>
                <a:close/>
                <a:moveTo>
                  <a:pt x="12431051" y="2093081"/>
                </a:moveTo>
                <a:cubicBezTo>
                  <a:pt x="12431051" y="2112430"/>
                  <a:pt x="12437499" y="2125320"/>
                  <a:pt x="12449321" y="2125320"/>
                </a:cubicBezTo>
                <a:cubicBezTo>
                  <a:pt x="12449321" y="2105976"/>
                  <a:pt x="12443947" y="2093081"/>
                  <a:pt x="12431051" y="2093081"/>
                </a:cubicBezTo>
                <a:close/>
                <a:moveTo>
                  <a:pt x="14837330" y="2086762"/>
                </a:moveTo>
                <a:cubicBezTo>
                  <a:pt x="14853886" y="2087572"/>
                  <a:pt x="14867131" y="2095672"/>
                  <a:pt x="14867131" y="2124830"/>
                </a:cubicBezTo>
                <a:cubicBezTo>
                  <a:pt x="14847264" y="2124830"/>
                  <a:pt x="14787662" y="2150749"/>
                  <a:pt x="14787662" y="2092433"/>
                </a:cubicBezTo>
                <a:cubicBezTo>
                  <a:pt x="14800907" y="2092433"/>
                  <a:pt x="14820774" y="2085953"/>
                  <a:pt x="14837330" y="2086762"/>
                </a:cubicBezTo>
                <a:close/>
                <a:moveTo>
                  <a:pt x="16905460" y="2068083"/>
                </a:moveTo>
                <a:cubicBezTo>
                  <a:pt x="16915524" y="2067979"/>
                  <a:pt x="16925588" y="2068393"/>
                  <a:pt x="16935248" y="2068393"/>
                </a:cubicBezTo>
                <a:cubicBezTo>
                  <a:pt x="16946520" y="2066737"/>
                  <a:pt x="16958128" y="2066737"/>
                  <a:pt x="16969904" y="2068083"/>
                </a:cubicBezTo>
                <a:cubicBezTo>
                  <a:pt x="17005228" y="2072118"/>
                  <a:pt x="17042064" y="2088261"/>
                  <a:pt x="17075880" y="2108129"/>
                </a:cubicBezTo>
                <a:cubicBezTo>
                  <a:pt x="17024352" y="2121375"/>
                  <a:pt x="16973896" y="2127997"/>
                  <a:pt x="16922364" y="2141243"/>
                </a:cubicBezTo>
                <a:cubicBezTo>
                  <a:pt x="16935248" y="2121375"/>
                  <a:pt x="16961012" y="2134620"/>
                  <a:pt x="16961012" y="2094884"/>
                </a:cubicBezTo>
                <a:cubicBezTo>
                  <a:pt x="16941688" y="2101507"/>
                  <a:pt x="16922364" y="2101507"/>
                  <a:pt x="16909484" y="2127997"/>
                </a:cubicBezTo>
                <a:cubicBezTo>
                  <a:pt x="16883720" y="2121375"/>
                  <a:pt x="16857952" y="2114752"/>
                  <a:pt x="16825748" y="2108129"/>
                </a:cubicBezTo>
                <a:cubicBezTo>
                  <a:pt x="16845072" y="2073360"/>
                  <a:pt x="16875264" y="2068393"/>
                  <a:pt x="16905460" y="2068083"/>
                </a:cubicBezTo>
                <a:close/>
                <a:moveTo>
                  <a:pt x="14640725" y="2061772"/>
                </a:moveTo>
                <a:cubicBezTo>
                  <a:pt x="14652700" y="2061772"/>
                  <a:pt x="14658687" y="2074615"/>
                  <a:pt x="14658687" y="2093880"/>
                </a:cubicBezTo>
                <a:cubicBezTo>
                  <a:pt x="14646712" y="2093880"/>
                  <a:pt x="14640725" y="2081037"/>
                  <a:pt x="14640725" y="2061772"/>
                </a:cubicBezTo>
                <a:close/>
                <a:moveTo>
                  <a:pt x="14602808" y="2061772"/>
                </a:moveTo>
                <a:cubicBezTo>
                  <a:pt x="14614783" y="2061772"/>
                  <a:pt x="14620770" y="2074615"/>
                  <a:pt x="14620770" y="2093881"/>
                </a:cubicBezTo>
                <a:cubicBezTo>
                  <a:pt x="14608795" y="2093881"/>
                  <a:pt x="14602808" y="2081037"/>
                  <a:pt x="14602808" y="2061772"/>
                </a:cubicBezTo>
                <a:close/>
                <a:moveTo>
                  <a:pt x="13882368" y="2061772"/>
                </a:moveTo>
                <a:cubicBezTo>
                  <a:pt x="13894343" y="2061772"/>
                  <a:pt x="13900330" y="2074616"/>
                  <a:pt x="13900330" y="2093881"/>
                </a:cubicBezTo>
                <a:cubicBezTo>
                  <a:pt x="13887357" y="2093881"/>
                  <a:pt x="13882368" y="2081038"/>
                  <a:pt x="13882368" y="2061772"/>
                </a:cubicBezTo>
                <a:close/>
                <a:moveTo>
                  <a:pt x="18584188" y="2061771"/>
                </a:moveTo>
                <a:cubicBezTo>
                  <a:pt x="18596164" y="2061771"/>
                  <a:pt x="18602152" y="2074615"/>
                  <a:pt x="18602152" y="2093880"/>
                </a:cubicBezTo>
                <a:cubicBezTo>
                  <a:pt x="18590176" y="2093880"/>
                  <a:pt x="18584188" y="2081037"/>
                  <a:pt x="18584188" y="2061771"/>
                </a:cubicBezTo>
                <a:close/>
                <a:moveTo>
                  <a:pt x="15787742" y="2061771"/>
                </a:moveTo>
                <a:cubicBezTo>
                  <a:pt x="15799716" y="2061771"/>
                  <a:pt x="15805704" y="2074615"/>
                  <a:pt x="15805704" y="2093880"/>
                </a:cubicBezTo>
                <a:cubicBezTo>
                  <a:pt x="15793728" y="2093880"/>
                  <a:pt x="15787742" y="2081037"/>
                  <a:pt x="15787742" y="2061771"/>
                </a:cubicBezTo>
                <a:close/>
                <a:moveTo>
                  <a:pt x="14076700" y="2061769"/>
                </a:moveTo>
                <a:cubicBezTo>
                  <a:pt x="14089339" y="2061769"/>
                  <a:pt x="14113564" y="2061769"/>
                  <a:pt x="14113564" y="2092513"/>
                </a:cubicBezTo>
                <a:cubicBezTo>
                  <a:pt x="14094605" y="2092513"/>
                  <a:pt x="14076700" y="2098661"/>
                  <a:pt x="14076700" y="2061769"/>
                </a:cubicBezTo>
                <a:close/>
                <a:moveTo>
                  <a:pt x="12597633" y="2060841"/>
                </a:moveTo>
                <a:cubicBezTo>
                  <a:pt x="12597633" y="2080184"/>
                  <a:pt x="12604082" y="2093081"/>
                  <a:pt x="12616978" y="2093081"/>
                </a:cubicBezTo>
                <a:cubicBezTo>
                  <a:pt x="12616978" y="2073737"/>
                  <a:pt x="12610530" y="2060841"/>
                  <a:pt x="12597633" y="2060841"/>
                </a:cubicBezTo>
                <a:close/>
                <a:moveTo>
                  <a:pt x="11089791" y="2060841"/>
                </a:moveTo>
                <a:cubicBezTo>
                  <a:pt x="11057549" y="2067288"/>
                  <a:pt x="11025307" y="2060841"/>
                  <a:pt x="10994140" y="2080184"/>
                </a:cubicBezTo>
                <a:cubicBezTo>
                  <a:pt x="10968347" y="2099528"/>
                  <a:pt x="10942553" y="2112430"/>
                  <a:pt x="10910311" y="2118874"/>
                </a:cubicBezTo>
                <a:cubicBezTo>
                  <a:pt x="10942553" y="2138215"/>
                  <a:pt x="10974795" y="2118874"/>
                  <a:pt x="11000588" y="2099528"/>
                </a:cubicBezTo>
                <a:cubicBezTo>
                  <a:pt x="11031756" y="2086632"/>
                  <a:pt x="11057549" y="2093081"/>
                  <a:pt x="11089791" y="2093081"/>
                </a:cubicBezTo>
                <a:cubicBezTo>
                  <a:pt x="11089791" y="2080184"/>
                  <a:pt x="11089791" y="2073737"/>
                  <a:pt x="11089791" y="2060841"/>
                </a:cubicBezTo>
                <a:close/>
                <a:moveTo>
                  <a:pt x="14582825" y="2058905"/>
                </a:moveTo>
                <a:cubicBezTo>
                  <a:pt x="14582825" y="2098587"/>
                  <a:pt x="14564379" y="2091973"/>
                  <a:pt x="14545933" y="2091973"/>
                </a:cubicBezTo>
                <a:cubicBezTo>
                  <a:pt x="14545933" y="2052292"/>
                  <a:pt x="14570528" y="2058905"/>
                  <a:pt x="14582825" y="2058905"/>
                </a:cubicBezTo>
                <a:close/>
                <a:moveTo>
                  <a:pt x="16127910" y="2047554"/>
                </a:moveTo>
                <a:lnTo>
                  <a:pt x="16122178" y="2116971"/>
                </a:lnTo>
                <a:lnTo>
                  <a:pt x="16121348" y="2127023"/>
                </a:lnTo>
                <a:lnTo>
                  <a:pt x="16120838" y="2114693"/>
                </a:lnTo>
                <a:lnTo>
                  <a:pt x="16119708" y="2087288"/>
                </a:lnTo>
                <a:cubicBezTo>
                  <a:pt x="16121348" y="2074043"/>
                  <a:pt x="16124630" y="2060799"/>
                  <a:pt x="16127910" y="2047554"/>
                </a:cubicBezTo>
                <a:close/>
                <a:moveTo>
                  <a:pt x="12841596" y="2035049"/>
                </a:moveTo>
                <a:cubicBezTo>
                  <a:pt x="12841596" y="2054393"/>
                  <a:pt x="12854493" y="2060841"/>
                  <a:pt x="12859867" y="2060841"/>
                </a:cubicBezTo>
                <a:cubicBezTo>
                  <a:pt x="12859867" y="2041497"/>
                  <a:pt x="12854493" y="2035049"/>
                  <a:pt x="12841596" y="2035049"/>
                </a:cubicBezTo>
                <a:close/>
                <a:moveTo>
                  <a:pt x="11109136" y="2035049"/>
                </a:moveTo>
                <a:cubicBezTo>
                  <a:pt x="11109136" y="2054393"/>
                  <a:pt x="11115584" y="2060841"/>
                  <a:pt x="11128481" y="2060841"/>
                </a:cubicBezTo>
                <a:cubicBezTo>
                  <a:pt x="11128481" y="2041497"/>
                  <a:pt x="11122033" y="2035049"/>
                  <a:pt x="11109136" y="2035049"/>
                </a:cubicBezTo>
                <a:close/>
                <a:moveTo>
                  <a:pt x="14394263" y="2033332"/>
                </a:moveTo>
                <a:cubicBezTo>
                  <a:pt x="14407106" y="2033332"/>
                  <a:pt x="14419950" y="2033332"/>
                  <a:pt x="14426372" y="2033332"/>
                </a:cubicBezTo>
                <a:cubicBezTo>
                  <a:pt x="14426372" y="2051947"/>
                  <a:pt x="14426372" y="2070561"/>
                  <a:pt x="14426372" y="2089176"/>
                </a:cubicBezTo>
                <a:cubicBezTo>
                  <a:pt x="14419950" y="2089176"/>
                  <a:pt x="14407106" y="2089176"/>
                  <a:pt x="14394263" y="2089176"/>
                </a:cubicBezTo>
                <a:cubicBezTo>
                  <a:pt x="14394263" y="2070561"/>
                  <a:pt x="14394263" y="2051947"/>
                  <a:pt x="14394263" y="2033332"/>
                </a:cubicBezTo>
                <a:close/>
                <a:moveTo>
                  <a:pt x="19829744" y="2033331"/>
                </a:moveTo>
                <a:cubicBezTo>
                  <a:pt x="19829744" y="2053805"/>
                  <a:pt x="19823756" y="2060630"/>
                  <a:pt x="19811784" y="2060630"/>
                </a:cubicBezTo>
                <a:cubicBezTo>
                  <a:pt x="19811784" y="2040156"/>
                  <a:pt x="19817772" y="2033331"/>
                  <a:pt x="19829744" y="2033331"/>
                </a:cubicBezTo>
                <a:close/>
                <a:moveTo>
                  <a:pt x="11178456" y="2031019"/>
                </a:moveTo>
                <a:cubicBezTo>
                  <a:pt x="11167171" y="2030213"/>
                  <a:pt x="11154275" y="2035049"/>
                  <a:pt x="11147826" y="2035049"/>
                </a:cubicBezTo>
                <a:cubicBezTo>
                  <a:pt x="11147826" y="2080184"/>
                  <a:pt x="11186516" y="2060841"/>
                  <a:pt x="11199413" y="2060841"/>
                </a:cubicBezTo>
                <a:cubicBezTo>
                  <a:pt x="11199413" y="2038273"/>
                  <a:pt x="11189741" y="2031825"/>
                  <a:pt x="11178456" y="2031019"/>
                </a:cubicBezTo>
                <a:close/>
                <a:moveTo>
                  <a:pt x="16039142" y="2016016"/>
                </a:moveTo>
                <a:cubicBezTo>
                  <a:pt x="16058294" y="2016016"/>
                  <a:pt x="16071062" y="2035168"/>
                  <a:pt x="16071062" y="2060704"/>
                </a:cubicBezTo>
                <a:cubicBezTo>
                  <a:pt x="16051910" y="2060704"/>
                  <a:pt x="16032758" y="2060704"/>
                  <a:pt x="16019990" y="2060704"/>
                </a:cubicBezTo>
                <a:cubicBezTo>
                  <a:pt x="16019990" y="2041552"/>
                  <a:pt x="16026374" y="2009632"/>
                  <a:pt x="16039142" y="2016016"/>
                </a:cubicBezTo>
                <a:close/>
                <a:moveTo>
                  <a:pt x="16166922" y="2000155"/>
                </a:moveTo>
                <a:cubicBezTo>
                  <a:pt x="16178896" y="2000155"/>
                  <a:pt x="16184884" y="2012997"/>
                  <a:pt x="16184884" y="2032260"/>
                </a:cubicBezTo>
                <a:cubicBezTo>
                  <a:pt x="16172908" y="2032260"/>
                  <a:pt x="16166922" y="2019418"/>
                  <a:pt x="16166922" y="2000155"/>
                </a:cubicBezTo>
                <a:close/>
                <a:moveTo>
                  <a:pt x="14299466" y="2000155"/>
                </a:moveTo>
                <a:cubicBezTo>
                  <a:pt x="14312439" y="2000155"/>
                  <a:pt x="14317428" y="2012997"/>
                  <a:pt x="14317428" y="2032260"/>
                </a:cubicBezTo>
                <a:cubicBezTo>
                  <a:pt x="14306451" y="2032260"/>
                  <a:pt x="14299466" y="2019418"/>
                  <a:pt x="14299466" y="2000155"/>
                </a:cubicBezTo>
                <a:close/>
                <a:moveTo>
                  <a:pt x="12188884" y="2000155"/>
                </a:moveTo>
                <a:cubicBezTo>
                  <a:pt x="12195313" y="2019505"/>
                  <a:pt x="12201743" y="2032405"/>
                  <a:pt x="12208172" y="2045305"/>
                </a:cubicBezTo>
                <a:cubicBezTo>
                  <a:pt x="12182454" y="2064655"/>
                  <a:pt x="12098871" y="2103355"/>
                  <a:pt x="12092441" y="2038855"/>
                </a:cubicBezTo>
                <a:cubicBezTo>
                  <a:pt x="12086012" y="2013055"/>
                  <a:pt x="12176025" y="2006605"/>
                  <a:pt x="12188884" y="2000155"/>
                </a:cubicBezTo>
                <a:close/>
                <a:moveTo>
                  <a:pt x="18451476" y="2000154"/>
                </a:moveTo>
                <a:cubicBezTo>
                  <a:pt x="18463448" y="2000154"/>
                  <a:pt x="18469436" y="2006575"/>
                  <a:pt x="18469436" y="2032260"/>
                </a:cubicBezTo>
                <a:cubicBezTo>
                  <a:pt x="18457464" y="2032260"/>
                  <a:pt x="18451476" y="2019417"/>
                  <a:pt x="18451476" y="2000154"/>
                </a:cubicBezTo>
                <a:close/>
                <a:moveTo>
                  <a:pt x="13031555" y="1999585"/>
                </a:moveTo>
                <a:cubicBezTo>
                  <a:pt x="13019464" y="1997973"/>
                  <a:pt x="13004955" y="2002809"/>
                  <a:pt x="12995282" y="2002809"/>
                </a:cubicBezTo>
                <a:cubicBezTo>
                  <a:pt x="12995282" y="2047945"/>
                  <a:pt x="13033973" y="2035049"/>
                  <a:pt x="13053318" y="2035049"/>
                </a:cubicBezTo>
                <a:cubicBezTo>
                  <a:pt x="13053318" y="2009257"/>
                  <a:pt x="13043646" y="2001197"/>
                  <a:pt x="13031555" y="1999585"/>
                </a:cubicBezTo>
                <a:close/>
                <a:moveTo>
                  <a:pt x="11286197" y="1997167"/>
                </a:moveTo>
                <a:cubicBezTo>
                  <a:pt x="11270882" y="1996361"/>
                  <a:pt x="11253149" y="2002809"/>
                  <a:pt x="11243477" y="2002809"/>
                </a:cubicBezTo>
                <a:cubicBezTo>
                  <a:pt x="11243477" y="2060841"/>
                  <a:pt x="11295064" y="2035049"/>
                  <a:pt x="11314409" y="2035049"/>
                </a:cubicBezTo>
                <a:cubicBezTo>
                  <a:pt x="11314409" y="2006033"/>
                  <a:pt x="11301512" y="1997973"/>
                  <a:pt x="11286197" y="1997167"/>
                </a:cubicBezTo>
                <a:close/>
                <a:moveTo>
                  <a:pt x="14236957" y="1995551"/>
                </a:moveTo>
                <a:cubicBezTo>
                  <a:pt x="14254341" y="1995551"/>
                  <a:pt x="14274209" y="2003497"/>
                  <a:pt x="14284143" y="2003497"/>
                </a:cubicBezTo>
                <a:cubicBezTo>
                  <a:pt x="14284143" y="2060707"/>
                  <a:pt x="14224539" y="2035280"/>
                  <a:pt x="14204671" y="2035280"/>
                </a:cubicBezTo>
                <a:cubicBezTo>
                  <a:pt x="14204671" y="2003497"/>
                  <a:pt x="14219572" y="1995551"/>
                  <a:pt x="14236957" y="1995551"/>
                </a:cubicBezTo>
                <a:close/>
                <a:moveTo>
                  <a:pt x="13735437" y="1971717"/>
                </a:moveTo>
                <a:cubicBezTo>
                  <a:pt x="13819236" y="1971717"/>
                  <a:pt x="13896588" y="1971717"/>
                  <a:pt x="13979312" y="1971717"/>
                </a:cubicBezTo>
                <a:cubicBezTo>
                  <a:pt x="13979312" y="2004218"/>
                  <a:pt x="13921298" y="2017219"/>
                  <a:pt x="13947082" y="2056220"/>
                </a:cubicBezTo>
                <a:cubicBezTo>
                  <a:pt x="13966420" y="2101721"/>
                  <a:pt x="14024434" y="2062720"/>
                  <a:pt x="14056665" y="2062720"/>
                </a:cubicBezTo>
                <a:cubicBezTo>
                  <a:pt x="14056665" y="2082221"/>
                  <a:pt x="14056665" y="2108222"/>
                  <a:pt x="14056665" y="2127722"/>
                </a:cubicBezTo>
                <a:cubicBezTo>
                  <a:pt x="14030880" y="2121222"/>
                  <a:pt x="14005096" y="2114722"/>
                  <a:pt x="13979312" y="2108222"/>
                </a:cubicBezTo>
                <a:cubicBezTo>
                  <a:pt x="13998650" y="2140723"/>
                  <a:pt x="14056665" y="2127722"/>
                  <a:pt x="14056665" y="2185141"/>
                </a:cubicBezTo>
                <a:cubicBezTo>
                  <a:pt x="14011542" y="2185141"/>
                  <a:pt x="13966420" y="2185141"/>
                  <a:pt x="13927744" y="2185141"/>
                </a:cubicBezTo>
                <a:cubicBezTo>
                  <a:pt x="13903034" y="2191641"/>
                  <a:pt x="13883696" y="2198141"/>
                  <a:pt x="13864358" y="2191641"/>
                </a:cubicBezTo>
                <a:cubicBezTo>
                  <a:pt x="13832128" y="2178641"/>
                  <a:pt x="13857912" y="2159139"/>
                  <a:pt x="13877250" y="2153723"/>
                </a:cubicBezTo>
                <a:cubicBezTo>
                  <a:pt x="13896588" y="2146140"/>
                  <a:pt x="13914852" y="2146140"/>
                  <a:pt x="13927744" y="2114722"/>
                </a:cubicBezTo>
                <a:cubicBezTo>
                  <a:pt x="13934190" y="2088721"/>
                  <a:pt x="13934190" y="2030219"/>
                  <a:pt x="13914852" y="2010719"/>
                </a:cubicBezTo>
                <a:cubicBezTo>
                  <a:pt x="13903034" y="1984718"/>
                  <a:pt x="13857912" y="2004218"/>
                  <a:pt x="13838574" y="2004218"/>
                </a:cubicBezTo>
                <a:cubicBezTo>
                  <a:pt x="13812789" y="2010719"/>
                  <a:pt x="13735437" y="2030219"/>
                  <a:pt x="13735437" y="1971717"/>
                </a:cubicBezTo>
                <a:close/>
                <a:moveTo>
                  <a:pt x="14019822" y="1971714"/>
                </a:moveTo>
                <a:cubicBezTo>
                  <a:pt x="14032119" y="1971714"/>
                  <a:pt x="14044417" y="1971714"/>
                  <a:pt x="14056714" y="1971714"/>
                </a:cubicBezTo>
                <a:cubicBezTo>
                  <a:pt x="14056714" y="1991295"/>
                  <a:pt x="14056714" y="2010876"/>
                  <a:pt x="14056714" y="2036984"/>
                </a:cubicBezTo>
                <a:cubicBezTo>
                  <a:pt x="14044417" y="2036984"/>
                  <a:pt x="14032119" y="2036984"/>
                  <a:pt x="14019822" y="2036984"/>
                </a:cubicBezTo>
                <a:cubicBezTo>
                  <a:pt x="14019822" y="2010876"/>
                  <a:pt x="14019822" y="1991295"/>
                  <a:pt x="14019822" y="1971714"/>
                </a:cubicBezTo>
                <a:close/>
                <a:moveTo>
                  <a:pt x="16619262" y="1970570"/>
                </a:moveTo>
                <a:cubicBezTo>
                  <a:pt x="16619262" y="2002809"/>
                  <a:pt x="16638608" y="2002809"/>
                  <a:pt x="16657954" y="2002809"/>
                </a:cubicBezTo>
                <a:cubicBezTo>
                  <a:pt x="16657954" y="1964122"/>
                  <a:pt x="16632160" y="1970570"/>
                  <a:pt x="16619262" y="1970570"/>
                </a:cubicBezTo>
                <a:close/>
                <a:moveTo>
                  <a:pt x="11333754" y="1970570"/>
                </a:moveTo>
                <a:cubicBezTo>
                  <a:pt x="11333754" y="1989913"/>
                  <a:pt x="11333754" y="2009257"/>
                  <a:pt x="11333754" y="2035049"/>
                </a:cubicBezTo>
                <a:cubicBezTo>
                  <a:pt x="11353099" y="2022153"/>
                  <a:pt x="11391789" y="2015705"/>
                  <a:pt x="11391789" y="1970570"/>
                </a:cubicBezTo>
                <a:cubicBezTo>
                  <a:pt x="11372444" y="1970570"/>
                  <a:pt x="11353099" y="1970570"/>
                  <a:pt x="11333754" y="1970570"/>
                </a:cubicBezTo>
                <a:close/>
                <a:moveTo>
                  <a:pt x="18202116" y="1969073"/>
                </a:moveTo>
                <a:cubicBezTo>
                  <a:pt x="18213700" y="1970705"/>
                  <a:pt x="18222916" y="1978864"/>
                  <a:pt x="18222916" y="2004972"/>
                </a:cubicBezTo>
                <a:cubicBezTo>
                  <a:pt x="18205012" y="2004972"/>
                  <a:pt x="18167092" y="2018026"/>
                  <a:pt x="18167092" y="1972337"/>
                </a:cubicBezTo>
                <a:cubicBezTo>
                  <a:pt x="18176572" y="1972337"/>
                  <a:pt x="18190528" y="1967441"/>
                  <a:pt x="18202116" y="1969073"/>
                </a:cubicBezTo>
                <a:close/>
                <a:moveTo>
                  <a:pt x="11696783" y="1960705"/>
                </a:moveTo>
                <a:cubicBezTo>
                  <a:pt x="11700195" y="1960705"/>
                  <a:pt x="11703608" y="1963916"/>
                  <a:pt x="11710433" y="1970338"/>
                </a:cubicBezTo>
                <a:cubicBezTo>
                  <a:pt x="11703608" y="1970338"/>
                  <a:pt x="11703608" y="1976760"/>
                  <a:pt x="11696783" y="1989603"/>
                </a:cubicBezTo>
                <a:cubicBezTo>
                  <a:pt x="11696783" y="1983182"/>
                  <a:pt x="11689958" y="1976760"/>
                  <a:pt x="11683133" y="1970338"/>
                </a:cubicBezTo>
                <a:cubicBezTo>
                  <a:pt x="11689958" y="1963916"/>
                  <a:pt x="11693370" y="1960705"/>
                  <a:pt x="11696783" y="1960705"/>
                </a:cubicBezTo>
                <a:close/>
                <a:moveTo>
                  <a:pt x="12365153" y="1943012"/>
                </a:moveTo>
                <a:cubicBezTo>
                  <a:pt x="12366650" y="1944592"/>
                  <a:pt x="12368146" y="1949069"/>
                  <a:pt x="12374134" y="1951702"/>
                </a:cubicBezTo>
                <a:cubicBezTo>
                  <a:pt x="12368147" y="1951702"/>
                  <a:pt x="12362159" y="1951702"/>
                  <a:pt x="12356172" y="1951702"/>
                </a:cubicBezTo>
                <a:cubicBezTo>
                  <a:pt x="12362159" y="1942749"/>
                  <a:pt x="12363656" y="1941432"/>
                  <a:pt x="12365153" y="1943012"/>
                </a:cubicBezTo>
                <a:close/>
                <a:moveTo>
                  <a:pt x="13318343" y="1938535"/>
                </a:moveTo>
                <a:cubicBezTo>
                  <a:pt x="13331570" y="1951589"/>
                  <a:pt x="13351411" y="1958116"/>
                  <a:pt x="13364638" y="1971170"/>
                </a:cubicBezTo>
                <a:cubicBezTo>
                  <a:pt x="13351411" y="1977697"/>
                  <a:pt x="13331570" y="1990751"/>
                  <a:pt x="13318343" y="2003805"/>
                </a:cubicBezTo>
                <a:cubicBezTo>
                  <a:pt x="13318343" y="1984224"/>
                  <a:pt x="13318343" y="1958116"/>
                  <a:pt x="13318343" y="1938535"/>
                </a:cubicBezTo>
                <a:close/>
                <a:moveTo>
                  <a:pt x="12421964" y="1938535"/>
                </a:moveTo>
                <a:cubicBezTo>
                  <a:pt x="12428789" y="1964643"/>
                  <a:pt x="12428789" y="1984224"/>
                  <a:pt x="12435614" y="2003805"/>
                </a:cubicBezTo>
                <a:cubicBezTo>
                  <a:pt x="12415139" y="2003805"/>
                  <a:pt x="12408314" y="1964643"/>
                  <a:pt x="12421964" y="1938535"/>
                </a:cubicBezTo>
                <a:close/>
                <a:moveTo>
                  <a:pt x="18110216" y="1938534"/>
                </a:moveTo>
                <a:cubicBezTo>
                  <a:pt x="18122192" y="1938534"/>
                  <a:pt x="18128180" y="1946026"/>
                  <a:pt x="18128180" y="1970643"/>
                </a:cubicBezTo>
                <a:cubicBezTo>
                  <a:pt x="18116204" y="1970643"/>
                  <a:pt x="18110216" y="1964221"/>
                  <a:pt x="18110216" y="1938534"/>
                </a:cubicBezTo>
                <a:close/>
                <a:moveTo>
                  <a:pt x="12383475" y="1938533"/>
                </a:moveTo>
                <a:cubicBezTo>
                  <a:pt x="12356175" y="1984828"/>
                  <a:pt x="12383475" y="1938533"/>
                  <a:pt x="12383475" y="1938533"/>
                </a:cubicBezTo>
                <a:close/>
                <a:moveTo>
                  <a:pt x="16540538" y="1935509"/>
                </a:moveTo>
                <a:cubicBezTo>
                  <a:pt x="16528448" y="1933763"/>
                  <a:pt x="16513940" y="1938330"/>
                  <a:pt x="16504266" y="1938330"/>
                </a:cubicBezTo>
                <a:cubicBezTo>
                  <a:pt x="16504266" y="1989913"/>
                  <a:pt x="16542958" y="1970570"/>
                  <a:pt x="16562302" y="1970570"/>
                </a:cubicBezTo>
                <a:cubicBezTo>
                  <a:pt x="16562302" y="1945315"/>
                  <a:pt x="16552630" y="1937255"/>
                  <a:pt x="16540538" y="1935509"/>
                </a:cubicBezTo>
                <a:close/>
                <a:moveTo>
                  <a:pt x="13512141" y="1934663"/>
                </a:moveTo>
                <a:cubicBezTo>
                  <a:pt x="13527677" y="1935620"/>
                  <a:pt x="13540053" y="1943823"/>
                  <a:pt x="13540053" y="1972809"/>
                </a:cubicBezTo>
                <a:cubicBezTo>
                  <a:pt x="13521094" y="1972809"/>
                  <a:pt x="13465271" y="1999059"/>
                  <a:pt x="13465271" y="1939995"/>
                </a:cubicBezTo>
                <a:cubicBezTo>
                  <a:pt x="13477910" y="1939995"/>
                  <a:pt x="13496605" y="1933706"/>
                  <a:pt x="13512141" y="1934663"/>
                </a:cubicBezTo>
                <a:close/>
                <a:moveTo>
                  <a:pt x="17463408" y="1927584"/>
                </a:moveTo>
                <a:lnTo>
                  <a:pt x="17462720" y="1930268"/>
                </a:lnTo>
                <a:cubicBezTo>
                  <a:pt x="17461692" y="1934257"/>
                  <a:pt x="17460872" y="1937447"/>
                  <a:pt x="17460872" y="1937447"/>
                </a:cubicBezTo>
                <a:close/>
                <a:moveTo>
                  <a:pt x="11635483" y="1919987"/>
                </a:moveTo>
                <a:lnTo>
                  <a:pt x="11632840" y="1930269"/>
                </a:lnTo>
                <a:cubicBezTo>
                  <a:pt x="11631814" y="1934257"/>
                  <a:pt x="11630994" y="1937447"/>
                  <a:pt x="11630994" y="1937447"/>
                </a:cubicBezTo>
                <a:cubicBezTo>
                  <a:pt x="11632635" y="1931066"/>
                  <a:pt x="11633865" y="1926280"/>
                  <a:pt x="11634762" y="1922791"/>
                </a:cubicBezTo>
                <a:close/>
                <a:moveTo>
                  <a:pt x="12375132" y="1919572"/>
                </a:moveTo>
                <a:cubicBezTo>
                  <a:pt x="12387429" y="1919572"/>
                  <a:pt x="12399727" y="1919572"/>
                  <a:pt x="12412024" y="1919572"/>
                </a:cubicBezTo>
                <a:cubicBezTo>
                  <a:pt x="12405876" y="1925892"/>
                  <a:pt x="12405876" y="1932212"/>
                  <a:pt x="12405876" y="1937479"/>
                </a:cubicBezTo>
                <a:cubicBezTo>
                  <a:pt x="12393578" y="1937479"/>
                  <a:pt x="12381281" y="1932212"/>
                  <a:pt x="12375132" y="1919572"/>
                </a:cubicBezTo>
                <a:close/>
                <a:moveTo>
                  <a:pt x="11526130" y="1913613"/>
                </a:moveTo>
                <a:cubicBezTo>
                  <a:pt x="11506785" y="1920063"/>
                  <a:pt x="11430479" y="1932957"/>
                  <a:pt x="11448750" y="1989913"/>
                </a:cubicBezTo>
                <a:cubicBezTo>
                  <a:pt x="11461646" y="1938330"/>
                  <a:pt x="11506785" y="1970570"/>
                  <a:pt x="11526130" y="1970570"/>
                </a:cubicBezTo>
                <a:cubicBezTo>
                  <a:pt x="11526130" y="1951226"/>
                  <a:pt x="11526130" y="1932957"/>
                  <a:pt x="11526130" y="1913613"/>
                </a:cubicBezTo>
                <a:close/>
                <a:moveTo>
                  <a:pt x="17427460" y="1907166"/>
                </a:moveTo>
                <a:cubicBezTo>
                  <a:pt x="17427460" y="1945853"/>
                  <a:pt x="17453252" y="1945853"/>
                  <a:pt x="17466152" y="1951226"/>
                </a:cubicBezTo>
                <a:cubicBezTo>
                  <a:pt x="17472600" y="1943435"/>
                  <a:pt x="17474212" y="1937189"/>
                  <a:pt x="17472800" y="1932101"/>
                </a:cubicBezTo>
                <a:lnTo>
                  <a:pt x="17464508" y="1923313"/>
                </a:lnTo>
                <a:lnTo>
                  <a:pt x="17461312" y="1919928"/>
                </a:lnTo>
                <a:cubicBezTo>
                  <a:pt x="17450028" y="1913614"/>
                  <a:pt x="17433908" y="1910390"/>
                  <a:pt x="17427460" y="1907166"/>
                </a:cubicBezTo>
                <a:close/>
                <a:moveTo>
                  <a:pt x="13639647" y="1905357"/>
                </a:moveTo>
                <a:cubicBezTo>
                  <a:pt x="13639647" y="1925263"/>
                  <a:pt x="13633660" y="1937427"/>
                  <a:pt x="13621685" y="1937427"/>
                </a:cubicBezTo>
                <a:cubicBezTo>
                  <a:pt x="13621685" y="1918627"/>
                  <a:pt x="13627672" y="1905357"/>
                  <a:pt x="13639647" y="1905357"/>
                </a:cubicBezTo>
                <a:close/>
                <a:moveTo>
                  <a:pt x="12468929" y="1905357"/>
                </a:moveTo>
                <a:cubicBezTo>
                  <a:pt x="12468929" y="1931898"/>
                  <a:pt x="12462942" y="1937427"/>
                  <a:pt x="12450967" y="1937427"/>
                </a:cubicBezTo>
                <a:cubicBezTo>
                  <a:pt x="12450967" y="1918627"/>
                  <a:pt x="12457952" y="1905357"/>
                  <a:pt x="12468929" y="1905357"/>
                </a:cubicBezTo>
                <a:close/>
                <a:moveTo>
                  <a:pt x="16455904" y="1901389"/>
                </a:moveTo>
                <a:cubicBezTo>
                  <a:pt x="16439782" y="1900718"/>
                  <a:pt x="16420438" y="1907166"/>
                  <a:pt x="16407542" y="1907166"/>
                </a:cubicBezTo>
                <a:cubicBezTo>
                  <a:pt x="16407542" y="1970570"/>
                  <a:pt x="16465578" y="1938330"/>
                  <a:pt x="16484922" y="1938330"/>
                </a:cubicBezTo>
                <a:cubicBezTo>
                  <a:pt x="16484922" y="1909852"/>
                  <a:pt x="16472024" y="1902061"/>
                  <a:pt x="16455904" y="1901389"/>
                </a:cubicBezTo>
                <a:close/>
                <a:moveTo>
                  <a:pt x="11958362" y="1872181"/>
                </a:moveTo>
                <a:cubicBezTo>
                  <a:pt x="11958362" y="1910960"/>
                  <a:pt x="11971187" y="1935736"/>
                  <a:pt x="11939124" y="1943277"/>
                </a:cubicBezTo>
                <a:cubicBezTo>
                  <a:pt x="11919887" y="1943277"/>
                  <a:pt x="11926299" y="1974516"/>
                  <a:pt x="11926299" y="2000369"/>
                </a:cubicBezTo>
                <a:cubicBezTo>
                  <a:pt x="11900649" y="1974516"/>
                  <a:pt x="11868586" y="1955126"/>
                  <a:pt x="11844005" y="1980979"/>
                </a:cubicBezTo>
                <a:cubicBezTo>
                  <a:pt x="11824767" y="1993906"/>
                  <a:pt x="11799117" y="2013295"/>
                  <a:pt x="11773467" y="2013295"/>
                </a:cubicBezTo>
                <a:cubicBezTo>
                  <a:pt x="11779879" y="2000369"/>
                  <a:pt x="11786292" y="1987443"/>
                  <a:pt x="11792704" y="1980979"/>
                </a:cubicBezTo>
                <a:cubicBezTo>
                  <a:pt x="11779879" y="1974516"/>
                  <a:pt x="11767054" y="1968052"/>
                  <a:pt x="11754229" y="1968052"/>
                </a:cubicBezTo>
                <a:cubicBezTo>
                  <a:pt x="11754229" y="1904497"/>
                  <a:pt x="11792704" y="1898034"/>
                  <a:pt x="11824767" y="1898034"/>
                </a:cubicBezTo>
                <a:cubicBezTo>
                  <a:pt x="11868586" y="1885107"/>
                  <a:pt x="11913474" y="1878644"/>
                  <a:pt x="11958362" y="1872181"/>
                </a:cubicBezTo>
                <a:close/>
                <a:moveTo>
                  <a:pt x="16363748" y="1869283"/>
                </a:moveTo>
                <a:cubicBezTo>
                  <a:pt x="16347090" y="1868478"/>
                  <a:pt x="16328012" y="1874926"/>
                  <a:pt x="16318338" y="1874926"/>
                </a:cubicBezTo>
                <a:cubicBezTo>
                  <a:pt x="16318338" y="1938330"/>
                  <a:pt x="16368852" y="1907166"/>
                  <a:pt x="16394646" y="1907166"/>
                </a:cubicBezTo>
                <a:cubicBezTo>
                  <a:pt x="16394646" y="1878155"/>
                  <a:pt x="16380406" y="1870090"/>
                  <a:pt x="16363748" y="1869283"/>
                </a:cubicBezTo>
                <a:close/>
                <a:moveTo>
                  <a:pt x="19033468" y="1848478"/>
                </a:moveTo>
                <a:cubicBezTo>
                  <a:pt x="19033468" y="1868953"/>
                  <a:pt x="19027480" y="1875778"/>
                  <a:pt x="19015508" y="1875778"/>
                </a:cubicBezTo>
                <a:cubicBezTo>
                  <a:pt x="19015508" y="1855303"/>
                  <a:pt x="19021492" y="1848478"/>
                  <a:pt x="19033468" y="1848478"/>
                </a:cubicBezTo>
                <a:close/>
                <a:moveTo>
                  <a:pt x="12029867" y="1846457"/>
                </a:moveTo>
                <a:cubicBezTo>
                  <a:pt x="12058053" y="1851076"/>
                  <a:pt x="12093100" y="1881955"/>
                  <a:pt x="12113368" y="1890055"/>
                </a:cubicBezTo>
                <a:cubicBezTo>
                  <a:pt x="12067967" y="1890055"/>
                  <a:pt x="12030132" y="1883575"/>
                  <a:pt x="11991217" y="1877096"/>
                </a:cubicBezTo>
                <a:cubicBezTo>
                  <a:pt x="11998514" y="1850367"/>
                  <a:pt x="12012955" y="1843685"/>
                  <a:pt x="12029867" y="1846457"/>
                </a:cubicBezTo>
                <a:close/>
                <a:moveTo>
                  <a:pt x="16267558" y="1842686"/>
                </a:moveTo>
                <a:cubicBezTo>
                  <a:pt x="16250632" y="1842686"/>
                  <a:pt x="16231286" y="1849134"/>
                  <a:pt x="16221614" y="1849134"/>
                </a:cubicBezTo>
                <a:cubicBezTo>
                  <a:pt x="16221614" y="1907166"/>
                  <a:pt x="16279650" y="1874926"/>
                  <a:pt x="16298994" y="1874926"/>
                </a:cubicBezTo>
                <a:cubicBezTo>
                  <a:pt x="16298994" y="1849134"/>
                  <a:pt x="16284484" y="1842686"/>
                  <a:pt x="16267558" y="1842686"/>
                </a:cubicBezTo>
                <a:close/>
                <a:moveTo>
                  <a:pt x="12897459" y="1819784"/>
                </a:moveTo>
                <a:cubicBezTo>
                  <a:pt x="12908296" y="1815173"/>
                  <a:pt x="12919133" y="1824396"/>
                  <a:pt x="12919133" y="1847453"/>
                </a:cubicBezTo>
                <a:cubicBezTo>
                  <a:pt x="12906289" y="1841304"/>
                  <a:pt x="12893446" y="1835156"/>
                  <a:pt x="12887024" y="1829007"/>
                </a:cubicBezTo>
                <a:cubicBezTo>
                  <a:pt x="12890235" y="1824396"/>
                  <a:pt x="12893847" y="1821321"/>
                  <a:pt x="12897459" y="1819784"/>
                </a:cubicBezTo>
                <a:close/>
                <a:moveTo>
                  <a:pt x="16163578" y="1816895"/>
                </a:moveTo>
                <a:cubicBezTo>
                  <a:pt x="16163578" y="1849134"/>
                  <a:pt x="16189372" y="1849134"/>
                  <a:pt x="16202270" y="1849134"/>
                </a:cubicBezTo>
                <a:cubicBezTo>
                  <a:pt x="16202270" y="1810447"/>
                  <a:pt x="16182924" y="1816895"/>
                  <a:pt x="16163578" y="1816895"/>
                </a:cubicBezTo>
                <a:close/>
                <a:moveTo>
                  <a:pt x="16125962" y="1816895"/>
                </a:moveTo>
                <a:cubicBezTo>
                  <a:pt x="16125962" y="1836238"/>
                  <a:pt x="16132412" y="1849134"/>
                  <a:pt x="16145308" y="1849134"/>
                </a:cubicBezTo>
                <a:cubicBezTo>
                  <a:pt x="16145308" y="1829790"/>
                  <a:pt x="16138860" y="1816895"/>
                  <a:pt x="16125962" y="1816895"/>
                </a:cubicBezTo>
                <a:close/>
                <a:moveTo>
                  <a:pt x="18976520" y="1816710"/>
                </a:moveTo>
                <a:cubicBezTo>
                  <a:pt x="18976520" y="1847453"/>
                  <a:pt x="18957252" y="1847453"/>
                  <a:pt x="18944412" y="1847453"/>
                </a:cubicBezTo>
                <a:cubicBezTo>
                  <a:pt x="18944412" y="1810561"/>
                  <a:pt x="18963676" y="1816710"/>
                  <a:pt x="18976520" y="1816710"/>
                </a:cubicBezTo>
                <a:close/>
                <a:moveTo>
                  <a:pt x="18039120" y="1815299"/>
                </a:moveTo>
                <a:cubicBezTo>
                  <a:pt x="18052244" y="1815299"/>
                  <a:pt x="18052244" y="1828142"/>
                  <a:pt x="18052244" y="1847407"/>
                </a:cubicBezTo>
                <a:cubicBezTo>
                  <a:pt x="18039120" y="1847407"/>
                  <a:pt x="18039120" y="1834564"/>
                  <a:pt x="18039120" y="1815299"/>
                </a:cubicBezTo>
                <a:close/>
                <a:moveTo>
                  <a:pt x="17792656" y="1815299"/>
                </a:moveTo>
                <a:cubicBezTo>
                  <a:pt x="17805296" y="1815299"/>
                  <a:pt x="17810560" y="1828143"/>
                  <a:pt x="17810560" y="1847408"/>
                </a:cubicBezTo>
                <a:cubicBezTo>
                  <a:pt x="17798976" y="1847408"/>
                  <a:pt x="17792656" y="1834564"/>
                  <a:pt x="17792656" y="1815299"/>
                </a:cubicBezTo>
                <a:close/>
                <a:moveTo>
                  <a:pt x="12468929" y="1815299"/>
                </a:moveTo>
                <a:cubicBezTo>
                  <a:pt x="12468929" y="1834565"/>
                  <a:pt x="12462942" y="1847408"/>
                  <a:pt x="12450967" y="1847408"/>
                </a:cubicBezTo>
                <a:cubicBezTo>
                  <a:pt x="12450967" y="1828143"/>
                  <a:pt x="12457952" y="1815299"/>
                  <a:pt x="12468929" y="1815299"/>
                </a:cubicBezTo>
                <a:close/>
                <a:moveTo>
                  <a:pt x="12866517" y="1813923"/>
                </a:moveTo>
                <a:cubicBezTo>
                  <a:pt x="12872738" y="1812643"/>
                  <a:pt x="12873331" y="1822881"/>
                  <a:pt x="12863851" y="1833118"/>
                </a:cubicBezTo>
                <a:cubicBezTo>
                  <a:pt x="12863851" y="1829705"/>
                  <a:pt x="12863851" y="1827999"/>
                  <a:pt x="12863193" y="1826293"/>
                </a:cubicBezTo>
                <a:lnTo>
                  <a:pt x="12861645" y="1824001"/>
                </a:lnTo>
                <a:lnTo>
                  <a:pt x="12862144" y="1828427"/>
                </a:lnTo>
                <a:cubicBezTo>
                  <a:pt x="12849107" y="1828427"/>
                  <a:pt x="12849107" y="1828427"/>
                  <a:pt x="12856218" y="1815299"/>
                </a:cubicBezTo>
                <a:lnTo>
                  <a:pt x="12859182" y="1819051"/>
                </a:lnTo>
                <a:close/>
                <a:moveTo>
                  <a:pt x="18908284" y="1787523"/>
                </a:moveTo>
                <a:cubicBezTo>
                  <a:pt x="18916740" y="1790829"/>
                  <a:pt x="18924424" y="1802403"/>
                  <a:pt x="18924424" y="1818937"/>
                </a:cubicBezTo>
                <a:cubicBezTo>
                  <a:pt x="18912128" y="1812323"/>
                  <a:pt x="18899832" y="1812323"/>
                  <a:pt x="18887532" y="1805710"/>
                </a:cubicBezTo>
                <a:cubicBezTo>
                  <a:pt x="18890608" y="1789176"/>
                  <a:pt x="18899828" y="1784216"/>
                  <a:pt x="18908284" y="1787523"/>
                </a:cubicBezTo>
                <a:close/>
                <a:moveTo>
                  <a:pt x="16055030" y="1784655"/>
                </a:moveTo>
                <a:cubicBezTo>
                  <a:pt x="16055030" y="1816895"/>
                  <a:pt x="16074376" y="1816895"/>
                  <a:pt x="16087274" y="1816895"/>
                </a:cubicBezTo>
                <a:cubicBezTo>
                  <a:pt x="16087274" y="1778207"/>
                  <a:pt x="16067928" y="1784655"/>
                  <a:pt x="16055030" y="1784655"/>
                </a:cubicBezTo>
                <a:close/>
                <a:moveTo>
                  <a:pt x="19450568" y="1782119"/>
                </a:moveTo>
                <a:cubicBezTo>
                  <a:pt x="19450568" y="1801382"/>
                  <a:pt x="19444580" y="1814225"/>
                  <a:pt x="19432604" y="1814225"/>
                </a:cubicBezTo>
                <a:cubicBezTo>
                  <a:pt x="19432604" y="1794961"/>
                  <a:pt x="19438592" y="1782119"/>
                  <a:pt x="19450568" y="1782119"/>
                </a:cubicBezTo>
                <a:close/>
                <a:moveTo>
                  <a:pt x="13695273" y="1778260"/>
                </a:moveTo>
                <a:cubicBezTo>
                  <a:pt x="13697518" y="1779063"/>
                  <a:pt x="13698765" y="1782274"/>
                  <a:pt x="13701260" y="1785484"/>
                </a:cubicBezTo>
                <a:cubicBezTo>
                  <a:pt x="13701260" y="1785484"/>
                  <a:pt x="13696271" y="1791905"/>
                  <a:pt x="13696271" y="1804748"/>
                </a:cubicBezTo>
                <a:cubicBezTo>
                  <a:pt x="13690283" y="1798327"/>
                  <a:pt x="13690283" y="1791905"/>
                  <a:pt x="13683298" y="1785484"/>
                </a:cubicBezTo>
                <a:cubicBezTo>
                  <a:pt x="13689784" y="1779063"/>
                  <a:pt x="13693028" y="1777458"/>
                  <a:pt x="13695273" y="1778260"/>
                </a:cubicBezTo>
                <a:close/>
                <a:moveTo>
                  <a:pt x="15920690" y="1758863"/>
                </a:moveTo>
                <a:cubicBezTo>
                  <a:pt x="15920690" y="1778207"/>
                  <a:pt x="15927138" y="1784655"/>
                  <a:pt x="15940034" y="1784655"/>
                </a:cubicBezTo>
                <a:cubicBezTo>
                  <a:pt x="15940034" y="1765311"/>
                  <a:pt x="15933586" y="1758863"/>
                  <a:pt x="15920690" y="1758863"/>
                </a:cubicBezTo>
                <a:close/>
                <a:moveTo>
                  <a:pt x="17674160" y="1758421"/>
                </a:moveTo>
                <a:cubicBezTo>
                  <a:pt x="17687812" y="1758421"/>
                  <a:pt x="17701460" y="1765245"/>
                  <a:pt x="17701460" y="1785720"/>
                </a:cubicBezTo>
                <a:cubicBezTo>
                  <a:pt x="17687812" y="1785720"/>
                  <a:pt x="17674160" y="1778895"/>
                  <a:pt x="17674160" y="1758421"/>
                </a:cubicBezTo>
                <a:close/>
                <a:moveTo>
                  <a:pt x="18855804" y="1757267"/>
                </a:moveTo>
                <a:cubicBezTo>
                  <a:pt x="18865940" y="1759573"/>
                  <a:pt x="18877000" y="1765722"/>
                  <a:pt x="18886480" y="1768796"/>
                </a:cubicBezTo>
                <a:cubicBezTo>
                  <a:pt x="18880160" y="1768796"/>
                  <a:pt x="18880160" y="1774945"/>
                  <a:pt x="18873840" y="1781094"/>
                </a:cubicBezTo>
                <a:cubicBezTo>
                  <a:pt x="18861200" y="1774945"/>
                  <a:pt x="18842240" y="1774945"/>
                  <a:pt x="18830656" y="1768796"/>
                </a:cubicBezTo>
                <a:cubicBezTo>
                  <a:pt x="18836448" y="1756499"/>
                  <a:pt x="18845664" y="1754962"/>
                  <a:pt x="18855804" y="1757267"/>
                </a:cubicBezTo>
                <a:close/>
                <a:moveTo>
                  <a:pt x="13497861" y="1747265"/>
                </a:moveTo>
                <a:cubicBezTo>
                  <a:pt x="13539186" y="1746450"/>
                  <a:pt x="13582110" y="1764101"/>
                  <a:pt x="13630100" y="1786368"/>
                </a:cubicBezTo>
                <a:cubicBezTo>
                  <a:pt x="13540519" y="1792885"/>
                  <a:pt x="13458403" y="1805920"/>
                  <a:pt x="13375221" y="1818954"/>
                </a:cubicBezTo>
                <a:cubicBezTo>
                  <a:pt x="13416812" y="1767360"/>
                  <a:pt x="13456537" y="1748080"/>
                  <a:pt x="13497861" y="1747265"/>
                </a:cubicBezTo>
                <a:close/>
                <a:moveTo>
                  <a:pt x="18801700" y="1728798"/>
                </a:moveTo>
                <a:cubicBezTo>
                  <a:pt x="18811008" y="1731036"/>
                  <a:pt x="18820312" y="1737356"/>
                  <a:pt x="18829620" y="1741042"/>
                </a:cubicBezTo>
                <a:cubicBezTo>
                  <a:pt x="18811008" y="1752628"/>
                  <a:pt x="18792392" y="1746308"/>
                  <a:pt x="18773780" y="1741042"/>
                </a:cubicBezTo>
                <a:cubicBezTo>
                  <a:pt x="18783084" y="1728403"/>
                  <a:pt x="18792392" y="1726560"/>
                  <a:pt x="18801700" y="1728798"/>
                </a:cubicBezTo>
                <a:close/>
                <a:moveTo>
                  <a:pt x="14094163" y="1728691"/>
                </a:moveTo>
                <a:cubicBezTo>
                  <a:pt x="14101699" y="1747002"/>
                  <a:pt x="14108158" y="1766391"/>
                  <a:pt x="14113540" y="1785780"/>
                </a:cubicBezTo>
                <a:cubicBezTo>
                  <a:pt x="13998351" y="1785780"/>
                  <a:pt x="13883162" y="1785780"/>
                  <a:pt x="13773355" y="1785780"/>
                </a:cubicBezTo>
                <a:cubicBezTo>
                  <a:pt x="13786273" y="1715765"/>
                  <a:pt x="13850866" y="1734076"/>
                  <a:pt x="13883162" y="1741617"/>
                </a:cubicBezTo>
                <a:cubicBezTo>
                  <a:pt x="13953137" y="1747002"/>
                  <a:pt x="14024188" y="1734076"/>
                  <a:pt x="14094163" y="1728691"/>
                </a:cubicBezTo>
                <a:close/>
                <a:moveTo>
                  <a:pt x="13095574" y="1726822"/>
                </a:moveTo>
                <a:cubicBezTo>
                  <a:pt x="13108417" y="1726822"/>
                  <a:pt x="13127683" y="1720502"/>
                  <a:pt x="13127683" y="1757366"/>
                </a:cubicBezTo>
                <a:cubicBezTo>
                  <a:pt x="13114839" y="1757366"/>
                  <a:pt x="13095574" y="1757366"/>
                  <a:pt x="13095574" y="1726822"/>
                </a:cubicBezTo>
                <a:close/>
                <a:moveTo>
                  <a:pt x="17849532" y="1725244"/>
                </a:moveTo>
                <a:cubicBezTo>
                  <a:pt x="17868144" y="1725244"/>
                  <a:pt x="17886760" y="1730510"/>
                  <a:pt x="17905372" y="1737883"/>
                </a:cubicBezTo>
                <a:cubicBezTo>
                  <a:pt x="17886760" y="1762108"/>
                  <a:pt x="17868144" y="1755788"/>
                  <a:pt x="17849532" y="1755788"/>
                </a:cubicBezTo>
                <a:cubicBezTo>
                  <a:pt x="17849532" y="1743149"/>
                  <a:pt x="17849532" y="1730510"/>
                  <a:pt x="17849532" y="1725244"/>
                </a:cubicBezTo>
                <a:close/>
                <a:moveTo>
                  <a:pt x="12799195" y="1725244"/>
                </a:moveTo>
                <a:cubicBezTo>
                  <a:pt x="12881579" y="1730567"/>
                  <a:pt x="12971453" y="1743344"/>
                  <a:pt x="13061326" y="1749732"/>
                </a:cubicBezTo>
                <a:cubicBezTo>
                  <a:pt x="13009970" y="1762509"/>
                  <a:pt x="12958614" y="1768897"/>
                  <a:pt x="12900838" y="1794450"/>
                </a:cubicBezTo>
                <a:cubicBezTo>
                  <a:pt x="12862321" y="1820003"/>
                  <a:pt x="12818454" y="1781674"/>
                  <a:pt x="12773517" y="1794450"/>
                </a:cubicBezTo>
                <a:cubicBezTo>
                  <a:pt x="12747839" y="1794450"/>
                  <a:pt x="12735000" y="1820003"/>
                  <a:pt x="12709322" y="1839168"/>
                </a:cubicBezTo>
                <a:cubicBezTo>
                  <a:pt x="12690063" y="1851945"/>
                  <a:pt x="12670805" y="1858333"/>
                  <a:pt x="12652616" y="1864722"/>
                </a:cubicBezTo>
                <a:cubicBezTo>
                  <a:pt x="12614099" y="1871110"/>
                  <a:pt x="12601260" y="1858333"/>
                  <a:pt x="12588421" y="1807227"/>
                </a:cubicBezTo>
                <a:cubicBezTo>
                  <a:pt x="12620519" y="1768897"/>
                  <a:pt x="12657966" y="1762509"/>
                  <a:pt x="12696483" y="1749732"/>
                </a:cubicBezTo>
                <a:cubicBezTo>
                  <a:pt x="12715742" y="1749732"/>
                  <a:pt x="12735000" y="1743344"/>
                  <a:pt x="12760678" y="1738020"/>
                </a:cubicBezTo>
                <a:cubicBezTo>
                  <a:pt x="12773517" y="1738020"/>
                  <a:pt x="12779937" y="1725244"/>
                  <a:pt x="12799195" y="1725244"/>
                </a:cubicBezTo>
                <a:close/>
                <a:moveTo>
                  <a:pt x="13704364" y="1725242"/>
                </a:moveTo>
                <a:cubicBezTo>
                  <a:pt x="13717003" y="1730508"/>
                  <a:pt x="13723322" y="1743148"/>
                  <a:pt x="13729642" y="1755787"/>
                </a:cubicBezTo>
                <a:cubicBezTo>
                  <a:pt x="13723322" y="1762107"/>
                  <a:pt x="13710683" y="1768427"/>
                  <a:pt x="13704364" y="1781066"/>
                </a:cubicBezTo>
                <a:cubicBezTo>
                  <a:pt x="13692778" y="1768427"/>
                  <a:pt x="13699098" y="1743148"/>
                  <a:pt x="13704364" y="1725242"/>
                </a:cubicBezTo>
                <a:close/>
                <a:moveTo>
                  <a:pt x="19272752" y="1696806"/>
                </a:moveTo>
                <a:cubicBezTo>
                  <a:pt x="19292048" y="1696806"/>
                  <a:pt x="19304912" y="1703194"/>
                  <a:pt x="19324212" y="1715970"/>
                </a:cubicBezTo>
                <a:cubicBezTo>
                  <a:pt x="19356372" y="1728747"/>
                  <a:pt x="19382104" y="1759624"/>
                  <a:pt x="19407832" y="1797954"/>
                </a:cubicBezTo>
                <a:cubicBezTo>
                  <a:pt x="19394968" y="1810730"/>
                  <a:pt x="19388536" y="1823507"/>
                  <a:pt x="19382104" y="1842672"/>
                </a:cubicBezTo>
                <a:cubicBezTo>
                  <a:pt x="19330644" y="1804342"/>
                  <a:pt x="19279184" y="1772401"/>
                  <a:pt x="19228796" y="1741524"/>
                </a:cubicBezTo>
                <a:cubicBezTo>
                  <a:pt x="19241660" y="1728747"/>
                  <a:pt x="19260956" y="1715970"/>
                  <a:pt x="19272752" y="1696806"/>
                </a:cubicBezTo>
                <a:close/>
                <a:moveTo>
                  <a:pt x="13541106" y="1696804"/>
                </a:moveTo>
                <a:cubicBezTo>
                  <a:pt x="13553081" y="1696804"/>
                  <a:pt x="13559068" y="1703225"/>
                  <a:pt x="13559068" y="1728909"/>
                </a:cubicBezTo>
                <a:cubicBezTo>
                  <a:pt x="13547093" y="1728909"/>
                  <a:pt x="13541106" y="1716067"/>
                  <a:pt x="13541106" y="1696804"/>
                </a:cubicBezTo>
                <a:close/>
                <a:moveTo>
                  <a:pt x="13413135" y="1696804"/>
                </a:moveTo>
                <a:cubicBezTo>
                  <a:pt x="13425110" y="1696804"/>
                  <a:pt x="13431097" y="1703225"/>
                  <a:pt x="13431097" y="1728910"/>
                </a:cubicBezTo>
                <a:cubicBezTo>
                  <a:pt x="13419122" y="1728910"/>
                  <a:pt x="13413135" y="1716067"/>
                  <a:pt x="13413135" y="1696804"/>
                </a:cubicBezTo>
                <a:close/>
                <a:moveTo>
                  <a:pt x="18724572" y="1696803"/>
                </a:moveTo>
                <a:cubicBezTo>
                  <a:pt x="18736984" y="1696803"/>
                  <a:pt x="18755600" y="1703225"/>
                  <a:pt x="18768008" y="1709646"/>
                </a:cubicBezTo>
                <a:cubicBezTo>
                  <a:pt x="18749392" y="1728909"/>
                  <a:pt x="18730780" y="1716067"/>
                  <a:pt x="18712164" y="1709646"/>
                </a:cubicBezTo>
                <a:cubicBezTo>
                  <a:pt x="18718368" y="1703225"/>
                  <a:pt x="18718368" y="1696803"/>
                  <a:pt x="18724572" y="1696803"/>
                </a:cubicBezTo>
                <a:close/>
                <a:moveTo>
                  <a:pt x="17799912" y="1693674"/>
                </a:moveTo>
                <a:cubicBezTo>
                  <a:pt x="17803912" y="1693674"/>
                  <a:pt x="17807664" y="1694097"/>
                  <a:pt x="17810560" y="1694097"/>
                </a:cubicBezTo>
                <a:cubicBezTo>
                  <a:pt x="17810560" y="1733595"/>
                  <a:pt x="17792652" y="1727953"/>
                  <a:pt x="17773696" y="1727953"/>
                </a:cubicBezTo>
                <a:cubicBezTo>
                  <a:pt x="17773696" y="1697483"/>
                  <a:pt x="17787912" y="1693674"/>
                  <a:pt x="17799912" y="1693674"/>
                </a:cubicBezTo>
                <a:close/>
                <a:moveTo>
                  <a:pt x="14430369" y="1677843"/>
                </a:moveTo>
                <a:cubicBezTo>
                  <a:pt x="14442778" y="1696995"/>
                  <a:pt x="14461393" y="1709763"/>
                  <a:pt x="14473803" y="1728915"/>
                </a:cubicBezTo>
                <a:cubicBezTo>
                  <a:pt x="14455188" y="1728915"/>
                  <a:pt x="14436574" y="1728915"/>
                  <a:pt x="14417959" y="1728915"/>
                </a:cubicBezTo>
                <a:cubicBezTo>
                  <a:pt x="14424164" y="1709763"/>
                  <a:pt x="14424164" y="1696995"/>
                  <a:pt x="14430369" y="1677843"/>
                </a:cubicBezTo>
                <a:close/>
                <a:moveTo>
                  <a:pt x="19265620" y="1677842"/>
                </a:moveTo>
                <a:cubicBezTo>
                  <a:pt x="19260152" y="1683829"/>
                  <a:pt x="19260152" y="1689816"/>
                  <a:pt x="19252496" y="1695804"/>
                </a:cubicBezTo>
                <a:cubicBezTo>
                  <a:pt x="19252496" y="1677842"/>
                  <a:pt x="19252496" y="1677842"/>
                  <a:pt x="19265620" y="1677842"/>
                </a:cubicBezTo>
                <a:close/>
                <a:moveTo>
                  <a:pt x="14361488" y="1671350"/>
                </a:moveTo>
                <a:cubicBezTo>
                  <a:pt x="14366821" y="1670447"/>
                  <a:pt x="14371311" y="1681284"/>
                  <a:pt x="14362330" y="1695733"/>
                </a:cubicBezTo>
                <a:cubicBezTo>
                  <a:pt x="14362330" y="1689311"/>
                  <a:pt x="14356343" y="1682889"/>
                  <a:pt x="14356343" y="1676468"/>
                </a:cubicBezTo>
                <a:cubicBezTo>
                  <a:pt x="14357840" y="1673257"/>
                  <a:pt x="14359711" y="1671651"/>
                  <a:pt x="14361488" y="1671350"/>
                </a:cubicBezTo>
                <a:close/>
                <a:moveTo>
                  <a:pt x="18664768" y="1663624"/>
                </a:moveTo>
                <a:cubicBezTo>
                  <a:pt x="18683920" y="1670008"/>
                  <a:pt x="18696688" y="1676393"/>
                  <a:pt x="18715840" y="1676393"/>
                </a:cubicBezTo>
                <a:cubicBezTo>
                  <a:pt x="18703072" y="1689161"/>
                  <a:pt x="18664768" y="1714699"/>
                  <a:pt x="18664768" y="1663624"/>
                </a:cubicBezTo>
                <a:close/>
                <a:moveTo>
                  <a:pt x="18635276" y="1630447"/>
                </a:moveTo>
                <a:cubicBezTo>
                  <a:pt x="18635276" y="1656132"/>
                  <a:pt x="18628956" y="1662553"/>
                  <a:pt x="18617368" y="1662553"/>
                </a:cubicBezTo>
                <a:cubicBezTo>
                  <a:pt x="18617368" y="1643290"/>
                  <a:pt x="18623688" y="1630447"/>
                  <a:pt x="18635276" y="1630447"/>
                </a:cubicBezTo>
                <a:close/>
                <a:moveTo>
                  <a:pt x="17361340" y="1630447"/>
                </a:moveTo>
                <a:cubicBezTo>
                  <a:pt x="17374468" y="1630447"/>
                  <a:pt x="17374468" y="1643290"/>
                  <a:pt x="17374468" y="1662553"/>
                </a:cubicBezTo>
                <a:cubicBezTo>
                  <a:pt x="17361340" y="1662553"/>
                  <a:pt x="17361340" y="1649711"/>
                  <a:pt x="17361340" y="1630447"/>
                </a:cubicBezTo>
                <a:close/>
                <a:moveTo>
                  <a:pt x="14316122" y="1598740"/>
                </a:moveTo>
                <a:cubicBezTo>
                  <a:pt x="14316122" y="1624531"/>
                  <a:pt x="14322571" y="1630979"/>
                  <a:pt x="14335467" y="1630979"/>
                </a:cubicBezTo>
                <a:cubicBezTo>
                  <a:pt x="14335467" y="1611636"/>
                  <a:pt x="14329019" y="1598740"/>
                  <a:pt x="14316122" y="1598740"/>
                </a:cubicBezTo>
                <a:close/>
                <a:moveTo>
                  <a:pt x="13299383" y="1597266"/>
                </a:moveTo>
                <a:cubicBezTo>
                  <a:pt x="13408966" y="1610391"/>
                  <a:pt x="13517474" y="1616954"/>
                  <a:pt x="13620611" y="1630080"/>
                </a:cubicBezTo>
                <a:cubicBezTo>
                  <a:pt x="13620611" y="1695708"/>
                  <a:pt x="13492764" y="1662894"/>
                  <a:pt x="13466980" y="1662894"/>
                </a:cubicBezTo>
                <a:cubicBezTo>
                  <a:pt x="13434750" y="1662894"/>
                  <a:pt x="13396074" y="1662894"/>
                  <a:pt x="13363843" y="1662894"/>
                </a:cubicBezTo>
                <a:cubicBezTo>
                  <a:pt x="13338059" y="1662894"/>
                  <a:pt x="13318721" y="1662894"/>
                  <a:pt x="13299383" y="1662894"/>
                </a:cubicBezTo>
                <a:cubicBezTo>
                  <a:pt x="13299383" y="1643205"/>
                  <a:pt x="13299383" y="1623517"/>
                  <a:pt x="13299383" y="1597266"/>
                </a:cubicBezTo>
                <a:close/>
                <a:moveTo>
                  <a:pt x="17529708" y="1596145"/>
                </a:moveTo>
                <a:cubicBezTo>
                  <a:pt x="17547480" y="1599370"/>
                  <a:pt x="17566872" y="1609045"/>
                  <a:pt x="17579796" y="1612270"/>
                </a:cubicBezTo>
                <a:cubicBezTo>
                  <a:pt x="17618576" y="1631620"/>
                  <a:pt x="17669204" y="1625170"/>
                  <a:pt x="17701520" y="1676770"/>
                </a:cubicBezTo>
                <a:cubicBezTo>
                  <a:pt x="17630428" y="1657420"/>
                  <a:pt x="17560408" y="1638070"/>
                  <a:pt x="17489312" y="1618720"/>
                </a:cubicBezTo>
                <a:cubicBezTo>
                  <a:pt x="17495776" y="1596145"/>
                  <a:pt x="17511936" y="1592920"/>
                  <a:pt x="17529708" y="1596145"/>
                </a:cubicBezTo>
                <a:close/>
                <a:moveTo>
                  <a:pt x="16853976" y="1593818"/>
                </a:moveTo>
                <a:cubicBezTo>
                  <a:pt x="16871360" y="1594628"/>
                  <a:pt x="16886260" y="1602727"/>
                  <a:pt x="16886260" y="1631886"/>
                </a:cubicBezTo>
                <a:cubicBezTo>
                  <a:pt x="16866392" y="1631886"/>
                  <a:pt x="16806792" y="1657804"/>
                  <a:pt x="16806792" y="1599488"/>
                </a:cubicBezTo>
                <a:cubicBezTo>
                  <a:pt x="16816724" y="1599488"/>
                  <a:pt x="16836592" y="1593008"/>
                  <a:pt x="16853976" y="1593818"/>
                </a:cubicBezTo>
                <a:close/>
                <a:moveTo>
                  <a:pt x="9923617" y="1577913"/>
                </a:moveTo>
                <a:cubicBezTo>
                  <a:pt x="9909732" y="1581285"/>
                  <a:pt x="9892276" y="1595113"/>
                  <a:pt x="9885021" y="1598740"/>
                </a:cubicBezTo>
                <a:cubicBezTo>
                  <a:pt x="9865676" y="1605189"/>
                  <a:pt x="9826986" y="1579396"/>
                  <a:pt x="9826986" y="1630979"/>
                </a:cubicBezTo>
                <a:cubicBezTo>
                  <a:pt x="9852780" y="1624531"/>
                  <a:pt x="9878573" y="1624531"/>
                  <a:pt x="9904367" y="1618084"/>
                </a:cubicBezTo>
                <a:cubicBezTo>
                  <a:pt x="9910815" y="1592292"/>
                  <a:pt x="9930160" y="1598740"/>
                  <a:pt x="9943057" y="1598740"/>
                </a:cubicBezTo>
                <a:cubicBezTo>
                  <a:pt x="9943057" y="1587456"/>
                  <a:pt x="9940236" y="1581411"/>
                  <a:pt x="9935803" y="1578791"/>
                </a:cubicBezTo>
                <a:cubicBezTo>
                  <a:pt x="9932478" y="1576827"/>
                  <a:pt x="9928246" y="1576789"/>
                  <a:pt x="9923617" y="1577913"/>
                </a:cubicBezTo>
                <a:close/>
                <a:moveTo>
                  <a:pt x="17451392" y="1573569"/>
                </a:moveTo>
                <a:cubicBezTo>
                  <a:pt x="17463692" y="1580394"/>
                  <a:pt x="17475988" y="1580394"/>
                  <a:pt x="17488284" y="1587219"/>
                </a:cubicBezTo>
                <a:cubicBezTo>
                  <a:pt x="17482136" y="1594043"/>
                  <a:pt x="17482136" y="1594043"/>
                  <a:pt x="17482136" y="1600868"/>
                </a:cubicBezTo>
                <a:cubicBezTo>
                  <a:pt x="17469840" y="1600868"/>
                  <a:pt x="17451392" y="1600868"/>
                  <a:pt x="17451392" y="1573569"/>
                </a:cubicBezTo>
                <a:close/>
                <a:moveTo>
                  <a:pt x="13185628" y="1573569"/>
                </a:moveTo>
                <a:cubicBezTo>
                  <a:pt x="13197603" y="1573569"/>
                  <a:pt x="13203590" y="1580394"/>
                  <a:pt x="13203590" y="1600868"/>
                </a:cubicBezTo>
                <a:cubicBezTo>
                  <a:pt x="13197603" y="1600868"/>
                  <a:pt x="13185628" y="1594044"/>
                  <a:pt x="13185628" y="1573569"/>
                </a:cubicBezTo>
                <a:close/>
                <a:moveTo>
                  <a:pt x="13113024" y="1542860"/>
                </a:moveTo>
                <a:cubicBezTo>
                  <a:pt x="13113024" y="1575445"/>
                  <a:pt x="13132247" y="1575445"/>
                  <a:pt x="13151469" y="1575445"/>
                </a:cubicBezTo>
                <a:cubicBezTo>
                  <a:pt x="13151469" y="1537429"/>
                  <a:pt x="13125839" y="1542860"/>
                  <a:pt x="13113024" y="1542860"/>
                </a:cubicBezTo>
                <a:close/>
                <a:moveTo>
                  <a:pt x="14842739" y="1540708"/>
                </a:moveTo>
                <a:cubicBezTo>
                  <a:pt x="14836290" y="1547156"/>
                  <a:pt x="14836290" y="1547156"/>
                  <a:pt x="14842739" y="1572949"/>
                </a:cubicBezTo>
                <a:cubicBezTo>
                  <a:pt x="14842739" y="1560052"/>
                  <a:pt x="14842739" y="1547156"/>
                  <a:pt x="14842739" y="1540708"/>
                </a:cubicBezTo>
                <a:close/>
                <a:moveTo>
                  <a:pt x="10012914" y="1540708"/>
                </a:moveTo>
                <a:cubicBezTo>
                  <a:pt x="10012914" y="1560052"/>
                  <a:pt x="10019362" y="1572949"/>
                  <a:pt x="10032259" y="1572949"/>
                </a:cubicBezTo>
                <a:cubicBezTo>
                  <a:pt x="10032259" y="1547156"/>
                  <a:pt x="10025811" y="1540708"/>
                  <a:pt x="10012914" y="1540708"/>
                </a:cubicBezTo>
                <a:close/>
                <a:moveTo>
                  <a:pt x="18977592" y="1540388"/>
                </a:moveTo>
                <a:cubicBezTo>
                  <a:pt x="19004080" y="1540388"/>
                  <a:pt x="19030572" y="1540388"/>
                  <a:pt x="19057060" y="1540388"/>
                </a:cubicBezTo>
                <a:cubicBezTo>
                  <a:pt x="19049336" y="1559002"/>
                  <a:pt x="19042712" y="1577617"/>
                  <a:pt x="19037192" y="1596231"/>
                </a:cubicBezTo>
                <a:cubicBezTo>
                  <a:pt x="19017328" y="1590027"/>
                  <a:pt x="18977592" y="1583822"/>
                  <a:pt x="18977592" y="1540388"/>
                </a:cubicBezTo>
                <a:close/>
                <a:moveTo>
                  <a:pt x="16678428" y="1521110"/>
                </a:moveTo>
                <a:cubicBezTo>
                  <a:pt x="16690406" y="1515455"/>
                  <a:pt x="16701586" y="1520033"/>
                  <a:pt x="16711168" y="1551811"/>
                </a:cubicBezTo>
                <a:cubicBezTo>
                  <a:pt x="16723946" y="1597054"/>
                  <a:pt x="16768664" y="1571200"/>
                  <a:pt x="16786768" y="1571200"/>
                </a:cubicBezTo>
                <a:cubicBezTo>
                  <a:pt x="16775054" y="1603517"/>
                  <a:pt x="16768664" y="1629370"/>
                  <a:pt x="16743110" y="1616443"/>
                </a:cubicBezTo>
                <a:cubicBezTo>
                  <a:pt x="16711168" y="1590590"/>
                  <a:pt x="16672838" y="1571200"/>
                  <a:pt x="16640896" y="1551811"/>
                </a:cubicBezTo>
                <a:cubicBezTo>
                  <a:pt x="16653672" y="1542654"/>
                  <a:pt x="16666450" y="1526765"/>
                  <a:pt x="16678428" y="1521110"/>
                </a:cubicBezTo>
                <a:close/>
                <a:moveTo>
                  <a:pt x="12450967" y="1507211"/>
                </a:moveTo>
                <a:cubicBezTo>
                  <a:pt x="12462942" y="1507211"/>
                  <a:pt x="12468929" y="1513847"/>
                  <a:pt x="12468929" y="1539281"/>
                </a:cubicBezTo>
                <a:cubicBezTo>
                  <a:pt x="12457952" y="1539281"/>
                  <a:pt x="12450967" y="1526011"/>
                  <a:pt x="12450967" y="1507211"/>
                </a:cubicBezTo>
                <a:close/>
                <a:moveTo>
                  <a:pt x="14462017" y="1506186"/>
                </a:moveTo>
                <a:cubicBezTo>
                  <a:pt x="14449926" y="1504708"/>
                  <a:pt x="14435418" y="1509543"/>
                  <a:pt x="14425745" y="1509543"/>
                </a:cubicBezTo>
                <a:cubicBezTo>
                  <a:pt x="14425745" y="1560052"/>
                  <a:pt x="14464435" y="1540708"/>
                  <a:pt x="14483780" y="1540708"/>
                </a:cubicBezTo>
                <a:cubicBezTo>
                  <a:pt x="14483780" y="1515454"/>
                  <a:pt x="14474107" y="1507663"/>
                  <a:pt x="14462017" y="1506186"/>
                </a:cubicBezTo>
                <a:close/>
                <a:moveTo>
                  <a:pt x="16585860" y="1504277"/>
                </a:moveTo>
                <a:cubicBezTo>
                  <a:pt x="16597446" y="1502796"/>
                  <a:pt x="16611402" y="1507643"/>
                  <a:pt x="16620882" y="1507643"/>
                </a:cubicBezTo>
                <a:cubicBezTo>
                  <a:pt x="16620882" y="1558270"/>
                  <a:pt x="16582964" y="1538881"/>
                  <a:pt x="16565058" y="1538881"/>
                </a:cubicBezTo>
                <a:cubicBezTo>
                  <a:pt x="16565058" y="1513568"/>
                  <a:pt x="16574274" y="1505758"/>
                  <a:pt x="16585860" y="1504277"/>
                </a:cubicBezTo>
                <a:close/>
                <a:moveTo>
                  <a:pt x="12443410" y="1503902"/>
                </a:moveTo>
                <a:cubicBezTo>
                  <a:pt x="12406601" y="1503096"/>
                  <a:pt x="12369791" y="1506320"/>
                  <a:pt x="12334325" y="1522439"/>
                </a:cubicBezTo>
                <a:cubicBezTo>
                  <a:pt x="12340773" y="1535335"/>
                  <a:pt x="12347222" y="1540708"/>
                  <a:pt x="12353670" y="1553604"/>
                </a:cubicBezTo>
                <a:cubicBezTo>
                  <a:pt x="12347222" y="1553604"/>
                  <a:pt x="12269841" y="1572949"/>
                  <a:pt x="12289187" y="1592292"/>
                </a:cubicBezTo>
                <a:cubicBezTo>
                  <a:pt x="12308532" y="1605189"/>
                  <a:pt x="12314980" y="1605189"/>
                  <a:pt x="12321428" y="1643876"/>
                </a:cubicBezTo>
                <a:cubicBezTo>
                  <a:pt x="12334325" y="1682563"/>
                  <a:pt x="12373015" y="1663219"/>
                  <a:pt x="12385912" y="1663219"/>
                </a:cubicBezTo>
                <a:cubicBezTo>
                  <a:pt x="12418154" y="1656771"/>
                  <a:pt x="12449321" y="1656771"/>
                  <a:pt x="12475114" y="1676115"/>
                </a:cubicBezTo>
                <a:cubicBezTo>
                  <a:pt x="12500908" y="1663219"/>
                  <a:pt x="12558943" y="1663219"/>
                  <a:pt x="12558943" y="1598740"/>
                </a:cubicBezTo>
                <a:cubicBezTo>
                  <a:pt x="12520253" y="1598740"/>
                  <a:pt x="12481563" y="1598740"/>
                  <a:pt x="12449321" y="1598740"/>
                </a:cubicBezTo>
                <a:cubicBezTo>
                  <a:pt x="12449321" y="1527813"/>
                  <a:pt x="12526701" y="1547156"/>
                  <a:pt x="12552495" y="1509543"/>
                </a:cubicBezTo>
                <a:cubicBezTo>
                  <a:pt x="12517029" y="1509543"/>
                  <a:pt x="12480219" y="1504708"/>
                  <a:pt x="12443410" y="1503902"/>
                </a:cubicBezTo>
                <a:close/>
                <a:moveTo>
                  <a:pt x="14306988" y="1503096"/>
                </a:moveTo>
                <a:cubicBezTo>
                  <a:pt x="14271790" y="1506320"/>
                  <a:pt x="14236593" y="1515992"/>
                  <a:pt x="14201127" y="1522439"/>
                </a:cubicBezTo>
                <a:cubicBezTo>
                  <a:pt x="14233368" y="1540708"/>
                  <a:pt x="14272059" y="1572949"/>
                  <a:pt x="14310749" y="1566500"/>
                </a:cubicBezTo>
                <a:cubicBezTo>
                  <a:pt x="14341916" y="1560052"/>
                  <a:pt x="14380606" y="1547156"/>
                  <a:pt x="14412848" y="1522439"/>
                </a:cubicBezTo>
                <a:cubicBezTo>
                  <a:pt x="14377382" y="1503096"/>
                  <a:pt x="14342185" y="1499872"/>
                  <a:pt x="14306988" y="1503096"/>
                </a:cubicBezTo>
                <a:close/>
                <a:moveTo>
                  <a:pt x="14147122" y="1501350"/>
                </a:moveTo>
                <a:cubicBezTo>
                  <a:pt x="14125358" y="1501484"/>
                  <a:pt x="14101177" y="1509543"/>
                  <a:pt x="14091504" y="1509543"/>
                </a:cubicBezTo>
                <a:cubicBezTo>
                  <a:pt x="14091504" y="1572949"/>
                  <a:pt x="14162436" y="1540708"/>
                  <a:pt x="14188230" y="1540708"/>
                </a:cubicBezTo>
                <a:cubicBezTo>
                  <a:pt x="14188230" y="1509006"/>
                  <a:pt x="14168885" y="1501215"/>
                  <a:pt x="14147122" y="1501350"/>
                </a:cubicBezTo>
                <a:close/>
                <a:moveTo>
                  <a:pt x="13906114" y="1492618"/>
                </a:moveTo>
                <a:cubicBezTo>
                  <a:pt x="13895098" y="1493424"/>
                  <a:pt x="13884082" y="1499872"/>
                  <a:pt x="13874409" y="1509543"/>
                </a:cubicBezTo>
                <a:cubicBezTo>
                  <a:pt x="13893755" y="1509543"/>
                  <a:pt x="13918473" y="1509543"/>
                  <a:pt x="13937818" y="1509543"/>
                </a:cubicBezTo>
                <a:cubicBezTo>
                  <a:pt x="13928145" y="1496648"/>
                  <a:pt x="13917130" y="1491812"/>
                  <a:pt x="13906114" y="1492618"/>
                </a:cubicBezTo>
                <a:close/>
                <a:moveTo>
                  <a:pt x="14521395" y="1483753"/>
                </a:moveTo>
                <a:cubicBezTo>
                  <a:pt x="14516022" y="1503096"/>
                  <a:pt x="14509573" y="1522439"/>
                  <a:pt x="14502050" y="1540708"/>
                </a:cubicBezTo>
                <a:cubicBezTo>
                  <a:pt x="14553637" y="1540708"/>
                  <a:pt x="14605224" y="1535335"/>
                  <a:pt x="14656811" y="1540708"/>
                </a:cubicBezTo>
                <a:cubicBezTo>
                  <a:pt x="14669708" y="1540708"/>
                  <a:pt x="14746013" y="1535335"/>
                  <a:pt x="14721295" y="1515992"/>
                </a:cubicBezTo>
                <a:cubicBezTo>
                  <a:pt x="14663259" y="1470856"/>
                  <a:pt x="14585879" y="1490200"/>
                  <a:pt x="14521395" y="1483753"/>
                </a:cubicBezTo>
                <a:close/>
                <a:moveTo>
                  <a:pt x="13260395" y="1478775"/>
                </a:moveTo>
                <a:cubicBezTo>
                  <a:pt x="13253988" y="1504844"/>
                  <a:pt x="13260395" y="1542860"/>
                  <a:pt x="13241173" y="1562411"/>
                </a:cubicBezTo>
                <a:cubicBezTo>
                  <a:pt x="13228358" y="1575445"/>
                  <a:pt x="13209136" y="1549377"/>
                  <a:pt x="13189913" y="1542860"/>
                </a:cubicBezTo>
                <a:cubicBezTo>
                  <a:pt x="13164284" y="1537429"/>
                  <a:pt x="13164284" y="1568928"/>
                  <a:pt x="13151469" y="1601514"/>
                </a:cubicBezTo>
                <a:cubicBezTo>
                  <a:pt x="13148265" y="1617807"/>
                  <a:pt x="13143459" y="1621065"/>
                  <a:pt x="13137853" y="1622694"/>
                </a:cubicBezTo>
                <a:lnTo>
                  <a:pt x="13131159" y="1624684"/>
                </a:lnTo>
                <a:lnTo>
                  <a:pt x="13137235" y="1629878"/>
                </a:lnTo>
                <a:cubicBezTo>
                  <a:pt x="13132745" y="1634997"/>
                  <a:pt x="13128254" y="1640115"/>
                  <a:pt x="13123763" y="1636596"/>
                </a:cubicBezTo>
                <a:lnTo>
                  <a:pt x="13121080" y="1632582"/>
                </a:lnTo>
                <a:lnTo>
                  <a:pt x="13119432" y="1634099"/>
                </a:lnTo>
                <a:cubicBezTo>
                  <a:pt x="13119432" y="1640616"/>
                  <a:pt x="13125839" y="1647133"/>
                  <a:pt x="13125839" y="1647133"/>
                </a:cubicBezTo>
                <a:cubicBezTo>
                  <a:pt x="13087395" y="1666685"/>
                  <a:pt x="13050018" y="1679719"/>
                  <a:pt x="13011573" y="1679719"/>
                </a:cubicBezTo>
                <a:cubicBezTo>
                  <a:pt x="13005166" y="1686236"/>
                  <a:pt x="12941092" y="1673202"/>
                  <a:pt x="12960314" y="1640616"/>
                </a:cubicBezTo>
                <a:cubicBezTo>
                  <a:pt x="12992351" y="1601514"/>
                  <a:pt x="13050018" y="1608031"/>
                  <a:pt x="13082055" y="1601514"/>
                </a:cubicBezTo>
                <a:cubicBezTo>
                  <a:pt x="13043611" y="1529826"/>
                  <a:pt x="12973129" y="1555894"/>
                  <a:pt x="12921869" y="1575445"/>
                </a:cubicBezTo>
                <a:cubicBezTo>
                  <a:pt x="12921869" y="1549377"/>
                  <a:pt x="12915462" y="1511361"/>
                  <a:pt x="12941092" y="1511361"/>
                </a:cubicBezTo>
                <a:cubicBezTo>
                  <a:pt x="12973129" y="1504844"/>
                  <a:pt x="13011573" y="1504844"/>
                  <a:pt x="13050018" y="1498326"/>
                </a:cubicBezTo>
                <a:cubicBezTo>
                  <a:pt x="13119432" y="1491809"/>
                  <a:pt x="13189913" y="1485292"/>
                  <a:pt x="13260395" y="1478775"/>
                </a:cubicBezTo>
                <a:close/>
                <a:moveTo>
                  <a:pt x="18304544" y="1478773"/>
                </a:moveTo>
                <a:cubicBezTo>
                  <a:pt x="18310532" y="1478773"/>
                  <a:pt x="18322508" y="1485194"/>
                  <a:pt x="18322508" y="1510879"/>
                </a:cubicBezTo>
                <a:cubicBezTo>
                  <a:pt x="18310532" y="1510879"/>
                  <a:pt x="18304544" y="1504458"/>
                  <a:pt x="18304544" y="1478773"/>
                </a:cubicBezTo>
                <a:close/>
                <a:moveTo>
                  <a:pt x="13957163" y="1477304"/>
                </a:moveTo>
                <a:cubicBezTo>
                  <a:pt x="13957163" y="1503096"/>
                  <a:pt x="13957163" y="1522439"/>
                  <a:pt x="13957163" y="1540708"/>
                </a:cubicBezTo>
                <a:cubicBezTo>
                  <a:pt x="13970060" y="1540708"/>
                  <a:pt x="13989405" y="1540708"/>
                  <a:pt x="14002302" y="1540708"/>
                </a:cubicBezTo>
                <a:cubicBezTo>
                  <a:pt x="14021647" y="1540708"/>
                  <a:pt x="14047441" y="1540708"/>
                  <a:pt x="14073234" y="1540708"/>
                </a:cubicBezTo>
                <a:cubicBezTo>
                  <a:pt x="14073234" y="1464408"/>
                  <a:pt x="13982957" y="1490200"/>
                  <a:pt x="13957163" y="1477304"/>
                </a:cubicBezTo>
                <a:close/>
                <a:moveTo>
                  <a:pt x="18830660" y="1445595"/>
                </a:moveTo>
                <a:cubicBezTo>
                  <a:pt x="18874384" y="1458309"/>
                  <a:pt x="18925572" y="1451952"/>
                  <a:pt x="18957564" y="1509164"/>
                </a:cubicBezTo>
                <a:cubicBezTo>
                  <a:pt x="18919172" y="1515521"/>
                  <a:pt x="18849856" y="1534592"/>
                  <a:pt x="18830660" y="1445595"/>
                </a:cubicBezTo>
                <a:close/>
                <a:moveTo>
                  <a:pt x="18247672" y="1445595"/>
                </a:moveTo>
                <a:cubicBezTo>
                  <a:pt x="18259644" y="1445595"/>
                  <a:pt x="18265632" y="1458438"/>
                  <a:pt x="18265632" y="1477703"/>
                </a:cubicBezTo>
                <a:cubicBezTo>
                  <a:pt x="18253656" y="1477703"/>
                  <a:pt x="18247672" y="1471282"/>
                  <a:pt x="18247672" y="1445595"/>
                </a:cubicBezTo>
                <a:close/>
                <a:moveTo>
                  <a:pt x="16584018" y="1445595"/>
                </a:moveTo>
                <a:cubicBezTo>
                  <a:pt x="16595994" y="1445595"/>
                  <a:pt x="16601982" y="1458438"/>
                  <a:pt x="16601982" y="1477704"/>
                </a:cubicBezTo>
                <a:cubicBezTo>
                  <a:pt x="16591004" y="1477704"/>
                  <a:pt x="16584018" y="1471282"/>
                  <a:pt x="16584018" y="1445595"/>
                </a:cubicBezTo>
                <a:close/>
                <a:moveTo>
                  <a:pt x="9737784" y="1406377"/>
                </a:moveTo>
                <a:cubicBezTo>
                  <a:pt x="9692645" y="1419273"/>
                  <a:pt x="9660403" y="1477304"/>
                  <a:pt x="9621713" y="1503096"/>
                </a:cubicBezTo>
                <a:cubicBezTo>
                  <a:pt x="9584098" y="1522439"/>
                  <a:pt x="9538959" y="1515992"/>
                  <a:pt x="9500269" y="1527813"/>
                </a:cubicBezTo>
                <a:cubicBezTo>
                  <a:pt x="9474476" y="1535335"/>
                  <a:pt x="9461579" y="1566500"/>
                  <a:pt x="9435785" y="1579396"/>
                </a:cubicBezTo>
                <a:cubicBezTo>
                  <a:pt x="9416440" y="1585848"/>
                  <a:pt x="9390647" y="1592292"/>
                  <a:pt x="9371302" y="1598740"/>
                </a:cubicBezTo>
                <a:cubicBezTo>
                  <a:pt x="9353031" y="1605189"/>
                  <a:pt x="9288548" y="1605189"/>
                  <a:pt x="9282099" y="1643876"/>
                </a:cubicBezTo>
                <a:cubicBezTo>
                  <a:pt x="9275651" y="1669667"/>
                  <a:pt x="9327238" y="1669667"/>
                  <a:pt x="9333686" y="1669667"/>
                </a:cubicBezTo>
                <a:cubicBezTo>
                  <a:pt x="9359480" y="1663219"/>
                  <a:pt x="9364853" y="1643876"/>
                  <a:pt x="9378825" y="1637427"/>
                </a:cubicBezTo>
                <a:cubicBezTo>
                  <a:pt x="9397095" y="1624531"/>
                  <a:pt x="9416440" y="1624531"/>
                  <a:pt x="9435785" y="1618084"/>
                </a:cubicBezTo>
                <a:cubicBezTo>
                  <a:pt x="9538959" y="1585848"/>
                  <a:pt x="9634610" y="1535335"/>
                  <a:pt x="9737784" y="1483753"/>
                </a:cubicBezTo>
                <a:cubicBezTo>
                  <a:pt x="9737784" y="1457960"/>
                  <a:pt x="9737784" y="1432169"/>
                  <a:pt x="9737784" y="1406377"/>
                </a:cubicBezTo>
                <a:close/>
                <a:moveTo>
                  <a:pt x="16351776" y="1388716"/>
                </a:moveTo>
                <a:cubicBezTo>
                  <a:pt x="16363624" y="1388716"/>
                  <a:pt x="16374484" y="1395541"/>
                  <a:pt x="16374484" y="1416016"/>
                </a:cubicBezTo>
                <a:cubicBezTo>
                  <a:pt x="16363624" y="1416016"/>
                  <a:pt x="16351776" y="1409191"/>
                  <a:pt x="16351776" y="1388716"/>
                </a:cubicBezTo>
                <a:close/>
                <a:moveTo>
                  <a:pt x="9904367" y="1387034"/>
                </a:moveTo>
                <a:cubicBezTo>
                  <a:pt x="9872125" y="1393482"/>
                  <a:pt x="9839883" y="1393482"/>
                  <a:pt x="9807641" y="1406377"/>
                </a:cubicBezTo>
                <a:cubicBezTo>
                  <a:pt x="9826986" y="1445064"/>
                  <a:pt x="9852780" y="1451512"/>
                  <a:pt x="9878573" y="1445064"/>
                </a:cubicBezTo>
                <a:cubicBezTo>
                  <a:pt x="9897918" y="1445064"/>
                  <a:pt x="9904367" y="1419273"/>
                  <a:pt x="9904367" y="1387034"/>
                </a:cubicBezTo>
                <a:close/>
                <a:moveTo>
                  <a:pt x="16242756" y="1355540"/>
                </a:moveTo>
                <a:cubicBezTo>
                  <a:pt x="16254730" y="1355540"/>
                  <a:pt x="16260718" y="1368382"/>
                  <a:pt x="16260718" y="1387645"/>
                </a:cubicBezTo>
                <a:cubicBezTo>
                  <a:pt x="16248744" y="1387645"/>
                  <a:pt x="16242756" y="1374803"/>
                  <a:pt x="16242756" y="1355540"/>
                </a:cubicBezTo>
                <a:close/>
                <a:moveTo>
                  <a:pt x="16000036" y="1355540"/>
                </a:moveTo>
                <a:cubicBezTo>
                  <a:pt x="16000036" y="1374804"/>
                  <a:pt x="15994048" y="1387646"/>
                  <a:pt x="15982074" y="1387646"/>
                </a:cubicBezTo>
                <a:cubicBezTo>
                  <a:pt x="15982074" y="1368382"/>
                  <a:pt x="15988060" y="1355540"/>
                  <a:pt x="16000036" y="1355540"/>
                </a:cubicBezTo>
                <a:close/>
                <a:moveTo>
                  <a:pt x="17261808" y="1355537"/>
                </a:moveTo>
                <a:cubicBezTo>
                  <a:pt x="17288296" y="1361742"/>
                  <a:pt x="17314784" y="1367947"/>
                  <a:pt x="17341276" y="1398971"/>
                </a:cubicBezTo>
                <a:cubicBezTo>
                  <a:pt x="17314784" y="1398971"/>
                  <a:pt x="17261808" y="1411381"/>
                  <a:pt x="17261808" y="1355537"/>
                </a:cubicBezTo>
                <a:close/>
                <a:moveTo>
                  <a:pt x="18042940" y="1347424"/>
                </a:moveTo>
                <a:cubicBezTo>
                  <a:pt x="18072904" y="1342833"/>
                  <a:pt x="18108368" y="1376603"/>
                  <a:pt x="18132828" y="1386083"/>
                </a:cubicBezTo>
                <a:cubicBezTo>
                  <a:pt x="18132828" y="1398722"/>
                  <a:pt x="18132828" y="1405042"/>
                  <a:pt x="18132828" y="1411362"/>
                </a:cubicBezTo>
                <a:cubicBezTo>
                  <a:pt x="18093692" y="1398722"/>
                  <a:pt x="18054556" y="1379763"/>
                  <a:pt x="18015420" y="1367124"/>
                </a:cubicBezTo>
                <a:cubicBezTo>
                  <a:pt x="18023576" y="1354748"/>
                  <a:pt x="18032952" y="1348955"/>
                  <a:pt x="18042940" y="1347424"/>
                </a:cubicBezTo>
                <a:close/>
                <a:moveTo>
                  <a:pt x="17167012" y="1332460"/>
                </a:moveTo>
                <a:cubicBezTo>
                  <a:pt x="17191236" y="1338893"/>
                  <a:pt x="17241792" y="1327100"/>
                  <a:pt x="17241792" y="1383919"/>
                </a:cubicBezTo>
                <a:cubicBezTo>
                  <a:pt x="17216516" y="1416081"/>
                  <a:pt x="17185968" y="1358190"/>
                  <a:pt x="17167012" y="1332460"/>
                </a:cubicBezTo>
                <a:close/>
                <a:moveTo>
                  <a:pt x="17076956" y="1322361"/>
                </a:moveTo>
                <a:cubicBezTo>
                  <a:pt x="17090084" y="1322361"/>
                  <a:pt x="17090084" y="1335204"/>
                  <a:pt x="17090084" y="1354469"/>
                </a:cubicBezTo>
                <a:cubicBezTo>
                  <a:pt x="17076956" y="1354469"/>
                  <a:pt x="17076956" y="1341626"/>
                  <a:pt x="17076956" y="1322361"/>
                </a:cubicBezTo>
                <a:close/>
                <a:moveTo>
                  <a:pt x="17508272" y="1322360"/>
                </a:moveTo>
                <a:cubicBezTo>
                  <a:pt x="17520244" y="1322360"/>
                  <a:pt x="17526232" y="1335204"/>
                  <a:pt x="17526232" y="1354469"/>
                </a:cubicBezTo>
                <a:cubicBezTo>
                  <a:pt x="17514256" y="1354469"/>
                  <a:pt x="17508272" y="1341626"/>
                  <a:pt x="17508272" y="1322360"/>
                </a:cubicBezTo>
                <a:close/>
                <a:moveTo>
                  <a:pt x="17982244" y="1322357"/>
                </a:moveTo>
                <a:cubicBezTo>
                  <a:pt x="17995516" y="1329531"/>
                  <a:pt x="18008784" y="1334655"/>
                  <a:pt x="18014316" y="1340803"/>
                </a:cubicBezTo>
                <a:cubicBezTo>
                  <a:pt x="18001044" y="1359250"/>
                  <a:pt x="17982244" y="1353101"/>
                  <a:pt x="17982244" y="1322357"/>
                </a:cubicBezTo>
                <a:close/>
                <a:moveTo>
                  <a:pt x="14316122" y="1297837"/>
                </a:moveTo>
                <a:cubicBezTo>
                  <a:pt x="14316122" y="1330077"/>
                  <a:pt x="14341916" y="1322555"/>
                  <a:pt x="14354813" y="1322555"/>
                </a:cubicBezTo>
                <a:cubicBezTo>
                  <a:pt x="14354813" y="1291390"/>
                  <a:pt x="14329019" y="1297837"/>
                  <a:pt x="14316122" y="1297837"/>
                </a:cubicBezTo>
                <a:close/>
                <a:moveTo>
                  <a:pt x="17148052" y="1265483"/>
                </a:moveTo>
                <a:cubicBezTo>
                  <a:pt x="17160348" y="1265483"/>
                  <a:pt x="17172644" y="1265483"/>
                  <a:pt x="17184944" y="1265483"/>
                </a:cubicBezTo>
                <a:cubicBezTo>
                  <a:pt x="17184944" y="1271904"/>
                  <a:pt x="17184944" y="1284748"/>
                  <a:pt x="17184944" y="1297591"/>
                </a:cubicBezTo>
                <a:cubicBezTo>
                  <a:pt x="17172644" y="1297591"/>
                  <a:pt x="17160348" y="1297591"/>
                  <a:pt x="17148052" y="1297591"/>
                </a:cubicBezTo>
                <a:cubicBezTo>
                  <a:pt x="17148052" y="1284748"/>
                  <a:pt x="17148052" y="1271904"/>
                  <a:pt x="17148052" y="1265483"/>
                </a:cubicBezTo>
                <a:close/>
                <a:moveTo>
                  <a:pt x="16166922" y="1265483"/>
                </a:moveTo>
                <a:cubicBezTo>
                  <a:pt x="16178896" y="1265483"/>
                  <a:pt x="16184884" y="1278326"/>
                  <a:pt x="16184884" y="1297591"/>
                </a:cubicBezTo>
                <a:cubicBezTo>
                  <a:pt x="16172908" y="1297591"/>
                  <a:pt x="16166922" y="1284748"/>
                  <a:pt x="16166922" y="1265483"/>
                </a:cubicBezTo>
                <a:close/>
                <a:moveTo>
                  <a:pt x="16000036" y="1265483"/>
                </a:moveTo>
                <a:cubicBezTo>
                  <a:pt x="16000036" y="1284748"/>
                  <a:pt x="15994048" y="1297592"/>
                  <a:pt x="15982074" y="1297592"/>
                </a:cubicBezTo>
                <a:cubicBezTo>
                  <a:pt x="15982074" y="1271905"/>
                  <a:pt x="15988060" y="1265483"/>
                  <a:pt x="16000036" y="1265483"/>
                </a:cubicBezTo>
                <a:close/>
                <a:moveTo>
                  <a:pt x="15944156" y="1265483"/>
                </a:moveTo>
                <a:cubicBezTo>
                  <a:pt x="15956796" y="1265483"/>
                  <a:pt x="15962062" y="1278326"/>
                  <a:pt x="15962062" y="1297592"/>
                </a:cubicBezTo>
                <a:cubicBezTo>
                  <a:pt x="15950476" y="1297592"/>
                  <a:pt x="15944156" y="1284748"/>
                  <a:pt x="15944156" y="1265483"/>
                </a:cubicBezTo>
                <a:close/>
                <a:moveTo>
                  <a:pt x="15773526" y="1246523"/>
                </a:moveTo>
                <a:cubicBezTo>
                  <a:pt x="15819356" y="1246523"/>
                  <a:pt x="15871732" y="1253003"/>
                  <a:pt x="15924108" y="1278921"/>
                </a:cubicBezTo>
                <a:cubicBezTo>
                  <a:pt x="15897920" y="1285401"/>
                  <a:pt x="15878278" y="1304840"/>
                  <a:pt x="15858638" y="1317799"/>
                </a:cubicBezTo>
                <a:cubicBezTo>
                  <a:pt x="15838996" y="1330758"/>
                  <a:pt x="15825902" y="1317799"/>
                  <a:pt x="15806262" y="1311320"/>
                </a:cubicBezTo>
                <a:cubicBezTo>
                  <a:pt x="15812808" y="1298360"/>
                  <a:pt x="15819356" y="1285401"/>
                  <a:pt x="15825902" y="1278921"/>
                </a:cubicBezTo>
                <a:cubicBezTo>
                  <a:pt x="15812808" y="1265962"/>
                  <a:pt x="15793168" y="1253003"/>
                  <a:pt x="15773526" y="1246523"/>
                </a:cubicBezTo>
                <a:close/>
                <a:moveTo>
                  <a:pt x="17810560" y="1200999"/>
                </a:moveTo>
                <a:cubicBezTo>
                  <a:pt x="17810560" y="1240681"/>
                  <a:pt x="17786336" y="1234067"/>
                  <a:pt x="17773696" y="1234067"/>
                </a:cubicBezTo>
                <a:cubicBezTo>
                  <a:pt x="17773696" y="1194386"/>
                  <a:pt x="17798972" y="1200999"/>
                  <a:pt x="17810560" y="1200999"/>
                </a:cubicBezTo>
                <a:close/>
                <a:moveTo>
                  <a:pt x="16824752" y="1199127"/>
                </a:moveTo>
                <a:cubicBezTo>
                  <a:pt x="16824752" y="1224814"/>
                  <a:pt x="16818764" y="1231236"/>
                  <a:pt x="16806788" y="1231236"/>
                </a:cubicBezTo>
                <a:cubicBezTo>
                  <a:pt x="16806788" y="1205549"/>
                  <a:pt x="16812776" y="1199127"/>
                  <a:pt x="16824752" y="1199127"/>
                </a:cubicBezTo>
                <a:close/>
                <a:moveTo>
                  <a:pt x="15678730" y="1199127"/>
                </a:moveTo>
                <a:cubicBezTo>
                  <a:pt x="15684718" y="1199127"/>
                  <a:pt x="15696694" y="1205549"/>
                  <a:pt x="15696694" y="1231236"/>
                </a:cubicBezTo>
                <a:cubicBezTo>
                  <a:pt x="15684718" y="1231236"/>
                  <a:pt x="15678730" y="1224814"/>
                  <a:pt x="15678730" y="1199127"/>
                </a:cubicBezTo>
                <a:close/>
                <a:moveTo>
                  <a:pt x="15526532" y="1161698"/>
                </a:moveTo>
                <a:cubicBezTo>
                  <a:pt x="15546808" y="1161698"/>
                  <a:pt x="15570242" y="1169761"/>
                  <a:pt x="15582882" y="1169761"/>
                </a:cubicBezTo>
                <a:cubicBezTo>
                  <a:pt x="15582882" y="1240711"/>
                  <a:pt x="15514420" y="1202011"/>
                  <a:pt x="15489142" y="1202011"/>
                </a:cubicBezTo>
                <a:cubicBezTo>
                  <a:pt x="15489142" y="1169761"/>
                  <a:pt x="15506258" y="1161698"/>
                  <a:pt x="15526532" y="1161698"/>
                </a:cubicBezTo>
                <a:close/>
                <a:moveTo>
                  <a:pt x="16824752" y="1137507"/>
                </a:moveTo>
                <a:cubicBezTo>
                  <a:pt x="16824752" y="1163192"/>
                  <a:pt x="16818764" y="1169613"/>
                  <a:pt x="16806788" y="1169613"/>
                </a:cubicBezTo>
                <a:cubicBezTo>
                  <a:pt x="16806788" y="1150350"/>
                  <a:pt x="16812776" y="1137507"/>
                  <a:pt x="16824752" y="1137507"/>
                </a:cubicBezTo>
                <a:close/>
                <a:moveTo>
                  <a:pt x="15342210" y="1137507"/>
                </a:moveTo>
                <a:cubicBezTo>
                  <a:pt x="15360380" y="1137507"/>
                  <a:pt x="15386030" y="1137507"/>
                  <a:pt x="15405268" y="1137507"/>
                </a:cubicBezTo>
                <a:cubicBezTo>
                  <a:pt x="15424508" y="1137507"/>
                  <a:pt x="15437332" y="1137507"/>
                  <a:pt x="15450158" y="1137507"/>
                </a:cubicBezTo>
                <a:cubicBezTo>
                  <a:pt x="15450158" y="1150350"/>
                  <a:pt x="15450158" y="1163192"/>
                  <a:pt x="15450158" y="1169613"/>
                </a:cubicBezTo>
                <a:cubicBezTo>
                  <a:pt x="15430920" y="1169613"/>
                  <a:pt x="15405268" y="1169613"/>
                  <a:pt x="15379618" y="1169613"/>
                </a:cubicBezTo>
                <a:cubicBezTo>
                  <a:pt x="15366792" y="1169613"/>
                  <a:pt x="15353966" y="1169613"/>
                  <a:pt x="15342210" y="1169613"/>
                </a:cubicBezTo>
                <a:cubicBezTo>
                  <a:pt x="15342210" y="1163192"/>
                  <a:pt x="15342210" y="1150350"/>
                  <a:pt x="15342210" y="1137507"/>
                </a:cubicBezTo>
                <a:close/>
                <a:moveTo>
                  <a:pt x="10314912" y="1136639"/>
                </a:moveTo>
                <a:cubicBezTo>
                  <a:pt x="10314912" y="1162431"/>
                  <a:pt x="10321361" y="1168880"/>
                  <a:pt x="10334257" y="1168880"/>
                </a:cubicBezTo>
                <a:cubicBezTo>
                  <a:pt x="10334257" y="1149535"/>
                  <a:pt x="10327809" y="1136639"/>
                  <a:pt x="10314912" y="1136639"/>
                </a:cubicBezTo>
                <a:close/>
                <a:moveTo>
                  <a:pt x="10372948" y="1111922"/>
                </a:moveTo>
                <a:cubicBezTo>
                  <a:pt x="10372948" y="1130193"/>
                  <a:pt x="10379396" y="1136639"/>
                  <a:pt x="10392293" y="1136639"/>
                </a:cubicBezTo>
                <a:cubicBezTo>
                  <a:pt x="10392293" y="1117295"/>
                  <a:pt x="10385844" y="1111922"/>
                  <a:pt x="10372948" y="1111922"/>
                </a:cubicBezTo>
                <a:close/>
                <a:moveTo>
                  <a:pt x="15848742" y="1111643"/>
                </a:moveTo>
                <a:cubicBezTo>
                  <a:pt x="15848742" y="1129922"/>
                  <a:pt x="15855192" y="1136372"/>
                  <a:pt x="15868094" y="1136372"/>
                </a:cubicBezTo>
                <a:cubicBezTo>
                  <a:pt x="15868094" y="1117019"/>
                  <a:pt x="15861644" y="1111643"/>
                  <a:pt x="15848742" y="1111643"/>
                </a:cubicBezTo>
                <a:close/>
                <a:moveTo>
                  <a:pt x="17584748" y="1108531"/>
                </a:moveTo>
                <a:cubicBezTo>
                  <a:pt x="17597740" y="1111139"/>
                  <a:pt x="17606196" y="1119593"/>
                  <a:pt x="17606196" y="1137320"/>
                </a:cubicBezTo>
                <a:cubicBezTo>
                  <a:pt x="17587792" y="1137320"/>
                  <a:pt x="17568308" y="1137320"/>
                  <a:pt x="17568308" y="1170048"/>
                </a:cubicBezTo>
                <a:cubicBezTo>
                  <a:pt x="17582920" y="1170048"/>
                  <a:pt x="17607888" y="1162684"/>
                  <a:pt x="17619456" y="1178332"/>
                </a:cubicBezTo>
                <a:lnTo>
                  <a:pt x="17624884" y="1199651"/>
                </a:lnTo>
                <a:lnTo>
                  <a:pt x="17642892" y="1202967"/>
                </a:lnTo>
                <a:cubicBezTo>
                  <a:pt x="17649316" y="1206810"/>
                  <a:pt x="17654132" y="1214496"/>
                  <a:pt x="17654132" y="1229868"/>
                </a:cubicBezTo>
                <a:cubicBezTo>
                  <a:pt x="17644500" y="1229868"/>
                  <a:pt x="17631256" y="1233326"/>
                  <a:pt x="17625236" y="1219492"/>
                </a:cubicBezTo>
                <a:lnTo>
                  <a:pt x="17622540" y="1202380"/>
                </a:lnTo>
                <a:lnTo>
                  <a:pt x="17582464" y="1197354"/>
                </a:lnTo>
                <a:cubicBezTo>
                  <a:pt x="17539080" y="1187229"/>
                  <a:pt x="17495236" y="1165138"/>
                  <a:pt x="17451396" y="1150411"/>
                </a:cubicBezTo>
                <a:cubicBezTo>
                  <a:pt x="17466008" y="1145502"/>
                  <a:pt x="17545780" y="1100707"/>
                  <a:pt x="17584748" y="1108531"/>
                </a:cubicBezTo>
                <a:close/>
                <a:moveTo>
                  <a:pt x="15265552" y="1103815"/>
                </a:moveTo>
                <a:cubicBezTo>
                  <a:pt x="15287702" y="1104753"/>
                  <a:pt x="15312312" y="1112794"/>
                  <a:pt x="15322156" y="1112794"/>
                </a:cubicBezTo>
                <a:cubicBezTo>
                  <a:pt x="15322156" y="1169613"/>
                  <a:pt x="15243404" y="1137451"/>
                  <a:pt x="15223716" y="1137451"/>
                </a:cubicBezTo>
                <a:cubicBezTo>
                  <a:pt x="15223716" y="1109042"/>
                  <a:pt x="15243404" y="1102877"/>
                  <a:pt x="15265552" y="1103815"/>
                </a:cubicBezTo>
                <a:close/>
                <a:moveTo>
                  <a:pt x="17304464" y="1080632"/>
                </a:moveTo>
                <a:cubicBezTo>
                  <a:pt x="17317592" y="1080632"/>
                  <a:pt x="17317592" y="1093474"/>
                  <a:pt x="17317592" y="1112737"/>
                </a:cubicBezTo>
                <a:cubicBezTo>
                  <a:pt x="17304464" y="1112737"/>
                  <a:pt x="17304464" y="1099895"/>
                  <a:pt x="17304464" y="1080632"/>
                </a:cubicBezTo>
                <a:close/>
                <a:moveTo>
                  <a:pt x="16408650" y="1080632"/>
                </a:moveTo>
                <a:cubicBezTo>
                  <a:pt x="16420624" y="1080632"/>
                  <a:pt x="16426612" y="1093474"/>
                  <a:pt x="16426612" y="1112737"/>
                </a:cubicBezTo>
                <a:cubicBezTo>
                  <a:pt x="16414638" y="1112737"/>
                  <a:pt x="16408650" y="1099895"/>
                  <a:pt x="16408650" y="1080632"/>
                </a:cubicBezTo>
                <a:close/>
                <a:moveTo>
                  <a:pt x="15073768" y="1077829"/>
                </a:moveTo>
                <a:cubicBezTo>
                  <a:pt x="15085400" y="1079445"/>
                  <a:pt x="15094708" y="1087524"/>
                  <a:pt x="15094708" y="1113376"/>
                </a:cubicBezTo>
                <a:cubicBezTo>
                  <a:pt x="15076094" y="1113376"/>
                  <a:pt x="15038866" y="1131688"/>
                  <a:pt x="15038866" y="1081061"/>
                </a:cubicBezTo>
                <a:cubicBezTo>
                  <a:pt x="15048174" y="1081061"/>
                  <a:pt x="15062134" y="1076214"/>
                  <a:pt x="15073768" y="1077829"/>
                </a:cubicBezTo>
                <a:close/>
                <a:moveTo>
                  <a:pt x="15472422" y="1077500"/>
                </a:moveTo>
                <a:cubicBezTo>
                  <a:pt x="15476456" y="1077500"/>
                  <a:pt x="15480300" y="1077923"/>
                  <a:pt x="15483374" y="1077923"/>
                </a:cubicBezTo>
                <a:cubicBezTo>
                  <a:pt x="15483374" y="1117420"/>
                  <a:pt x="15464928" y="1111778"/>
                  <a:pt x="15446482" y="1111778"/>
                </a:cubicBezTo>
                <a:cubicBezTo>
                  <a:pt x="15446482" y="1081308"/>
                  <a:pt x="15460316" y="1077500"/>
                  <a:pt x="15472422" y="1077500"/>
                </a:cubicBezTo>
                <a:close/>
                <a:moveTo>
                  <a:pt x="17496292" y="1077499"/>
                </a:moveTo>
                <a:cubicBezTo>
                  <a:pt x="17500328" y="1077499"/>
                  <a:pt x="17504172" y="1077922"/>
                  <a:pt x="17507244" y="1077922"/>
                </a:cubicBezTo>
                <a:cubicBezTo>
                  <a:pt x="17507244" y="1117420"/>
                  <a:pt x="17488800" y="1111778"/>
                  <a:pt x="17470352" y="1111778"/>
                </a:cubicBezTo>
                <a:cubicBezTo>
                  <a:pt x="17470352" y="1081308"/>
                  <a:pt x="17484188" y="1077499"/>
                  <a:pt x="17496292" y="1077499"/>
                </a:cubicBezTo>
                <a:close/>
                <a:moveTo>
                  <a:pt x="17033204" y="1047453"/>
                </a:moveTo>
                <a:cubicBezTo>
                  <a:pt x="17033204" y="1066718"/>
                  <a:pt x="17033204" y="1079562"/>
                  <a:pt x="17020076" y="1079562"/>
                </a:cubicBezTo>
                <a:cubicBezTo>
                  <a:pt x="17020076" y="1060296"/>
                  <a:pt x="17020076" y="1047453"/>
                  <a:pt x="17033204" y="1047453"/>
                </a:cubicBezTo>
                <a:close/>
                <a:moveTo>
                  <a:pt x="16280676" y="1047453"/>
                </a:moveTo>
                <a:cubicBezTo>
                  <a:pt x="16292650" y="1047453"/>
                  <a:pt x="16298638" y="1060296"/>
                  <a:pt x="16298638" y="1079562"/>
                </a:cubicBezTo>
                <a:cubicBezTo>
                  <a:pt x="16286664" y="1079562"/>
                  <a:pt x="16280676" y="1066718"/>
                  <a:pt x="16280676" y="1047453"/>
                </a:cubicBezTo>
                <a:close/>
                <a:moveTo>
                  <a:pt x="16223798" y="1044121"/>
                </a:moveTo>
                <a:cubicBezTo>
                  <a:pt x="16242246" y="1044121"/>
                  <a:pt x="16260692" y="1037971"/>
                  <a:pt x="16260692" y="1074864"/>
                </a:cubicBezTo>
                <a:cubicBezTo>
                  <a:pt x="16242246" y="1074864"/>
                  <a:pt x="16223798" y="1074864"/>
                  <a:pt x="16223798" y="1044121"/>
                </a:cubicBezTo>
                <a:close/>
                <a:moveTo>
                  <a:pt x="17431380" y="1044120"/>
                </a:moveTo>
                <a:cubicBezTo>
                  <a:pt x="17431380" y="1074864"/>
                  <a:pt x="17413476" y="1074864"/>
                  <a:pt x="17394520" y="1074864"/>
                </a:cubicBezTo>
                <a:cubicBezTo>
                  <a:pt x="17394520" y="1037970"/>
                  <a:pt x="17418744" y="1044120"/>
                  <a:pt x="17431380" y="1044120"/>
                </a:cubicBezTo>
                <a:close/>
                <a:moveTo>
                  <a:pt x="11093277" y="1043667"/>
                </a:moveTo>
                <a:cubicBezTo>
                  <a:pt x="11098109" y="1044472"/>
                  <a:pt x="11102941" y="1046077"/>
                  <a:pt x="11109384" y="1046077"/>
                </a:cubicBezTo>
                <a:lnTo>
                  <a:pt x="11090615" y="1044067"/>
                </a:lnTo>
                <a:close/>
                <a:moveTo>
                  <a:pt x="16165868" y="1022268"/>
                </a:moveTo>
                <a:cubicBezTo>
                  <a:pt x="16165868" y="1041368"/>
                  <a:pt x="16165868" y="1060470"/>
                  <a:pt x="16165868" y="1079570"/>
                </a:cubicBezTo>
                <a:cubicBezTo>
                  <a:pt x="16135322" y="1073203"/>
                  <a:pt x="16103724" y="1073203"/>
                  <a:pt x="16072126" y="1066836"/>
                </a:cubicBezTo>
                <a:cubicBezTo>
                  <a:pt x="16091086" y="1009534"/>
                  <a:pt x="16141642" y="1028634"/>
                  <a:pt x="16165868" y="1022268"/>
                </a:cubicBezTo>
                <a:close/>
                <a:moveTo>
                  <a:pt x="15263666" y="1016154"/>
                </a:moveTo>
                <a:cubicBezTo>
                  <a:pt x="15282962" y="1009531"/>
                  <a:pt x="15302260" y="1022776"/>
                  <a:pt x="15321558" y="1022776"/>
                </a:cubicBezTo>
                <a:cubicBezTo>
                  <a:pt x="15321558" y="1049268"/>
                  <a:pt x="15326918" y="1075759"/>
                  <a:pt x="15302260" y="1082382"/>
                </a:cubicBezTo>
                <a:cubicBezTo>
                  <a:pt x="15282962" y="1089005"/>
                  <a:pt x="15263666" y="1082382"/>
                  <a:pt x="15244368" y="1082382"/>
                </a:cubicBezTo>
                <a:cubicBezTo>
                  <a:pt x="15244368" y="1049268"/>
                  <a:pt x="15237934" y="1022776"/>
                  <a:pt x="15263666" y="1016154"/>
                </a:cubicBezTo>
                <a:close/>
                <a:moveTo>
                  <a:pt x="10865077" y="986522"/>
                </a:moveTo>
                <a:cubicBezTo>
                  <a:pt x="10871994" y="985747"/>
                  <a:pt x="10879680" y="987298"/>
                  <a:pt x="10885828" y="987298"/>
                </a:cubicBezTo>
                <a:cubicBezTo>
                  <a:pt x="10885828" y="1012118"/>
                  <a:pt x="10848936" y="1036937"/>
                  <a:pt x="10848936" y="999708"/>
                </a:cubicBezTo>
                <a:cubicBezTo>
                  <a:pt x="10852010" y="990400"/>
                  <a:pt x="10858159" y="987298"/>
                  <a:pt x="10865077" y="986522"/>
                </a:cubicBezTo>
                <a:close/>
                <a:moveTo>
                  <a:pt x="17138572" y="977964"/>
                </a:moveTo>
                <a:cubicBezTo>
                  <a:pt x="17210260" y="971614"/>
                  <a:pt x="17274344" y="1003366"/>
                  <a:pt x="17346032" y="1035119"/>
                </a:cubicBezTo>
                <a:cubicBezTo>
                  <a:pt x="17319964" y="1047821"/>
                  <a:pt x="17287376" y="1060522"/>
                  <a:pt x="17267828" y="1079573"/>
                </a:cubicBezTo>
                <a:cubicBezTo>
                  <a:pt x="17267828" y="1060522"/>
                  <a:pt x="17267828" y="1041469"/>
                  <a:pt x="17267828" y="1022418"/>
                </a:cubicBezTo>
                <a:cubicBezTo>
                  <a:pt x="17235240" y="1022418"/>
                  <a:pt x="17210260" y="1041469"/>
                  <a:pt x="17184192" y="1035119"/>
                </a:cubicBezTo>
                <a:cubicBezTo>
                  <a:pt x="17158124" y="1035119"/>
                  <a:pt x="17151604" y="1003366"/>
                  <a:pt x="17138572" y="977964"/>
                </a:cubicBezTo>
                <a:close/>
                <a:moveTo>
                  <a:pt x="16740434" y="957394"/>
                </a:moveTo>
                <a:cubicBezTo>
                  <a:pt x="16753558" y="957394"/>
                  <a:pt x="16753558" y="970236"/>
                  <a:pt x="16753558" y="989500"/>
                </a:cubicBezTo>
                <a:cubicBezTo>
                  <a:pt x="16740434" y="989500"/>
                  <a:pt x="16740434" y="976657"/>
                  <a:pt x="16740434" y="957394"/>
                </a:cubicBezTo>
                <a:close/>
                <a:moveTo>
                  <a:pt x="16129004" y="957394"/>
                </a:moveTo>
                <a:cubicBezTo>
                  <a:pt x="16140978" y="957394"/>
                  <a:pt x="16146966" y="963815"/>
                  <a:pt x="16146966" y="989500"/>
                </a:cubicBezTo>
                <a:cubicBezTo>
                  <a:pt x="16134992" y="989500"/>
                  <a:pt x="16129004" y="976657"/>
                  <a:pt x="16129004" y="957394"/>
                </a:cubicBezTo>
                <a:close/>
                <a:moveTo>
                  <a:pt x="15863578" y="957394"/>
                </a:moveTo>
                <a:cubicBezTo>
                  <a:pt x="15875554" y="957394"/>
                  <a:pt x="15881542" y="963815"/>
                  <a:pt x="15881542" y="989500"/>
                </a:cubicBezTo>
                <a:cubicBezTo>
                  <a:pt x="15869566" y="989500"/>
                  <a:pt x="15863578" y="976658"/>
                  <a:pt x="15863578" y="957394"/>
                </a:cubicBezTo>
                <a:close/>
                <a:moveTo>
                  <a:pt x="17033192" y="925119"/>
                </a:moveTo>
                <a:cubicBezTo>
                  <a:pt x="17033192" y="965745"/>
                  <a:pt x="17013284" y="958974"/>
                  <a:pt x="17001120" y="958974"/>
                </a:cubicBezTo>
                <a:cubicBezTo>
                  <a:pt x="17001120" y="919477"/>
                  <a:pt x="17019920" y="925119"/>
                  <a:pt x="17033192" y="925119"/>
                </a:cubicBezTo>
                <a:close/>
                <a:moveTo>
                  <a:pt x="11341645" y="915543"/>
                </a:moveTo>
                <a:cubicBezTo>
                  <a:pt x="11410466" y="914633"/>
                  <a:pt x="11478501" y="934366"/>
                  <a:pt x="11506688" y="1046077"/>
                </a:cubicBezTo>
                <a:cubicBezTo>
                  <a:pt x="11468032" y="1046077"/>
                  <a:pt x="11435818" y="1046077"/>
                  <a:pt x="11398235" y="1046077"/>
                </a:cubicBezTo>
                <a:cubicBezTo>
                  <a:pt x="11385349" y="1020389"/>
                  <a:pt x="11372464" y="994703"/>
                  <a:pt x="11391792" y="969016"/>
                </a:cubicBezTo>
                <a:cubicBezTo>
                  <a:pt x="11372464" y="962595"/>
                  <a:pt x="11353135" y="956173"/>
                  <a:pt x="11333807" y="956173"/>
                </a:cubicBezTo>
                <a:cubicBezTo>
                  <a:pt x="11340250" y="988281"/>
                  <a:pt x="11346692" y="1020389"/>
                  <a:pt x="11346692" y="1052499"/>
                </a:cubicBezTo>
                <a:cubicBezTo>
                  <a:pt x="11154483" y="1115644"/>
                  <a:pt x="10962273" y="1186282"/>
                  <a:pt x="10770064" y="1231233"/>
                </a:cubicBezTo>
                <a:cubicBezTo>
                  <a:pt x="10770064" y="1186282"/>
                  <a:pt x="10763621" y="1128488"/>
                  <a:pt x="10795835" y="1115644"/>
                </a:cubicBezTo>
                <a:cubicBezTo>
                  <a:pt x="10826975" y="1097450"/>
                  <a:pt x="10865632" y="1091028"/>
                  <a:pt x="10897846" y="1078185"/>
                </a:cubicBezTo>
                <a:cubicBezTo>
                  <a:pt x="10930059" y="1065342"/>
                  <a:pt x="10968716" y="1052499"/>
                  <a:pt x="11000930" y="1046077"/>
                </a:cubicBezTo>
                <a:cubicBezTo>
                  <a:pt x="11020258" y="1046077"/>
                  <a:pt x="11007373" y="1052499"/>
                  <a:pt x="11020258" y="1071764"/>
                </a:cubicBezTo>
                <a:cubicBezTo>
                  <a:pt x="11025627" y="1084607"/>
                  <a:pt x="11038513" y="1078185"/>
                  <a:pt x="11051398" y="1078185"/>
                </a:cubicBezTo>
                <a:cubicBezTo>
                  <a:pt x="11051398" y="1046077"/>
                  <a:pt x="11032070" y="1046077"/>
                  <a:pt x="11020258" y="1046077"/>
                </a:cubicBezTo>
                <a:cubicBezTo>
                  <a:pt x="11035828" y="1042865"/>
                  <a:pt x="11050056" y="1041259"/>
                  <a:pt x="11064418" y="1041259"/>
                </a:cubicBezTo>
                <a:lnTo>
                  <a:pt x="11090615" y="1044067"/>
                </a:lnTo>
                <a:lnTo>
                  <a:pt x="11077170" y="1046077"/>
                </a:lnTo>
                <a:cubicBezTo>
                  <a:pt x="11070727" y="1052499"/>
                  <a:pt x="11064284" y="1071764"/>
                  <a:pt x="11077170" y="1078185"/>
                </a:cubicBezTo>
                <a:cubicBezTo>
                  <a:pt x="11102941" y="1084607"/>
                  <a:pt x="11102941" y="1046077"/>
                  <a:pt x="11122269" y="1046077"/>
                </a:cubicBezTo>
                <a:cubicBezTo>
                  <a:pt x="11148040" y="1039654"/>
                  <a:pt x="11180254" y="1078185"/>
                  <a:pt x="11206025" y="1039654"/>
                </a:cubicBezTo>
                <a:cubicBezTo>
                  <a:pt x="11217837" y="1007546"/>
                  <a:pt x="11212468" y="962595"/>
                  <a:pt x="11225354" y="924065"/>
                </a:cubicBezTo>
                <a:cubicBezTo>
                  <a:pt x="11258776" y="924065"/>
                  <a:pt x="11300352" y="916088"/>
                  <a:pt x="11341645" y="915543"/>
                </a:cubicBezTo>
                <a:close/>
                <a:moveTo>
                  <a:pt x="11568284" y="905254"/>
                </a:moveTo>
                <a:cubicBezTo>
                  <a:pt x="11561722" y="910521"/>
                  <a:pt x="11561722" y="917894"/>
                  <a:pt x="11555159" y="923161"/>
                </a:cubicBezTo>
                <a:cubicBezTo>
                  <a:pt x="11555159" y="905254"/>
                  <a:pt x="11555159" y="905254"/>
                  <a:pt x="11568284" y="905254"/>
                </a:cubicBezTo>
                <a:close/>
                <a:moveTo>
                  <a:pt x="15678730" y="891038"/>
                </a:moveTo>
                <a:cubicBezTo>
                  <a:pt x="15690706" y="891038"/>
                  <a:pt x="15696694" y="904308"/>
                  <a:pt x="15696694" y="923108"/>
                </a:cubicBezTo>
                <a:cubicBezTo>
                  <a:pt x="15684718" y="923108"/>
                  <a:pt x="15678730" y="917579"/>
                  <a:pt x="15678730" y="891038"/>
                </a:cubicBezTo>
                <a:close/>
                <a:moveTo>
                  <a:pt x="11506728" y="891038"/>
                </a:moveTo>
                <a:cubicBezTo>
                  <a:pt x="11506728" y="903677"/>
                  <a:pt x="11506728" y="916316"/>
                  <a:pt x="11506728" y="921583"/>
                </a:cubicBezTo>
                <a:cubicBezTo>
                  <a:pt x="11492767" y="921583"/>
                  <a:pt x="11475316" y="925137"/>
                  <a:pt x="11462227" y="916695"/>
                </a:cubicBezTo>
                <a:lnTo>
                  <a:pt x="11452907" y="905999"/>
                </a:lnTo>
                <a:lnTo>
                  <a:pt x="11457633" y="923783"/>
                </a:lnTo>
                <a:cubicBezTo>
                  <a:pt x="11457633" y="929312"/>
                  <a:pt x="11455992" y="934013"/>
                  <a:pt x="11452710" y="937331"/>
                </a:cubicBezTo>
                <a:cubicBezTo>
                  <a:pt x="11449428" y="934013"/>
                  <a:pt x="11447787" y="929312"/>
                  <a:pt x="11447787" y="923783"/>
                </a:cubicBezTo>
                <a:lnTo>
                  <a:pt x="11452605" y="905652"/>
                </a:lnTo>
                <a:lnTo>
                  <a:pt x="11450884" y="903677"/>
                </a:lnTo>
                <a:cubicBezTo>
                  <a:pt x="11469499" y="903677"/>
                  <a:pt x="11488113" y="897358"/>
                  <a:pt x="11506728" y="891038"/>
                </a:cubicBezTo>
                <a:close/>
                <a:moveTo>
                  <a:pt x="15469696" y="886905"/>
                </a:moveTo>
                <a:cubicBezTo>
                  <a:pt x="15489560" y="886769"/>
                  <a:pt x="15507042" y="894644"/>
                  <a:pt x="15507042" y="926687"/>
                </a:cubicBezTo>
                <a:cubicBezTo>
                  <a:pt x="15481614" y="926687"/>
                  <a:pt x="15418046" y="965790"/>
                  <a:pt x="15418046" y="895187"/>
                </a:cubicBezTo>
                <a:cubicBezTo>
                  <a:pt x="15427580" y="895187"/>
                  <a:pt x="15449830" y="887040"/>
                  <a:pt x="15469696" y="886905"/>
                </a:cubicBezTo>
                <a:close/>
                <a:moveTo>
                  <a:pt x="16787832" y="862601"/>
                </a:moveTo>
                <a:cubicBezTo>
                  <a:pt x="16904024" y="875828"/>
                  <a:pt x="16904024" y="875828"/>
                  <a:pt x="16962124" y="908896"/>
                </a:cubicBezTo>
                <a:cubicBezTo>
                  <a:pt x="16904024" y="889055"/>
                  <a:pt x="16845928" y="875828"/>
                  <a:pt x="16787832" y="862601"/>
                </a:cubicBezTo>
                <a:close/>
                <a:moveTo>
                  <a:pt x="11623835" y="857110"/>
                </a:moveTo>
                <a:cubicBezTo>
                  <a:pt x="11634857" y="857908"/>
                  <a:pt x="11645746" y="859503"/>
                  <a:pt x="11654776" y="859503"/>
                </a:cubicBezTo>
                <a:cubicBezTo>
                  <a:pt x="11654776" y="897784"/>
                  <a:pt x="11617594" y="885024"/>
                  <a:pt x="11617594" y="922242"/>
                </a:cubicBezTo>
                <a:cubicBezTo>
                  <a:pt x="11642028" y="922242"/>
                  <a:pt x="11705770" y="922242"/>
                  <a:pt x="11661150" y="973284"/>
                </a:cubicBezTo>
                <a:cubicBezTo>
                  <a:pt x="11623968" y="1017947"/>
                  <a:pt x="11566600" y="998806"/>
                  <a:pt x="11528355" y="1017947"/>
                </a:cubicBezTo>
                <a:cubicBezTo>
                  <a:pt x="11528355" y="992426"/>
                  <a:pt x="11521981" y="960524"/>
                  <a:pt x="11534729" y="947763"/>
                </a:cubicBezTo>
                <a:cubicBezTo>
                  <a:pt x="11547478" y="935003"/>
                  <a:pt x="11566600" y="941383"/>
                  <a:pt x="11572974" y="916925"/>
                </a:cubicBezTo>
                <a:cubicBezTo>
                  <a:pt x="11579349" y="897784"/>
                  <a:pt x="11572974" y="865883"/>
                  <a:pt x="11592097" y="859503"/>
                </a:cubicBezTo>
                <a:cubicBezTo>
                  <a:pt x="11601658" y="856312"/>
                  <a:pt x="11612813" y="856312"/>
                  <a:pt x="11623835" y="857110"/>
                </a:cubicBezTo>
                <a:close/>
                <a:moveTo>
                  <a:pt x="11225206" y="835722"/>
                </a:moveTo>
                <a:cubicBezTo>
                  <a:pt x="11225206" y="867961"/>
                  <a:pt x="11243477" y="861514"/>
                  <a:pt x="11256374" y="861514"/>
                </a:cubicBezTo>
                <a:cubicBezTo>
                  <a:pt x="11256374" y="829275"/>
                  <a:pt x="11237028" y="835722"/>
                  <a:pt x="11225206" y="835722"/>
                </a:cubicBezTo>
                <a:close/>
                <a:moveTo>
                  <a:pt x="16736772" y="835129"/>
                </a:moveTo>
                <a:cubicBezTo>
                  <a:pt x="16754590" y="835945"/>
                  <a:pt x="16770790" y="839208"/>
                  <a:pt x="16770790" y="848999"/>
                </a:cubicBezTo>
                <a:cubicBezTo>
                  <a:pt x="16777272" y="868580"/>
                  <a:pt x="16693034" y="894688"/>
                  <a:pt x="16693034" y="835945"/>
                </a:cubicBezTo>
                <a:cubicBezTo>
                  <a:pt x="16699514" y="835945"/>
                  <a:pt x="16718954" y="834313"/>
                  <a:pt x="16736772" y="835129"/>
                </a:cubicBezTo>
                <a:close/>
                <a:moveTo>
                  <a:pt x="15582938" y="834163"/>
                </a:moveTo>
                <a:cubicBezTo>
                  <a:pt x="15582938" y="854638"/>
                  <a:pt x="15576950" y="861463"/>
                  <a:pt x="15564976" y="861463"/>
                </a:cubicBezTo>
                <a:cubicBezTo>
                  <a:pt x="15564976" y="840988"/>
                  <a:pt x="15570964" y="834163"/>
                  <a:pt x="15582938" y="834163"/>
                </a:cubicBezTo>
                <a:close/>
                <a:moveTo>
                  <a:pt x="17568160" y="831207"/>
                </a:moveTo>
                <a:cubicBezTo>
                  <a:pt x="17593848" y="829599"/>
                  <a:pt x="17619404" y="836032"/>
                  <a:pt x="17641460" y="852116"/>
                </a:cubicBezTo>
                <a:cubicBezTo>
                  <a:pt x="17660828" y="864983"/>
                  <a:pt x="17680192" y="890718"/>
                  <a:pt x="17706016" y="903585"/>
                </a:cubicBezTo>
                <a:cubicBezTo>
                  <a:pt x="17738296" y="916452"/>
                  <a:pt x="17764120" y="921814"/>
                  <a:pt x="17796400" y="934681"/>
                </a:cubicBezTo>
                <a:cubicBezTo>
                  <a:pt x="17911528" y="979716"/>
                  <a:pt x="18020200" y="1024751"/>
                  <a:pt x="18136404" y="1076222"/>
                </a:cubicBezTo>
                <a:cubicBezTo>
                  <a:pt x="18251532" y="1126619"/>
                  <a:pt x="18367736" y="1178088"/>
                  <a:pt x="18482864" y="1235990"/>
                </a:cubicBezTo>
                <a:cubicBezTo>
                  <a:pt x="18540964" y="1261725"/>
                  <a:pt x="18599068" y="1287459"/>
                  <a:pt x="18656092" y="1318555"/>
                </a:cubicBezTo>
                <a:cubicBezTo>
                  <a:pt x="18688372" y="1331422"/>
                  <a:pt x="18720652" y="1344290"/>
                  <a:pt x="18746476" y="1363591"/>
                </a:cubicBezTo>
                <a:cubicBezTo>
                  <a:pt x="18759388" y="1370024"/>
                  <a:pt x="18778752" y="1376458"/>
                  <a:pt x="18791664" y="1382891"/>
                </a:cubicBezTo>
                <a:cubicBezTo>
                  <a:pt x="18791664" y="1395759"/>
                  <a:pt x="18791664" y="1415060"/>
                  <a:pt x="18791664" y="1427927"/>
                </a:cubicBezTo>
                <a:cubicBezTo>
                  <a:pt x="18765840" y="1472962"/>
                  <a:pt x="18707740" y="1415060"/>
                  <a:pt x="18681916" y="1402192"/>
                </a:cubicBezTo>
                <a:cubicBezTo>
                  <a:pt x="18630272" y="1370024"/>
                  <a:pt x="18579700" y="1350723"/>
                  <a:pt x="18528052" y="1326061"/>
                </a:cubicBezTo>
                <a:cubicBezTo>
                  <a:pt x="18412924" y="1274592"/>
                  <a:pt x="18296720" y="1223123"/>
                  <a:pt x="18181592" y="1171654"/>
                </a:cubicBezTo>
                <a:cubicBezTo>
                  <a:pt x="17956716" y="1063355"/>
                  <a:pt x="17725384" y="960415"/>
                  <a:pt x="17494052" y="858550"/>
                </a:cubicBezTo>
                <a:cubicBezTo>
                  <a:pt x="17516648" y="842466"/>
                  <a:pt x="17542472" y="832815"/>
                  <a:pt x="17568160" y="831207"/>
                </a:cubicBezTo>
                <a:close/>
                <a:moveTo>
                  <a:pt x="12382469" y="827846"/>
                </a:moveTo>
                <a:cubicBezTo>
                  <a:pt x="12400402" y="828674"/>
                  <a:pt x="12416704" y="836953"/>
                  <a:pt x="12416704" y="863443"/>
                </a:cubicBezTo>
                <a:cubicBezTo>
                  <a:pt x="12371058" y="870066"/>
                  <a:pt x="12318891" y="876689"/>
                  <a:pt x="12273245" y="889934"/>
                </a:cubicBezTo>
                <a:cubicBezTo>
                  <a:pt x="12247161" y="823707"/>
                  <a:pt x="12318891" y="836953"/>
                  <a:pt x="12338453" y="836953"/>
                </a:cubicBezTo>
                <a:cubicBezTo>
                  <a:pt x="12344974" y="833641"/>
                  <a:pt x="12364537" y="827018"/>
                  <a:pt x="12382469" y="827846"/>
                </a:cubicBezTo>
                <a:close/>
                <a:moveTo>
                  <a:pt x="12084950" y="822623"/>
                </a:moveTo>
                <a:lnTo>
                  <a:pt x="12083793" y="825913"/>
                </a:lnTo>
                <a:cubicBezTo>
                  <a:pt x="12082390" y="829904"/>
                  <a:pt x="12081267" y="833096"/>
                  <a:pt x="12081267" y="833096"/>
                </a:cubicBezTo>
                <a:close/>
                <a:moveTo>
                  <a:pt x="17391356" y="815200"/>
                </a:moveTo>
                <a:cubicBezTo>
                  <a:pt x="17396620" y="821621"/>
                  <a:pt x="17396620" y="828042"/>
                  <a:pt x="17402940" y="834463"/>
                </a:cubicBezTo>
                <a:cubicBezTo>
                  <a:pt x="17396620" y="840884"/>
                  <a:pt x="17396620" y="840884"/>
                  <a:pt x="17391356" y="847305"/>
                </a:cubicBezTo>
                <a:lnTo>
                  <a:pt x="17390976" y="846016"/>
                </a:lnTo>
                <a:lnTo>
                  <a:pt x="17380088" y="851544"/>
                </a:lnTo>
                <a:cubicBezTo>
                  <a:pt x="17363928" y="859106"/>
                  <a:pt x="17342380" y="864923"/>
                  <a:pt x="17342380" y="832348"/>
                </a:cubicBezTo>
                <a:cubicBezTo>
                  <a:pt x="17348764" y="832348"/>
                  <a:pt x="17358340" y="829245"/>
                  <a:pt x="17367916" y="829245"/>
                </a:cubicBezTo>
                <a:cubicBezTo>
                  <a:pt x="17372704" y="829245"/>
                  <a:pt x="17377492" y="830021"/>
                  <a:pt x="17381884" y="832348"/>
                </a:cubicBezTo>
                <a:lnTo>
                  <a:pt x="17389280" y="840284"/>
                </a:lnTo>
                <a:lnTo>
                  <a:pt x="17386616" y="831253"/>
                </a:lnTo>
                <a:cubicBezTo>
                  <a:pt x="17386616" y="826437"/>
                  <a:pt x="17388196" y="821621"/>
                  <a:pt x="17391356" y="815200"/>
                </a:cubicBezTo>
                <a:close/>
                <a:moveTo>
                  <a:pt x="13682197" y="813388"/>
                </a:moveTo>
                <a:cubicBezTo>
                  <a:pt x="13655708" y="825798"/>
                  <a:pt x="13629218" y="838208"/>
                  <a:pt x="13602728" y="856822"/>
                </a:cubicBezTo>
                <a:cubicBezTo>
                  <a:pt x="13602728" y="800978"/>
                  <a:pt x="13662330" y="819593"/>
                  <a:pt x="13682197" y="813388"/>
                </a:cubicBezTo>
                <a:close/>
                <a:moveTo>
                  <a:pt x="17431380" y="800980"/>
                </a:moveTo>
                <a:cubicBezTo>
                  <a:pt x="17431380" y="833089"/>
                  <a:pt x="17406104" y="833089"/>
                  <a:pt x="17394520" y="813824"/>
                </a:cubicBezTo>
                <a:cubicBezTo>
                  <a:pt x="17406104" y="807402"/>
                  <a:pt x="17418744" y="800980"/>
                  <a:pt x="17431380" y="800980"/>
                </a:cubicBezTo>
                <a:close/>
                <a:moveTo>
                  <a:pt x="11450884" y="800980"/>
                </a:moveTo>
                <a:cubicBezTo>
                  <a:pt x="11462859" y="800980"/>
                  <a:pt x="11468846" y="807402"/>
                  <a:pt x="11468846" y="833089"/>
                </a:cubicBezTo>
                <a:cubicBezTo>
                  <a:pt x="11456871" y="833089"/>
                  <a:pt x="11450884" y="820246"/>
                  <a:pt x="11450884" y="800980"/>
                </a:cubicBezTo>
                <a:close/>
                <a:moveTo>
                  <a:pt x="16628722" y="793569"/>
                </a:moveTo>
                <a:cubicBezTo>
                  <a:pt x="16646934" y="794345"/>
                  <a:pt x="16663492" y="805203"/>
                  <a:pt x="16663492" y="833125"/>
                </a:cubicBezTo>
                <a:cubicBezTo>
                  <a:pt x="16637000" y="820715"/>
                  <a:pt x="16610510" y="820715"/>
                  <a:pt x="16584018" y="814510"/>
                </a:cubicBezTo>
                <a:cubicBezTo>
                  <a:pt x="16590642" y="802101"/>
                  <a:pt x="16610510" y="792793"/>
                  <a:pt x="16628722" y="793569"/>
                </a:cubicBezTo>
                <a:close/>
                <a:moveTo>
                  <a:pt x="12113375" y="772545"/>
                </a:moveTo>
                <a:cubicBezTo>
                  <a:pt x="12106930" y="791935"/>
                  <a:pt x="12106930" y="811325"/>
                  <a:pt x="12100485" y="837178"/>
                </a:cubicBezTo>
                <a:cubicBezTo>
                  <a:pt x="12097263" y="825867"/>
                  <a:pt x="12093637" y="821020"/>
                  <a:pt x="12089727" y="819808"/>
                </a:cubicBezTo>
                <a:lnTo>
                  <a:pt x="12085398" y="821350"/>
                </a:lnTo>
                <a:lnTo>
                  <a:pt x="12077256" y="824251"/>
                </a:lnTo>
                <a:cubicBezTo>
                  <a:pt x="12068529" y="830715"/>
                  <a:pt x="12059130" y="840409"/>
                  <a:pt x="12049999" y="830715"/>
                </a:cubicBezTo>
                <a:cubicBezTo>
                  <a:pt x="12030664" y="811325"/>
                  <a:pt x="12017774" y="830715"/>
                  <a:pt x="12037109" y="850104"/>
                </a:cubicBezTo>
                <a:cubicBezTo>
                  <a:pt x="11940434" y="895347"/>
                  <a:pt x="11837315" y="913660"/>
                  <a:pt x="11735269" y="901810"/>
                </a:cubicBezTo>
                <a:cubicBezTo>
                  <a:pt x="11761049" y="804862"/>
                  <a:pt x="11831944" y="804862"/>
                  <a:pt x="11888874" y="791935"/>
                </a:cubicBezTo>
                <a:cubicBezTo>
                  <a:pt x="11966214" y="779008"/>
                  <a:pt x="12037109" y="779008"/>
                  <a:pt x="12113375" y="772545"/>
                </a:cubicBezTo>
                <a:close/>
                <a:moveTo>
                  <a:pt x="15318510" y="772543"/>
                </a:moveTo>
                <a:cubicBezTo>
                  <a:pt x="15330486" y="772543"/>
                  <a:pt x="15336474" y="785386"/>
                  <a:pt x="15336474" y="804652"/>
                </a:cubicBezTo>
                <a:cubicBezTo>
                  <a:pt x="15323500" y="804652"/>
                  <a:pt x="15318510" y="791808"/>
                  <a:pt x="15318510" y="772543"/>
                </a:cubicBezTo>
                <a:close/>
                <a:moveTo>
                  <a:pt x="16489224" y="772540"/>
                </a:moveTo>
                <a:cubicBezTo>
                  <a:pt x="16520822" y="772540"/>
                  <a:pt x="16552420" y="778745"/>
                  <a:pt x="16582966" y="791154"/>
                </a:cubicBezTo>
                <a:cubicBezTo>
                  <a:pt x="16565060" y="815974"/>
                  <a:pt x="16489224" y="828384"/>
                  <a:pt x="16489224" y="772540"/>
                </a:cubicBezTo>
                <a:close/>
                <a:moveTo>
                  <a:pt x="14811358" y="772540"/>
                </a:moveTo>
                <a:cubicBezTo>
                  <a:pt x="14817780" y="778689"/>
                  <a:pt x="14830623" y="778689"/>
                  <a:pt x="14843467" y="790986"/>
                </a:cubicBezTo>
                <a:cubicBezTo>
                  <a:pt x="14830623" y="809432"/>
                  <a:pt x="14811358" y="803284"/>
                  <a:pt x="14811358" y="772540"/>
                </a:cubicBezTo>
                <a:close/>
                <a:moveTo>
                  <a:pt x="13019098" y="745785"/>
                </a:moveTo>
                <a:cubicBezTo>
                  <a:pt x="13026784" y="747390"/>
                  <a:pt x="13032933" y="755416"/>
                  <a:pt x="13032933" y="771469"/>
                </a:cubicBezTo>
                <a:cubicBezTo>
                  <a:pt x="13020636" y="765048"/>
                  <a:pt x="13008338" y="758627"/>
                  <a:pt x="12996041" y="758627"/>
                </a:cubicBezTo>
                <a:cubicBezTo>
                  <a:pt x="13002189" y="748995"/>
                  <a:pt x="13011412" y="744179"/>
                  <a:pt x="13019098" y="745785"/>
                </a:cubicBezTo>
                <a:close/>
                <a:moveTo>
                  <a:pt x="13493756" y="739366"/>
                </a:moveTo>
                <a:cubicBezTo>
                  <a:pt x="13493756" y="784127"/>
                  <a:pt x="13505598" y="809704"/>
                  <a:pt x="13524975" y="828888"/>
                </a:cubicBezTo>
                <a:cubicBezTo>
                  <a:pt x="13537894" y="841676"/>
                  <a:pt x="13563730" y="822493"/>
                  <a:pt x="13563730" y="860860"/>
                </a:cubicBezTo>
                <a:cubicBezTo>
                  <a:pt x="13524975" y="860860"/>
                  <a:pt x="13223545" y="918410"/>
                  <a:pt x="13223545" y="835282"/>
                </a:cubicBezTo>
                <a:cubicBezTo>
                  <a:pt x="13236463" y="835282"/>
                  <a:pt x="13249382" y="835282"/>
                  <a:pt x="13262300" y="835282"/>
                </a:cubicBezTo>
                <a:cubicBezTo>
                  <a:pt x="13262300" y="809704"/>
                  <a:pt x="13262300" y="790521"/>
                  <a:pt x="13262300" y="771338"/>
                </a:cubicBezTo>
                <a:cubicBezTo>
                  <a:pt x="13281678" y="777732"/>
                  <a:pt x="13299979" y="777732"/>
                  <a:pt x="13319357" y="784127"/>
                </a:cubicBezTo>
                <a:cubicBezTo>
                  <a:pt x="13312898" y="790521"/>
                  <a:pt x="13306438" y="803310"/>
                  <a:pt x="13299979" y="816099"/>
                </a:cubicBezTo>
                <a:cubicBezTo>
                  <a:pt x="13345194" y="816099"/>
                  <a:pt x="13390408" y="816099"/>
                  <a:pt x="13435623" y="816099"/>
                </a:cubicBezTo>
                <a:cubicBezTo>
                  <a:pt x="13429163" y="803310"/>
                  <a:pt x="13422704" y="796915"/>
                  <a:pt x="13416245" y="784127"/>
                </a:cubicBezTo>
                <a:cubicBezTo>
                  <a:pt x="13435623" y="764943"/>
                  <a:pt x="13461460" y="739366"/>
                  <a:pt x="13493756" y="739366"/>
                </a:cubicBezTo>
                <a:close/>
                <a:moveTo>
                  <a:pt x="15075758" y="736500"/>
                </a:moveTo>
                <a:cubicBezTo>
                  <a:pt x="15075758" y="776181"/>
                  <a:pt x="15051162" y="769567"/>
                  <a:pt x="15038866" y="769567"/>
                </a:cubicBezTo>
                <a:cubicBezTo>
                  <a:pt x="15038866" y="729886"/>
                  <a:pt x="15057312" y="736500"/>
                  <a:pt x="15075758" y="736500"/>
                </a:cubicBezTo>
                <a:close/>
                <a:moveTo>
                  <a:pt x="11568850" y="733767"/>
                </a:moveTo>
                <a:cubicBezTo>
                  <a:pt x="11553536" y="732826"/>
                  <a:pt x="11535803" y="739005"/>
                  <a:pt x="11526130" y="739005"/>
                </a:cubicBezTo>
                <a:cubicBezTo>
                  <a:pt x="11526130" y="797036"/>
                  <a:pt x="11577717" y="771244"/>
                  <a:pt x="11597062" y="771244"/>
                </a:cubicBezTo>
                <a:cubicBezTo>
                  <a:pt x="11597062" y="742766"/>
                  <a:pt x="11584165" y="734707"/>
                  <a:pt x="11568850" y="733767"/>
                </a:cubicBezTo>
                <a:close/>
                <a:moveTo>
                  <a:pt x="11744314" y="726040"/>
                </a:moveTo>
                <a:lnTo>
                  <a:pt x="11742534" y="731101"/>
                </a:lnTo>
                <a:cubicBezTo>
                  <a:pt x="11741131" y="735089"/>
                  <a:pt x="11740008" y="738280"/>
                  <a:pt x="11740008" y="738280"/>
                </a:cubicBezTo>
                <a:close/>
                <a:moveTo>
                  <a:pt x="13443216" y="723397"/>
                </a:moveTo>
                <a:cubicBezTo>
                  <a:pt x="13444856" y="721900"/>
                  <a:pt x="13448138" y="723397"/>
                  <a:pt x="13454700" y="726390"/>
                </a:cubicBezTo>
                <a:cubicBezTo>
                  <a:pt x="13448138" y="726390"/>
                  <a:pt x="13441575" y="732378"/>
                  <a:pt x="13441575" y="738365"/>
                </a:cubicBezTo>
                <a:cubicBezTo>
                  <a:pt x="13441575" y="729384"/>
                  <a:pt x="13441575" y="724893"/>
                  <a:pt x="13443216" y="723397"/>
                </a:cubicBezTo>
                <a:close/>
                <a:moveTo>
                  <a:pt x="11745513" y="722634"/>
                </a:moveTo>
                <a:lnTo>
                  <a:pt x="11744314" y="726040"/>
                </a:lnTo>
                <a:lnTo>
                  <a:pt x="11745165" y="723622"/>
                </a:lnTo>
                <a:close/>
                <a:moveTo>
                  <a:pt x="13946986" y="715666"/>
                </a:moveTo>
                <a:cubicBezTo>
                  <a:pt x="13946986" y="746544"/>
                  <a:pt x="13953438" y="772098"/>
                  <a:pt x="13959889" y="804040"/>
                </a:cubicBezTo>
                <a:cubicBezTo>
                  <a:pt x="13979244" y="804040"/>
                  <a:pt x="13992148" y="804040"/>
                  <a:pt x="14005051" y="804040"/>
                </a:cubicBezTo>
                <a:cubicBezTo>
                  <a:pt x="14024406" y="804040"/>
                  <a:pt x="14037310" y="804040"/>
                  <a:pt x="14056665" y="804040"/>
                </a:cubicBezTo>
                <a:cubicBezTo>
                  <a:pt x="14056665" y="823205"/>
                  <a:pt x="14056665" y="842370"/>
                  <a:pt x="14056665" y="861535"/>
                </a:cubicBezTo>
                <a:cubicBezTo>
                  <a:pt x="14005051" y="855147"/>
                  <a:pt x="13953438" y="842370"/>
                  <a:pt x="13902899" y="835982"/>
                </a:cubicBezTo>
                <a:cubicBezTo>
                  <a:pt x="13831930" y="835982"/>
                  <a:pt x="13767413" y="855147"/>
                  <a:pt x="13697520" y="861535"/>
                </a:cubicBezTo>
                <a:cubicBezTo>
                  <a:pt x="13697520" y="772098"/>
                  <a:pt x="13760962" y="804040"/>
                  <a:pt x="13799672" y="797651"/>
                </a:cubicBezTo>
                <a:cubicBezTo>
                  <a:pt x="13851286" y="784874"/>
                  <a:pt x="13902899" y="765709"/>
                  <a:pt x="13946986" y="715666"/>
                </a:cubicBezTo>
                <a:close/>
                <a:moveTo>
                  <a:pt x="12397752" y="706185"/>
                </a:moveTo>
                <a:cubicBezTo>
                  <a:pt x="12397752" y="771656"/>
                  <a:pt x="12345962" y="738921"/>
                  <a:pt x="12320067" y="738921"/>
                </a:cubicBezTo>
                <a:cubicBezTo>
                  <a:pt x="12320067" y="784750"/>
                  <a:pt x="12326540" y="804391"/>
                  <a:pt x="12300645" y="810938"/>
                </a:cubicBezTo>
                <a:cubicBezTo>
                  <a:pt x="12274750" y="810938"/>
                  <a:pt x="12256408" y="830579"/>
                  <a:pt x="12236986" y="837126"/>
                </a:cubicBezTo>
                <a:cubicBezTo>
                  <a:pt x="12217565" y="843673"/>
                  <a:pt x="12159301" y="856767"/>
                  <a:pt x="12152827" y="810938"/>
                </a:cubicBezTo>
                <a:cubicBezTo>
                  <a:pt x="12133406" y="725827"/>
                  <a:pt x="12191670" y="725827"/>
                  <a:pt x="12224039" y="725827"/>
                </a:cubicBezTo>
                <a:cubicBezTo>
                  <a:pt x="12281224" y="732374"/>
                  <a:pt x="12339488" y="713824"/>
                  <a:pt x="12397752" y="706185"/>
                </a:cubicBezTo>
                <a:close/>
                <a:moveTo>
                  <a:pt x="14768702" y="706184"/>
                </a:moveTo>
                <a:cubicBezTo>
                  <a:pt x="14796002" y="706184"/>
                  <a:pt x="14789177" y="745346"/>
                  <a:pt x="14789177" y="771455"/>
                </a:cubicBezTo>
                <a:cubicBezTo>
                  <a:pt x="14768702" y="771455"/>
                  <a:pt x="14768702" y="732292"/>
                  <a:pt x="14768702" y="706184"/>
                </a:cubicBezTo>
                <a:close/>
                <a:moveTo>
                  <a:pt x="14056741" y="706184"/>
                </a:moveTo>
                <a:cubicBezTo>
                  <a:pt x="14056741" y="731870"/>
                  <a:pt x="14050754" y="738292"/>
                  <a:pt x="14038779" y="738292"/>
                </a:cubicBezTo>
                <a:cubicBezTo>
                  <a:pt x="14038779" y="719027"/>
                  <a:pt x="14044766" y="706184"/>
                  <a:pt x="14056741" y="706184"/>
                </a:cubicBezTo>
                <a:close/>
                <a:moveTo>
                  <a:pt x="13849192" y="706184"/>
                </a:moveTo>
                <a:cubicBezTo>
                  <a:pt x="13862317" y="706184"/>
                  <a:pt x="13862317" y="719027"/>
                  <a:pt x="13862317" y="738292"/>
                </a:cubicBezTo>
                <a:cubicBezTo>
                  <a:pt x="13849192" y="738292"/>
                  <a:pt x="13849192" y="725449"/>
                  <a:pt x="13849192" y="706184"/>
                </a:cubicBezTo>
                <a:close/>
                <a:moveTo>
                  <a:pt x="14882454" y="706183"/>
                </a:moveTo>
                <a:cubicBezTo>
                  <a:pt x="14894429" y="706183"/>
                  <a:pt x="14900416" y="719027"/>
                  <a:pt x="14900416" y="738292"/>
                </a:cubicBezTo>
                <a:cubicBezTo>
                  <a:pt x="14888441" y="738292"/>
                  <a:pt x="14882454" y="731870"/>
                  <a:pt x="14882454" y="706183"/>
                </a:cubicBezTo>
                <a:close/>
                <a:moveTo>
                  <a:pt x="14602811" y="673007"/>
                </a:moveTo>
                <a:cubicBezTo>
                  <a:pt x="14628901" y="673007"/>
                  <a:pt x="14648469" y="673007"/>
                  <a:pt x="14674560" y="673007"/>
                </a:cubicBezTo>
                <a:cubicBezTo>
                  <a:pt x="14687605" y="673007"/>
                  <a:pt x="14700650" y="673007"/>
                  <a:pt x="14720218" y="673007"/>
                </a:cubicBezTo>
                <a:cubicBezTo>
                  <a:pt x="14720218" y="686278"/>
                  <a:pt x="14720218" y="699548"/>
                  <a:pt x="14720218" y="705077"/>
                </a:cubicBezTo>
                <a:cubicBezTo>
                  <a:pt x="14694127" y="705077"/>
                  <a:pt x="14668037" y="705077"/>
                  <a:pt x="14648469" y="705077"/>
                </a:cubicBezTo>
                <a:cubicBezTo>
                  <a:pt x="14628901" y="705077"/>
                  <a:pt x="14615856" y="705077"/>
                  <a:pt x="14602811" y="705077"/>
                </a:cubicBezTo>
                <a:cubicBezTo>
                  <a:pt x="14602811" y="699548"/>
                  <a:pt x="14602811" y="686278"/>
                  <a:pt x="14602811" y="673007"/>
                </a:cubicBezTo>
                <a:close/>
                <a:moveTo>
                  <a:pt x="13223548" y="673006"/>
                </a:moveTo>
                <a:cubicBezTo>
                  <a:pt x="13235845" y="673006"/>
                  <a:pt x="13248143" y="673006"/>
                  <a:pt x="13260440" y="673006"/>
                </a:cubicBezTo>
                <a:cubicBezTo>
                  <a:pt x="13248143" y="703551"/>
                  <a:pt x="13235845" y="735149"/>
                  <a:pt x="13223548" y="766747"/>
                </a:cubicBezTo>
                <a:cubicBezTo>
                  <a:pt x="13223548" y="735149"/>
                  <a:pt x="13223548" y="703551"/>
                  <a:pt x="13223548" y="673006"/>
                </a:cubicBezTo>
                <a:close/>
                <a:moveTo>
                  <a:pt x="14414802" y="673004"/>
                </a:moveTo>
                <a:cubicBezTo>
                  <a:pt x="14446400" y="673004"/>
                  <a:pt x="14477998" y="673004"/>
                  <a:pt x="14502224" y="673004"/>
                </a:cubicBezTo>
                <a:cubicBezTo>
                  <a:pt x="14502224" y="711599"/>
                  <a:pt x="14477998" y="711599"/>
                  <a:pt x="14465359" y="716959"/>
                </a:cubicBezTo>
                <a:cubicBezTo>
                  <a:pt x="14452720" y="723391"/>
                  <a:pt x="14433761" y="761985"/>
                  <a:pt x="14421121" y="736256"/>
                </a:cubicBezTo>
                <a:cubicBezTo>
                  <a:pt x="14408482" y="723391"/>
                  <a:pt x="14414802" y="692302"/>
                  <a:pt x="14414802" y="673004"/>
                </a:cubicBezTo>
                <a:close/>
                <a:moveTo>
                  <a:pt x="16178126" y="671295"/>
                </a:moveTo>
                <a:cubicBezTo>
                  <a:pt x="16270636" y="671844"/>
                  <a:pt x="16364350" y="692007"/>
                  <a:pt x="16450238" y="758286"/>
                </a:cubicBezTo>
                <a:cubicBezTo>
                  <a:pt x="16392444" y="809392"/>
                  <a:pt x="16316456" y="783839"/>
                  <a:pt x="16252242" y="771062"/>
                </a:cubicBezTo>
                <a:cubicBezTo>
                  <a:pt x="16194448" y="758286"/>
                  <a:pt x="16124880" y="745509"/>
                  <a:pt x="16086350" y="676302"/>
                </a:cubicBezTo>
                <a:cubicBezTo>
                  <a:pt x="16116584" y="673108"/>
                  <a:pt x="16147288" y="671112"/>
                  <a:pt x="16178126" y="671295"/>
                </a:cubicBezTo>
                <a:close/>
                <a:moveTo>
                  <a:pt x="13732922" y="660993"/>
                </a:moveTo>
                <a:cubicBezTo>
                  <a:pt x="13771622" y="661675"/>
                  <a:pt x="13805450" y="677766"/>
                  <a:pt x="13805450" y="739400"/>
                </a:cubicBezTo>
                <a:cubicBezTo>
                  <a:pt x="13772975" y="739400"/>
                  <a:pt x="13740499" y="752491"/>
                  <a:pt x="13708024" y="739400"/>
                </a:cubicBezTo>
                <a:cubicBezTo>
                  <a:pt x="13682043" y="726310"/>
                  <a:pt x="13657145" y="694674"/>
                  <a:pt x="13631165" y="675038"/>
                </a:cubicBezTo>
                <a:cubicBezTo>
                  <a:pt x="13650650" y="675038"/>
                  <a:pt x="13694222" y="660312"/>
                  <a:pt x="13732922" y="660993"/>
                </a:cubicBezTo>
                <a:close/>
                <a:moveTo>
                  <a:pt x="14270365" y="655771"/>
                </a:moveTo>
                <a:cubicBezTo>
                  <a:pt x="14278429" y="655771"/>
                  <a:pt x="14286492" y="658997"/>
                  <a:pt x="14289718" y="668673"/>
                </a:cubicBezTo>
                <a:cubicBezTo>
                  <a:pt x="14289718" y="681575"/>
                  <a:pt x="14257462" y="675124"/>
                  <a:pt x="14251011" y="681575"/>
                </a:cubicBezTo>
                <a:cubicBezTo>
                  <a:pt x="14231658" y="706304"/>
                  <a:pt x="14289718" y="713830"/>
                  <a:pt x="14289718" y="713830"/>
                </a:cubicBezTo>
                <a:cubicBezTo>
                  <a:pt x="14296169" y="706304"/>
                  <a:pt x="14340252" y="700928"/>
                  <a:pt x="14340252" y="725657"/>
                </a:cubicBezTo>
                <a:cubicBezTo>
                  <a:pt x="14340252" y="738559"/>
                  <a:pt x="14315522" y="738559"/>
                  <a:pt x="14309071" y="738559"/>
                </a:cubicBezTo>
                <a:cubicBezTo>
                  <a:pt x="14296169" y="738559"/>
                  <a:pt x="14276816" y="738559"/>
                  <a:pt x="14263913" y="738559"/>
                </a:cubicBezTo>
                <a:cubicBezTo>
                  <a:pt x="14257462" y="764363"/>
                  <a:pt x="14251011" y="783716"/>
                  <a:pt x="14251011" y="809520"/>
                </a:cubicBezTo>
                <a:cubicBezTo>
                  <a:pt x="14270364" y="815971"/>
                  <a:pt x="14296169" y="828873"/>
                  <a:pt x="14320898" y="835324"/>
                </a:cubicBezTo>
                <a:cubicBezTo>
                  <a:pt x="14320898" y="815971"/>
                  <a:pt x="14309071" y="783716"/>
                  <a:pt x="14327350" y="770814"/>
                </a:cubicBezTo>
                <a:cubicBezTo>
                  <a:pt x="14333801" y="764363"/>
                  <a:pt x="14346703" y="757912"/>
                  <a:pt x="14359605" y="770814"/>
                </a:cubicBezTo>
                <a:cubicBezTo>
                  <a:pt x="14366056" y="783716"/>
                  <a:pt x="14353154" y="809520"/>
                  <a:pt x="14359605" y="828873"/>
                </a:cubicBezTo>
                <a:cubicBezTo>
                  <a:pt x="14366056" y="841775"/>
                  <a:pt x="14385410" y="835324"/>
                  <a:pt x="14398312" y="835324"/>
                </a:cubicBezTo>
                <a:cubicBezTo>
                  <a:pt x="14437019" y="828873"/>
                  <a:pt x="14430568" y="790167"/>
                  <a:pt x="14456372" y="751461"/>
                </a:cubicBezTo>
                <a:cubicBezTo>
                  <a:pt x="14469274" y="732108"/>
                  <a:pt x="14495079" y="770814"/>
                  <a:pt x="14506906" y="783716"/>
                </a:cubicBezTo>
                <a:cubicBezTo>
                  <a:pt x="14501530" y="790167"/>
                  <a:pt x="14495079" y="803069"/>
                  <a:pt x="14488628" y="815971"/>
                </a:cubicBezTo>
                <a:cubicBezTo>
                  <a:pt x="14506906" y="822422"/>
                  <a:pt x="14526259" y="828873"/>
                  <a:pt x="14545613" y="835324"/>
                </a:cubicBezTo>
                <a:cubicBezTo>
                  <a:pt x="14545613" y="796618"/>
                  <a:pt x="14545613" y="770814"/>
                  <a:pt x="14571417" y="764363"/>
                </a:cubicBezTo>
                <a:cubicBezTo>
                  <a:pt x="14597222" y="757912"/>
                  <a:pt x="14616575" y="757912"/>
                  <a:pt x="14635929" y="757912"/>
                </a:cubicBezTo>
                <a:cubicBezTo>
                  <a:pt x="14642380" y="757912"/>
                  <a:pt x="14712267" y="751461"/>
                  <a:pt x="14712267" y="764363"/>
                </a:cubicBezTo>
                <a:cubicBezTo>
                  <a:pt x="14712267" y="770814"/>
                  <a:pt x="14687538" y="770814"/>
                  <a:pt x="14681087" y="777265"/>
                </a:cubicBezTo>
                <a:cubicBezTo>
                  <a:pt x="14668184" y="783716"/>
                  <a:pt x="14668184" y="822422"/>
                  <a:pt x="14661733" y="841775"/>
                </a:cubicBezTo>
                <a:cubicBezTo>
                  <a:pt x="14726244" y="841775"/>
                  <a:pt x="14789681" y="854677"/>
                  <a:pt x="14847741" y="861128"/>
                </a:cubicBezTo>
                <a:cubicBezTo>
                  <a:pt x="14847741" y="841775"/>
                  <a:pt x="14847741" y="809520"/>
                  <a:pt x="14860643" y="803069"/>
                </a:cubicBezTo>
                <a:cubicBezTo>
                  <a:pt x="14886448" y="796618"/>
                  <a:pt x="14905801" y="809520"/>
                  <a:pt x="14925154" y="815971"/>
                </a:cubicBezTo>
                <a:cubicBezTo>
                  <a:pt x="14917628" y="828873"/>
                  <a:pt x="14917628" y="848226"/>
                  <a:pt x="14912252" y="861128"/>
                </a:cubicBezTo>
                <a:cubicBezTo>
                  <a:pt x="14936981" y="867579"/>
                  <a:pt x="14962786" y="899834"/>
                  <a:pt x="14988590" y="893383"/>
                </a:cubicBezTo>
                <a:cubicBezTo>
                  <a:pt x="15003106" y="888545"/>
                  <a:pt x="15013992" y="865563"/>
                  <a:pt x="15026692" y="867982"/>
                </a:cubicBezTo>
                <a:lnTo>
                  <a:pt x="15031764" y="872674"/>
                </a:lnTo>
                <a:lnTo>
                  <a:pt x="15024646" y="861223"/>
                </a:lnTo>
                <a:cubicBezTo>
                  <a:pt x="15030634" y="848380"/>
                  <a:pt x="15036620" y="848380"/>
                  <a:pt x="15042608" y="861223"/>
                </a:cubicBezTo>
                <a:lnTo>
                  <a:pt x="15037422" y="877910"/>
                </a:lnTo>
                <a:lnTo>
                  <a:pt x="15040200" y="880481"/>
                </a:lnTo>
                <a:cubicBezTo>
                  <a:pt x="15046650" y="867579"/>
                  <a:pt x="15046650" y="861128"/>
                  <a:pt x="15040200" y="848226"/>
                </a:cubicBezTo>
                <a:cubicBezTo>
                  <a:pt x="15053102" y="835324"/>
                  <a:pt x="15078906" y="828873"/>
                  <a:pt x="15091808" y="848226"/>
                </a:cubicBezTo>
                <a:cubicBezTo>
                  <a:pt x="15104710" y="867579"/>
                  <a:pt x="15111162" y="886932"/>
                  <a:pt x="15122990" y="886932"/>
                </a:cubicBezTo>
                <a:cubicBezTo>
                  <a:pt x="15174598" y="893383"/>
                  <a:pt x="15226208" y="893383"/>
                  <a:pt x="15277816" y="899834"/>
                </a:cubicBezTo>
                <a:cubicBezTo>
                  <a:pt x="15277816" y="880481"/>
                  <a:pt x="15277816" y="861128"/>
                  <a:pt x="15277816" y="841775"/>
                </a:cubicBezTo>
                <a:cubicBezTo>
                  <a:pt x="15297170" y="841775"/>
                  <a:pt x="15316522" y="841775"/>
                  <a:pt x="15328350" y="854677"/>
                </a:cubicBezTo>
                <a:cubicBezTo>
                  <a:pt x="15347704" y="874030"/>
                  <a:pt x="15335876" y="906285"/>
                  <a:pt x="15335876" y="937465"/>
                </a:cubicBezTo>
                <a:cubicBezTo>
                  <a:pt x="15342328" y="995523"/>
                  <a:pt x="15450922" y="969720"/>
                  <a:pt x="15476726" y="969720"/>
                </a:cubicBezTo>
                <a:cubicBezTo>
                  <a:pt x="15508982" y="969720"/>
                  <a:pt x="15547688" y="976170"/>
                  <a:pt x="15578870" y="982622"/>
                </a:cubicBezTo>
                <a:cubicBezTo>
                  <a:pt x="15604674" y="982622"/>
                  <a:pt x="15617576" y="1001975"/>
                  <a:pt x="15636930" y="1014876"/>
                </a:cubicBezTo>
                <a:cubicBezTo>
                  <a:pt x="15682088" y="1040681"/>
                  <a:pt x="15727246" y="969720"/>
                  <a:pt x="15764876" y="989073"/>
                </a:cubicBezTo>
                <a:cubicBezTo>
                  <a:pt x="15784230" y="995523"/>
                  <a:pt x="15784230" y="1040681"/>
                  <a:pt x="15803584" y="1040681"/>
                </a:cubicBezTo>
                <a:cubicBezTo>
                  <a:pt x="15835840" y="1040681"/>
                  <a:pt x="15855192" y="1027778"/>
                  <a:pt x="15880998" y="1014876"/>
                </a:cubicBezTo>
                <a:cubicBezTo>
                  <a:pt x="15906802" y="1008426"/>
                  <a:pt x="15939058" y="995523"/>
                  <a:pt x="15958410" y="1014876"/>
                </a:cubicBezTo>
                <a:cubicBezTo>
                  <a:pt x="15983140" y="1034229"/>
                  <a:pt x="15996042" y="1066486"/>
                  <a:pt x="16015396" y="1085839"/>
                </a:cubicBezTo>
                <a:cubicBezTo>
                  <a:pt x="16118614" y="1175078"/>
                  <a:pt x="16233658" y="1149274"/>
                  <a:pt x="16343328" y="1168627"/>
                </a:cubicBezTo>
                <a:cubicBezTo>
                  <a:pt x="16343328" y="1149274"/>
                  <a:pt x="16336878" y="1111643"/>
                  <a:pt x="16356230" y="1111643"/>
                </a:cubicBezTo>
                <a:cubicBezTo>
                  <a:pt x="16356230" y="1129922"/>
                  <a:pt x="16356230" y="1149274"/>
                  <a:pt x="16356230" y="1168627"/>
                </a:cubicBezTo>
                <a:cubicBezTo>
                  <a:pt x="16374508" y="1168627"/>
                  <a:pt x="16387410" y="1168627"/>
                  <a:pt x="16400314" y="1168627"/>
                </a:cubicBezTo>
                <a:cubicBezTo>
                  <a:pt x="16413216" y="1175078"/>
                  <a:pt x="16426118" y="1194431"/>
                  <a:pt x="16432568" y="1200882"/>
                </a:cubicBezTo>
                <a:cubicBezTo>
                  <a:pt x="16451922" y="1207334"/>
                  <a:pt x="16471276" y="1187980"/>
                  <a:pt x="16484178" y="1175078"/>
                </a:cubicBezTo>
                <a:cubicBezTo>
                  <a:pt x="16490630" y="1162176"/>
                  <a:pt x="16484178" y="1142823"/>
                  <a:pt x="16490630" y="1124546"/>
                </a:cubicBezTo>
                <a:cubicBezTo>
                  <a:pt x="16497080" y="1149274"/>
                  <a:pt x="16503532" y="1175078"/>
                  <a:pt x="16509982" y="1200882"/>
                </a:cubicBezTo>
                <a:cubicBezTo>
                  <a:pt x="16522884" y="1207334"/>
                  <a:pt x="16535786" y="1213784"/>
                  <a:pt x="16555140" y="1213784"/>
                </a:cubicBezTo>
                <a:cubicBezTo>
                  <a:pt x="16568042" y="1220235"/>
                  <a:pt x="16586320" y="1226686"/>
                  <a:pt x="16605674" y="1233137"/>
                </a:cubicBezTo>
                <a:cubicBezTo>
                  <a:pt x="16605674" y="1213784"/>
                  <a:pt x="16612126" y="1187980"/>
                  <a:pt x="16612126" y="1168627"/>
                </a:cubicBezTo>
                <a:cubicBezTo>
                  <a:pt x="16618576" y="1194431"/>
                  <a:pt x="16625028" y="1252490"/>
                  <a:pt x="16644382" y="1258942"/>
                </a:cubicBezTo>
                <a:cubicBezTo>
                  <a:pt x="16676636" y="1265392"/>
                  <a:pt x="16708892" y="1220235"/>
                  <a:pt x="16741148" y="1200882"/>
                </a:cubicBezTo>
                <a:cubicBezTo>
                  <a:pt x="16741148" y="1220235"/>
                  <a:pt x="16721794" y="1265392"/>
                  <a:pt x="16734696" y="1265392"/>
                </a:cubicBezTo>
                <a:cubicBezTo>
                  <a:pt x="16760502" y="1278294"/>
                  <a:pt x="16785232" y="1278294"/>
                  <a:pt x="16811036" y="1291197"/>
                </a:cubicBezTo>
                <a:cubicBezTo>
                  <a:pt x="16843292" y="1310550"/>
                  <a:pt x="16875548" y="1317000"/>
                  <a:pt x="16907804" y="1317000"/>
                </a:cubicBezTo>
                <a:cubicBezTo>
                  <a:pt x="16933608" y="1322376"/>
                  <a:pt x="16965864" y="1310550"/>
                  <a:pt x="16990592" y="1322376"/>
                </a:cubicBezTo>
                <a:cubicBezTo>
                  <a:pt x="17016396" y="1329902"/>
                  <a:pt x="17022848" y="1386886"/>
                  <a:pt x="17048652" y="1393337"/>
                </a:cubicBezTo>
                <a:cubicBezTo>
                  <a:pt x="17087360" y="1406239"/>
                  <a:pt x="17119616" y="1419141"/>
                  <a:pt x="17158324" y="1425592"/>
                </a:cubicBezTo>
                <a:cubicBezTo>
                  <a:pt x="17221760" y="1444946"/>
                  <a:pt x="17286268" y="1464298"/>
                  <a:pt x="17350780" y="1509455"/>
                </a:cubicBezTo>
                <a:cubicBezTo>
                  <a:pt x="17344328" y="1522358"/>
                  <a:pt x="17337880" y="1535259"/>
                  <a:pt x="17331428" y="1553537"/>
                </a:cubicBezTo>
                <a:cubicBezTo>
                  <a:pt x="17312076" y="1547086"/>
                  <a:pt x="17299172" y="1547086"/>
                  <a:pt x="17286268" y="1540635"/>
                </a:cubicBezTo>
                <a:cubicBezTo>
                  <a:pt x="17254012" y="1535259"/>
                  <a:pt x="17228208" y="1522358"/>
                  <a:pt x="17195952" y="1515907"/>
                </a:cubicBezTo>
                <a:cubicBezTo>
                  <a:pt x="17138968" y="1503004"/>
                  <a:pt x="17080908" y="1483651"/>
                  <a:pt x="17022848" y="1464298"/>
                </a:cubicBezTo>
                <a:cubicBezTo>
                  <a:pt x="16907804" y="1432043"/>
                  <a:pt x="16791684" y="1399788"/>
                  <a:pt x="16676636" y="1367533"/>
                </a:cubicBezTo>
                <a:cubicBezTo>
                  <a:pt x="16555140" y="1335278"/>
                  <a:pt x="16432568" y="1304099"/>
                  <a:pt x="16317524" y="1278294"/>
                </a:cubicBezTo>
                <a:cubicBezTo>
                  <a:pt x="16259464" y="1258942"/>
                  <a:pt x="16194952" y="1246039"/>
                  <a:pt x="16137968" y="1239589"/>
                </a:cubicBezTo>
                <a:cubicBezTo>
                  <a:pt x="16118614" y="1233137"/>
                  <a:pt x="16105712" y="1207334"/>
                  <a:pt x="16079906" y="1200882"/>
                </a:cubicBezTo>
                <a:cubicBezTo>
                  <a:pt x="16060554" y="1194431"/>
                  <a:pt x="16041200" y="1187980"/>
                  <a:pt x="16021846" y="1181529"/>
                </a:cubicBezTo>
                <a:cubicBezTo>
                  <a:pt x="16021846" y="1168627"/>
                  <a:pt x="16028298" y="1162176"/>
                  <a:pt x="16041200" y="1149274"/>
                </a:cubicBezTo>
                <a:cubicBezTo>
                  <a:pt x="15963786" y="1149274"/>
                  <a:pt x="15893900" y="1142823"/>
                  <a:pt x="15822936" y="1136372"/>
                </a:cubicBezTo>
                <a:cubicBezTo>
                  <a:pt x="15822936" y="1124546"/>
                  <a:pt x="15822936" y="1105192"/>
                  <a:pt x="15829388" y="1092290"/>
                </a:cubicBezTo>
                <a:cubicBezTo>
                  <a:pt x="15777778" y="1092290"/>
                  <a:pt x="15733696" y="1092290"/>
                  <a:pt x="15682088" y="1092290"/>
                </a:cubicBezTo>
                <a:cubicBezTo>
                  <a:pt x="15688538" y="1105192"/>
                  <a:pt x="15694990" y="1111643"/>
                  <a:pt x="15701440" y="1124546"/>
                </a:cubicBezTo>
                <a:cubicBezTo>
                  <a:pt x="15669184" y="1129922"/>
                  <a:pt x="15636930" y="1136372"/>
                  <a:pt x="15604674" y="1136372"/>
                </a:cubicBezTo>
                <a:cubicBezTo>
                  <a:pt x="15604674" y="1117019"/>
                  <a:pt x="15604674" y="1098741"/>
                  <a:pt x="15604674" y="1079389"/>
                </a:cubicBezTo>
                <a:cubicBezTo>
                  <a:pt x="15617576" y="1085839"/>
                  <a:pt x="15630478" y="1092290"/>
                  <a:pt x="15643380" y="1105192"/>
                </a:cubicBezTo>
                <a:cubicBezTo>
                  <a:pt x="15649832" y="1085839"/>
                  <a:pt x="15656282" y="1066486"/>
                  <a:pt x="15662734" y="1047134"/>
                </a:cubicBezTo>
                <a:cubicBezTo>
                  <a:pt x="15624026" y="1047134"/>
                  <a:pt x="15585320" y="1047134"/>
                  <a:pt x="15547688" y="1047134"/>
                </a:cubicBezTo>
                <a:cubicBezTo>
                  <a:pt x="15547688" y="1079389"/>
                  <a:pt x="15572418" y="1079389"/>
                  <a:pt x="15585320" y="1079389"/>
                </a:cubicBezTo>
                <a:cubicBezTo>
                  <a:pt x="15572418" y="1105192"/>
                  <a:pt x="15565966" y="1124546"/>
                  <a:pt x="15547688" y="1111643"/>
                </a:cubicBezTo>
                <a:cubicBezTo>
                  <a:pt x="15528336" y="1105192"/>
                  <a:pt x="15508982" y="1085839"/>
                  <a:pt x="15515432" y="1047134"/>
                </a:cubicBezTo>
                <a:cubicBezTo>
                  <a:pt x="15290718" y="956818"/>
                  <a:pt x="15059552" y="956818"/>
                  <a:pt x="14828387" y="931014"/>
                </a:cubicBezTo>
                <a:cubicBezTo>
                  <a:pt x="14809034" y="931014"/>
                  <a:pt x="14793309" y="917104"/>
                  <a:pt x="14775770" y="910149"/>
                </a:cubicBezTo>
                <a:lnTo>
                  <a:pt x="14770946" y="909133"/>
                </a:lnTo>
                <a:lnTo>
                  <a:pt x="14781783" y="924059"/>
                </a:lnTo>
                <a:cubicBezTo>
                  <a:pt x="14778370" y="930695"/>
                  <a:pt x="14771545" y="930695"/>
                  <a:pt x="14767280" y="926686"/>
                </a:cubicBezTo>
                <a:lnTo>
                  <a:pt x="14768003" y="908513"/>
                </a:lnTo>
                <a:lnTo>
                  <a:pt x="14757425" y="906285"/>
                </a:lnTo>
                <a:cubicBezTo>
                  <a:pt x="14726244" y="906285"/>
                  <a:pt x="14693989" y="899834"/>
                  <a:pt x="14668184" y="899834"/>
                </a:cubicBezTo>
                <a:cubicBezTo>
                  <a:pt x="14610124" y="893383"/>
                  <a:pt x="14552064" y="893383"/>
                  <a:pt x="14501530" y="886932"/>
                </a:cubicBezTo>
                <a:cubicBezTo>
                  <a:pt x="14385410" y="880481"/>
                  <a:pt x="14263913" y="867579"/>
                  <a:pt x="14147793" y="861128"/>
                </a:cubicBezTo>
                <a:cubicBezTo>
                  <a:pt x="14154244" y="828873"/>
                  <a:pt x="14173598" y="796618"/>
                  <a:pt x="14192951" y="783716"/>
                </a:cubicBezTo>
                <a:cubicBezTo>
                  <a:pt x="14205853" y="777265"/>
                  <a:pt x="14225207" y="770814"/>
                  <a:pt x="14225207" y="738559"/>
                </a:cubicBezTo>
                <a:cubicBezTo>
                  <a:pt x="14205853" y="738559"/>
                  <a:pt x="14186500" y="738559"/>
                  <a:pt x="14167146" y="738559"/>
                </a:cubicBezTo>
                <a:cubicBezTo>
                  <a:pt x="14167146" y="681575"/>
                  <a:pt x="14225207" y="662222"/>
                  <a:pt x="14251011" y="662222"/>
                </a:cubicBezTo>
                <a:cubicBezTo>
                  <a:pt x="14254237" y="658997"/>
                  <a:pt x="14262301" y="655771"/>
                  <a:pt x="14270365" y="655771"/>
                </a:cubicBezTo>
                <a:close/>
                <a:moveTo>
                  <a:pt x="12014056" y="649811"/>
                </a:moveTo>
                <a:cubicBezTo>
                  <a:pt x="12014056" y="669154"/>
                  <a:pt x="12020505" y="675602"/>
                  <a:pt x="12033401" y="675602"/>
                </a:cubicBezTo>
                <a:cubicBezTo>
                  <a:pt x="12033401" y="656258"/>
                  <a:pt x="12026953" y="649811"/>
                  <a:pt x="12014056" y="649811"/>
                </a:cubicBezTo>
                <a:close/>
                <a:moveTo>
                  <a:pt x="11897986" y="649811"/>
                </a:moveTo>
                <a:cubicBezTo>
                  <a:pt x="11897986" y="669154"/>
                  <a:pt x="11910883" y="675602"/>
                  <a:pt x="11923779" y="675602"/>
                </a:cubicBezTo>
                <a:cubicBezTo>
                  <a:pt x="11923779" y="656258"/>
                  <a:pt x="11910883" y="649811"/>
                  <a:pt x="11897986" y="649811"/>
                </a:cubicBezTo>
                <a:close/>
                <a:moveTo>
                  <a:pt x="14113619" y="649309"/>
                </a:moveTo>
                <a:cubicBezTo>
                  <a:pt x="14113619" y="669783"/>
                  <a:pt x="14102642" y="676608"/>
                  <a:pt x="14095657" y="676608"/>
                </a:cubicBezTo>
                <a:cubicBezTo>
                  <a:pt x="14095657" y="656134"/>
                  <a:pt x="14102642" y="649309"/>
                  <a:pt x="14113619" y="649309"/>
                </a:cubicBezTo>
                <a:close/>
                <a:moveTo>
                  <a:pt x="13988245" y="638642"/>
                </a:moveTo>
                <a:cubicBezTo>
                  <a:pt x="14023843" y="640245"/>
                  <a:pt x="14062676" y="649865"/>
                  <a:pt x="14075621" y="649865"/>
                </a:cubicBezTo>
                <a:cubicBezTo>
                  <a:pt x="14075621" y="719336"/>
                  <a:pt x="13946175" y="675516"/>
                  <a:pt x="13920286" y="675516"/>
                </a:cubicBezTo>
                <a:cubicBezTo>
                  <a:pt x="13920286" y="643452"/>
                  <a:pt x="13952648" y="637039"/>
                  <a:pt x="13988245" y="638642"/>
                </a:cubicBezTo>
                <a:close/>
                <a:moveTo>
                  <a:pt x="14966848" y="632600"/>
                </a:moveTo>
                <a:cubicBezTo>
                  <a:pt x="14993576" y="630969"/>
                  <a:pt x="15018854" y="644023"/>
                  <a:pt x="15018854" y="676658"/>
                </a:cubicBezTo>
                <a:cubicBezTo>
                  <a:pt x="14980936" y="676658"/>
                  <a:pt x="14943018" y="676658"/>
                  <a:pt x="14906153" y="676658"/>
                </a:cubicBezTo>
                <a:cubicBezTo>
                  <a:pt x="14911946" y="650550"/>
                  <a:pt x="14940121" y="634232"/>
                  <a:pt x="14966848" y="632600"/>
                </a:cubicBezTo>
                <a:close/>
                <a:moveTo>
                  <a:pt x="13454765" y="625642"/>
                </a:moveTo>
                <a:cubicBezTo>
                  <a:pt x="13492482" y="627542"/>
                  <a:pt x="13521084" y="639703"/>
                  <a:pt x="13521084" y="673754"/>
                </a:cubicBezTo>
                <a:cubicBezTo>
                  <a:pt x="13464646" y="686726"/>
                  <a:pt x="13407143" y="693211"/>
                  <a:pt x="13349640" y="705102"/>
                </a:cubicBezTo>
                <a:cubicBezTo>
                  <a:pt x="13324083" y="705102"/>
                  <a:pt x="13280423" y="705102"/>
                  <a:pt x="13280423" y="647810"/>
                </a:cubicBezTo>
                <a:cubicBezTo>
                  <a:pt x="13303717" y="647810"/>
                  <a:pt x="13391902" y="622475"/>
                  <a:pt x="13454765" y="625642"/>
                </a:cubicBezTo>
                <a:close/>
                <a:moveTo>
                  <a:pt x="12167742" y="617572"/>
                </a:moveTo>
                <a:cubicBezTo>
                  <a:pt x="12167742" y="636915"/>
                  <a:pt x="12174191" y="649811"/>
                  <a:pt x="12187087" y="649811"/>
                </a:cubicBezTo>
                <a:cubicBezTo>
                  <a:pt x="12187087" y="630467"/>
                  <a:pt x="12180639" y="617572"/>
                  <a:pt x="12167742" y="617572"/>
                </a:cubicBezTo>
                <a:close/>
                <a:moveTo>
                  <a:pt x="15944156" y="616130"/>
                </a:moveTo>
                <a:cubicBezTo>
                  <a:pt x="15974702" y="628995"/>
                  <a:pt x="16006300" y="635427"/>
                  <a:pt x="16037898" y="648292"/>
                </a:cubicBezTo>
                <a:cubicBezTo>
                  <a:pt x="16018938" y="667589"/>
                  <a:pt x="15993660" y="686886"/>
                  <a:pt x="15981020" y="705111"/>
                </a:cubicBezTo>
                <a:cubicBezTo>
                  <a:pt x="15968382" y="699751"/>
                  <a:pt x="15956796" y="686886"/>
                  <a:pt x="15944156" y="674021"/>
                </a:cubicBezTo>
                <a:cubicBezTo>
                  <a:pt x="15944156" y="654724"/>
                  <a:pt x="15944156" y="635427"/>
                  <a:pt x="15944156" y="616130"/>
                </a:cubicBezTo>
                <a:close/>
                <a:moveTo>
                  <a:pt x="14844536" y="616129"/>
                </a:moveTo>
                <a:cubicBezTo>
                  <a:pt x="14856511" y="616129"/>
                  <a:pt x="14862498" y="628972"/>
                  <a:pt x="14862498" y="648235"/>
                </a:cubicBezTo>
                <a:cubicBezTo>
                  <a:pt x="14850523" y="648235"/>
                  <a:pt x="14844536" y="635393"/>
                  <a:pt x="14844536" y="616129"/>
                </a:cubicBezTo>
                <a:close/>
                <a:moveTo>
                  <a:pt x="14474837" y="582950"/>
                </a:moveTo>
                <a:cubicBezTo>
                  <a:pt x="14487962" y="582950"/>
                  <a:pt x="14487962" y="595793"/>
                  <a:pt x="14487962" y="615059"/>
                </a:cubicBezTo>
                <a:cubicBezTo>
                  <a:pt x="14474837" y="615059"/>
                  <a:pt x="14474837" y="602215"/>
                  <a:pt x="14474837" y="582950"/>
                </a:cubicBezTo>
                <a:close/>
                <a:moveTo>
                  <a:pt x="12242167" y="582109"/>
                </a:moveTo>
                <a:cubicBezTo>
                  <a:pt x="12230345" y="580497"/>
                  <a:pt x="12216106" y="585333"/>
                  <a:pt x="12206433" y="585333"/>
                </a:cubicBezTo>
                <a:cubicBezTo>
                  <a:pt x="12206433" y="636915"/>
                  <a:pt x="12244048" y="617572"/>
                  <a:pt x="12263393" y="617572"/>
                </a:cubicBezTo>
                <a:cubicBezTo>
                  <a:pt x="12263393" y="591780"/>
                  <a:pt x="12253989" y="583721"/>
                  <a:pt x="12242167" y="582109"/>
                </a:cubicBezTo>
                <a:close/>
                <a:moveTo>
                  <a:pt x="14199329" y="577557"/>
                </a:moveTo>
                <a:cubicBezTo>
                  <a:pt x="14211739" y="579951"/>
                  <a:pt x="14222597" y="592720"/>
                  <a:pt x="14222597" y="615065"/>
                </a:cubicBezTo>
                <a:cubicBezTo>
                  <a:pt x="14203982" y="608681"/>
                  <a:pt x="14185368" y="608681"/>
                  <a:pt x="14166753" y="602296"/>
                </a:cubicBezTo>
                <a:cubicBezTo>
                  <a:pt x="14172958" y="583143"/>
                  <a:pt x="14186919" y="575163"/>
                  <a:pt x="14199329" y="577557"/>
                </a:cubicBezTo>
                <a:close/>
                <a:moveTo>
                  <a:pt x="13668243" y="571593"/>
                </a:moveTo>
                <a:cubicBezTo>
                  <a:pt x="13674924" y="571057"/>
                  <a:pt x="13681695" y="571440"/>
                  <a:pt x="13688143" y="572052"/>
                </a:cubicBezTo>
                <a:cubicBezTo>
                  <a:pt x="13696741" y="572867"/>
                  <a:pt x="13704765" y="574091"/>
                  <a:pt x="13711239" y="574091"/>
                </a:cubicBezTo>
                <a:cubicBezTo>
                  <a:pt x="13769503" y="580618"/>
                  <a:pt x="13827767" y="574091"/>
                  <a:pt x="13886031" y="574091"/>
                </a:cubicBezTo>
                <a:cubicBezTo>
                  <a:pt x="13801872" y="587145"/>
                  <a:pt x="13711239" y="600199"/>
                  <a:pt x="13621685" y="619780"/>
                </a:cubicBezTo>
                <a:cubicBezTo>
                  <a:pt x="13628968" y="583066"/>
                  <a:pt x="13648200" y="573199"/>
                  <a:pt x="13668243" y="571593"/>
                </a:cubicBezTo>
                <a:close/>
                <a:moveTo>
                  <a:pt x="14158289" y="566983"/>
                </a:moveTo>
                <a:cubicBezTo>
                  <a:pt x="14159304" y="565486"/>
                  <a:pt x="14161336" y="566983"/>
                  <a:pt x="14165399" y="569977"/>
                </a:cubicBezTo>
                <a:cubicBezTo>
                  <a:pt x="14165399" y="575964"/>
                  <a:pt x="14165399" y="575964"/>
                  <a:pt x="14157273" y="581951"/>
                </a:cubicBezTo>
                <a:cubicBezTo>
                  <a:pt x="14157273" y="572970"/>
                  <a:pt x="14157273" y="568480"/>
                  <a:pt x="14158289" y="566983"/>
                </a:cubicBezTo>
                <a:close/>
                <a:moveTo>
                  <a:pt x="11506785" y="559541"/>
                </a:moveTo>
                <a:cubicBezTo>
                  <a:pt x="11506785" y="578885"/>
                  <a:pt x="11513233" y="585333"/>
                  <a:pt x="11526130" y="585333"/>
                </a:cubicBezTo>
                <a:cubicBezTo>
                  <a:pt x="11526130" y="565989"/>
                  <a:pt x="11519682" y="559541"/>
                  <a:pt x="11506785" y="559541"/>
                </a:cubicBezTo>
                <a:close/>
                <a:moveTo>
                  <a:pt x="13920286" y="559254"/>
                </a:moveTo>
                <a:cubicBezTo>
                  <a:pt x="13932261" y="559254"/>
                  <a:pt x="13938248" y="566078"/>
                  <a:pt x="13938248" y="586553"/>
                </a:cubicBezTo>
                <a:cubicBezTo>
                  <a:pt x="13926273" y="586553"/>
                  <a:pt x="13920286" y="579728"/>
                  <a:pt x="13920286" y="559254"/>
                </a:cubicBezTo>
                <a:close/>
                <a:moveTo>
                  <a:pt x="15604568" y="559251"/>
                </a:moveTo>
                <a:cubicBezTo>
                  <a:pt x="15713582" y="578288"/>
                  <a:pt x="15815116" y="597325"/>
                  <a:pt x="15924130" y="616362"/>
                </a:cubicBezTo>
                <a:cubicBezTo>
                  <a:pt x="15924130" y="686165"/>
                  <a:pt x="15821528" y="654436"/>
                  <a:pt x="15802290" y="648091"/>
                </a:cubicBezTo>
                <a:cubicBezTo>
                  <a:pt x="15752058" y="635399"/>
                  <a:pt x="15707170" y="629054"/>
                  <a:pt x="15662282" y="622708"/>
                </a:cubicBezTo>
                <a:cubicBezTo>
                  <a:pt x="15649456" y="622708"/>
                  <a:pt x="15630218" y="622708"/>
                  <a:pt x="15610980" y="622708"/>
                </a:cubicBezTo>
                <a:cubicBezTo>
                  <a:pt x="15598154" y="616362"/>
                  <a:pt x="15604568" y="571943"/>
                  <a:pt x="15604568" y="559251"/>
                </a:cubicBezTo>
                <a:close/>
                <a:moveTo>
                  <a:pt x="14308592" y="558611"/>
                </a:moveTo>
                <a:cubicBezTo>
                  <a:pt x="14343180" y="562581"/>
                  <a:pt x="14380912" y="578292"/>
                  <a:pt x="14402667" y="581883"/>
                </a:cubicBezTo>
                <a:cubicBezTo>
                  <a:pt x="14351099" y="581883"/>
                  <a:pt x="14299531" y="581883"/>
                  <a:pt x="14242591" y="581883"/>
                </a:cubicBezTo>
                <a:cubicBezTo>
                  <a:pt x="14250648" y="569115"/>
                  <a:pt x="14262265" y="562332"/>
                  <a:pt x="14275761" y="559439"/>
                </a:cubicBezTo>
                <a:cubicBezTo>
                  <a:pt x="14285883" y="557270"/>
                  <a:pt x="14297063" y="557288"/>
                  <a:pt x="14308592" y="558611"/>
                </a:cubicBezTo>
                <a:close/>
                <a:moveTo>
                  <a:pt x="14038648" y="548746"/>
                </a:moveTo>
                <a:cubicBezTo>
                  <a:pt x="14059056" y="550359"/>
                  <a:pt x="14082491" y="560033"/>
                  <a:pt x="14094604" y="560033"/>
                </a:cubicBezTo>
                <a:cubicBezTo>
                  <a:pt x="14094604" y="624533"/>
                  <a:pt x="14019821" y="585833"/>
                  <a:pt x="14000862" y="585833"/>
                </a:cubicBezTo>
                <a:cubicBezTo>
                  <a:pt x="14000862" y="553583"/>
                  <a:pt x="14018241" y="547133"/>
                  <a:pt x="14038648" y="548746"/>
                </a:cubicBezTo>
                <a:close/>
                <a:moveTo>
                  <a:pt x="13957208" y="497634"/>
                </a:moveTo>
                <a:cubicBezTo>
                  <a:pt x="13957208" y="516435"/>
                  <a:pt x="13951221" y="529707"/>
                  <a:pt x="13939246" y="529707"/>
                </a:cubicBezTo>
                <a:cubicBezTo>
                  <a:pt x="13939246" y="503164"/>
                  <a:pt x="13945233" y="497634"/>
                  <a:pt x="13957208" y="497634"/>
                </a:cubicBezTo>
                <a:close/>
                <a:moveTo>
                  <a:pt x="13563987" y="483352"/>
                </a:moveTo>
                <a:cubicBezTo>
                  <a:pt x="13586136" y="484303"/>
                  <a:pt x="13610747" y="494078"/>
                  <a:pt x="13620591" y="494078"/>
                </a:cubicBezTo>
                <a:cubicBezTo>
                  <a:pt x="13620591" y="558164"/>
                  <a:pt x="13548400" y="525578"/>
                  <a:pt x="13522149" y="525578"/>
                </a:cubicBezTo>
                <a:cubicBezTo>
                  <a:pt x="13522149" y="490277"/>
                  <a:pt x="13541837" y="482402"/>
                  <a:pt x="13563987" y="483352"/>
                </a:cubicBezTo>
                <a:close/>
                <a:moveTo>
                  <a:pt x="13394797" y="464807"/>
                </a:moveTo>
                <a:cubicBezTo>
                  <a:pt x="13404105" y="463504"/>
                  <a:pt x="13414915" y="464722"/>
                  <a:pt x="13427727" y="467969"/>
                </a:cubicBezTo>
                <a:cubicBezTo>
                  <a:pt x="13453351" y="474465"/>
                  <a:pt x="13485380" y="474465"/>
                  <a:pt x="13503531" y="493950"/>
                </a:cubicBezTo>
                <a:cubicBezTo>
                  <a:pt x="13516342" y="499363"/>
                  <a:pt x="13503531" y="538333"/>
                  <a:pt x="13503531" y="557819"/>
                </a:cubicBezTo>
                <a:cubicBezTo>
                  <a:pt x="13497125" y="629265"/>
                  <a:pt x="13414915" y="596789"/>
                  <a:pt x="13382886" y="603284"/>
                </a:cubicBezTo>
                <a:cubicBezTo>
                  <a:pt x="13325233" y="603284"/>
                  <a:pt x="13268647" y="609779"/>
                  <a:pt x="13204588" y="616274"/>
                </a:cubicBezTo>
                <a:cubicBezTo>
                  <a:pt x="13204588" y="551323"/>
                  <a:pt x="13312421" y="564314"/>
                  <a:pt x="13338044" y="557819"/>
                </a:cubicBezTo>
                <a:cubicBezTo>
                  <a:pt x="13352458" y="495303"/>
                  <a:pt x="13366871" y="468714"/>
                  <a:pt x="13394797" y="464807"/>
                </a:cubicBezTo>
                <a:close/>
                <a:moveTo>
                  <a:pt x="15519158" y="464455"/>
                </a:moveTo>
                <a:cubicBezTo>
                  <a:pt x="15519158" y="483693"/>
                  <a:pt x="15525636" y="509343"/>
                  <a:pt x="15525636" y="527512"/>
                </a:cubicBezTo>
                <a:cubicBezTo>
                  <a:pt x="15545068" y="527512"/>
                  <a:pt x="15563422" y="527512"/>
                  <a:pt x="15582856" y="527512"/>
                </a:cubicBezTo>
                <a:cubicBezTo>
                  <a:pt x="15576378" y="540338"/>
                  <a:pt x="15569900" y="572400"/>
                  <a:pt x="15556944" y="572400"/>
                </a:cubicBezTo>
                <a:cubicBezTo>
                  <a:pt x="15538592" y="572400"/>
                  <a:pt x="15525636" y="572400"/>
                  <a:pt x="15506202" y="565988"/>
                </a:cubicBezTo>
                <a:cubicBezTo>
                  <a:pt x="15467336" y="553163"/>
                  <a:pt x="15428470" y="527512"/>
                  <a:pt x="15389604" y="509343"/>
                </a:cubicBezTo>
                <a:cubicBezTo>
                  <a:pt x="15415514" y="509343"/>
                  <a:pt x="15441426" y="509343"/>
                  <a:pt x="15467336" y="509343"/>
                </a:cubicBezTo>
                <a:cubicBezTo>
                  <a:pt x="15486770" y="501862"/>
                  <a:pt x="15499724" y="483693"/>
                  <a:pt x="15519158" y="464455"/>
                </a:cubicBezTo>
                <a:close/>
                <a:moveTo>
                  <a:pt x="13765350" y="461326"/>
                </a:moveTo>
                <a:cubicBezTo>
                  <a:pt x="13777455" y="461326"/>
                  <a:pt x="13791290" y="465134"/>
                  <a:pt x="13791290" y="495604"/>
                </a:cubicBezTo>
                <a:cubicBezTo>
                  <a:pt x="13772844" y="495604"/>
                  <a:pt x="13754398" y="501246"/>
                  <a:pt x="13754398" y="461749"/>
                </a:cubicBezTo>
                <a:cubicBezTo>
                  <a:pt x="13757472" y="461749"/>
                  <a:pt x="13761315" y="461326"/>
                  <a:pt x="13765350" y="461326"/>
                </a:cubicBezTo>
                <a:close/>
                <a:moveTo>
                  <a:pt x="15318510" y="398101"/>
                </a:moveTo>
                <a:cubicBezTo>
                  <a:pt x="15330486" y="398101"/>
                  <a:pt x="15336474" y="410943"/>
                  <a:pt x="15336474" y="430207"/>
                </a:cubicBezTo>
                <a:cubicBezTo>
                  <a:pt x="15323500" y="430207"/>
                  <a:pt x="15318510" y="417364"/>
                  <a:pt x="15318510" y="398101"/>
                </a:cubicBezTo>
                <a:close/>
                <a:moveTo>
                  <a:pt x="12650983" y="396298"/>
                </a:moveTo>
                <a:cubicBezTo>
                  <a:pt x="12602470" y="399018"/>
                  <a:pt x="12558943" y="417152"/>
                  <a:pt x="12558943" y="431660"/>
                </a:cubicBezTo>
                <a:cubicBezTo>
                  <a:pt x="12604082" y="418764"/>
                  <a:pt x="12654594" y="412316"/>
                  <a:pt x="12699732" y="399421"/>
                </a:cubicBezTo>
                <a:cubicBezTo>
                  <a:pt x="12683880" y="396197"/>
                  <a:pt x="12667155" y="395391"/>
                  <a:pt x="12650983" y="396298"/>
                </a:cubicBezTo>
                <a:close/>
                <a:moveTo>
                  <a:pt x="12437499" y="386525"/>
                </a:moveTo>
                <a:cubicBezTo>
                  <a:pt x="12418154" y="392973"/>
                  <a:pt x="12411705" y="425212"/>
                  <a:pt x="12398809" y="438108"/>
                </a:cubicBezTo>
                <a:cubicBezTo>
                  <a:pt x="12366567" y="457451"/>
                  <a:pt x="12327877" y="431660"/>
                  <a:pt x="12295635" y="431660"/>
                </a:cubicBezTo>
                <a:cubicBezTo>
                  <a:pt x="12295635" y="444555"/>
                  <a:pt x="12295635" y="457451"/>
                  <a:pt x="12295635" y="463899"/>
                </a:cubicBezTo>
                <a:cubicBezTo>
                  <a:pt x="12366567" y="457451"/>
                  <a:pt x="12443947" y="470347"/>
                  <a:pt x="12500908" y="412316"/>
                </a:cubicBezTo>
                <a:cubicBezTo>
                  <a:pt x="12481563" y="405869"/>
                  <a:pt x="12462218" y="380077"/>
                  <a:pt x="12437499" y="386525"/>
                </a:cubicBezTo>
                <a:close/>
                <a:moveTo>
                  <a:pt x="12353670" y="373629"/>
                </a:moveTo>
                <a:cubicBezTo>
                  <a:pt x="12353670" y="405869"/>
                  <a:pt x="12379464" y="399421"/>
                  <a:pt x="12392360" y="399421"/>
                </a:cubicBezTo>
                <a:cubicBezTo>
                  <a:pt x="12392360" y="367182"/>
                  <a:pt x="12366567" y="373629"/>
                  <a:pt x="12353670" y="373629"/>
                </a:cubicBezTo>
                <a:close/>
                <a:moveTo>
                  <a:pt x="12558943" y="341390"/>
                </a:moveTo>
                <a:cubicBezTo>
                  <a:pt x="12558943" y="360734"/>
                  <a:pt x="12565391" y="373629"/>
                  <a:pt x="12578288" y="373629"/>
                </a:cubicBezTo>
                <a:cubicBezTo>
                  <a:pt x="12578288" y="354286"/>
                  <a:pt x="12571840" y="341390"/>
                  <a:pt x="12558943" y="341390"/>
                </a:cubicBezTo>
                <a:close/>
                <a:moveTo>
                  <a:pt x="14713667" y="304568"/>
                </a:moveTo>
                <a:cubicBezTo>
                  <a:pt x="14725253" y="306319"/>
                  <a:pt x="14734470" y="314398"/>
                  <a:pt x="14734470" y="339712"/>
                </a:cubicBezTo>
                <a:cubicBezTo>
                  <a:pt x="14716564" y="339712"/>
                  <a:pt x="14678645" y="359102"/>
                  <a:pt x="14678645" y="307396"/>
                </a:cubicBezTo>
                <a:cubicBezTo>
                  <a:pt x="14688124" y="307396"/>
                  <a:pt x="14702081" y="302818"/>
                  <a:pt x="14713667" y="304568"/>
                </a:cubicBezTo>
                <a:close/>
                <a:moveTo>
                  <a:pt x="14337383" y="284347"/>
                </a:moveTo>
                <a:cubicBezTo>
                  <a:pt x="14356951" y="284347"/>
                  <a:pt x="14383041" y="284347"/>
                  <a:pt x="14409132" y="284347"/>
                </a:cubicBezTo>
                <a:cubicBezTo>
                  <a:pt x="14422177" y="284347"/>
                  <a:pt x="14435222" y="284347"/>
                  <a:pt x="14454790" y="284347"/>
                </a:cubicBezTo>
                <a:cubicBezTo>
                  <a:pt x="14454790" y="290271"/>
                  <a:pt x="14454790" y="295208"/>
                  <a:pt x="14454790" y="307056"/>
                </a:cubicBezTo>
                <a:cubicBezTo>
                  <a:pt x="14428699" y="307056"/>
                  <a:pt x="14402609" y="307056"/>
                  <a:pt x="14383041" y="307056"/>
                </a:cubicBezTo>
                <a:cubicBezTo>
                  <a:pt x="14363473" y="307056"/>
                  <a:pt x="14350428" y="307056"/>
                  <a:pt x="14337383" y="307056"/>
                </a:cubicBezTo>
                <a:cubicBezTo>
                  <a:pt x="14337383" y="295208"/>
                  <a:pt x="14337383" y="290271"/>
                  <a:pt x="14337383" y="284347"/>
                </a:cubicBezTo>
                <a:close/>
                <a:moveTo>
                  <a:pt x="13436834" y="284347"/>
                </a:moveTo>
                <a:cubicBezTo>
                  <a:pt x="13448809" y="284347"/>
                  <a:pt x="13454796" y="290271"/>
                  <a:pt x="13454796" y="307056"/>
                </a:cubicBezTo>
                <a:cubicBezTo>
                  <a:pt x="13442821" y="307056"/>
                  <a:pt x="13436834" y="302119"/>
                  <a:pt x="13436834" y="284347"/>
                </a:cubicBezTo>
                <a:close/>
                <a:moveTo>
                  <a:pt x="13691975" y="240912"/>
                </a:moveTo>
                <a:cubicBezTo>
                  <a:pt x="13689288" y="240912"/>
                  <a:pt x="13687609" y="242121"/>
                  <a:pt x="13687810" y="245748"/>
                </a:cubicBezTo>
                <a:lnTo>
                  <a:pt x="13688089" y="246505"/>
                </a:lnTo>
                <a:lnTo>
                  <a:pt x="13694072" y="241390"/>
                </a:lnTo>
                <a:close/>
                <a:moveTo>
                  <a:pt x="13855064" y="1806"/>
                </a:moveTo>
                <a:cubicBezTo>
                  <a:pt x="13867961" y="8254"/>
                  <a:pt x="13874409" y="21149"/>
                  <a:pt x="13880858" y="34045"/>
                </a:cubicBezTo>
                <a:cubicBezTo>
                  <a:pt x="13900203" y="34045"/>
                  <a:pt x="13912025" y="34045"/>
                  <a:pt x="13931370" y="34045"/>
                </a:cubicBezTo>
                <a:cubicBezTo>
                  <a:pt x="13957163" y="34045"/>
                  <a:pt x="13989405" y="27597"/>
                  <a:pt x="14021647" y="34045"/>
                </a:cubicBezTo>
                <a:cubicBezTo>
                  <a:pt x="14143091" y="34045"/>
                  <a:pt x="14272059" y="53388"/>
                  <a:pt x="14393503" y="98523"/>
                </a:cubicBezTo>
                <a:cubicBezTo>
                  <a:pt x="14393503" y="72732"/>
                  <a:pt x="14393503" y="53388"/>
                  <a:pt x="14393503" y="34045"/>
                </a:cubicBezTo>
                <a:cubicBezTo>
                  <a:pt x="14412848" y="34045"/>
                  <a:pt x="14432193" y="34045"/>
                  <a:pt x="14451538" y="40493"/>
                </a:cubicBezTo>
                <a:cubicBezTo>
                  <a:pt x="14579431" y="46941"/>
                  <a:pt x="14707323" y="53388"/>
                  <a:pt x="14836290" y="72732"/>
                </a:cubicBezTo>
                <a:cubicBezTo>
                  <a:pt x="14900774" y="85627"/>
                  <a:pt x="14964183" y="98523"/>
                  <a:pt x="15022218" y="116792"/>
                </a:cubicBezTo>
                <a:cubicBezTo>
                  <a:pt x="15080254" y="136135"/>
                  <a:pt x="15131840" y="168374"/>
                  <a:pt x="15188802" y="187718"/>
                </a:cubicBezTo>
                <a:cubicBezTo>
                  <a:pt x="15317768" y="219957"/>
                  <a:pt x="15439212" y="226405"/>
                  <a:pt x="15567106" y="252196"/>
                </a:cubicBezTo>
                <a:cubicBezTo>
                  <a:pt x="15689624" y="277987"/>
                  <a:pt x="15817518" y="309151"/>
                  <a:pt x="15946484" y="334943"/>
                </a:cubicBezTo>
                <a:cubicBezTo>
                  <a:pt x="16074376" y="367182"/>
                  <a:pt x="16202270" y="399421"/>
                  <a:pt x="16331236" y="425212"/>
                </a:cubicBezTo>
                <a:cubicBezTo>
                  <a:pt x="16452680" y="451003"/>
                  <a:pt x="16580574" y="470347"/>
                  <a:pt x="16703092" y="520854"/>
                </a:cubicBezTo>
                <a:cubicBezTo>
                  <a:pt x="16830988" y="565989"/>
                  <a:pt x="16953504" y="624019"/>
                  <a:pt x="17074948" y="675602"/>
                </a:cubicBezTo>
                <a:cubicBezTo>
                  <a:pt x="17139432" y="701393"/>
                  <a:pt x="17196392" y="726110"/>
                  <a:pt x="17260876" y="751901"/>
                </a:cubicBezTo>
                <a:cubicBezTo>
                  <a:pt x="17286672" y="764797"/>
                  <a:pt x="17338256" y="777692"/>
                  <a:pt x="17338256" y="835722"/>
                </a:cubicBezTo>
                <a:cubicBezTo>
                  <a:pt x="17267324" y="816379"/>
                  <a:pt x="17203916" y="797036"/>
                  <a:pt x="17139432" y="777692"/>
                </a:cubicBezTo>
                <a:cubicBezTo>
                  <a:pt x="16632160" y="624019"/>
                  <a:pt x="16119514" y="489690"/>
                  <a:pt x="15605794" y="392973"/>
                </a:cubicBezTo>
                <a:cubicBezTo>
                  <a:pt x="15093150" y="296256"/>
                  <a:pt x="14572982" y="258644"/>
                  <a:pt x="14053889" y="219957"/>
                </a:cubicBezTo>
                <a:cubicBezTo>
                  <a:pt x="14053889" y="239300"/>
                  <a:pt x="14060337" y="284435"/>
                  <a:pt x="14040992" y="284435"/>
                </a:cubicBezTo>
                <a:cubicBezTo>
                  <a:pt x="14021647" y="284435"/>
                  <a:pt x="14028095" y="232852"/>
                  <a:pt x="14021647" y="219957"/>
                </a:cubicBezTo>
                <a:cubicBezTo>
                  <a:pt x="13957163" y="277987"/>
                  <a:pt x="13880858" y="194166"/>
                  <a:pt x="13809926" y="219957"/>
                </a:cubicBezTo>
                <a:cubicBezTo>
                  <a:pt x="13777684" y="232852"/>
                  <a:pt x="13745442" y="258644"/>
                  <a:pt x="13713200" y="245748"/>
                </a:cubicBezTo>
                <a:lnTo>
                  <a:pt x="13696151" y="241864"/>
                </a:lnTo>
                <a:lnTo>
                  <a:pt x="13701260" y="250600"/>
                </a:lnTo>
                <a:cubicBezTo>
                  <a:pt x="13698765" y="254012"/>
                  <a:pt x="13697518" y="257425"/>
                  <a:pt x="13695273" y="258278"/>
                </a:cubicBezTo>
                <a:lnTo>
                  <a:pt x="13692173" y="257601"/>
                </a:lnTo>
                <a:lnTo>
                  <a:pt x="13694930" y="265091"/>
                </a:lnTo>
                <a:cubicBezTo>
                  <a:pt x="13598205" y="258644"/>
                  <a:pt x="13501479" y="252196"/>
                  <a:pt x="13412277" y="252196"/>
                </a:cubicBezTo>
                <a:cubicBezTo>
                  <a:pt x="13412277" y="265091"/>
                  <a:pt x="13418725" y="290883"/>
                  <a:pt x="13412277" y="303778"/>
                </a:cubicBezTo>
                <a:cubicBezTo>
                  <a:pt x="13405828" y="315599"/>
                  <a:pt x="13367138" y="315599"/>
                  <a:pt x="13360690" y="315599"/>
                </a:cubicBezTo>
                <a:cubicBezTo>
                  <a:pt x="13334896" y="309151"/>
                  <a:pt x="13334896" y="277987"/>
                  <a:pt x="13322000" y="258644"/>
                </a:cubicBezTo>
                <a:cubicBezTo>
                  <a:pt x="13309103" y="239300"/>
                  <a:pt x="13277936" y="245748"/>
                  <a:pt x="13277936" y="284435"/>
                </a:cubicBezTo>
                <a:cubicBezTo>
                  <a:pt x="13289758" y="284435"/>
                  <a:pt x="13302654" y="284435"/>
                  <a:pt x="13315551" y="284435"/>
                </a:cubicBezTo>
                <a:cubicBezTo>
                  <a:pt x="13315551" y="315599"/>
                  <a:pt x="13284384" y="315599"/>
                  <a:pt x="13270413" y="309151"/>
                </a:cubicBezTo>
                <a:cubicBezTo>
                  <a:pt x="13252142" y="303778"/>
                  <a:pt x="13258591" y="271539"/>
                  <a:pt x="13258591" y="252196"/>
                </a:cubicBezTo>
                <a:cubicBezTo>
                  <a:pt x="13213452" y="277987"/>
                  <a:pt x="13161865" y="290883"/>
                  <a:pt x="13116727" y="290883"/>
                </a:cubicBezTo>
                <a:cubicBezTo>
                  <a:pt x="13103830" y="290883"/>
                  <a:pt x="13084485" y="277987"/>
                  <a:pt x="13079111" y="303778"/>
                </a:cubicBezTo>
                <a:cubicBezTo>
                  <a:pt x="13072663" y="328495"/>
                  <a:pt x="13065140" y="341390"/>
                  <a:pt x="13046869" y="347838"/>
                </a:cubicBezTo>
                <a:cubicBezTo>
                  <a:pt x="13008179" y="360734"/>
                  <a:pt x="12963041" y="354286"/>
                  <a:pt x="12924350" y="360734"/>
                </a:cubicBezTo>
                <a:cubicBezTo>
                  <a:pt x="12872764" y="367182"/>
                  <a:pt x="12822251" y="380077"/>
                  <a:pt x="12770664" y="386525"/>
                </a:cubicBezTo>
                <a:cubicBezTo>
                  <a:pt x="12898557" y="386525"/>
                  <a:pt x="13021076" y="380077"/>
                  <a:pt x="13148968" y="373629"/>
                </a:cubicBezTo>
                <a:cubicBezTo>
                  <a:pt x="13181210" y="373629"/>
                  <a:pt x="13219900" y="373629"/>
                  <a:pt x="13252142" y="380077"/>
                </a:cubicBezTo>
                <a:cubicBezTo>
                  <a:pt x="13277936" y="380077"/>
                  <a:pt x="13296206" y="360734"/>
                  <a:pt x="13322000" y="347838"/>
                </a:cubicBezTo>
                <a:cubicBezTo>
                  <a:pt x="13367138" y="322047"/>
                  <a:pt x="13425173" y="341390"/>
                  <a:pt x="13470312" y="341390"/>
                </a:cubicBezTo>
                <a:cubicBezTo>
                  <a:pt x="13598205" y="347838"/>
                  <a:pt x="13726097" y="354286"/>
                  <a:pt x="13855064" y="347838"/>
                </a:cubicBezTo>
                <a:cubicBezTo>
                  <a:pt x="13963612" y="347838"/>
                  <a:pt x="14073234" y="341390"/>
                  <a:pt x="14175333" y="373629"/>
                </a:cubicBezTo>
                <a:cubicBezTo>
                  <a:pt x="14194678" y="380077"/>
                  <a:pt x="14214023" y="386525"/>
                  <a:pt x="14226920" y="360734"/>
                </a:cubicBezTo>
                <a:cubicBezTo>
                  <a:pt x="14233368" y="341390"/>
                  <a:pt x="14233368" y="315599"/>
                  <a:pt x="14252713" y="322047"/>
                </a:cubicBezTo>
                <a:cubicBezTo>
                  <a:pt x="14284955" y="322047"/>
                  <a:pt x="14322571" y="367182"/>
                  <a:pt x="14361261" y="373629"/>
                </a:cubicBezTo>
                <a:cubicBezTo>
                  <a:pt x="14419296" y="386525"/>
                  <a:pt x="14477331" y="386525"/>
                  <a:pt x="14540740" y="392973"/>
                </a:cubicBezTo>
                <a:cubicBezTo>
                  <a:pt x="14598776" y="399421"/>
                  <a:pt x="14663259" y="405869"/>
                  <a:pt x="14726668" y="412316"/>
                </a:cubicBezTo>
                <a:cubicBezTo>
                  <a:pt x="14855636" y="431660"/>
                  <a:pt x="14983528" y="451003"/>
                  <a:pt x="15117870" y="463899"/>
                </a:cubicBezTo>
                <a:cubicBezTo>
                  <a:pt x="15163008" y="470347"/>
                  <a:pt x="15214594" y="476794"/>
                  <a:pt x="15266182" y="476794"/>
                </a:cubicBezTo>
                <a:cubicBezTo>
                  <a:pt x="15285526" y="476794"/>
                  <a:pt x="15337114" y="476794"/>
                  <a:pt x="15337114" y="527302"/>
                </a:cubicBezTo>
                <a:cubicBezTo>
                  <a:pt x="15214594" y="540198"/>
                  <a:pt x="15099598" y="476794"/>
                  <a:pt x="14977080" y="509033"/>
                </a:cubicBezTo>
                <a:cubicBezTo>
                  <a:pt x="14957735" y="514407"/>
                  <a:pt x="14938390" y="540198"/>
                  <a:pt x="14926568" y="496138"/>
                </a:cubicBezTo>
                <a:cubicBezTo>
                  <a:pt x="14920119" y="463899"/>
                  <a:pt x="14894326" y="463899"/>
                  <a:pt x="14874981" y="470347"/>
                </a:cubicBezTo>
                <a:cubicBezTo>
                  <a:pt x="14816945" y="476794"/>
                  <a:pt x="14758910" y="476794"/>
                  <a:pt x="14701950" y="476794"/>
                </a:cubicBezTo>
                <a:cubicBezTo>
                  <a:pt x="14445090" y="476794"/>
                  <a:pt x="14188230" y="451003"/>
                  <a:pt x="13931370" y="438108"/>
                </a:cubicBezTo>
                <a:cubicBezTo>
                  <a:pt x="13797029" y="438108"/>
                  <a:pt x="13669137" y="431660"/>
                  <a:pt x="13540169" y="438108"/>
                </a:cubicBezTo>
                <a:cubicBezTo>
                  <a:pt x="13489657" y="438108"/>
                  <a:pt x="13431622" y="425212"/>
                  <a:pt x="13380035" y="438108"/>
                </a:cubicBezTo>
                <a:cubicBezTo>
                  <a:pt x="13367138" y="444555"/>
                  <a:pt x="13354241" y="463899"/>
                  <a:pt x="13334896" y="463899"/>
                </a:cubicBezTo>
                <a:cubicBezTo>
                  <a:pt x="13322000" y="470347"/>
                  <a:pt x="13302654" y="463899"/>
                  <a:pt x="13289758" y="457451"/>
                </a:cubicBezTo>
                <a:cubicBezTo>
                  <a:pt x="13181210" y="431660"/>
                  <a:pt x="13065140" y="483242"/>
                  <a:pt x="12956592" y="501511"/>
                </a:cubicBezTo>
                <a:cubicBezTo>
                  <a:pt x="12828700" y="520854"/>
                  <a:pt x="12699732" y="527302"/>
                  <a:pt x="12571840" y="546646"/>
                </a:cubicBezTo>
                <a:cubicBezTo>
                  <a:pt x="12507356" y="553094"/>
                  <a:pt x="12443947" y="565989"/>
                  <a:pt x="12373015" y="572437"/>
                </a:cubicBezTo>
                <a:cubicBezTo>
                  <a:pt x="12353670" y="572437"/>
                  <a:pt x="12321428" y="565989"/>
                  <a:pt x="12302083" y="585333"/>
                </a:cubicBezTo>
                <a:cubicBezTo>
                  <a:pt x="12295635" y="598228"/>
                  <a:pt x="12302083" y="617572"/>
                  <a:pt x="12295635" y="636915"/>
                </a:cubicBezTo>
                <a:cubicBezTo>
                  <a:pt x="12289187" y="706766"/>
                  <a:pt x="12174191" y="675602"/>
                  <a:pt x="12148397" y="675602"/>
                </a:cubicBezTo>
                <a:cubicBezTo>
                  <a:pt x="12148397" y="649811"/>
                  <a:pt x="12154846" y="624019"/>
                  <a:pt x="12129052" y="617572"/>
                </a:cubicBezTo>
                <a:cubicBezTo>
                  <a:pt x="12109707" y="611124"/>
                  <a:pt x="12090362" y="617572"/>
                  <a:pt x="12071017" y="617572"/>
                </a:cubicBezTo>
                <a:cubicBezTo>
                  <a:pt x="12071017" y="656258"/>
                  <a:pt x="12109707" y="643363"/>
                  <a:pt x="12109707" y="675602"/>
                </a:cubicBezTo>
                <a:cubicBezTo>
                  <a:pt x="12071017" y="688497"/>
                  <a:pt x="12033401" y="694945"/>
                  <a:pt x="11994711" y="706766"/>
                </a:cubicBezTo>
                <a:cubicBezTo>
                  <a:pt x="11994711" y="688497"/>
                  <a:pt x="11994711" y="669154"/>
                  <a:pt x="11994711" y="649811"/>
                </a:cubicBezTo>
                <a:cubicBezTo>
                  <a:pt x="11962469" y="675602"/>
                  <a:pt x="11930228" y="706766"/>
                  <a:pt x="11897986" y="732557"/>
                </a:cubicBezTo>
                <a:cubicBezTo>
                  <a:pt x="11872192" y="669154"/>
                  <a:pt x="11828129" y="662706"/>
                  <a:pt x="11782990" y="675602"/>
                </a:cubicBezTo>
                <a:cubicBezTo>
                  <a:pt x="11770093" y="675602"/>
                  <a:pt x="11757197" y="694945"/>
                  <a:pt x="11776542" y="706766"/>
                </a:cubicBezTo>
                <a:cubicBezTo>
                  <a:pt x="11795887" y="719662"/>
                  <a:pt x="11821680" y="706766"/>
                  <a:pt x="11841025" y="706766"/>
                </a:cubicBezTo>
                <a:cubicBezTo>
                  <a:pt x="11846399" y="706766"/>
                  <a:pt x="11872192" y="719662"/>
                  <a:pt x="11865744" y="739005"/>
                </a:cubicBezTo>
                <a:cubicBezTo>
                  <a:pt x="11852847" y="758349"/>
                  <a:pt x="11808783" y="745453"/>
                  <a:pt x="11795887" y="739005"/>
                </a:cubicBezTo>
                <a:cubicBezTo>
                  <a:pt x="11782990" y="735781"/>
                  <a:pt x="11770093" y="730946"/>
                  <a:pt x="11757197" y="726244"/>
                </a:cubicBezTo>
                <a:lnTo>
                  <a:pt x="11745513" y="722634"/>
                </a:lnTo>
                <a:lnTo>
                  <a:pt x="11718506" y="714289"/>
                </a:lnTo>
                <a:cubicBezTo>
                  <a:pt x="11692713" y="706766"/>
                  <a:pt x="11666919" y="714289"/>
                  <a:pt x="11635752" y="706766"/>
                </a:cubicBezTo>
                <a:cubicBezTo>
                  <a:pt x="11635752" y="758349"/>
                  <a:pt x="11705610" y="739005"/>
                  <a:pt x="11673368" y="803483"/>
                </a:cubicBezTo>
                <a:cubicBezTo>
                  <a:pt x="11654023" y="829275"/>
                  <a:pt x="11622856" y="809931"/>
                  <a:pt x="11603510" y="809931"/>
                </a:cubicBezTo>
                <a:cubicBezTo>
                  <a:pt x="11571269" y="816379"/>
                  <a:pt x="11545475" y="829275"/>
                  <a:pt x="11519682" y="822827"/>
                </a:cubicBezTo>
                <a:cubicBezTo>
                  <a:pt x="11493888" y="822827"/>
                  <a:pt x="11493888" y="771244"/>
                  <a:pt x="11468095" y="771244"/>
                </a:cubicBezTo>
                <a:cubicBezTo>
                  <a:pt x="11448750" y="777692"/>
                  <a:pt x="11435853" y="797036"/>
                  <a:pt x="11417583" y="809931"/>
                </a:cubicBezTo>
                <a:cubicBezTo>
                  <a:pt x="11398238" y="829275"/>
                  <a:pt x="11346651" y="867961"/>
                  <a:pt x="11327306" y="848618"/>
                </a:cubicBezTo>
                <a:cubicBezTo>
                  <a:pt x="11320857" y="835722"/>
                  <a:pt x="11320857" y="816379"/>
                  <a:pt x="11314409" y="803483"/>
                </a:cubicBezTo>
                <a:cubicBezTo>
                  <a:pt x="11301512" y="803483"/>
                  <a:pt x="11288615" y="809931"/>
                  <a:pt x="11275719" y="816379"/>
                </a:cubicBezTo>
                <a:cubicBezTo>
                  <a:pt x="11282167" y="829275"/>
                  <a:pt x="11282167" y="848618"/>
                  <a:pt x="11288615" y="861514"/>
                </a:cubicBezTo>
                <a:cubicBezTo>
                  <a:pt x="11212310" y="893753"/>
                  <a:pt x="11134929" y="937813"/>
                  <a:pt x="11051101" y="937813"/>
                </a:cubicBezTo>
                <a:cubicBezTo>
                  <a:pt x="11083342" y="919544"/>
                  <a:pt x="11115584" y="893753"/>
                  <a:pt x="11147826" y="874409"/>
                </a:cubicBezTo>
                <a:cubicBezTo>
                  <a:pt x="11102688" y="880857"/>
                  <a:pt x="11057549" y="874409"/>
                  <a:pt x="11012410" y="900201"/>
                </a:cubicBezTo>
                <a:cubicBezTo>
                  <a:pt x="10974795" y="924917"/>
                  <a:pt x="10936105" y="944261"/>
                  <a:pt x="10890966" y="957156"/>
                </a:cubicBezTo>
                <a:cubicBezTo>
                  <a:pt x="10845828" y="970052"/>
                  <a:pt x="10801764" y="995843"/>
                  <a:pt x="10756625" y="1015186"/>
                </a:cubicBezTo>
                <a:cubicBezTo>
                  <a:pt x="10724383" y="1028082"/>
                  <a:pt x="10685693" y="1040978"/>
                  <a:pt x="10653451" y="1079682"/>
                </a:cubicBezTo>
                <a:cubicBezTo>
                  <a:pt x="10647003" y="1060339"/>
                  <a:pt x="10647003" y="1040978"/>
                  <a:pt x="10640555" y="1021634"/>
                </a:cubicBezTo>
                <a:cubicBezTo>
                  <a:pt x="10609388" y="1053891"/>
                  <a:pt x="10583594" y="1086131"/>
                  <a:pt x="10544904" y="1092579"/>
                </a:cubicBezTo>
                <a:cubicBezTo>
                  <a:pt x="10520185" y="1099026"/>
                  <a:pt x="10500840" y="1086131"/>
                  <a:pt x="10475047" y="1124818"/>
                </a:cubicBezTo>
                <a:cubicBezTo>
                  <a:pt x="10436357" y="1181774"/>
                  <a:pt x="10379396" y="1201118"/>
                  <a:pt x="10327809" y="1214014"/>
                </a:cubicBezTo>
                <a:cubicBezTo>
                  <a:pt x="10295567" y="1226910"/>
                  <a:pt x="10263325" y="1239806"/>
                  <a:pt x="10231084" y="1259150"/>
                </a:cubicBezTo>
                <a:cubicBezTo>
                  <a:pt x="10199917" y="1278493"/>
                  <a:pt x="10167675" y="1272046"/>
                  <a:pt x="10135433" y="1278493"/>
                </a:cubicBezTo>
                <a:cubicBezTo>
                  <a:pt x="10070949" y="1291390"/>
                  <a:pt x="10006466" y="1335450"/>
                  <a:pt x="9943057" y="1367690"/>
                </a:cubicBezTo>
                <a:cubicBezTo>
                  <a:pt x="10019362" y="1354794"/>
                  <a:pt x="10096743" y="1330077"/>
                  <a:pt x="10174123" y="1335450"/>
                </a:cubicBezTo>
                <a:cubicBezTo>
                  <a:pt x="10192393" y="1335450"/>
                  <a:pt x="10224635" y="1348346"/>
                  <a:pt x="10237532" y="1317181"/>
                </a:cubicBezTo>
                <a:cubicBezTo>
                  <a:pt x="10250429" y="1304285"/>
                  <a:pt x="10250429" y="1272046"/>
                  <a:pt x="10263325" y="1265598"/>
                </a:cubicBezTo>
                <a:cubicBezTo>
                  <a:pt x="10302016" y="1259150"/>
                  <a:pt x="10340706" y="1265598"/>
                  <a:pt x="10372948" y="1259150"/>
                </a:cubicBezTo>
                <a:cubicBezTo>
                  <a:pt x="10405189" y="1259150"/>
                  <a:pt x="10442805" y="1246254"/>
                  <a:pt x="10475047" y="1233358"/>
                </a:cubicBezTo>
                <a:cubicBezTo>
                  <a:pt x="10507289" y="1220462"/>
                  <a:pt x="10544904" y="1188223"/>
                  <a:pt x="10583594" y="1214014"/>
                </a:cubicBezTo>
                <a:cubicBezTo>
                  <a:pt x="10596491" y="1220462"/>
                  <a:pt x="10621210" y="1239806"/>
                  <a:pt x="10621210" y="1201118"/>
                </a:cubicBezTo>
                <a:cubicBezTo>
                  <a:pt x="10611538" y="1201118"/>
                  <a:pt x="10603746" y="1201118"/>
                  <a:pt x="10596760" y="1198700"/>
                </a:cubicBezTo>
                <a:lnTo>
                  <a:pt x="10582800" y="1186653"/>
                </a:lnTo>
                <a:lnTo>
                  <a:pt x="10591854" y="1199432"/>
                </a:lnTo>
                <a:cubicBezTo>
                  <a:pt x="10588442" y="1205854"/>
                  <a:pt x="10581617" y="1207459"/>
                  <a:pt x="10577351" y="1204248"/>
                </a:cubicBezTo>
                <a:lnTo>
                  <a:pt x="10578117" y="1182613"/>
                </a:lnTo>
                <a:lnTo>
                  <a:pt x="10577146" y="1181774"/>
                </a:lnTo>
                <a:lnTo>
                  <a:pt x="10578145" y="1181822"/>
                </a:lnTo>
                <a:lnTo>
                  <a:pt x="10578204" y="1180167"/>
                </a:lnTo>
                <a:lnTo>
                  <a:pt x="10579420" y="1181883"/>
                </a:lnTo>
                <a:lnTo>
                  <a:pt x="10610866" y="1183386"/>
                </a:lnTo>
                <a:cubicBezTo>
                  <a:pt x="10621210" y="1183386"/>
                  <a:pt x="10630882" y="1181775"/>
                  <a:pt x="10640555" y="1175327"/>
                </a:cubicBezTo>
                <a:cubicBezTo>
                  <a:pt x="10659900" y="1162431"/>
                  <a:pt x="10653451" y="1136639"/>
                  <a:pt x="10653451" y="1111922"/>
                </a:cubicBezTo>
                <a:cubicBezTo>
                  <a:pt x="10692142" y="1136639"/>
                  <a:pt x="10743729" y="1207566"/>
                  <a:pt x="10692142" y="1259150"/>
                </a:cubicBezTo>
                <a:cubicBezTo>
                  <a:pt x="10640555" y="1310733"/>
                  <a:pt x="10583594" y="1317181"/>
                  <a:pt x="10526634" y="1322555"/>
                </a:cubicBezTo>
                <a:cubicBezTo>
                  <a:pt x="10526634" y="1304285"/>
                  <a:pt x="10526634" y="1265598"/>
                  <a:pt x="10507289" y="1265598"/>
                </a:cubicBezTo>
                <a:cubicBezTo>
                  <a:pt x="10507289" y="1291390"/>
                  <a:pt x="10513737" y="1317181"/>
                  <a:pt x="10507289" y="1341898"/>
                </a:cubicBezTo>
                <a:cubicBezTo>
                  <a:pt x="10500840" y="1380585"/>
                  <a:pt x="10455702" y="1361242"/>
                  <a:pt x="10442805" y="1354794"/>
                </a:cubicBezTo>
                <a:cubicBezTo>
                  <a:pt x="10410563" y="1354794"/>
                  <a:pt x="10385844" y="1348346"/>
                  <a:pt x="10353603" y="1354794"/>
                </a:cubicBezTo>
                <a:cubicBezTo>
                  <a:pt x="10327809" y="1361242"/>
                  <a:pt x="10334257" y="1393482"/>
                  <a:pt x="10314912" y="1419273"/>
                </a:cubicBezTo>
                <a:cubicBezTo>
                  <a:pt x="10295567" y="1445064"/>
                  <a:pt x="10269774" y="1445064"/>
                  <a:pt x="10250429" y="1451512"/>
                </a:cubicBezTo>
                <a:cubicBezTo>
                  <a:pt x="10224635" y="1457960"/>
                  <a:pt x="10199917" y="1470856"/>
                  <a:pt x="10174123" y="1490200"/>
                </a:cubicBezTo>
                <a:cubicBezTo>
                  <a:pt x="10148330" y="1515992"/>
                  <a:pt x="10122536" y="1515992"/>
                  <a:pt x="10090294" y="1509543"/>
                </a:cubicBezTo>
                <a:cubicBezTo>
                  <a:pt x="10070949" y="1509543"/>
                  <a:pt x="10051604" y="1496648"/>
                  <a:pt x="10051604" y="1540708"/>
                </a:cubicBezTo>
                <a:cubicBezTo>
                  <a:pt x="10161226" y="1527813"/>
                  <a:pt x="10269774" y="1496648"/>
                  <a:pt x="10379396" y="1457960"/>
                </a:cubicBezTo>
                <a:cubicBezTo>
                  <a:pt x="10494392" y="1425721"/>
                  <a:pt x="10609388" y="1393482"/>
                  <a:pt x="10717935" y="1361242"/>
                </a:cubicBezTo>
                <a:cubicBezTo>
                  <a:pt x="10750177" y="1354794"/>
                  <a:pt x="10769522" y="1322555"/>
                  <a:pt x="10795316" y="1317181"/>
                </a:cubicBezTo>
                <a:cubicBezTo>
                  <a:pt x="10820034" y="1304285"/>
                  <a:pt x="10845828" y="1304285"/>
                  <a:pt x="10878070" y="1297837"/>
                </a:cubicBezTo>
                <a:cubicBezTo>
                  <a:pt x="10929656" y="1284941"/>
                  <a:pt x="10987692" y="1265598"/>
                  <a:pt x="11044652" y="1252702"/>
                </a:cubicBezTo>
                <a:cubicBezTo>
                  <a:pt x="11154274" y="1226910"/>
                  <a:pt x="11269270" y="1201118"/>
                  <a:pt x="11378892" y="1168880"/>
                </a:cubicBezTo>
                <a:cubicBezTo>
                  <a:pt x="11846399" y="1060339"/>
                  <a:pt x="12314980" y="963604"/>
                  <a:pt x="12790010" y="893753"/>
                </a:cubicBezTo>
                <a:cubicBezTo>
                  <a:pt x="12790010" y="931365"/>
                  <a:pt x="12751319" y="919544"/>
                  <a:pt x="12751319" y="957156"/>
                </a:cubicBezTo>
                <a:cubicBezTo>
                  <a:pt x="12770664" y="957156"/>
                  <a:pt x="12790010" y="957156"/>
                  <a:pt x="12809355" y="957156"/>
                </a:cubicBezTo>
                <a:cubicBezTo>
                  <a:pt x="12809355" y="931365"/>
                  <a:pt x="12809355" y="912021"/>
                  <a:pt x="12809355" y="893753"/>
                </a:cubicBezTo>
                <a:cubicBezTo>
                  <a:pt x="12835148" y="893753"/>
                  <a:pt x="12859867" y="893753"/>
                  <a:pt x="12885660" y="919544"/>
                </a:cubicBezTo>
                <a:cubicBezTo>
                  <a:pt x="12885660" y="887305"/>
                  <a:pt x="12885660" y="855066"/>
                  <a:pt x="12885660" y="822827"/>
                </a:cubicBezTo>
                <a:cubicBezTo>
                  <a:pt x="12898557" y="809931"/>
                  <a:pt x="12911454" y="797036"/>
                  <a:pt x="12917902" y="784140"/>
                </a:cubicBezTo>
                <a:cubicBezTo>
                  <a:pt x="12898557" y="764797"/>
                  <a:pt x="12879212" y="745453"/>
                  <a:pt x="12859867" y="726110"/>
                </a:cubicBezTo>
                <a:cubicBezTo>
                  <a:pt x="12879212" y="719662"/>
                  <a:pt x="12917902" y="726110"/>
                  <a:pt x="12917902" y="675602"/>
                </a:cubicBezTo>
                <a:cubicBezTo>
                  <a:pt x="12898557" y="675602"/>
                  <a:pt x="12815803" y="643363"/>
                  <a:pt x="12809355" y="701393"/>
                </a:cubicBezTo>
                <a:cubicBezTo>
                  <a:pt x="12796458" y="771244"/>
                  <a:pt x="12757768" y="771244"/>
                  <a:pt x="12719078" y="784140"/>
                </a:cubicBezTo>
                <a:cubicBezTo>
                  <a:pt x="12623427" y="816379"/>
                  <a:pt x="12526701" y="842170"/>
                  <a:pt x="12431051" y="861514"/>
                </a:cubicBezTo>
                <a:cubicBezTo>
                  <a:pt x="12431051" y="816379"/>
                  <a:pt x="12418154" y="758349"/>
                  <a:pt x="12437499" y="719662"/>
                </a:cubicBezTo>
                <a:cubicBezTo>
                  <a:pt x="12449321" y="694945"/>
                  <a:pt x="12481563" y="688497"/>
                  <a:pt x="12500908" y="682050"/>
                </a:cubicBezTo>
                <a:cubicBezTo>
                  <a:pt x="12526701" y="675602"/>
                  <a:pt x="12552495" y="669154"/>
                  <a:pt x="12578288" y="662706"/>
                </a:cubicBezTo>
                <a:cubicBezTo>
                  <a:pt x="12680387" y="624019"/>
                  <a:pt x="12796458" y="604676"/>
                  <a:pt x="12905005" y="598228"/>
                </a:cubicBezTo>
                <a:cubicBezTo>
                  <a:pt x="12956592" y="598228"/>
                  <a:pt x="13008179" y="604676"/>
                  <a:pt x="13065140" y="611124"/>
                </a:cubicBezTo>
                <a:cubicBezTo>
                  <a:pt x="13079111" y="611124"/>
                  <a:pt x="13116727" y="604676"/>
                  <a:pt x="13123175" y="630467"/>
                </a:cubicBezTo>
                <a:cubicBezTo>
                  <a:pt x="13136072" y="649811"/>
                  <a:pt x="13103830" y="656258"/>
                  <a:pt x="13097382" y="656258"/>
                </a:cubicBezTo>
                <a:cubicBezTo>
                  <a:pt x="13053318" y="656258"/>
                  <a:pt x="13021076" y="624019"/>
                  <a:pt x="12995282" y="706766"/>
                </a:cubicBezTo>
                <a:cubicBezTo>
                  <a:pt x="12988834" y="732557"/>
                  <a:pt x="12975937" y="739005"/>
                  <a:pt x="12956592" y="739005"/>
                </a:cubicBezTo>
                <a:cubicBezTo>
                  <a:pt x="12950144" y="771244"/>
                  <a:pt x="12943696" y="803483"/>
                  <a:pt x="12943696" y="842170"/>
                </a:cubicBezTo>
                <a:cubicBezTo>
                  <a:pt x="12969489" y="842170"/>
                  <a:pt x="13001731" y="848618"/>
                  <a:pt x="13027524" y="848618"/>
                </a:cubicBezTo>
                <a:cubicBezTo>
                  <a:pt x="13053318" y="855066"/>
                  <a:pt x="13084485" y="842170"/>
                  <a:pt x="13103830" y="861514"/>
                </a:cubicBezTo>
                <a:cubicBezTo>
                  <a:pt x="13129623" y="887305"/>
                  <a:pt x="13084485" y="900201"/>
                  <a:pt x="13079111" y="900201"/>
                </a:cubicBezTo>
                <a:cubicBezTo>
                  <a:pt x="13053318" y="900201"/>
                  <a:pt x="13027524" y="893753"/>
                  <a:pt x="13001731" y="893753"/>
                </a:cubicBezTo>
                <a:cubicBezTo>
                  <a:pt x="12988834" y="893753"/>
                  <a:pt x="12950144" y="880857"/>
                  <a:pt x="12937247" y="906648"/>
                </a:cubicBezTo>
                <a:cubicBezTo>
                  <a:pt x="12930799" y="937813"/>
                  <a:pt x="12969489" y="931365"/>
                  <a:pt x="12975937" y="931365"/>
                </a:cubicBezTo>
                <a:cubicBezTo>
                  <a:pt x="13033973" y="931365"/>
                  <a:pt x="13084485" y="924917"/>
                  <a:pt x="13142520" y="924917"/>
                </a:cubicBezTo>
                <a:cubicBezTo>
                  <a:pt x="13380035" y="919544"/>
                  <a:pt x="13617550" y="919544"/>
                  <a:pt x="13855064" y="912021"/>
                </a:cubicBezTo>
                <a:cubicBezTo>
                  <a:pt x="14099027" y="912021"/>
                  <a:pt x="14341916" y="924917"/>
                  <a:pt x="14585879" y="919544"/>
                </a:cubicBezTo>
                <a:cubicBezTo>
                  <a:pt x="14637466" y="919544"/>
                  <a:pt x="14689053" y="906648"/>
                  <a:pt x="14739565" y="924917"/>
                </a:cubicBezTo>
                <a:cubicBezTo>
                  <a:pt x="14765358" y="931365"/>
                  <a:pt x="14784704" y="950708"/>
                  <a:pt x="14810497" y="950708"/>
                </a:cubicBezTo>
                <a:cubicBezTo>
                  <a:pt x="14829842" y="950708"/>
                  <a:pt x="14855636" y="944261"/>
                  <a:pt x="14874981" y="944261"/>
                </a:cubicBezTo>
                <a:cubicBezTo>
                  <a:pt x="14900774" y="944261"/>
                  <a:pt x="14920119" y="963604"/>
                  <a:pt x="14944838" y="982947"/>
                </a:cubicBezTo>
                <a:cubicBezTo>
                  <a:pt x="14970631" y="1002291"/>
                  <a:pt x="14996426" y="995843"/>
                  <a:pt x="15028666" y="995843"/>
                </a:cubicBezTo>
                <a:cubicBezTo>
                  <a:pt x="15067358" y="989395"/>
                  <a:pt x="15117870" y="982947"/>
                  <a:pt x="15150110" y="1034530"/>
                </a:cubicBezTo>
                <a:cubicBezTo>
                  <a:pt x="14836290" y="1008739"/>
                  <a:pt x="14527844" y="1002291"/>
                  <a:pt x="14220472" y="1002291"/>
                </a:cubicBezTo>
                <a:cubicBezTo>
                  <a:pt x="14367709" y="1028082"/>
                  <a:pt x="14521395" y="1053891"/>
                  <a:pt x="14669708" y="1079682"/>
                </a:cubicBezTo>
                <a:cubicBezTo>
                  <a:pt x="14739565" y="1099026"/>
                  <a:pt x="14816945" y="1111922"/>
                  <a:pt x="14887877" y="1124818"/>
                </a:cubicBezTo>
                <a:cubicBezTo>
                  <a:pt x="14957735" y="1130193"/>
                  <a:pt x="15015770" y="1181774"/>
                  <a:pt x="15080254" y="1188223"/>
                </a:cubicBezTo>
                <a:cubicBezTo>
                  <a:pt x="15227490" y="1207566"/>
                  <a:pt x="15374730" y="1246254"/>
                  <a:pt x="15528414" y="1272046"/>
                </a:cubicBezTo>
                <a:cubicBezTo>
                  <a:pt x="15599346" y="1291390"/>
                  <a:pt x="15676726" y="1297837"/>
                  <a:pt x="15747658" y="1317181"/>
                </a:cubicBezTo>
                <a:cubicBezTo>
                  <a:pt x="15778826" y="1330077"/>
                  <a:pt x="15811068" y="1341898"/>
                  <a:pt x="15849758" y="1341898"/>
                </a:cubicBezTo>
                <a:cubicBezTo>
                  <a:pt x="15862654" y="1341898"/>
                  <a:pt x="15869102" y="1322555"/>
                  <a:pt x="15882000" y="1322555"/>
                </a:cubicBezTo>
                <a:cubicBezTo>
                  <a:pt x="15894898" y="1322555"/>
                  <a:pt x="15907794" y="1322555"/>
                  <a:pt x="15920690" y="1322555"/>
                </a:cubicBezTo>
                <a:cubicBezTo>
                  <a:pt x="15920690" y="1361242"/>
                  <a:pt x="15882000" y="1348346"/>
                  <a:pt x="15882000" y="1387034"/>
                </a:cubicBezTo>
                <a:cubicBezTo>
                  <a:pt x="16067928" y="1438617"/>
                  <a:pt x="16253856" y="1490200"/>
                  <a:pt x="16439784" y="1547156"/>
                </a:cubicBezTo>
                <a:cubicBezTo>
                  <a:pt x="16530062" y="1572949"/>
                  <a:pt x="16619262" y="1605189"/>
                  <a:pt x="16709540" y="1637427"/>
                </a:cubicBezTo>
                <a:cubicBezTo>
                  <a:pt x="16748230" y="1656771"/>
                  <a:pt x="16793372" y="1663219"/>
                  <a:pt x="16830988" y="1689010"/>
                </a:cubicBezTo>
                <a:cubicBezTo>
                  <a:pt x="16856780" y="1695459"/>
                  <a:pt x="16837436" y="1758863"/>
                  <a:pt x="16863228" y="1758863"/>
                </a:cubicBezTo>
                <a:cubicBezTo>
                  <a:pt x="16863228" y="1721250"/>
                  <a:pt x="16856780" y="1695459"/>
                  <a:pt x="16882572" y="1689010"/>
                </a:cubicBezTo>
                <a:cubicBezTo>
                  <a:pt x="16901920" y="1689010"/>
                  <a:pt x="16901920" y="1656771"/>
                  <a:pt x="16901920" y="1630979"/>
                </a:cubicBezTo>
                <a:cubicBezTo>
                  <a:pt x="17023364" y="1637427"/>
                  <a:pt x="17139432" y="1650323"/>
                  <a:pt x="17254428" y="1695459"/>
                </a:cubicBezTo>
                <a:cubicBezTo>
                  <a:pt x="17312464" y="1714803"/>
                  <a:pt x="17357604" y="1752415"/>
                  <a:pt x="17409188" y="1784655"/>
                </a:cubicBezTo>
                <a:cubicBezTo>
                  <a:pt x="17459700" y="1816895"/>
                  <a:pt x="17511288" y="1810447"/>
                  <a:pt x="17562876" y="1816895"/>
                </a:cubicBezTo>
                <a:cubicBezTo>
                  <a:pt x="17793944" y="1849134"/>
                  <a:pt x="18025008" y="1951226"/>
                  <a:pt x="18248552" y="2054393"/>
                </a:cubicBezTo>
                <a:cubicBezTo>
                  <a:pt x="18704236" y="2272546"/>
                  <a:pt x="19134128" y="2579897"/>
                  <a:pt x="19576916" y="2843195"/>
                </a:cubicBezTo>
                <a:cubicBezTo>
                  <a:pt x="19570468" y="2856089"/>
                  <a:pt x="19564020" y="2888327"/>
                  <a:pt x="19551120" y="2888327"/>
                </a:cubicBezTo>
                <a:lnTo>
                  <a:pt x="19550420" y="2888216"/>
                </a:lnTo>
                <a:lnTo>
                  <a:pt x="19551100" y="2893081"/>
                </a:lnTo>
                <a:cubicBezTo>
                  <a:pt x="19550352" y="2897898"/>
                  <a:pt x="19548852" y="2902714"/>
                  <a:pt x="19548852" y="2909137"/>
                </a:cubicBezTo>
                <a:cubicBezTo>
                  <a:pt x="19545860" y="2902714"/>
                  <a:pt x="19542868" y="2897898"/>
                  <a:pt x="19542120" y="2893081"/>
                </a:cubicBezTo>
                <a:lnTo>
                  <a:pt x="19544548" y="2887289"/>
                </a:lnTo>
                <a:lnTo>
                  <a:pt x="19535804" y="2885909"/>
                </a:lnTo>
                <a:cubicBezTo>
                  <a:pt x="19530164" y="2885103"/>
                  <a:pt x="19525328" y="2885103"/>
                  <a:pt x="19525328" y="2888327"/>
                </a:cubicBezTo>
                <a:cubicBezTo>
                  <a:pt x="19531776" y="2914116"/>
                  <a:pt x="19570468" y="2933464"/>
                  <a:pt x="19583364" y="2946355"/>
                </a:cubicBezTo>
                <a:cubicBezTo>
                  <a:pt x="19609156" y="2964624"/>
                  <a:pt x="19634952" y="2977523"/>
                  <a:pt x="19654296" y="3003312"/>
                </a:cubicBezTo>
                <a:cubicBezTo>
                  <a:pt x="19634952" y="3042000"/>
                  <a:pt x="19589812" y="2977523"/>
                  <a:pt x="19564020" y="2958175"/>
                </a:cubicBezTo>
                <a:cubicBezTo>
                  <a:pt x="19531776" y="2933464"/>
                  <a:pt x="19460844" y="2933464"/>
                  <a:pt x="19436124" y="2888327"/>
                </a:cubicBezTo>
                <a:cubicBezTo>
                  <a:pt x="19423228" y="2868983"/>
                  <a:pt x="19429676" y="2836748"/>
                  <a:pt x="19423228" y="2810946"/>
                </a:cubicBezTo>
                <a:cubicBezTo>
                  <a:pt x="19423228" y="2785149"/>
                  <a:pt x="19403884" y="2772256"/>
                  <a:pt x="19384540" y="2759362"/>
                </a:cubicBezTo>
                <a:cubicBezTo>
                  <a:pt x="19339400" y="2728196"/>
                  <a:pt x="19287812" y="2715302"/>
                  <a:pt x="19243748" y="2695958"/>
                </a:cubicBezTo>
                <a:cubicBezTo>
                  <a:pt x="19192164" y="2670168"/>
                  <a:pt x="19140576" y="2650824"/>
                  <a:pt x="19088988" y="2631480"/>
                </a:cubicBezTo>
                <a:cubicBezTo>
                  <a:pt x="19043852" y="2612137"/>
                  <a:pt x="19006236" y="2566999"/>
                  <a:pt x="18961096" y="2547657"/>
                </a:cubicBezTo>
                <a:cubicBezTo>
                  <a:pt x="18928856" y="2535836"/>
                  <a:pt x="18883716" y="2573448"/>
                  <a:pt x="18883716" y="2510046"/>
                </a:cubicBezTo>
                <a:cubicBezTo>
                  <a:pt x="18877268" y="2471358"/>
                  <a:pt x="18794512" y="2458463"/>
                  <a:pt x="18775168" y="2445566"/>
                </a:cubicBezTo>
                <a:cubicBezTo>
                  <a:pt x="18563448" y="2356369"/>
                  <a:pt x="18345276" y="2259652"/>
                  <a:pt x="18127108" y="2162932"/>
                </a:cubicBezTo>
                <a:lnTo>
                  <a:pt x="17978276" y="2099225"/>
                </a:lnTo>
                <a:lnTo>
                  <a:pt x="17977048" y="2101046"/>
                </a:lnTo>
                <a:cubicBezTo>
                  <a:pt x="17974588" y="2101046"/>
                  <a:pt x="17971304" y="2099015"/>
                  <a:pt x="17968024" y="2094952"/>
                </a:cubicBezTo>
                <a:lnTo>
                  <a:pt x="17968336" y="2094952"/>
                </a:lnTo>
                <a:lnTo>
                  <a:pt x="17805764" y="2022153"/>
                </a:lnTo>
                <a:cubicBezTo>
                  <a:pt x="17755252" y="1996361"/>
                  <a:pt x="17710112" y="1970570"/>
                  <a:pt x="17658528" y="1957674"/>
                </a:cubicBezTo>
                <a:cubicBezTo>
                  <a:pt x="17606940" y="1951226"/>
                  <a:pt x="17562876" y="1964122"/>
                  <a:pt x="17511288" y="1970570"/>
                </a:cubicBezTo>
                <a:cubicBezTo>
                  <a:pt x="17652080" y="2041497"/>
                  <a:pt x="17793944" y="2093081"/>
                  <a:pt x="17934732" y="2156485"/>
                </a:cubicBezTo>
                <a:cubicBezTo>
                  <a:pt x="17998140" y="2188728"/>
                  <a:pt x="18062624" y="2220961"/>
                  <a:pt x="18127108" y="2253207"/>
                </a:cubicBezTo>
                <a:cubicBezTo>
                  <a:pt x="18133556" y="2259652"/>
                  <a:pt x="18165796" y="2272546"/>
                  <a:pt x="18165796" y="2285443"/>
                </a:cubicBezTo>
                <a:cubicBezTo>
                  <a:pt x="18152900" y="2311236"/>
                  <a:pt x="18127108" y="2304791"/>
                  <a:pt x="18127108" y="2337027"/>
                </a:cubicBezTo>
                <a:cubicBezTo>
                  <a:pt x="18146452" y="2343474"/>
                  <a:pt x="18165796" y="2348847"/>
                  <a:pt x="18185144" y="2361740"/>
                </a:cubicBezTo>
                <a:cubicBezTo>
                  <a:pt x="18185144" y="2343474"/>
                  <a:pt x="18178696" y="2317683"/>
                  <a:pt x="18191592" y="2304791"/>
                </a:cubicBezTo>
                <a:cubicBezTo>
                  <a:pt x="18204488" y="2285443"/>
                  <a:pt x="18222760" y="2291889"/>
                  <a:pt x="18242104" y="2291889"/>
                </a:cubicBezTo>
                <a:cubicBezTo>
                  <a:pt x="18229208" y="2311235"/>
                  <a:pt x="18230820" y="2325474"/>
                  <a:pt x="18238072" y="2335818"/>
                </a:cubicBezTo>
                <a:lnTo>
                  <a:pt x="18239140" y="2336553"/>
                </a:lnTo>
                <a:lnTo>
                  <a:pt x="18245036" y="2322465"/>
                </a:lnTo>
                <a:cubicBezTo>
                  <a:pt x="18248196" y="2328886"/>
                  <a:pt x="18248196" y="2333701"/>
                  <a:pt x="18247404" y="2338518"/>
                </a:cubicBezTo>
                <a:lnTo>
                  <a:pt x="18246904" y="2341904"/>
                </a:lnTo>
                <a:lnTo>
                  <a:pt x="18267896" y="2356369"/>
                </a:lnTo>
                <a:cubicBezTo>
                  <a:pt x="18287244" y="2356369"/>
                  <a:pt x="18293692" y="2343474"/>
                  <a:pt x="18306588" y="2343474"/>
                </a:cubicBezTo>
                <a:cubicBezTo>
                  <a:pt x="18325932" y="2337027"/>
                  <a:pt x="18338828" y="2348847"/>
                  <a:pt x="18351724" y="2356369"/>
                </a:cubicBezTo>
                <a:cubicBezTo>
                  <a:pt x="18338828" y="2381086"/>
                  <a:pt x="18313036" y="2393980"/>
                  <a:pt x="18300140" y="2413338"/>
                </a:cubicBezTo>
                <a:cubicBezTo>
                  <a:pt x="18325932" y="2432672"/>
                  <a:pt x="18351724" y="2452014"/>
                  <a:pt x="18371072" y="2477804"/>
                </a:cubicBezTo>
                <a:cubicBezTo>
                  <a:pt x="18351724" y="2497149"/>
                  <a:pt x="18319484" y="2477804"/>
                  <a:pt x="18293692" y="2458463"/>
                </a:cubicBezTo>
                <a:cubicBezTo>
                  <a:pt x="18261448" y="2439119"/>
                  <a:pt x="18235656" y="2426225"/>
                  <a:pt x="18204488" y="2413338"/>
                </a:cubicBezTo>
                <a:cubicBezTo>
                  <a:pt x="18133556" y="2374638"/>
                  <a:pt x="18069072" y="2343474"/>
                  <a:pt x="18005664" y="2311236"/>
                </a:cubicBezTo>
                <a:cubicBezTo>
                  <a:pt x="17947628" y="2278994"/>
                  <a:pt x="17902488" y="2233859"/>
                  <a:pt x="17838008" y="2220961"/>
                </a:cubicBezTo>
                <a:cubicBezTo>
                  <a:pt x="17774596" y="2208069"/>
                  <a:pt x="17710112" y="2182276"/>
                  <a:pt x="17652080" y="2162932"/>
                </a:cubicBezTo>
                <a:cubicBezTo>
                  <a:pt x="17370500" y="2067288"/>
                  <a:pt x="17094296" y="1977018"/>
                  <a:pt x="16811640" y="1894269"/>
                </a:cubicBezTo>
                <a:cubicBezTo>
                  <a:pt x="16562302" y="1816895"/>
                  <a:pt x="16305442" y="1733071"/>
                  <a:pt x="16055030" y="1663219"/>
                </a:cubicBezTo>
                <a:cubicBezTo>
                  <a:pt x="15933586" y="1624531"/>
                  <a:pt x="15804620" y="1592292"/>
                  <a:pt x="15683176" y="1560052"/>
                </a:cubicBezTo>
                <a:cubicBezTo>
                  <a:pt x="15618692" y="1547156"/>
                  <a:pt x="15560658" y="1535335"/>
                  <a:pt x="15503696" y="1503096"/>
                </a:cubicBezTo>
                <a:cubicBezTo>
                  <a:pt x="15458558" y="1477304"/>
                  <a:pt x="15400522" y="1412826"/>
                  <a:pt x="15355384" y="1451512"/>
                </a:cubicBezTo>
                <a:cubicBezTo>
                  <a:pt x="15304872" y="1496648"/>
                  <a:pt x="15259734" y="1457960"/>
                  <a:pt x="15201698" y="1432169"/>
                </a:cubicBezTo>
                <a:cubicBezTo>
                  <a:pt x="15143662" y="1406377"/>
                  <a:pt x="15093150" y="1393482"/>
                  <a:pt x="15035114" y="1380585"/>
                </a:cubicBezTo>
                <a:cubicBezTo>
                  <a:pt x="14920119" y="1354794"/>
                  <a:pt x="14797600" y="1354794"/>
                  <a:pt x="14682604" y="1335450"/>
                </a:cubicBezTo>
                <a:cubicBezTo>
                  <a:pt x="14650363" y="1322555"/>
                  <a:pt x="14393503" y="1252702"/>
                  <a:pt x="14393503" y="1322555"/>
                </a:cubicBezTo>
                <a:cubicBezTo>
                  <a:pt x="14445090" y="1322555"/>
                  <a:pt x="14502050" y="1304285"/>
                  <a:pt x="14553637" y="1322555"/>
                </a:cubicBezTo>
                <a:lnTo>
                  <a:pt x="14578113" y="1332752"/>
                </a:lnTo>
                <a:lnTo>
                  <a:pt x="14574370" y="1320307"/>
                </a:lnTo>
                <a:cubicBezTo>
                  <a:pt x="14580357" y="1308142"/>
                  <a:pt x="14586345" y="1308142"/>
                  <a:pt x="14592332" y="1320307"/>
                </a:cubicBezTo>
                <a:lnTo>
                  <a:pt x="14583496" y="1334995"/>
                </a:lnTo>
                <a:lnTo>
                  <a:pt x="14621345" y="1350764"/>
                </a:lnTo>
                <a:cubicBezTo>
                  <a:pt x="14643914" y="1359630"/>
                  <a:pt x="14666484" y="1367690"/>
                  <a:pt x="14689053" y="1374138"/>
                </a:cubicBezTo>
                <a:cubicBezTo>
                  <a:pt x="14797600" y="1399929"/>
                  <a:pt x="14907222" y="1432169"/>
                  <a:pt x="15009322" y="1457960"/>
                </a:cubicBezTo>
                <a:cubicBezTo>
                  <a:pt x="15221042" y="1515992"/>
                  <a:pt x="15432764" y="1579396"/>
                  <a:pt x="15644486" y="1637427"/>
                </a:cubicBezTo>
                <a:cubicBezTo>
                  <a:pt x="15856206" y="1695459"/>
                  <a:pt x="16067928" y="1758863"/>
                  <a:pt x="16273202" y="1823342"/>
                </a:cubicBezTo>
                <a:cubicBezTo>
                  <a:pt x="16381748" y="1855581"/>
                  <a:pt x="16491370" y="1887821"/>
                  <a:pt x="16599918" y="1920063"/>
                </a:cubicBezTo>
                <a:cubicBezTo>
                  <a:pt x="16645058" y="1932957"/>
                  <a:pt x="16696644" y="1951226"/>
                  <a:pt x="16741782" y="1957674"/>
                </a:cubicBezTo>
                <a:cubicBezTo>
                  <a:pt x="16779400" y="1964122"/>
                  <a:pt x="16767576" y="2022153"/>
                  <a:pt x="16767576" y="2060841"/>
                </a:cubicBezTo>
                <a:cubicBezTo>
                  <a:pt x="16785848" y="2060841"/>
                  <a:pt x="16798744" y="2054393"/>
                  <a:pt x="16811640" y="2060841"/>
                </a:cubicBezTo>
                <a:cubicBezTo>
                  <a:pt x="16824540" y="2060841"/>
                  <a:pt x="16830988" y="2086632"/>
                  <a:pt x="16818088" y="2093081"/>
                </a:cubicBezTo>
                <a:cubicBezTo>
                  <a:pt x="16779400" y="2099528"/>
                  <a:pt x="16735334" y="2073737"/>
                  <a:pt x="16696644" y="2060841"/>
                </a:cubicBezTo>
                <a:cubicBezTo>
                  <a:pt x="16580574" y="2022153"/>
                  <a:pt x="16465578" y="1989913"/>
                  <a:pt x="16350582" y="1957674"/>
                </a:cubicBezTo>
                <a:cubicBezTo>
                  <a:pt x="16119514" y="1894269"/>
                  <a:pt x="15888450" y="1836238"/>
                  <a:pt x="15657382" y="1816895"/>
                </a:cubicBezTo>
                <a:cubicBezTo>
                  <a:pt x="15657382" y="1836238"/>
                  <a:pt x="15657382" y="1862030"/>
                  <a:pt x="15644486" y="1874926"/>
                </a:cubicBezTo>
                <a:cubicBezTo>
                  <a:pt x="15631590" y="1849134"/>
                  <a:pt x="15625140" y="1810447"/>
                  <a:pt x="15599346" y="1797550"/>
                </a:cubicBezTo>
                <a:cubicBezTo>
                  <a:pt x="15580002" y="1778207"/>
                  <a:pt x="15560658" y="1784655"/>
                  <a:pt x="15542386" y="1784655"/>
                </a:cubicBezTo>
                <a:cubicBezTo>
                  <a:pt x="15484350" y="1784655"/>
                  <a:pt x="15426316" y="1778207"/>
                  <a:pt x="15368280" y="1771759"/>
                </a:cubicBezTo>
                <a:cubicBezTo>
                  <a:pt x="15259734" y="1758863"/>
                  <a:pt x="15143662" y="1745967"/>
                  <a:pt x="15035114" y="1727698"/>
                </a:cubicBezTo>
                <a:cubicBezTo>
                  <a:pt x="14804049" y="1689010"/>
                  <a:pt x="14579431" y="1643876"/>
                  <a:pt x="14354813" y="1598740"/>
                </a:cubicBezTo>
                <a:cubicBezTo>
                  <a:pt x="14354813" y="1682563"/>
                  <a:pt x="14296777" y="1689010"/>
                  <a:pt x="14259162" y="1708354"/>
                </a:cubicBezTo>
                <a:cubicBezTo>
                  <a:pt x="14316122" y="1752415"/>
                  <a:pt x="14380606" y="1740594"/>
                  <a:pt x="14445090" y="1752415"/>
                </a:cubicBezTo>
                <a:cubicBezTo>
                  <a:pt x="14464435" y="1752415"/>
                  <a:pt x="14490228" y="1765311"/>
                  <a:pt x="14509573" y="1758863"/>
                </a:cubicBezTo>
                <a:cubicBezTo>
                  <a:pt x="14527844" y="1752415"/>
                  <a:pt x="14527844" y="1727698"/>
                  <a:pt x="14534292" y="1701906"/>
                </a:cubicBezTo>
                <a:cubicBezTo>
                  <a:pt x="14553637" y="1637427"/>
                  <a:pt x="14663259" y="1727698"/>
                  <a:pt x="14689053" y="1740594"/>
                </a:cubicBezTo>
                <a:cubicBezTo>
                  <a:pt x="14714846" y="1752415"/>
                  <a:pt x="14752462" y="1778207"/>
                  <a:pt x="14778255" y="1778207"/>
                </a:cubicBezTo>
                <a:cubicBezTo>
                  <a:pt x="14791152" y="1778207"/>
                  <a:pt x="14797600" y="1745967"/>
                  <a:pt x="14804049" y="1727698"/>
                </a:cubicBezTo>
                <a:cubicBezTo>
                  <a:pt x="14931941" y="1855581"/>
                  <a:pt x="15093150" y="1855581"/>
                  <a:pt x="15240388" y="1862030"/>
                </a:cubicBezTo>
                <a:cubicBezTo>
                  <a:pt x="15285526" y="1862030"/>
                  <a:pt x="15330666" y="1862030"/>
                  <a:pt x="15374730" y="1855581"/>
                </a:cubicBezTo>
                <a:cubicBezTo>
                  <a:pt x="15394074" y="1855581"/>
                  <a:pt x="15413418" y="1849134"/>
                  <a:pt x="15432764" y="1849134"/>
                </a:cubicBezTo>
                <a:cubicBezTo>
                  <a:pt x="15439212" y="1868478"/>
                  <a:pt x="15452110" y="1874926"/>
                  <a:pt x="15471454" y="1881373"/>
                </a:cubicBezTo>
                <a:cubicBezTo>
                  <a:pt x="15510146" y="1894269"/>
                  <a:pt x="15547760" y="1881373"/>
                  <a:pt x="15586450" y="1887821"/>
                </a:cubicBezTo>
                <a:cubicBezTo>
                  <a:pt x="15612244" y="1894269"/>
                  <a:pt x="15644486" y="1907166"/>
                  <a:pt x="15663830" y="1874926"/>
                </a:cubicBezTo>
                <a:cubicBezTo>
                  <a:pt x="15670278" y="1900718"/>
                  <a:pt x="15670278" y="1920063"/>
                  <a:pt x="15676726" y="1938330"/>
                </a:cubicBezTo>
                <a:cubicBezTo>
                  <a:pt x="15683176" y="1945853"/>
                  <a:pt x="15696072" y="1945853"/>
                  <a:pt x="15702522" y="1945853"/>
                </a:cubicBezTo>
                <a:cubicBezTo>
                  <a:pt x="15728314" y="1951226"/>
                  <a:pt x="15753034" y="1957674"/>
                  <a:pt x="15778826" y="1964122"/>
                </a:cubicBezTo>
                <a:cubicBezTo>
                  <a:pt x="15817518" y="1970570"/>
                  <a:pt x="15862654" y="1983465"/>
                  <a:pt x="15901346" y="2015705"/>
                </a:cubicBezTo>
                <a:cubicBezTo>
                  <a:pt x="15791722" y="2002809"/>
                  <a:pt x="15683176" y="1989913"/>
                  <a:pt x="15573554" y="1977018"/>
                </a:cubicBezTo>
                <a:cubicBezTo>
                  <a:pt x="15535938" y="1977018"/>
                  <a:pt x="15465006" y="1996361"/>
                  <a:pt x="15439212" y="1964122"/>
                </a:cubicBezTo>
                <a:lnTo>
                  <a:pt x="15435056" y="1958224"/>
                </a:lnTo>
                <a:lnTo>
                  <a:pt x="15436004" y="1965833"/>
                </a:lnTo>
                <a:lnTo>
                  <a:pt x="15432090" y="1964842"/>
                </a:lnTo>
                <a:lnTo>
                  <a:pt x="15436004" y="1970714"/>
                </a:lnTo>
                <a:cubicBezTo>
                  <a:pt x="15430016" y="1970714"/>
                  <a:pt x="15424030" y="1970714"/>
                  <a:pt x="15418042" y="1970714"/>
                </a:cubicBezTo>
                <a:lnTo>
                  <a:pt x="15423422" y="1962646"/>
                </a:lnTo>
                <a:lnTo>
                  <a:pt x="15422532" y="1962421"/>
                </a:lnTo>
                <a:cubicBezTo>
                  <a:pt x="15421036" y="1960715"/>
                  <a:pt x="15419914" y="1958156"/>
                  <a:pt x="15419164" y="1954316"/>
                </a:cubicBezTo>
                <a:lnTo>
                  <a:pt x="15418200" y="1940768"/>
                </a:lnTo>
                <a:lnTo>
                  <a:pt x="15413418" y="1945853"/>
                </a:lnTo>
                <a:cubicBezTo>
                  <a:pt x="15406970" y="1964122"/>
                  <a:pt x="15387626" y="1964122"/>
                  <a:pt x="15374730" y="1957674"/>
                </a:cubicBezTo>
                <a:cubicBezTo>
                  <a:pt x="15348934" y="1957674"/>
                  <a:pt x="15311320" y="1970570"/>
                  <a:pt x="15285526" y="1951226"/>
                </a:cubicBezTo>
                <a:cubicBezTo>
                  <a:pt x="15272630" y="1938330"/>
                  <a:pt x="15272630" y="1913613"/>
                  <a:pt x="15259734" y="1894269"/>
                </a:cubicBezTo>
                <a:cubicBezTo>
                  <a:pt x="15253286" y="1874926"/>
                  <a:pt x="15233940" y="1868478"/>
                  <a:pt x="15221042" y="1868478"/>
                </a:cubicBezTo>
                <a:cubicBezTo>
                  <a:pt x="15214594" y="1868478"/>
                  <a:pt x="15156558" y="1881373"/>
                  <a:pt x="15163008" y="1907166"/>
                </a:cubicBezTo>
                <a:cubicBezTo>
                  <a:pt x="15175904" y="1932957"/>
                  <a:pt x="15221042" y="1881373"/>
                  <a:pt x="15221042" y="1938330"/>
                </a:cubicBezTo>
                <a:cubicBezTo>
                  <a:pt x="14881429" y="1862030"/>
                  <a:pt x="14540740" y="1810447"/>
                  <a:pt x="14194678" y="1791103"/>
                </a:cubicBezTo>
                <a:cubicBezTo>
                  <a:pt x="14201127" y="1752415"/>
                  <a:pt x="14214023" y="1727698"/>
                  <a:pt x="14233368" y="1714803"/>
                </a:cubicBezTo>
                <a:cubicBezTo>
                  <a:pt x="14105476" y="1605189"/>
                  <a:pt x="13950715" y="1637427"/>
                  <a:pt x="13803477" y="1663219"/>
                </a:cubicBezTo>
                <a:cubicBezTo>
                  <a:pt x="13803477" y="1624531"/>
                  <a:pt x="13848616" y="1637427"/>
                  <a:pt x="13848616" y="1598740"/>
                </a:cubicBezTo>
                <a:cubicBezTo>
                  <a:pt x="13809926" y="1598740"/>
                  <a:pt x="13771236" y="1611636"/>
                  <a:pt x="13738994" y="1598740"/>
                </a:cubicBezTo>
                <a:cubicBezTo>
                  <a:pt x="13726097" y="1592292"/>
                  <a:pt x="13726097" y="1547156"/>
                  <a:pt x="13719649" y="1535335"/>
                </a:cubicBezTo>
                <a:cubicBezTo>
                  <a:pt x="13706752" y="1503096"/>
                  <a:pt x="13662688" y="1503096"/>
                  <a:pt x="13643343" y="1496648"/>
                </a:cubicBezTo>
                <a:cubicBezTo>
                  <a:pt x="13630447" y="1490200"/>
                  <a:pt x="13617550" y="1480528"/>
                  <a:pt x="13603847" y="1470856"/>
                </a:cubicBezTo>
                <a:lnTo>
                  <a:pt x="13600816" y="1469093"/>
                </a:lnTo>
                <a:lnTo>
                  <a:pt x="13603909" y="1483018"/>
                </a:lnTo>
                <a:cubicBezTo>
                  <a:pt x="13603089" y="1487031"/>
                  <a:pt x="13599807" y="1487031"/>
                  <a:pt x="13593245" y="1477398"/>
                </a:cubicBezTo>
                <a:cubicBezTo>
                  <a:pt x="13593245" y="1474187"/>
                  <a:pt x="13594886" y="1470977"/>
                  <a:pt x="13596527" y="1468569"/>
                </a:cubicBezTo>
                <a:lnTo>
                  <a:pt x="13597619" y="1467233"/>
                </a:lnTo>
                <a:lnTo>
                  <a:pt x="13559514" y="1445064"/>
                </a:lnTo>
                <a:cubicBezTo>
                  <a:pt x="13565963" y="1457960"/>
                  <a:pt x="13565963" y="1470856"/>
                  <a:pt x="13572411" y="1477304"/>
                </a:cubicBezTo>
                <a:cubicBezTo>
                  <a:pt x="13578859" y="1490200"/>
                  <a:pt x="13591756" y="1477304"/>
                  <a:pt x="13598205" y="1483753"/>
                </a:cubicBezTo>
                <a:cubicBezTo>
                  <a:pt x="13604653" y="1496648"/>
                  <a:pt x="13598205" y="1522439"/>
                  <a:pt x="13598205" y="1540708"/>
                </a:cubicBezTo>
                <a:cubicBezTo>
                  <a:pt x="13501479" y="1527813"/>
                  <a:pt x="13405828" y="1515992"/>
                  <a:pt x="13302654" y="1509543"/>
                </a:cubicBezTo>
                <a:cubicBezTo>
                  <a:pt x="13367138" y="1432169"/>
                  <a:pt x="13450967" y="1470856"/>
                  <a:pt x="13520824" y="1477304"/>
                </a:cubicBezTo>
                <a:cubicBezTo>
                  <a:pt x="13520824" y="1451512"/>
                  <a:pt x="13514376" y="1419273"/>
                  <a:pt x="13540169" y="1412826"/>
                </a:cubicBezTo>
                <a:cubicBezTo>
                  <a:pt x="13559514" y="1406377"/>
                  <a:pt x="13572411" y="1412826"/>
                  <a:pt x="13591756" y="1419273"/>
                </a:cubicBezTo>
                <a:cubicBezTo>
                  <a:pt x="13611101" y="1419273"/>
                  <a:pt x="13656240" y="1432169"/>
                  <a:pt x="13656240" y="1387034"/>
                </a:cubicBezTo>
                <a:cubicBezTo>
                  <a:pt x="13501479" y="1393482"/>
                  <a:pt x="13354241" y="1374138"/>
                  <a:pt x="13200555" y="1374138"/>
                </a:cubicBezTo>
                <a:cubicBezTo>
                  <a:pt x="13059766" y="1380585"/>
                  <a:pt x="12911454" y="1387034"/>
                  <a:pt x="12777113" y="1477304"/>
                </a:cubicBezTo>
                <a:cubicBezTo>
                  <a:pt x="12822251" y="1483753"/>
                  <a:pt x="12859867" y="1496648"/>
                  <a:pt x="12898557" y="1509543"/>
                </a:cubicBezTo>
                <a:cubicBezTo>
                  <a:pt x="12898557" y="1527813"/>
                  <a:pt x="12892109" y="1547156"/>
                  <a:pt x="12892109" y="1572949"/>
                </a:cubicBezTo>
                <a:cubicBezTo>
                  <a:pt x="12872764" y="1547156"/>
                  <a:pt x="12859867" y="1547156"/>
                  <a:pt x="12848045" y="1579396"/>
                </a:cubicBezTo>
                <a:cubicBezTo>
                  <a:pt x="12879212" y="1592292"/>
                  <a:pt x="12924350" y="1598740"/>
                  <a:pt x="12898557" y="1669667"/>
                </a:cubicBezTo>
                <a:cubicBezTo>
                  <a:pt x="12885660" y="1708354"/>
                  <a:pt x="12841596" y="1689010"/>
                  <a:pt x="12822251" y="1689010"/>
                </a:cubicBezTo>
                <a:cubicBezTo>
                  <a:pt x="12790010" y="1689010"/>
                  <a:pt x="12770664" y="1708354"/>
                  <a:pt x="12744871" y="1727698"/>
                </a:cubicBezTo>
                <a:cubicBezTo>
                  <a:pt x="12712629" y="1745967"/>
                  <a:pt x="12667491" y="1740594"/>
                  <a:pt x="12629875" y="1740594"/>
                </a:cubicBezTo>
                <a:cubicBezTo>
                  <a:pt x="12597633" y="1740594"/>
                  <a:pt x="12565391" y="1740594"/>
                  <a:pt x="12526701" y="1745967"/>
                </a:cubicBezTo>
                <a:cubicBezTo>
                  <a:pt x="12456844" y="1752415"/>
                  <a:pt x="12379464" y="1765311"/>
                  <a:pt x="12302083" y="1778207"/>
                </a:cubicBezTo>
                <a:cubicBezTo>
                  <a:pt x="12225778" y="1797550"/>
                  <a:pt x="12154846" y="1816895"/>
                  <a:pt x="12077465" y="1816895"/>
                </a:cubicBezTo>
                <a:cubicBezTo>
                  <a:pt x="12038775" y="1816895"/>
                  <a:pt x="12020505" y="1829790"/>
                  <a:pt x="11988263" y="1849134"/>
                </a:cubicBezTo>
                <a:cubicBezTo>
                  <a:pt x="11962469" y="1868478"/>
                  <a:pt x="11930228" y="1862030"/>
                  <a:pt x="11897986" y="1862030"/>
                </a:cubicBezTo>
                <a:cubicBezTo>
                  <a:pt x="11833502" y="1868478"/>
                  <a:pt x="11763645" y="1881373"/>
                  <a:pt x="11699161" y="1920063"/>
                </a:cubicBezTo>
                <a:cubicBezTo>
                  <a:pt x="11673368" y="1938330"/>
                  <a:pt x="11660471" y="1938330"/>
                  <a:pt x="11635752" y="1920063"/>
                </a:cubicBezTo>
                <a:lnTo>
                  <a:pt x="11635483" y="1919987"/>
                </a:lnTo>
                <a:lnTo>
                  <a:pt x="11616508" y="1914622"/>
                </a:lnTo>
                <a:cubicBezTo>
                  <a:pt x="11597465" y="1912808"/>
                  <a:pt x="11579329" y="1920063"/>
                  <a:pt x="11564820" y="1920063"/>
                </a:cubicBezTo>
                <a:cubicBezTo>
                  <a:pt x="11603510" y="1964122"/>
                  <a:pt x="11660471" y="1932957"/>
                  <a:pt x="11692713" y="1989913"/>
                </a:cubicBezTo>
                <a:cubicBezTo>
                  <a:pt x="11468095" y="2041497"/>
                  <a:pt x="11243477" y="2112430"/>
                  <a:pt x="11019934" y="2195172"/>
                </a:cubicBezTo>
                <a:cubicBezTo>
                  <a:pt x="10910311" y="2233859"/>
                  <a:pt x="10801764" y="2266099"/>
                  <a:pt x="10692142" y="2311236"/>
                </a:cubicBezTo>
                <a:cubicBezTo>
                  <a:pt x="10640555" y="2330579"/>
                  <a:pt x="10590043" y="2361740"/>
                  <a:pt x="10538456" y="2393980"/>
                </a:cubicBezTo>
                <a:cubicBezTo>
                  <a:pt x="10513737" y="2406870"/>
                  <a:pt x="10487943" y="2400427"/>
                  <a:pt x="10468598" y="2406870"/>
                </a:cubicBezTo>
                <a:cubicBezTo>
                  <a:pt x="10449253" y="2413338"/>
                  <a:pt x="10455702" y="2445566"/>
                  <a:pt x="10449253" y="2464911"/>
                </a:cubicBezTo>
                <a:cubicBezTo>
                  <a:pt x="10653451" y="2387533"/>
                  <a:pt x="10865173" y="2311236"/>
                  <a:pt x="11070446" y="2246753"/>
                </a:cubicBezTo>
                <a:cubicBezTo>
                  <a:pt x="11070446" y="2266099"/>
                  <a:pt x="11070446" y="2291889"/>
                  <a:pt x="11070446" y="2311236"/>
                </a:cubicBezTo>
                <a:cubicBezTo>
                  <a:pt x="11230580" y="2259652"/>
                  <a:pt x="11385341" y="2201616"/>
                  <a:pt x="11545475" y="2169380"/>
                </a:cubicBezTo>
                <a:cubicBezTo>
                  <a:pt x="11616407" y="2151111"/>
                  <a:pt x="11686264" y="2143586"/>
                  <a:pt x="11763645" y="2156485"/>
                </a:cubicBezTo>
                <a:cubicBezTo>
                  <a:pt x="11776542" y="2162932"/>
                  <a:pt x="11808783" y="2162932"/>
                  <a:pt x="11815232" y="2125320"/>
                </a:cubicBezTo>
                <a:cubicBezTo>
                  <a:pt x="11821680" y="2099528"/>
                  <a:pt x="11828129" y="2080184"/>
                  <a:pt x="11846399" y="2080184"/>
                </a:cubicBezTo>
                <a:cubicBezTo>
                  <a:pt x="11878641" y="2086632"/>
                  <a:pt x="11910883" y="2099528"/>
                  <a:pt x="11943124" y="2099528"/>
                </a:cubicBezTo>
                <a:cubicBezTo>
                  <a:pt x="11968918" y="2099528"/>
                  <a:pt x="11949573" y="2125320"/>
                  <a:pt x="11968918" y="2125320"/>
                </a:cubicBezTo>
                <a:cubicBezTo>
                  <a:pt x="11988263" y="2125320"/>
                  <a:pt x="12007608" y="2131768"/>
                  <a:pt x="12026953" y="2125320"/>
                </a:cubicBezTo>
                <a:cubicBezTo>
                  <a:pt x="12038775" y="2125320"/>
                  <a:pt x="12033401" y="2112430"/>
                  <a:pt x="12033401" y="2099528"/>
                </a:cubicBezTo>
                <a:cubicBezTo>
                  <a:pt x="12038775" y="2086632"/>
                  <a:pt x="12051672" y="2086632"/>
                  <a:pt x="12058120" y="2086632"/>
                </a:cubicBezTo>
                <a:cubicBezTo>
                  <a:pt x="12077465" y="2086632"/>
                  <a:pt x="12096810" y="2086632"/>
                  <a:pt x="12116155" y="2086632"/>
                </a:cubicBezTo>
                <a:cubicBezTo>
                  <a:pt x="12148397" y="2086632"/>
                  <a:pt x="12212881" y="2099528"/>
                  <a:pt x="12212881" y="2035049"/>
                </a:cubicBezTo>
                <a:cubicBezTo>
                  <a:pt x="12212881" y="1977018"/>
                  <a:pt x="12174191" y="1862030"/>
                  <a:pt x="12135501" y="1907166"/>
                </a:cubicBezTo>
                <a:cubicBezTo>
                  <a:pt x="12135501" y="1887821"/>
                  <a:pt x="12129052" y="1868478"/>
                  <a:pt x="12129052" y="1849134"/>
                </a:cubicBezTo>
                <a:cubicBezTo>
                  <a:pt x="12225778" y="1842686"/>
                  <a:pt x="12327877" y="1836238"/>
                  <a:pt x="12431051" y="1829790"/>
                </a:cubicBezTo>
                <a:cubicBezTo>
                  <a:pt x="12379464" y="1842686"/>
                  <a:pt x="12321428" y="1829790"/>
                  <a:pt x="12276290" y="1868478"/>
                </a:cubicBezTo>
                <a:cubicBezTo>
                  <a:pt x="12219329" y="1913613"/>
                  <a:pt x="12340773" y="1920063"/>
                  <a:pt x="12353670" y="1920063"/>
                </a:cubicBezTo>
                <a:cubicBezTo>
                  <a:pt x="12334325" y="1951226"/>
                  <a:pt x="12295635" y="1957674"/>
                  <a:pt x="12276290" y="1983465"/>
                </a:cubicBezTo>
                <a:cubicBezTo>
                  <a:pt x="12244048" y="2035049"/>
                  <a:pt x="12308532" y="2041497"/>
                  <a:pt x="12327877" y="2041497"/>
                </a:cubicBezTo>
                <a:cubicBezTo>
                  <a:pt x="12424602" y="2041497"/>
                  <a:pt x="12533150" y="2073737"/>
                  <a:pt x="12623427" y="2002809"/>
                </a:cubicBezTo>
                <a:cubicBezTo>
                  <a:pt x="12673939" y="1964122"/>
                  <a:pt x="12751319" y="1989913"/>
                  <a:pt x="12802906" y="1989913"/>
                </a:cubicBezTo>
                <a:cubicBezTo>
                  <a:pt x="12867390" y="1983465"/>
                  <a:pt x="12930799" y="1977018"/>
                  <a:pt x="13001731" y="1977018"/>
                </a:cubicBezTo>
                <a:cubicBezTo>
                  <a:pt x="13033973" y="1977018"/>
                  <a:pt x="13065140" y="1977018"/>
                  <a:pt x="13103830" y="1977018"/>
                </a:cubicBezTo>
                <a:cubicBezTo>
                  <a:pt x="13123175" y="1977018"/>
                  <a:pt x="13148968" y="1964122"/>
                  <a:pt x="13168314" y="1970570"/>
                </a:cubicBezTo>
                <a:cubicBezTo>
                  <a:pt x="13181210" y="1977018"/>
                  <a:pt x="13194107" y="1996361"/>
                  <a:pt x="13174762" y="2002809"/>
                </a:cubicBezTo>
                <a:cubicBezTo>
                  <a:pt x="13161865" y="2009257"/>
                  <a:pt x="13142520" y="2002809"/>
                  <a:pt x="13123175" y="2002809"/>
                </a:cubicBezTo>
                <a:cubicBezTo>
                  <a:pt x="13136072" y="2093081"/>
                  <a:pt x="13161865" y="2086632"/>
                  <a:pt x="13213452" y="2054393"/>
                </a:cubicBezTo>
                <a:cubicBezTo>
                  <a:pt x="13232797" y="2035049"/>
                  <a:pt x="13239246" y="2047945"/>
                  <a:pt x="13252142" y="2073737"/>
                </a:cubicBezTo>
                <a:cubicBezTo>
                  <a:pt x="13270413" y="2105976"/>
                  <a:pt x="13289758" y="2093081"/>
                  <a:pt x="13309103" y="2086632"/>
                </a:cubicBezTo>
                <a:cubicBezTo>
                  <a:pt x="13341345" y="2073737"/>
                  <a:pt x="13373586" y="2073737"/>
                  <a:pt x="13399380" y="2067288"/>
                </a:cubicBezTo>
                <a:cubicBezTo>
                  <a:pt x="13425173" y="2067288"/>
                  <a:pt x="13444518" y="2073737"/>
                  <a:pt x="13470312" y="2054393"/>
                </a:cubicBezTo>
                <a:cubicBezTo>
                  <a:pt x="13514376" y="2015705"/>
                  <a:pt x="13565963" y="2035049"/>
                  <a:pt x="13617550" y="2035049"/>
                </a:cubicBezTo>
                <a:cubicBezTo>
                  <a:pt x="13617550" y="1989913"/>
                  <a:pt x="13591756" y="1983465"/>
                  <a:pt x="13572411" y="1970570"/>
                </a:cubicBezTo>
                <a:cubicBezTo>
                  <a:pt x="13604653" y="1970570"/>
                  <a:pt x="13643343" y="1977018"/>
                  <a:pt x="13675585" y="1983465"/>
                </a:cubicBezTo>
                <a:cubicBezTo>
                  <a:pt x="13662688" y="1989913"/>
                  <a:pt x="13649791" y="2002809"/>
                  <a:pt x="13636895" y="2015705"/>
                </a:cubicBezTo>
                <a:cubicBezTo>
                  <a:pt x="13649791" y="2028601"/>
                  <a:pt x="13662688" y="2041497"/>
                  <a:pt x="13675585" y="2060841"/>
                </a:cubicBezTo>
                <a:cubicBezTo>
                  <a:pt x="13688482" y="2047945"/>
                  <a:pt x="13694930" y="2028601"/>
                  <a:pt x="13713200" y="2035049"/>
                </a:cubicBezTo>
                <a:cubicBezTo>
                  <a:pt x="13726097" y="2047945"/>
                  <a:pt x="13738994" y="2060841"/>
                  <a:pt x="13751891" y="2060841"/>
                </a:cubicBezTo>
                <a:cubicBezTo>
                  <a:pt x="13764787" y="2060841"/>
                  <a:pt x="13784132" y="2060841"/>
                  <a:pt x="13797029" y="2067288"/>
                </a:cubicBezTo>
                <a:cubicBezTo>
                  <a:pt x="13816374" y="2073737"/>
                  <a:pt x="13777684" y="2086632"/>
                  <a:pt x="13777684" y="2093081"/>
                </a:cubicBezTo>
                <a:cubicBezTo>
                  <a:pt x="13745442" y="2105976"/>
                  <a:pt x="13713200" y="2099528"/>
                  <a:pt x="13680959" y="2099528"/>
                </a:cubicBezTo>
                <a:cubicBezTo>
                  <a:pt x="13604653" y="2105976"/>
                  <a:pt x="13520824" y="2105976"/>
                  <a:pt x="13444518" y="2112430"/>
                </a:cubicBezTo>
                <a:cubicBezTo>
                  <a:pt x="13405828" y="2118874"/>
                  <a:pt x="13367138" y="2118874"/>
                  <a:pt x="13328448" y="2118874"/>
                </a:cubicBezTo>
                <a:cubicBezTo>
                  <a:pt x="13296206" y="2125320"/>
                  <a:pt x="13265039" y="2118874"/>
                  <a:pt x="13239246" y="2151111"/>
                </a:cubicBezTo>
                <a:cubicBezTo>
                  <a:pt x="13258591" y="2156485"/>
                  <a:pt x="13315551" y="2156485"/>
                  <a:pt x="13322000" y="2195172"/>
                </a:cubicBezTo>
                <a:cubicBezTo>
                  <a:pt x="13322000" y="2214516"/>
                  <a:pt x="13289758" y="2220961"/>
                  <a:pt x="13284384" y="2220961"/>
                </a:cubicBezTo>
                <a:cubicBezTo>
                  <a:pt x="13258591" y="2220961"/>
                  <a:pt x="13232797" y="2227413"/>
                  <a:pt x="13207004" y="2220961"/>
                </a:cubicBezTo>
                <a:cubicBezTo>
                  <a:pt x="13181210" y="2214516"/>
                  <a:pt x="13181210" y="2188728"/>
                  <a:pt x="13181210" y="2151111"/>
                </a:cubicBezTo>
                <a:cubicBezTo>
                  <a:pt x="13079111" y="2162932"/>
                  <a:pt x="12969489" y="2175828"/>
                  <a:pt x="12859867" y="2188728"/>
                </a:cubicBezTo>
                <a:cubicBezTo>
                  <a:pt x="12802906" y="2195172"/>
                  <a:pt x="12751319" y="2208069"/>
                  <a:pt x="12693284" y="2208069"/>
                </a:cubicBezTo>
                <a:cubicBezTo>
                  <a:pt x="12673939" y="2208069"/>
                  <a:pt x="12604082" y="2188728"/>
                  <a:pt x="12597633" y="2240307"/>
                </a:cubicBezTo>
                <a:cubicBezTo>
                  <a:pt x="12597633" y="2266099"/>
                  <a:pt x="12610530" y="2298334"/>
                  <a:pt x="12591185" y="2311236"/>
                </a:cubicBezTo>
                <a:cubicBezTo>
                  <a:pt x="12578288" y="2324131"/>
                  <a:pt x="12558943" y="2317683"/>
                  <a:pt x="12546046" y="2324131"/>
                </a:cubicBezTo>
                <a:cubicBezTo>
                  <a:pt x="12494459" y="2330579"/>
                  <a:pt x="12443947" y="2337027"/>
                  <a:pt x="12385912" y="2343474"/>
                </a:cubicBezTo>
                <a:cubicBezTo>
                  <a:pt x="12282738" y="2361740"/>
                  <a:pt x="12180639" y="2387533"/>
                  <a:pt x="12071017" y="2406870"/>
                </a:cubicBezTo>
                <a:cubicBezTo>
                  <a:pt x="11859296" y="2464911"/>
                  <a:pt x="11641126" y="2510046"/>
                  <a:pt x="11430479" y="2561628"/>
                </a:cubicBezTo>
                <a:cubicBezTo>
                  <a:pt x="11333754" y="2579897"/>
                  <a:pt x="11237028" y="2605690"/>
                  <a:pt x="11141378" y="2618587"/>
                </a:cubicBezTo>
                <a:cubicBezTo>
                  <a:pt x="11122033" y="2618587"/>
                  <a:pt x="11109136" y="2625034"/>
                  <a:pt x="11089791" y="2631480"/>
                </a:cubicBezTo>
                <a:cubicBezTo>
                  <a:pt x="11076894" y="2644376"/>
                  <a:pt x="11076894" y="2670168"/>
                  <a:pt x="11070446" y="2689511"/>
                </a:cubicBezTo>
                <a:cubicBezTo>
                  <a:pt x="11051101" y="2734643"/>
                  <a:pt x="10981243" y="2683064"/>
                  <a:pt x="10961898" y="2676615"/>
                </a:cubicBezTo>
                <a:cubicBezTo>
                  <a:pt x="10961898" y="2695958"/>
                  <a:pt x="10961898" y="2721752"/>
                  <a:pt x="10961898" y="2741094"/>
                </a:cubicBezTo>
                <a:cubicBezTo>
                  <a:pt x="10884518" y="2728196"/>
                  <a:pt x="10814661" y="2752914"/>
                  <a:pt x="10750177" y="2785149"/>
                </a:cubicBezTo>
                <a:cubicBezTo>
                  <a:pt x="10807138" y="2772256"/>
                  <a:pt x="10858724" y="2759362"/>
                  <a:pt x="10916760" y="2752914"/>
                </a:cubicBezTo>
                <a:cubicBezTo>
                  <a:pt x="10968347" y="2747539"/>
                  <a:pt x="11019934" y="2741094"/>
                  <a:pt x="11070446" y="2715302"/>
                </a:cubicBezTo>
                <a:cubicBezTo>
                  <a:pt x="11173620" y="2670168"/>
                  <a:pt x="11288615" y="2670168"/>
                  <a:pt x="11398238" y="2650824"/>
                </a:cubicBezTo>
                <a:cubicBezTo>
                  <a:pt x="11622856" y="2612137"/>
                  <a:pt x="11846399" y="2561628"/>
                  <a:pt x="12071017" y="2497149"/>
                </a:cubicBezTo>
                <a:cubicBezTo>
                  <a:pt x="12071017" y="2516495"/>
                  <a:pt x="12071017" y="2554106"/>
                  <a:pt x="12090362" y="2554106"/>
                </a:cubicBezTo>
                <a:cubicBezTo>
                  <a:pt x="12090362" y="2535836"/>
                  <a:pt x="12090362" y="2516495"/>
                  <a:pt x="12090362" y="2497149"/>
                </a:cubicBezTo>
                <a:cubicBezTo>
                  <a:pt x="12103259" y="2490703"/>
                  <a:pt x="12116155" y="2490703"/>
                  <a:pt x="12135501" y="2484256"/>
                </a:cubicBezTo>
                <a:cubicBezTo>
                  <a:pt x="12154846" y="2484256"/>
                  <a:pt x="12180639" y="2477804"/>
                  <a:pt x="12206433" y="2477804"/>
                </a:cubicBezTo>
                <a:cubicBezTo>
                  <a:pt x="12193536" y="2484256"/>
                  <a:pt x="12187087" y="2497149"/>
                  <a:pt x="12187087" y="2510046"/>
                </a:cubicBezTo>
                <a:cubicBezTo>
                  <a:pt x="12193536" y="2516495"/>
                  <a:pt x="12206433" y="2516495"/>
                  <a:pt x="12219329" y="2522941"/>
                </a:cubicBezTo>
                <a:cubicBezTo>
                  <a:pt x="12219329" y="2432672"/>
                  <a:pt x="12302083" y="2445566"/>
                  <a:pt x="12340773" y="2432672"/>
                </a:cubicBezTo>
                <a:cubicBezTo>
                  <a:pt x="12418154" y="2419778"/>
                  <a:pt x="12488011" y="2406870"/>
                  <a:pt x="12565391" y="2387533"/>
                </a:cubicBezTo>
                <a:cubicBezTo>
                  <a:pt x="12591185" y="2381086"/>
                  <a:pt x="12629875" y="2348847"/>
                  <a:pt x="12654594" y="2374638"/>
                </a:cubicBezTo>
                <a:cubicBezTo>
                  <a:pt x="12680387" y="2393980"/>
                  <a:pt x="12693284" y="2406870"/>
                  <a:pt x="12719078" y="2400427"/>
                </a:cubicBezTo>
                <a:cubicBezTo>
                  <a:pt x="12796458" y="2387533"/>
                  <a:pt x="12872764" y="2381086"/>
                  <a:pt x="12950144" y="2374638"/>
                </a:cubicBezTo>
                <a:cubicBezTo>
                  <a:pt x="13265039" y="2348847"/>
                  <a:pt x="13572411" y="2330579"/>
                  <a:pt x="13880858" y="2337027"/>
                </a:cubicBezTo>
                <a:cubicBezTo>
                  <a:pt x="13855064" y="2337027"/>
                  <a:pt x="13829271" y="2343474"/>
                  <a:pt x="13803477" y="2348847"/>
                </a:cubicBezTo>
                <a:cubicBezTo>
                  <a:pt x="13809926" y="2361740"/>
                  <a:pt x="13816374" y="2374638"/>
                  <a:pt x="13822823" y="2381086"/>
                </a:cubicBezTo>
                <a:cubicBezTo>
                  <a:pt x="13797029" y="2400427"/>
                  <a:pt x="13764787" y="2413338"/>
                  <a:pt x="13732545" y="2445566"/>
                </a:cubicBezTo>
                <a:cubicBezTo>
                  <a:pt x="13719649" y="2458463"/>
                  <a:pt x="13694930" y="2458463"/>
                  <a:pt x="13694930" y="2497149"/>
                </a:cubicBezTo>
                <a:cubicBezTo>
                  <a:pt x="13706752" y="2484256"/>
                  <a:pt x="13726097" y="2471358"/>
                  <a:pt x="13738994" y="2471358"/>
                </a:cubicBezTo>
                <a:cubicBezTo>
                  <a:pt x="13758339" y="2471358"/>
                  <a:pt x="13771236" y="2490703"/>
                  <a:pt x="13784132" y="2497149"/>
                </a:cubicBezTo>
                <a:cubicBezTo>
                  <a:pt x="13803477" y="2503598"/>
                  <a:pt x="13842168" y="2510046"/>
                  <a:pt x="13848616" y="2471358"/>
                </a:cubicBezTo>
                <a:cubicBezTo>
                  <a:pt x="13855064" y="2445566"/>
                  <a:pt x="13848616" y="2393980"/>
                  <a:pt x="13867961" y="2381086"/>
                </a:cubicBezTo>
                <a:cubicBezTo>
                  <a:pt x="13874409" y="2374638"/>
                  <a:pt x="13886231" y="2374638"/>
                  <a:pt x="13893755" y="2361740"/>
                </a:cubicBezTo>
                <a:cubicBezTo>
                  <a:pt x="13900203" y="2356369"/>
                  <a:pt x="13900203" y="2330579"/>
                  <a:pt x="13905577" y="2317683"/>
                </a:cubicBezTo>
                <a:cubicBezTo>
                  <a:pt x="13918473" y="2285443"/>
                  <a:pt x="13957163" y="2304791"/>
                  <a:pt x="13976509" y="2304791"/>
                </a:cubicBezTo>
                <a:cubicBezTo>
                  <a:pt x="14015199" y="2304791"/>
                  <a:pt x="14060337" y="2298334"/>
                  <a:pt x="14099027" y="2291889"/>
                </a:cubicBezTo>
                <a:cubicBezTo>
                  <a:pt x="14123746" y="2285443"/>
                  <a:pt x="14175333" y="2266099"/>
                  <a:pt x="14201127" y="2285443"/>
                </a:cubicBezTo>
                <a:cubicBezTo>
                  <a:pt x="14207575" y="2295116"/>
                  <a:pt x="14210799" y="2309625"/>
                  <a:pt x="14212411" y="2324803"/>
                </a:cubicBezTo>
                <a:lnTo>
                  <a:pt x="14213855" y="2363672"/>
                </a:lnTo>
                <a:lnTo>
                  <a:pt x="14217894" y="2366503"/>
                </a:lnTo>
                <a:cubicBezTo>
                  <a:pt x="14211907" y="2372428"/>
                  <a:pt x="14205919" y="2378352"/>
                  <a:pt x="14199932" y="2366503"/>
                </a:cubicBezTo>
                <a:lnTo>
                  <a:pt x="14204446" y="2363340"/>
                </a:lnTo>
                <a:lnTo>
                  <a:pt x="14169506" y="2345640"/>
                </a:lnTo>
                <a:cubicBezTo>
                  <a:pt x="14124216" y="2332190"/>
                  <a:pt x="14077264" y="2341862"/>
                  <a:pt x="14034544" y="2337027"/>
                </a:cubicBezTo>
                <a:cubicBezTo>
                  <a:pt x="14034544" y="2400427"/>
                  <a:pt x="14086131" y="2368190"/>
                  <a:pt x="14110849" y="2368190"/>
                </a:cubicBezTo>
                <a:cubicBezTo>
                  <a:pt x="14110849" y="2400427"/>
                  <a:pt x="14086131" y="2406870"/>
                  <a:pt x="14073234" y="2419778"/>
                </a:cubicBezTo>
                <a:cubicBezTo>
                  <a:pt x="14053889" y="2439119"/>
                  <a:pt x="14028095" y="2464911"/>
                  <a:pt x="14015199" y="2497149"/>
                </a:cubicBezTo>
                <a:cubicBezTo>
                  <a:pt x="14034544" y="2503598"/>
                  <a:pt x="14053889" y="2516495"/>
                  <a:pt x="14073234" y="2522941"/>
                </a:cubicBezTo>
                <a:cubicBezTo>
                  <a:pt x="14073234" y="2503598"/>
                  <a:pt x="14066786" y="2464911"/>
                  <a:pt x="14091504" y="2464911"/>
                </a:cubicBezTo>
                <a:cubicBezTo>
                  <a:pt x="14091504" y="2516495"/>
                  <a:pt x="14105476" y="2522941"/>
                  <a:pt x="14130195" y="2529389"/>
                </a:cubicBezTo>
                <a:cubicBezTo>
                  <a:pt x="14149540" y="2529389"/>
                  <a:pt x="14188230" y="2535836"/>
                  <a:pt x="14188230" y="2497149"/>
                </a:cubicBezTo>
                <a:cubicBezTo>
                  <a:pt x="14168885" y="2497149"/>
                  <a:pt x="14155988" y="2497149"/>
                  <a:pt x="14143091" y="2497149"/>
                </a:cubicBezTo>
                <a:cubicBezTo>
                  <a:pt x="14143091" y="2471358"/>
                  <a:pt x="14143091" y="2452014"/>
                  <a:pt x="14143091" y="2432672"/>
                </a:cubicBezTo>
                <a:cubicBezTo>
                  <a:pt x="14181781" y="2445566"/>
                  <a:pt x="14220472" y="2458463"/>
                  <a:pt x="14259162" y="2477804"/>
                </a:cubicBezTo>
                <a:cubicBezTo>
                  <a:pt x="14246265" y="2490703"/>
                  <a:pt x="14239817" y="2503598"/>
                  <a:pt x="14233368" y="2522941"/>
                </a:cubicBezTo>
                <a:cubicBezTo>
                  <a:pt x="14246265" y="2522941"/>
                  <a:pt x="14272059" y="2510046"/>
                  <a:pt x="14278507" y="2542284"/>
                </a:cubicBezTo>
                <a:cubicBezTo>
                  <a:pt x="14284955" y="2516495"/>
                  <a:pt x="14272059" y="2484256"/>
                  <a:pt x="14284955" y="2464911"/>
                </a:cubicBezTo>
                <a:cubicBezTo>
                  <a:pt x="14296777" y="2445566"/>
                  <a:pt x="14329019" y="2458463"/>
                  <a:pt x="14348364" y="2458463"/>
                </a:cubicBezTo>
                <a:cubicBezTo>
                  <a:pt x="14348364" y="2458463"/>
                  <a:pt x="14380606" y="2471358"/>
                  <a:pt x="14374158" y="2484256"/>
                </a:cubicBezTo>
                <a:cubicBezTo>
                  <a:pt x="14361261" y="2510046"/>
                  <a:pt x="14335467" y="2497149"/>
                  <a:pt x="14316122" y="2497149"/>
                </a:cubicBezTo>
                <a:cubicBezTo>
                  <a:pt x="14316122" y="2516495"/>
                  <a:pt x="14322571" y="2535836"/>
                  <a:pt x="14322571" y="2554106"/>
                </a:cubicBezTo>
                <a:cubicBezTo>
                  <a:pt x="14387054" y="2484256"/>
                  <a:pt x="14464435" y="2566999"/>
                  <a:pt x="14534292" y="2547657"/>
                </a:cubicBezTo>
                <a:cubicBezTo>
                  <a:pt x="14483780" y="2535836"/>
                  <a:pt x="14438641" y="2522941"/>
                  <a:pt x="14393503" y="2510046"/>
                </a:cubicBezTo>
                <a:cubicBezTo>
                  <a:pt x="14470883" y="2445566"/>
                  <a:pt x="14553637" y="2497149"/>
                  <a:pt x="14637466" y="2510046"/>
                </a:cubicBezTo>
                <a:cubicBezTo>
                  <a:pt x="14611672" y="2529389"/>
                  <a:pt x="14566534" y="2547657"/>
                  <a:pt x="14579431" y="2605690"/>
                </a:cubicBezTo>
                <a:cubicBezTo>
                  <a:pt x="14592327" y="2644376"/>
                  <a:pt x="14637466" y="2586345"/>
                  <a:pt x="14637466" y="2644376"/>
                </a:cubicBezTo>
                <a:cubicBezTo>
                  <a:pt x="14451538" y="2612137"/>
                  <a:pt x="14265610" y="2579897"/>
                  <a:pt x="14079682" y="2561628"/>
                </a:cubicBezTo>
                <a:cubicBezTo>
                  <a:pt x="13989405" y="2554106"/>
                  <a:pt x="13900203" y="2535836"/>
                  <a:pt x="13809926" y="2535836"/>
                </a:cubicBezTo>
                <a:cubicBezTo>
                  <a:pt x="13777684" y="2535836"/>
                  <a:pt x="13732545" y="2554106"/>
                  <a:pt x="13700304" y="2535836"/>
                </a:cubicBezTo>
                <a:cubicBezTo>
                  <a:pt x="13669137" y="2516495"/>
                  <a:pt x="13688482" y="2452014"/>
                  <a:pt x="13688482" y="2419778"/>
                </a:cubicBezTo>
                <a:cubicBezTo>
                  <a:pt x="13604653" y="2419778"/>
                  <a:pt x="13520824" y="2426225"/>
                  <a:pt x="13438070" y="2432672"/>
                </a:cubicBezTo>
                <a:lnTo>
                  <a:pt x="13499431" y="2462859"/>
                </a:lnTo>
                <a:lnTo>
                  <a:pt x="13505185" y="2450516"/>
                </a:lnTo>
                <a:cubicBezTo>
                  <a:pt x="13507431" y="2450516"/>
                  <a:pt x="13510424" y="2455331"/>
                  <a:pt x="13516412" y="2464962"/>
                </a:cubicBezTo>
                <a:lnTo>
                  <a:pt x="13512292" y="2468496"/>
                </a:lnTo>
                <a:lnTo>
                  <a:pt x="13538725" y="2478915"/>
                </a:lnTo>
                <a:cubicBezTo>
                  <a:pt x="13549909" y="2482241"/>
                  <a:pt x="13561126" y="2484256"/>
                  <a:pt x="13572411" y="2484256"/>
                </a:cubicBezTo>
                <a:cubicBezTo>
                  <a:pt x="13591756" y="2484256"/>
                  <a:pt x="13636895" y="2477804"/>
                  <a:pt x="13636895" y="2522941"/>
                </a:cubicBezTo>
                <a:cubicBezTo>
                  <a:pt x="13553066" y="2522941"/>
                  <a:pt x="13475686" y="2522941"/>
                  <a:pt x="13392932" y="2522941"/>
                </a:cubicBezTo>
                <a:cubicBezTo>
                  <a:pt x="13392932" y="2503598"/>
                  <a:pt x="13399380" y="2484256"/>
                  <a:pt x="13399380" y="2464911"/>
                </a:cubicBezTo>
                <a:lnTo>
                  <a:pt x="13403724" y="2467517"/>
                </a:lnTo>
                <a:lnTo>
                  <a:pt x="13403655" y="2467412"/>
                </a:lnTo>
                <a:cubicBezTo>
                  <a:pt x="13409642" y="2454185"/>
                  <a:pt x="13411139" y="2450878"/>
                  <a:pt x="13412636" y="2452532"/>
                </a:cubicBezTo>
                <a:lnTo>
                  <a:pt x="13413461" y="2453899"/>
                </a:lnTo>
                <a:lnTo>
                  <a:pt x="13409959" y="2446573"/>
                </a:lnTo>
                <a:cubicBezTo>
                  <a:pt x="13405425" y="2425415"/>
                  <a:pt x="13409052" y="2398815"/>
                  <a:pt x="13380035" y="2393980"/>
                </a:cubicBezTo>
                <a:cubicBezTo>
                  <a:pt x="13354241" y="2393980"/>
                  <a:pt x="13328448" y="2406870"/>
                  <a:pt x="13302654" y="2400427"/>
                </a:cubicBezTo>
                <a:cubicBezTo>
                  <a:pt x="13289758" y="2393980"/>
                  <a:pt x="13270413" y="2393980"/>
                  <a:pt x="13252142" y="2400427"/>
                </a:cubicBezTo>
                <a:cubicBezTo>
                  <a:pt x="13226349" y="2406870"/>
                  <a:pt x="13239246" y="2464911"/>
                  <a:pt x="13239246" y="2497149"/>
                </a:cubicBezTo>
                <a:cubicBezTo>
                  <a:pt x="13252142" y="2484256"/>
                  <a:pt x="13270413" y="2477804"/>
                  <a:pt x="13284384" y="2464911"/>
                </a:cubicBezTo>
                <a:cubicBezTo>
                  <a:pt x="13284384" y="2484256"/>
                  <a:pt x="13289758" y="2503598"/>
                  <a:pt x="13296206" y="2522941"/>
                </a:cubicBezTo>
                <a:cubicBezTo>
                  <a:pt x="13265039" y="2516495"/>
                  <a:pt x="13232797" y="2510046"/>
                  <a:pt x="13200555" y="2510046"/>
                </a:cubicBezTo>
                <a:cubicBezTo>
                  <a:pt x="13207004" y="2490703"/>
                  <a:pt x="13219900" y="2471358"/>
                  <a:pt x="13213452" y="2452014"/>
                </a:cubicBezTo>
                <a:cubicBezTo>
                  <a:pt x="13200555" y="2432672"/>
                  <a:pt x="13194107" y="2413338"/>
                  <a:pt x="13174762" y="2406870"/>
                </a:cubicBezTo>
                <a:cubicBezTo>
                  <a:pt x="13148968" y="2400427"/>
                  <a:pt x="13123175" y="2419778"/>
                  <a:pt x="13090933" y="2426225"/>
                </a:cubicBezTo>
                <a:cubicBezTo>
                  <a:pt x="13027524" y="2439119"/>
                  <a:pt x="12956592" y="2445566"/>
                  <a:pt x="12892109" y="2464911"/>
                </a:cubicBezTo>
                <a:cubicBezTo>
                  <a:pt x="12822251" y="2490703"/>
                  <a:pt x="12751319" y="2477804"/>
                  <a:pt x="12680387" y="2484256"/>
                </a:cubicBezTo>
                <a:cubicBezTo>
                  <a:pt x="12623427" y="2490703"/>
                  <a:pt x="12558943" y="2484256"/>
                  <a:pt x="12500908" y="2535836"/>
                </a:cubicBezTo>
                <a:cubicBezTo>
                  <a:pt x="12513805" y="2547657"/>
                  <a:pt x="12533150" y="2554106"/>
                  <a:pt x="12546046" y="2566999"/>
                </a:cubicBezTo>
                <a:cubicBezTo>
                  <a:pt x="12533150" y="2573448"/>
                  <a:pt x="12526701" y="2586345"/>
                  <a:pt x="12526701" y="2599243"/>
                </a:cubicBezTo>
                <a:cubicBezTo>
                  <a:pt x="12905005" y="2612137"/>
                  <a:pt x="13289758" y="2612137"/>
                  <a:pt x="13675585" y="2612137"/>
                </a:cubicBezTo>
                <a:cubicBezTo>
                  <a:pt x="13611101" y="2618587"/>
                  <a:pt x="13546618" y="2625034"/>
                  <a:pt x="13483209" y="2631480"/>
                </a:cubicBezTo>
                <a:cubicBezTo>
                  <a:pt x="13457415" y="2637928"/>
                  <a:pt x="13431622" y="2631480"/>
                  <a:pt x="13405828" y="2644376"/>
                </a:cubicBezTo>
                <a:cubicBezTo>
                  <a:pt x="13386483" y="2650824"/>
                  <a:pt x="13392932" y="2689511"/>
                  <a:pt x="13392932" y="2708855"/>
                </a:cubicBezTo>
                <a:cubicBezTo>
                  <a:pt x="13457415" y="2695958"/>
                  <a:pt x="13533721" y="2657271"/>
                  <a:pt x="13598205" y="2689511"/>
                </a:cubicBezTo>
                <a:cubicBezTo>
                  <a:pt x="13636895" y="2708855"/>
                  <a:pt x="13669137" y="2734643"/>
                  <a:pt x="13675585" y="2657271"/>
                </a:cubicBezTo>
                <a:cubicBezTo>
                  <a:pt x="13675585" y="2586345"/>
                  <a:pt x="13738994" y="2612137"/>
                  <a:pt x="13764787" y="2612137"/>
                </a:cubicBezTo>
                <a:cubicBezTo>
                  <a:pt x="13797029" y="2618587"/>
                  <a:pt x="13835719" y="2612137"/>
                  <a:pt x="13867961" y="2605690"/>
                </a:cubicBezTo>
                <a:cubicBezTo>
                  <a:pt x="13886231" y="2605690"/>
                  <a:pt x="13937818" y="2592790"/>
                  <a:pt x="13950715" y="2618587"/>
                </a:cubicBezTo>
                <a:cubicBezTo>
                  <a:pt x="13970060" y="2644376"/>
                  <a:pt x="13900203" y="2650824"/>
                  <a:pt x="13893755" y="2644376"/>
                </a:cubicBezTo>
                <a:cubicBezTo>
                  <a:pt x="13874409" y="2644376"/>
                  <a:pt x="13855064" y="2644376"/>
                  <a:pt x="13829271" y="2644376"/>
                </a:cubicBezTo>
                <a:cubicBezTo>
                  <a:pt x="13809926" y="2637928"/>
                  <a:pt x="13745442" y="2625034"/>
                  <a:pt x="13732545" y="2670168"/>
                </a:cubicBezTo>
                <a:cubicBezTo>
                  <a:pt x="13719649" y="2708855"/>
                  <a:pt x="13751891" y="2702408"/>
                  <a:pt x="13764787" y="2702408"/>
                </a:cubicBezTo>
                <a:cubicBezTo>
                  <a:pt x="13797029" y="2702408"/>
                  <a:pt x="13835719" y="2695958"/>
                  <a:pt x="13874409" y="2695958"/>
                </a:cubicBezTo>
                <a:cubicBezTo>
                  <a:pt x="13950715" y="2689511"/>
                  <a:pt x="14028095" y="2683064"/>
                  <a:pt x="14110849" y="2676615"/>
                </a:cubicBezTo>
                <a:cubicBezTo>
                  <a:pt x="14110849" y="2695958"/>
                  <a:pt x="14110849" y="2721752"/>
                  <a:pt x="14110849" y="2741094"/>
                </a:cubicBezTo>
                <a:cubicBezTo>
                  <a:pt x="14123746" y="2741094"/>
                  <a:pt x="14136643" y="2741094"/>
                  <a:pt x="14155988" y="2741094"/>
                </a:cubicBezTo>
                <a:cubicBezTo>
                  <a:pt x="14181781" y="2741094"/>
                  <a:pt x="14214023" y="2747539"/>
                  <a:pt x="14246265" y="2747539"/>
                </a:cubicBezTo>
                <a:cubicBezTo>
                  <a:pt x="14304300" y="2747539"/>
                  <a:pt x="14361261" y="2752914"/>
                  <a:pt x="14425745" y="2752914"/>
                </a:cubicBezTo>
                <a:cubicBezTo>
                  <a:pt x="14477331" y="2759362"/>
                  <a:pt x="14534292" y="2772256"/>
                  <a:pt x="14592327" y="2766883"/>
                </a:cubicBezTo>
                <a:cubicBezTo>
                  <a:pt x="14624569" y="2759362"/>
                  <a:pt x="14637466" y="2772256"/>
                  <a:pt x="14637466" y="2830301"/>
                </a:cubicBezTo>
                <a:cubicBezTo>
                  <a:pt x="14534830" y="2814184"/>
                  <a:pt x="14430581" y="2807707"/>
                  <a:pt x="14326333" y="2801257"/>
                </a:cubicBezTo>
                <a:lnTo>
                  <a:pt x="14262063" y="2796778"/>
                </a:lnTo>
                <a:lnTo>
                  <a:pt x="14275019" y="2805263"/>
                </a:lnTo>
                <a:cubicBezTo>
                  <a:pt x="14278013" y="2810894"/>
                  <a:pt x="14279510" y="2818930"/>
                  <a:pt x="14279510" y="2828558"/>
                </a:cubicBezTo>
                <a:cubicBezTo>
                  <a:pt x="14273522" y="2828558"/>
                  <a:pt x="14269032" y="2825351"/>
                  <a:pt x="14266038" y="2819735"/>
                </a:cubicBezTo>
                <a:lnTo>
                  <a:pt x="14261607" y="2796747"/>
                </a:lnTo>
                <a:lnTo>
                  <a:pt x="14170161" y="2790378"/>
                </a:lnTo>
                <a:cubicBezTo>
                  <a:pt x="14118238" y="2785949"/>
                  <a:pt x="14066517" y="2780312"/>
                  <a:pt x="14015199" y="2772256"/>
                </a:cubicBezTo>
                <a:cubicBezTo>
                  <a:pt x="13931370" y="2759362"/>
                  <a:pt x="13835719" y="2721752"/>
                  <a:pt x="13758339" y="2785149"/>
                </a:cubicBezTo>
                <a:cubicBezTo>
                  <a:pt x="13738994" y="2804473"/>
                  <a:pt x="13726097" y="2778702"/>
                  <a:pt x="13713200" y="2766883"/>
                </a:cubicBezTo>
                <a:cubicBezTo>
                  <a:pt x="13700304" y="2759362"/>
                  <a:pt x="13675585" y="2759362"/>
                  <a:pt x="13662688" y="2752914"/>
                </a:cubicBezTo>
                <a:cubicBezTo>
                  <a:pt x="13636895" y="2741094"/>
                  <a:pt x="13598205" y="2747539"/>
                  <a:pt x="13598205" y="2798035"/>
                </a:cubicBezTo>
                <a:cubicBezTo>
                  <a:pt x="13591756" y="2778702"/>
                  <a:pt x="13578859" y="2759362"/>
                  <a:pt x="13572411" y="2741094"/>
                </a:cubicBezTo>
                <a:cubicBezTo>
                  <a:pt x="13533721" y="2798035"/>
                  <a:pt x="13483209" y="2798035"/>
                  <a:pt x="13431622" y="2798035"/>
                </a:cubicBezTo>
                <a:cubicBezTo>
                  <a:pt x="13367138" y="2798035"/>
                  <a:pt x="13302654" y="2785149"/>
                  <a:pt x="13239246" y="2785149"/>
                </a:cubicBezTo>
                <a:cubicBezTo>
                  <a:pt x="13245694" y="2778702"/>
                  <a:pt x="13245694" y="2772256"/>
                  <a:pt x="13252142" y="2772256"/>
                </a:cubicBezTo>
                <a:cubicBezTo>
                  <a:pt x="13239246" y="2747539"/>
                  <a:pt x="13207004" y="2759362"/>
                  <a:pt x="13194107" y="2766883"/>
                </a:cubicBezTo>
                <a:cubicBezTo>
                  <a:pt x="13161865" y="2772256"/>
                  <a:pt x="13136072" y="2772256"/>
                  <a:pt x="13103830" y="2772256"/>
                </a:cubicBezTo>
                <a:cubicBezTo>
                  <a:pt x="13065140" y="2772256"/>
                  <a:pt x="13008179" y="2759362"/>
                  <a:pt x="12982386" y="2830301"/>
                </a:cubicBezTo>
                <a:cubicBezTo>
                  <a:pt x="12937247" y="2747539"/>
                  <a:pt x="12854493" y="2778702"/>
                  <a:pt x="12790010" y="2791595"/>
                </a:cubicBezTo>
                <a:cubicBezTo>
                  <a:pt x="12751319" y="2791595"/>
                  <a:pt x="12654594" y="2759362"/>
                  <a:pt x="12654594" y="2862535"/>
                </a:cubicBezTo>
                <a:cubicBezTo>
                  <a:pt x="12623427" y="2836748"/>
                  <a:pt x="12584737" y="2823864"/>
                  <a:pt x="12546046" y="2836748"/>
                </a:cubicBezTo>
                <a:cubicBezTo>
                  <a:pt x="12513805" y="2843195"/>
                  <a:pt x="12488011" y="2881878"/>
                  <a:pt x="12456844" y="2894774"/>
                </a:cubicBezTo>
                <a:cubicBezTo>
                  <a:pt x="12418154" y="2907666"/>
                  <a:pt x="12379464" y="2901221"/>
                  <a:pt x="12340773" y="2901221"/>
                </a:cubicBezTo>
                <a:cubicBezTo>
                  <a:pt x="12302083" y="2901221"/>
                  <a:pt x="12263393" y="2907666"/>
                  <a:pt x="12219329" y="2907666"/>
                </a:cubicBezTo>
                <a:cubicBezTo>
                  <a:pt x="12225778" y="2901221"/>
                  <a:pt x="12225778" y="2894774"/>
                  <a:pt x="12232226" y="2888327"/>
                </a:cubicBezTo>
                <a:cubicBezTo>
                  <a:pt x="12187087" y="2856089"/>
                  <a:pt x="12135501" y="2920566"/>
                  <a:pt x="12090362" y="2888327"/>
                </a:cubicBezTo>
                <a:cubicBezTo>
                  <a:pt x="12090362" y="2933464"/>
                  <a:pt x="12090362" y="2958175"/>
                  <a:pt x="12058120" y="2958175"/>
                </a:cubicBezTo>
                <a:cubicBezTo>
                  <a:pt x="12033401" y="2958175"/>
                  <a:pt x="12007608" y="2952806"/>
                  <a:pt x="11981815" y="2964624"/>
                </a:cubicBezTo>
                <a:cubicBezTo>
                  <a:pt x="11923779" y="2983968"/>
                  <a:pt x="11859296" y="2983968"/>
                  <a:pt x="11808783" y="3029103"/>
                </a:cubicBezTo>
                <a:cubicBezTo>
                  <a:pt x="11923779" y="3035555"/>
                  <a:pt x="12046298" y="3035555"/>
                  <a:pt x="12167742" y="3048447"/>
                </a:cubicBezTo>
                <a:cubicBezTo>
                  <a:pt x="12167742" y="3029103"/>
                  <a:pt x="12154846" y="2990416"/>
                  <a:pt x="12174191" y="2983968"/>
                </a:cubicBezTo>
                <a:cubicBezTo>
                  <a:pt x="12193536" y="2972146"/>
                  <a:pt x="12219329" y="2983968"/>
                  <a:pt x="12238674" y="2983968"/>
                </a:cubicBezTo>
                <a:cubicBezTo>
                  <a:pt x="12238674" y="3016207"/>
                  <a:pt x="12187087" y="3035555"/>
                  <a:pt x="12219329" y="3067798"/>
                </a:cubicBezTo>
                <a:cubicBezTo>
                  <a:pt x="12238674" y="3093583"/>
                  <a:pt x="12276290" y="3067798"/>
                  <a:pt x="12295635" y="3061340"/>
                </a:cubicBezTo>
                <a:cubicBezTo>
                  <a:pt x="12379464" y="3029103"/>
                  <a:pt x="12462218" y="3003312"/>
                  <a:pt x="12539598" y="2983968"/>
                </a:cubicBezTo>
                <a:cubicBezTo>
                  <a:pt x="12584737" y="2977523"/>
                  <a:pt x="12623427" y="2972146"/>
                  <a:pt x="12662117" y="2977523"/>
                </a:cubicBezTo>
                <a:cubicBezTo>
                  <a:pt x="12699732" y="2983968"/>
                  <a:pt x="12731974" y="3003312"/>
                  <a:pt x="12764216" y="3022655"/>
                </a:cubicBezTo>
                <a:lnTo>
                  <a:pt x="12769727" y="3023950"/>
                </a:lnTo>
                <a:lnTo>
                  <a:pt x="12759050" y="3014790"/>
                </a:lnTo>
                <a:cubicBezTo>
                  <a:pt x="12771025" y="2995527"/>
                  <a:pt x="12771025" y="2995527"/>
                  <a:pt x="12777012" y="3014790"/>
                </a:cubicBezTo>
                <a:lnTo>
                  <a:pt x="12770482" y="3024128"/>
                </a:lnTo>
                <a:lnTo>
                  <a:pt x="12794225" y="3029707"/>
                </a:lnTo>
                <a:cubicBezTo>
                  <a:pt x="12825005" y="3030313"/>
                  <a:pt x="12857449" y="3014596"/>
                  <a:pt x="12885660" y="3009759"/>
                </a:cubicBezTo>
                <a:cubicBezTo>
                  <a:pt x="12917902" y="3009759"/>
                  <a:pt x="12937247" y="3035555"/>
                  <a:pt x="12956592" y="2983968"/>
                </a:cubicBezTo>
                <a:cubicBezTo>
                  <a:pt x="12969489" y="2952806"/>
                  <a:pt x="12982386" y="2964624"/>
                  <a:pt x="13001731" y="2977523"/>
                </a:cubicBezTo>
                <a:cubicBezTo>
                  <a:pt x="13014628" y="2983968"/>
                  <a:pt x="13014628" y="2964624"/>
                  <a:pt x="13021076" y="2946355"/>
                </a:cubicBezTo>
                <a:cubicBezTo>
                  <a:pt x="13030749" y="2931845"/>
                  <a:pt x="13044049" y="2949377"/>
                  <a:pt x="13052814" y="2962222"/>
                </a:cubicBezTo>
                <a:lnTo>
                  <a:pt x="13056973" y="2968159"/>
                </a:lnTo>
                <a:lnTo>
                  <a:pt x="13059766" y="2972146"/>
                </a:lnTo>
                <a:cubicBezTo>
                  <a:pt x="13079111" y="2977523"/>
                  <a:pt x="13090933" y="2977523"/>
                  <a:pt x="13110278" y="2972146"/>
                </a:cubicBezTo>
                <a:cubicBezTo>
                  <a:pt x="13200555" y="2958175"/>
                  <a:pt x="13284384" y="2907666"/>
                  <a:pt x="13373586" y="2914116"/>
                </a:cubicBezTo>
                <a:cubicBezTo>
                  <a:pt x="13463864" y="2927011"/>
                  <a:pt x="13546618" y="2946355"/>
                  <a:pt x="13636895" y="2907666"/>
                </a:cubicBezTo>
                <a:lnTo>
                  <a:pt x="13676487" y="2893083"/>
                </a:lnTo>
                <a:lnTo>
                  <a:pt x="13680018" y="2911699"/>
                </a:lnTo>
                <a:cubicBezTo>
                  <a:pt x="13683108" y="2917341"/>
                  <a:pt x="13687945" y="2920566"/>
                  <a:pt x="13694930" y="2920566"/>
                </a:cubicBezTo>
                <a:cubicBezTo>
                  <a:pt x="13694930" y="2910893"/>
                  <a:pt x="13693318" y="2902833"/>
                  <a:pt x="13690094" y="2897191"/>
                </a:cubicBezTo>
                <a:lnTo>
                  <a:pt x="13680782" y="2891501"/>
                </a:lnTo>
                <a:lnTo>
                  <a:pt x="13695417" y="2886110"/>
                </a:lnTo>
                <a:cubicBezTo>
                  <a:pt x="13755114" y="2870998"/>
                  <a:pt x="13817986" y="2872207"/>
                  <a:pt x="13880858" y="2862535"/>
                </a:cubicBezTo>
                <a:cubicBezTo>
                  <a:pt x="13880858" y="2881878"/>
                  <a:pt x="13880858" y="2901221"/>
                  <a:pt x="13880858" y="2920566"/>
                </a:cubicBezTo>
                <a:cubicBezTo>
                  <a:pt x="14053889" y="2894774"/>
                  <a:pt x="14220472" y="2927011"/>
                  <a:pt x="14393503" y="2952806"/>
                </a:cubicBezTo>
                <a:cubicBezTo>
                  <a:pt x="14393503" y="2894774"/>
                  <a:pt x="14335467" y="2952806"/>
                  <a:pt x="14335467" y="2888327"/>
                </a:cubicBezTo>
                <a:cubicBezTo>
                  <a:pt x="14367709" y="2888327"/>
                  <a:pt x="14399951" y="2888327"/>
                  <a:pt x="14432193" y="2888327"/>
                </a:cubicBezTo>
                <a:cubicBezTo>
                  <a:pt x="14457986" y="2888327"/>
                  <a:pt x="14457986" y="2933464"/>
                  <a:pt x="14470883" y="2952806"/>
                </a:cubicBezTo>
                <a:cubicBezTo>
                  <a:pt x="14490228" y="2901221"/>
                  <a:pt x="14527844" y="2958175"/>
                  <a:pt x="14553637" y="2972146"/>
                </a:cubicBezTo>
                <a:cubicBezTo>
                  <a:pt x="14605224" y="2983968"/>
                  <a:pt x="14650363" y="2983968"/>
                  <a:pt x="14701950" y="2983968"/>
                </a:cubicBezTo>
                <a:cubicBezTo>
                  <a:pt x="14778255" y="2983968"/>
                  <a:pt x="14868532" y="2983968"/>
                  <a:pt x="14938390" y="3061340"/>
                </a:cubicBezTo>
                <a:cubicBezTo>
                  <a:pt x="14746013" y="3048447"/>
                  <a:pt x="14560086" y="3035555"/>
                  <a:pt x="14374158" y="3029103"/>
                </a:cubicBezTo>
                <a:cubicBezTo>
                  <a:pt x="14380606" y="3042000"/>
                  <a:pt x="14393503" y="3061340"/>
                  <a:pt x="14399951" y="3074240"/>
                </a:cubicBezTo>
                <a:cubicBezTo>
                  <a:pt x="14341916" y="3087134"/>
                  <a:pt x="14278507" y="3093583"/>
                  <a:pt x="14220472" y="3106481"/>
                </a:cubicBezTo>
                <a:cubicBezTo>
                  <a:pt x="14226920" y="3054895"/>
                  <a:pt x="14252713" y="3061340"/>
                  <a:pt x="14278507" y="3074240"/>
                </a:cubicBezTo>
                <a:cubicBezTo>
                  <a:pt x="14278507" y="3042000"/>
                  <a:pt x="14284955" y="3016207"/>
                  <a:pt x="14259162" y="3009759"/>
                </a:cubicBezTo>
                <a:cubicBezTo>
                  <a:pt x="14233368" y="3003312"/>
                  <a:pt x="14214023" y="3009759"/>
                  <a:pt x="14194678" y="3009759"/>
                </a:cubicBezTo>
                <a:cubicBezTo>
                  <a:pt x="14143091" y="3009759"/>
                  <a:pt x="14091504" y="2996864"/>
                  <a:pt x="14040992" y="3003312"/>
                </a:cubicBezTo>
                <a:lnTo>
                  <a:pt x="13993733" y="3009219"/>
                </a:lnTo>
                <a:lnTo>
                  <a:pt x="13976509" y="3011371"/>
                </a:lnTo>
                <a:cubicBezTo>
                  <a:pt x="13953939" y="3014596"/>
                  <a:pt x="13931370" y="3016207"/>
                  <a:pt x="13912025" y="3009759"/>
                </a:cubicBezTo>
                <a:cubicBezTo>
                  <a:pt x="13893755" y="3003312"/>
                  <a:pt x="13855064" y="2983968"/>
                  <a:pt x="13880858" y="3029103"/>
                </a:cubicBezTo>
                <a:cubicBezTo>
                  <a:pt x="13861513" y="3042000"/>
                  <a:pt x="13842168" y="3074240"/>
                  <a:pt x="13816374" y="3074240"/>
                </a:cubicBezTo>
                <a:cubicBezTo>
                  <a:pt x="13803477" y="3074240"/>
                  <a:pt x="13797029" y="3061340"/>
                  <a:pt x="13784132" y="3048447"/>
                </a:cubicBezTo>
                <a:cubicBezTo>
                  <a:pt x="13777684" y="3042000"/>
                  <a:pt x="13764787" y="3048447"/>
                  <a:pt x="13758339" y="3048447"/>
                </a:cubicBezTo>
                <a:cubicBezTo>
                  <a:pt x="13732545" y="3048447"/>
                  <a:pt x="13680959" y="3067798"/>
                  <a:pt x="13662688" y="3048447"/>
                </a:cubicBezTo>
                <a:cubicBezTo>
                  <a:pt x="13649791" y="3035555"/>
                  <a:pt x="13656240" y="3003312"/>
                  <a:pt x="13656240" y="2983968"/>
                </a:cubicBezTo>
                <a:cubicBezTo>
                  <a:pt x="13636895" y="3003312"/>
                  <a:pt x="13617550" y="3022655"/>
                  <a:pt x="13598205" y="3048447"/>
                </a:cubicBezTo>
                <a:cubicBezTo>
                  <a:pt x="13598205" y="3022655"/>
                  <a:pt x="13598205" y="3003312"/>
                  <a:pt x="13598205" y="2983968"/>
                </a:cubicBezTo>
                <a:cubicBezTo>
                  <a:pt x="13483209" y="3016207"/>
                  <a:pt x="13367138" y="3022655"/>
                  <a:pt x="13252142" y="3042000"/>
                </a:cubicBezTo>
                <a:cubicBezTo>
                  <a:pt x="13136072" y="3054895"/>
                  <a:pt x="13021076" y="3067798"/>
                  <a:pt x="12905005" y="3087134"/>
                </a:cubicBezTo>
                <a:cubicBezTo>
                  <a:pt x="12693284" y="3112926"/>
                  <a:pt x="12475114" y="3132271"/>
                  <a:pt x="12263393" y="3169883"/>
                </a:cubicBezTo>
                <a:cubicBezTo>
                  <a:pt x="12212881" y="3177405"/>
                  <a:pt x="11750748" y="3279496"/>
                  <a:pt x="11750748" y="3234361"/>
                </a:cubicBezTo>
                <a:cubicBezTo>
                  <a:pt x="11750748" y="3234361"/>
                  <a:pt x="11770093" y="3221465"/>
                  <a:pt x="11770093" y="3215019"/>
                </a:cubicBezTo>
                <a:cubicBezTo>
                  <a:pt x="11776542" y="3195674"/>
                  <a:pt x="11744300" y="3195674"/>
                  <a:pt x="11737851" y="3195674"/>
                </a:cubicBezTo>
                <a:cubicBezTo>
                  <a:pt x="11699161" y="3195674"/>
                  <a:pt x="11724955" y="3260153"/>
                  <a:pt x="11686264" y="3273049"/>
                </a:cubicBezTo>
                <a:cubicBezTo>
                  <a:pt x="11660471" y="3273049"/>
                  <a:pt x="11609959" y="3234361"/>
                  <a:pt x="11597062" y="3279496"/>
                </a:cubicBezTo>
                <a:cubicBezTo>
                  <a:pt x="11590614" y="3305285"/>
                  <a:pt x="11584165" y="3350421"/>
                  <a:pt x="11564820" y="3350421"/>
                </a:cubicBezTo>
                <a:cubicBezTo>
                  <a:pt x="11564820" y="3318183"/>
                  <a:pt x="11564820" y="3292393"/>
                  <a:pt x="11564820" y="3260153"/>
                </a:cubicBezTo>
                <a:cubicBezTo>
                  <a:pt x="11474543" y="3311735"/>
                  <a:pt x="11391789" y="3368664"/>
                  <a:pt x="11295064" y="3382670"/>
                </a:cubicBezTo>
                <a:cubicBezTo>
                  <a:pt x="11295064" y="3305285"/>
                  <a:pt x="11199413" y="3356866"/>
                  <a:pt x="11199413" y="3413830"/>
                </a:cubicBezTo>
                <a:cubicBezTo>
                  <a:pt x="11186516" y="3407382"/>
                  <a:pt x="11173620" y="3400935"/>
                  <a:pt x="11160723" y="3388041"/>
                </a:cubicBezTo>
                <a:cubicBezTo>
                  <a:pt x="11154274" y="3407382"/>
                  <a:pt x="11147826" y="3426726"/>
                  <a:pt x="11147826" y="3446069"/>
                </a:cubicBezTo>
                <a:cubicBezTo>
                  <a:pt x="11122033" y="3446069"/>
                  <a:pt x="11102688" y="3452516"/>
                  <a:pt x="11083342" y="3458965"/>
                </a:cubicBezTo>
                <a:cubicBezTo>
                  <a:pt x="11038204" y="3478308"/>
                  <a:pt x="10994140" y="3497652"/>
                  <a:pt x="10942553" y="3510547"/>
                </a:cubicBezTo>
                <a:cubicBezTo>
                  <a:pt x="10845828" y="3536339"/>
                  <a:pt x="10750177" y="3580399"/>
                  <a:pt x="10659900" y="3625537"/>
                </a:cubicBezTo>
                <a:cubicBezTo>
                  <a:pt x="10455702" y="3722252"/>
                  <a:pt x="10256877" y="3817897"/>
                  <a:pt x="10058053" y="3908169"/>
                </a:cubicBezTo>
                <a:cubicBezTo>
                  <a:pt x="9852780" y="4003812"/>
                  <a:pt x="9653955" y="4100532"/>
                  <a:pt x="9448682" y="4196035"/>
                </a:cubicBezTo>
                <a:cubicBezTo>
                  <a:pt x="9346583" y="4246544"/>
                  <a:pt x="9249858" y="4291679"/>
                  <a:pt x="9147758" y="4336814"/>
                </a:cubicBezTo>
                <a:cubicBezTo>
                  <a:pt x="9109068" y="4362606"/>
                  <a:pt x="9063930" y="4369054"/>
                  <a:pt x="9025240" y="4393771"/>
                </a:cubicBezTo>
                <a:cubicBezTo>
                  <a:pt x="9005894" y="4406667"/>
                  <a:pt x="8986549" y="4426011"/>
                  <a:pt x="8968279" y="4426011"/>
                </a:cubicBezTo>
                <a:cubicBezTo>
                  <a:pt x="8954308" y="4426011"/>
                  <a:pt x="8941411" y="4432458"/>
                  <a:pt x="8941411" y="4458250"/>
                </a:cubicBezTo>
                <a:cubicBezTo>
                  <a:pt x="9044585" y="4432458"/>
                  <a:pt x="9141310" y="4381950"/>
                  <a:pt x="9243409" y="4426011"/>
                </a:cubicBezTo>
                <a:cubicBezTo>
                  <a:pt x="9243409" y="4375502"/>
                  <a:pt x="9204719" y="4406667"/>
                  <a:pt x="9185374" y="4381950"/>
                </a:cubicBezTo>
                <a:cubicBezTo>
                  <a:pt x="9217616" y="4330366"/>
                  <a:pt x="9269203" y="4356158"/>
                  <a:pt x="9307893" y="4317471"/>
                </a:cubicBezTo>
                <a:cubicBezTo>
                  <a:pt x="9340135" y="4272335"/>
                  <a:pt x="9390647" y="4291679"/>
                  <a:pt x="9435785" y="4291679"/>
                </a:cubicBezTo>
                <a:cubicBezTo>
                  <a:pt x="9429337" y="4291679"/>
                  <a:pt x="9422889" y="4298127"/>
                  <a:pt x="9422889" y="4304575"/>
                </a:cubicBezTo>
                <a:cubicBezTo>
                  <a:pt x="9442234" y="4330366"/>
                  <a:pt x="9468027" y="4298127"/>
                  <a:pt x="9487372" y="4291679"/>
                </a:cubicBezTo>
                <a:cubicBezTo>
                  <a:pt x="9519614" y="4285231"/>
                  <a:pt x="9551856" y="4278783"/>
                  <a:pt x="9584098" y="4272335"/>
                </a:cubicBezTo>
                <a:cubicBezTo>
                  <a:pt x="9576575" y="4252991"/>
                  <a:pt x="9571201" y="4233648"/>
                  <a:pt x="9564753" y="4214304"/>
                </a:cubicBezTo>
                <a:cubicBezTo>
                  <a:pt x="9551856" y="4227200"/>
                  <a:pt x="9538959" y="4233648"/>
                  <a:pt x="9526062" y="4246544"/>
                </a:cubicBezTo>
                <a:cubicBezTo>
                  <a:pt x="9526062" y="4214304"/>
                  <a:pt x="9526062" y="4184354"/>
                  <a:pt x="9551856" y="4184354"/>
                </a:cubicBezTo>
                <a:cubicBezTo>
                  <a:pt x="9576575" y="4177906"/>
                  <a:pt x="9602368" y="4196035"/>
                  <a:pt x="9628162" y="4177906"/>
                </a:cubicBezTo>
                <a:cubicBezTo>
                  <a:pt x="9647507" y="4171458"/>
                  <a:pt x="9666852" y="4145668"/>
                  <a:pt x="9686197" y="4152114"/>
                </a:cubicBezTo>
                <a:cubicBezTo>
                  <a:pt x="9699094" y="4158563"/>
                  <a:pt x="9711990" y="4165011"/>
                  <a:pt x="9705542" y="4189587"/>
                </a:cubicBezTo>
                <a:cubicBezTo>
                  <a:pt x="9705542" y="4184354"/>
                  <a:pt x="9763577" y="4184354"/>
                  <a:pt x="9776474" y="4177906"/>
                </a:cubicBezTo>
                <a:cubicBezTo>
                  <a:pt x="9794744" y="4171458"/>
                  <a:pt x="9859228" y="4177906"/>
                  <a:pt x="9865676" y="4132769"/>
                </a:cubicBezTo>
                <a:cubicBezTo>
                  <a:pt x="9872125" y="4087636"/>
                  <a:pt x="9859228" y="4036052"/>
                  <a:pt x="9904367" y="4036052"/>
                </a:cubicBezTo>
                <a:lnTo>
                  <a:pt x="9930340" y="4033882"/>
                </a:lnTo>
                <a:lnTo>
                  <a:pt x="9952595" y="4032023"/>
                </a:lnTo>
                <a:cubicBezTo>
                  <a:pt x="9966970" y="4026380"/>
                  <a:pt x="9981210" y="4016708"/>
                  <a:pt x="10000017" y="4003812"/>
                </a:cubicBezTo>
                <a:cubicBezTo>
                  <a:pt x="10012914" y="3984469"/>
                  <a:pt x="10096743" y="3914616"/>
                  <a:pt x="10103191" y="3990915"/>
                </a:cubicBezTo>
                <a:cubicBezTo>
                  <a:pt x="10109639" y="4048948"/>
                  <a:pt x="10148330" y="4016708"/>
                  <a:pt x="10174123" y="4003812"/>
                </a:cubicBezTo>
                <a:cubicBezTo>
                  <a:pt x="10269774" y="3959751"/>
                  <a:pt x="10366499" y="3914616"/>
                  <a:pt x="10462150" y="3895275"/>
                </a:cubicBezTo>
                <a:cubicBezTo>
                  <a:pt x="10417011" y="3990915"/>
                  <a:pt x="10347154" y="3953304"/>
                  <a:pt x="10289119" y="3998439"/>
                </a:cubicBezTo>
                <a:cubicBezTo>
                  <a:pt x="10263325" y="4016708"/>
                  <a:pt x="10263325" y="4068293"/>
                  <a:pt x="10224635" y="4068293"/>
                </a:cubicBezTo>
                <a:cubicBezTo>
                  <a:pt x="10199917" y="4068293"/>
                  <a:pt x="10167675" y="4042499"/>
                  <a:pt x="10148330" y="4074739"/>
                </a:cubicBezTo>
                <a:cubicBezTo>
                  <a:pt x="10122536" y="4113427"/>
                  <a:pt x="10109639" y="4132769"/>
                  <a:pt x="10077398" y="4145668"/>
                </a:cubicBezTo>
                <a:cubicBezTo>
                  <a:pt x="10045156" y="4152114"/>
                  <a:pt x="10006466" y="4152114"/>
                  <a:pt x="9975299" y="4165011"/>
                </a:cubicBezTo>
                <a:cubicBezTo>
                  <a:pt x="9949505" y="4177906"/>
                  <a:pt x="9930160" y="4207856"/>
                  <a:pt x="9904367" y="4207856"/>
                </a:cubicBezTo>
                <a:cubicBezTo>
                  <a:pt x="9901143" y="4211080"/>
                  <a:pt x="9888246" y="4212692"/>
                  <a:pt x="9876156" y="4212020"/>
                </a:cubicBezTo>
                <a:lnTo>
                  <a:pt x="9865805" y="4207797"/>
                </a:lnTo>
                <a:lnTo>
                  <a:pt x="9866316" y="4208037"/>
                </a:lnTo>
                <a:cubicBezTo>
                  <a:pt x="9868561" y="4212046"/>
                  <a:pt x="9868561" y="4220065"/>
                  <a:pt x="9865567" y="4226700"/>
                </a:cubicBezTo>
                <a:lnTo>
                  <a:pt x="9864944" y="4225750"/>
                </a:lnTo>
                <a:lnTo>
                  <a:pt x="9865676" y="4227200"/>
                </a:lnTo>
                <a:cubicBezTo>
                  <a:pt x="9839883" y="4233648"/>
                  <a:pt x="9820538" y="4246544"/>
                  <a:pt x="9794744" y="4246544"/>
                </a:cubicBezTo>
                <a:cubicBezTo>
                  <a:pt x="9781848" y="4246544"/>
                  <a:pt x="9794744" y="4278783"/>
                  <a:pt x="9781848" y="4278783"/>
                </a:cubicBezTo>
                <a:cubicBezTo>
                  <a:pt x="9737784" y="4291679"/>
                  <a:pt x="9699094" y="4317471"/>
                  <a:pt x="9653955" y="4330366"/>
                </a:cubicBezTo>
                <a:cubicBezTo>
                  <a:pt x="9571201" y="4369054"/>
                  <a:pt x="9480924" y="4393771"/>
                  <a:pt x="9397095" y="4413115"/>
                </a:cubicBezTo>
                <a:cubicBezTo>
                  <a:pt x="9403544" y="4419563"/>
                  <a:pt x="9409992" y="4432458"/>
                  <a:pt x="9416440" y="4445354"/>
                </a:cubicBezTo>
                <a:cubicBezTo>
                  <a:pt x="9390647" y="4451802"/>
                  <a:pt x="9371302" y="4432458"/>
                  <a:pt x="9353031" y="4445354"/>
                </a:cubicBezTo>
                <a:cubicBezTo>
                  <a:pt x="9333686" y="4464698"/>
                  <a:pt x="9314341" y="4484042"/>
                  <a:pt x="9294996" y="4496938"/>
                </a:cubicBezTo>
                <a:cubicBezTo>
                  <a:pt x="9256306" y="4522729"/>
                  <a:pt x="9211167" y="4542073"/>
                  <a:pt x="9173552" y="4561417"/>
                </a:cubicBezTo>
                <a:cubicBezTo>
                  <a:pt x="9089723" y="4611925"/>
                  <a:pt x="8999446" y="4663509"/>
                  <a:pt x="8916692" y="4708644"/>
                </a:cubicBezTo>
                <a:cubicBezTo>
                  <a:pt x="8736138" y="4804288"/>
                  <a:pt x="8563107" y="4894559"/>
                  <a:pt x="8390076" y="4990203"/>
                </a:cubicBezTo>
                <a:cubicBezTo>
                  <a:pt x="8307322" y="5035338"/>
                  <a:pt x="8217044" y="5086922"/>
                  <a:pt x="8133216" y="5132057"/>
                </a:cubicBezTo>
                <a:cubicBezTo>
                  <a:pt x="8095600" y="5157849"/>
                  <a:pt x="8050462" y="5177193"/>
                  <a:pt x="8011772" y="5195462"/>
                </a:cubicBezTo>
                <a:cubicBezTo>
                  <a:pt x="7992426" y="5202984"/>
                  <a:pt x="7916121" y="5227701"/>
                  <a:pt x="7909672" y="5259941"/>
                </a:cubicBezTo>
                <a:cubicBezTo>
                  <a:pt x="7903224" y="5285733"/>
                  <a:pt x="7960184" y="5292180"/>
                  <a:pt x="7966633" y="5292180"/>
                </a:cubicBezTo>
                <a:cubicBezTo>
                  <a:pt x="7979530" y="5298628"/>
                  <a:pt x="7979530" y="5317972"/>
                  <a:pt x="7979530" y="5337316"/>
                </a:cubicBezTo>
                <a:cubicBezTo>
                  <a:pt x="7979530" y="5356660"/>
                  <a:pt x="7985978" y="5369555"/>
                  <a:pt x="7992426" y="5388899"/>
                </a:cubicBezTo>
                <a:cubicBezTo>
                  <a:pt x="8011772" y="5439408"/>
                  <a:pt x="7960184" y="5471647"/>
                  <a:pt x="7934391" y="5478095"/>
                </a:cubicBezTo>
                <a:cubicBezTo>
                  <a:pt x="7927943" y="5484543"/>
                  <a:pt x="7851637" y="5523231"/>
                  <a:pt x="7864534" y="5542574"/>
                </a:cubicBezTo>
                <a:cubicBezTo>
                  <a:pt x="7870982" y="5555470"/>
                  <a:pt x="7903224" y="5523231"/>
                  <a:pt x="7909672" y="5516783"/>
                </a:cubicBezTo>
                <a:cubicBezTo>
                  <a:pt x="7927943" y="5503887"/>
                  <a:pt x="7953736" y="5503887"/>
                  <a:pt x="7973082" y="5490991"/>
                </a:cubicBezTo>
                <a:cubicBezTo>
                  <a:pt x="7992426" y="5478095"/>
                  <a:pt x="8011772" y="5465199"/>
                  <a:pt x="8031116" y="5452304"/>
                </a:cubicBezTo>
                <a:cubicBezTo>
                  <a:pt x="8044014" y="5445856"/>
                  <a:pt x="8056910" y="5414691"/>
                  <a:pt x="8069807" y="5414691"/>
                </a:cubicBezTo>
                <a:cubicBezTo>
                  <a:pt x="8076255" y="5414691"/>
                  <a:pt x="8082704" y="5426512"/>
                  <a:pt x="8089152" y="5420064"/>
                </a:cubicBezTo>
                <a:cubicBezTo>
                  <a:pt x="8102048" y="5420064"/>
                  <a:pt x="8108497" y="5400720"/>
                  <a:pt x="8121394" y="5388899"/>
                </a:cubicBezTo>
                <a:cubicBezTo>
                  <a:pt x="8139664" y="5376003"/>
                  <a:pt x="8159009" y="5382451"/>
                  <a:pt x="8184802" y="5382451"/>
                </a:cubicBezTo>
                <a:cubicBezTo>
                  <a:pt x="8223493" y="5376003"/>
                  <a:pt x="8262183" y="5350212"/>
                  <a:pt x="8281528" y="5285733"/>
                </a:cubicBezTo>
                <a:cubicBezTo>
                  <a:pt x="8253317" y="5291374"/>
                  <a:pt x="8210295" y="5341447"/>
                  <a:pt x="8182700" y="5319320"/>
                </a:cubicBezTo>
                <a:lnTo>
                  <a:pt x="8173922" y="5307736"/>
                </a:lnTo>
                <a:lnTo>
                  <a:pt x="8174231" y="5310551"/>
                </a:lnTo>
                <a:cubicBezTo>
                  <a:pt x="8174979" y="5312257"/>
                  <a:pt x="8176476" y="5313964"/>
                  <a:pt x="8179469" y="5317376"/>
                </a:cubicBezTo>
                <a:cubicBezTo>
                  <a:pt x="8173482" y="5324201"/>
                  <a:pt x="8168991" y="5324201"/>
                  <a:pt x="8167495" y="5320789"/>
                </a:cubicBezTo>
                <a:lnTo>
                  <a:pt x="8172660" y="5306070"/>
                </a:lnTo>
                <a:lnTo>
                  <a:pt x="8171906" y="5305076"/>
                </a:lnTo>
                <a:cubicBezTo>
                  <a:pt x="8223493" y="5259941"/>
                  <a:pt x="8268632" y="5209432"/>
                  <a:pt x="8320218" y="5157849"/>
                </a:cubicBezTo>
                <a:cubicBezTo>
                  <a:pt x="8333115" y="5138505"/>
                  <a:pt x="8377179" y="5074026"/>
                  <a:pt x="8396524" y="5119161"/>
                </a:cubicBezTo>
                <a:lnTo>
                  <a:pt x="8398315" y="5105641"/>
                </a:lnTo>
                <a:lnTo>
                  <a:pt x="8397856" y="5102556"/>
                </a:lnTo>
                <a:cubicBezTo>
                  <a:pt x="8397446" y="5098944"/>
                  <a:pt x="8397240" y="5095532"/>
                  <a:pt x="8397548" y="5093425"/>
                </a:cubicBezTo>
                <a:lnTo>
                  <a:pt x="8398918" y="5092780"/>
                </a:lnTo>
                <a:lnTo>
                  <a:pt x="8409421" y="5074026"/>
                </a:lnTo>
                <a:cubicBezTo>
                  <a:pt x="8415869" y="5061130"/>
                  <a:pt x="8428766" y="5048234"/>
                  <a:pt x="8441663" y="5041786"/>
                </a:cubicBezTo>
                <a:cubicBezTo>
                  <a:pt x="8467456" y="5015995"/>
                  <a:pt x="8499698" y="4997726"/>
                  <a:pt x="8530865" y="4984830"/>
                </a:cubicBezTo>
                <a:cubicBezTo>
                  <a:pt x="8530865" y="5004174"/>
                  <a:pt x="8530865" y="5022443"/>
                  <a:pt x="8530865" y="5041786"/>
                </a:cubicBezTo>
                <a:cubicBezTo>
                  <a:pt x="8512595" y="5041786"/>
                  <a:pt x="8486801" y="5041786"/>
                  <a:pt x="8486801" y="5074026"/>
                </a:cubicBezTo>
                <a:cubicBezTo>
                  <a:pt x="8506146" y="5074026"/>
                  <a:pt x="8525491" y="5074026"/>
                  <a:pt x="8543762" y="5074026"/>
                </a:cubicBezTo>
                <a:cubicBezTo>
                  <a:pt x="8550210" y="5048234"/>
                  <a:pt x="8557733" y="5022443"/>
                  <a:pt x="8563107" y="4997726"/>
                </a:cubicBezTo>
                <a:cubicBezTo>
                  <a:pt x="8569555" y="5009547"/>
                  <a:pt x="8582452" y="5028891"/>
                  <a:pt x="8595349" y="5041786"/>
                </a:cubicBezTo>
                <a:cubicBezTo>
                  <a:pt x="8614694" y="4997726"/>
                  <a:pt x="8646935" y="4971934"/>
                  <a:pt x="8679177" y="4952590"/>
                </a:cubicBezTo>
                <a:cubicBezTo>
                  <a:pt x="8679177" y="4978382"/>
                  <a:pt x="8672729" y="5015995"/>
                  <a:pt x="8685626" y="5041786"/>
                </a:cubicBezTo>
                <a:cubicBezTo>
                  <a:pt x="8685626" y="5054682"/>
                  <a:pt x="8698522" y="5041786"/>
                  <a:pt x="8698522" y="5028891"/>
                </a:cubicBezTo>
                <a:cubicBezTo>
                  <a:pt x="8704971" y="5009547"/>
                  <a:pt x="8698522" y="4984830"/>
                  <a:pt x="8698522" y="4965486"/>
                </a:cubicBezTo>
                <a:cubicBezTo>
                  <a:pt x="8692074" y="4901007"/>
                  <a:pt x="8711419" y="4875215"/>
                  <a:pt x="8749035" y="4868767"/>
                </a:cubicBezTo>
                <a:cubicBezTo>
                  <a:pt x="8787725" y="4855872"/>
                  <a:pt x="8832863" y="4830080"/>
                  <a:pt x="8871553" y="4868767"/>
                </a:cubicBezTo>
                <a:cubicBezTo>
                  <a:pt x="8852208" y="4881663"/>
                  <a:pt x="8826415" y="4888111"/>
                  <a:pt x="8813518" y="4907455"/>
                </a:cubicBezTo>
                <a:cubicBezTo>
                  <a:pt x="8865105" y="4907455"/>
                  <a:pt x="8910244" y="4868767"/>
                  <a:pt x="8960756" y="4888111"/>
                </a:cubicBezTo>
                <a:cubicBezTo>
                  <a:pt x="8960756" y="4868767"/>
                  <a:pt x="8973653" y="4817184"/>
                  <a:pt x="8960756" y="4798915"/>
                </a:cubicBezTo>
                <a:cubicBezTo>
                  <a:pt x="8948934" y="4792467"/>
                  <a:pt x="8936037" y="4804288"/>
                  <a:pt x="8929589" y="4792467"/>
                </a:cubicBezTo>
                <a:cubicBezTo>
                  <a:pt x="8916692" y="4773123"/>
                  <a:pt x="8941411" y="4753780"/>
                  <a:pt x="8948934" y="4747332"/>
                </a:cubicBezTo>
                <a:cubicBezTo>
                  <a:pt x="8980101" y="4727988"/>
                  <a:pt x="9031688" y="4715092"/>
                  <a:pt x="9063930" y="4734436"/>
                </a:cubicBezTo>
                <a:cubicBezTo>
                  <a:pt x="9044585" y="4786019"/>
                  <a:pt x="9057481" y="4842976"/>
                  <a:pt x="9076826" y="4888111"/>
                </a:cubicBezTo>
                <a:cubicBezTo>
                  <a:pt x="9018791" y="4907455"/>
                  <a:pt x="8960756" y="4926799"/>
                  <a:pt x="8903795" y="4959038"/>
                </a:cubicBezTo>
                <a:cubicBezTo>
                  <a:pt x="8878002" y="4971934"/>
                  <a:pt x="8858657" y="4984830"/>
                  <a:pt x="8832863" y="5004174"/>
                </a:cubicBezTo>
                <a:cubicBezTo>
                  <a:pt x="8819967" y="5015995"/>
                  <a:pt x="8800621" y="5035338"/>
                  <a:pt x="8781276" y="5035338"/>
                </a:cubicBezTo>
                <a:lnTo>
                  <a:pt x="8773438" y="5035965"/>
                </a:lnTo>
                <a:lnTo>
                  <a:pt x="8781360" y="5042472"/>
                </a:lnTo>
                <a:cubicBezTo>
                  <a:pt x="8778200" y="5045884"/>
                  <a:pt x="8775040" y="5049297"/>
                  <a:pt x="8772012" y="5050150"/>
                </a:cubicBezTo>
                <a:lnTo>
                  <a:pt x="8767963" y="5049272"/>
                </a:lnTo>
                <a:lnTo>
                  <a:pt x="8770472" y="5059093"/>
                </a:lnTo>
                <a:cubicBezTo>
                  <a:pt x="8770472" y="5063909"/>
                  <a:pt x="8769105" y="5068725"/>
                  <a:pt x="8766370" y="5075146"/>
                </a:cubicBezTo>
                <a:cubicBezTo>
                  <a:pt x="8766370" y="5068725"/>
                  <a:pt x="8758714" y="5062304"/>
                  <a:pt x="8758714" y="5055883"/>
                </a:cubicBezTo>
                <a:cubicBezTo>
                  <a:pt x="8758714" y="5055883"/>
                  <a:pt x="8760628" y="5054277"/>
                  <a:pt x="8762542" y="5051869"/>
                </a:cubicBezTo>
                <a:lnTo>
                  <a:pt x="8765308" y="5045489"/>
                </a:lnTo>
                <a:lnTo>
                  <a:pt x="8763453" y="5042472"/>
                </a:lnTo>
                <a:lnTo>
                  <a:pt x="8767145" y="5036469"/>
                </a:lnTo>
                <a:lnTo>
                  <a:pt x="8761126" y="5036950"/>
                </a:lnTo>
                <a:cubicBezTo>
                  <a:pt x="8753871" y="5036950"/>
                  <a:pt x="8745811" y="5038562"/>
                  <a:pt x="8736138" y="5048234"/>
                </a:cubicBezTo>
                <a:cubicBezTo>
                  <a:pt x="8730764" y="5061130"/>
                  <a:pt x="8724316" y="5086922"/>
                  <a:pt x="8736138" y="5093370"/>
                </a:cubicBezTo>
                <a:cubicBezTo>
                  <a:pt x="8755483" y="5106266"/>
                  <a:pt x="8781276" y="5080474"/>
                  <a:pt x="8794173" y="5074026"/>
                </a:cubicBezTo>
                <a:cubicBezTo>
                  <a:pt x="8813518" y="5054682"/>
                  <a:pt x="8832863" y="5054682"/>
                  <a:pt x="8852208" y="5054682"/>
                </a:cubicBezTo>
                <a:cubicBezTo>
                  <a:pt x="8878002" y="5054682"/>
                  <a:pt x="8903795" y="5054682"/>
                  <a:pt x="8923140" y="5028891"/>
                </a:cubicBezTo>
                <a:cubicBezTo>
                  <a:pt x="8941411" y="5009547"/>
                  <a:pt x="8954308" y="4990203"/>
                  <a:pt x="8980101" y="4990203"/>
                </a:cubicBezTo>
                <a:cubicBezTo>
                  <a:pt x="9018791" y="4990203"/>
                  <a:pt x="9044585" y="4939694"/>
                  <a:pt x="9089723" y="4933247"/>
                </a:cubicBezTo>
                <a:cubicBezTo>
                  <a:pt x="9102620" y="4926799"/>
                  <a:pt x="9128413" y="4926799"/>
                  <a:pt x="9134862" y="4894559"/>
                </a:cubicBezTo>
                <a:cubicBezTo>
                  <a:pt x="9134862" y="4868767"/>
                  <a:pt x="9128413" y="4849424"/>
                  <a:pt x="9128413" y="4823632"/>
                </a:cubicBezTo>
                <a:cubicBezTo>
                  <a:pt x="9134862" y="4798915"/>
                  <a:pt x="9154207" y="4804288"/>
                  <a:pt x="9166029" y="4792467"/>
                </a:cubicBezTo>
                <a:cubicBezTo>
                  <a:pt x="9178926" y="4779571"/>
                  <a:pt x="9173552" y="4753780"/>
                  <a:pt x="9178926" y="4734436"/>
                </a:cubicBezTo>
                <a:cubicBezTo>
                  <a:pt x="9191822" y="4766675"/>
                  <a:pt x="9224064" y="4817184"/>
                  <a:pt x="9198271" y="4855872"/>
                </a:cubicBezTo>
                <a:cubicBezTo>
                  <a:pt x="9217616" y="4894559"/>
                  <a:pt x="9269203" y="4836528"/>
                  <a:pt x="9288548" y="4823632"/>
                </a:cubicBezTo>
                <a:cubicBezTo>
                  <a:pt x="9340135" y="4786019"/>
                  <a:pt x="9390647" y="4773123"/>
                  <a:pt x="9448682" y="4753780"/>
                </a:cubicBezTo>
                <a:cubicBezTo>
                  <a:pt x="9500269" y="4727988"/>
                  <a:pt x="9545408" y="4695748"/>
                  <a:pt x="9589471" y="4650613"/>
                </a:cubicBezTo>
                <a:cubicBezTo>
                  <a:pt x="9628162" y="4611925"/>
                  <a:pt x="9679748" y="4611925"/>
                  <a:pt x="9718439" y="4605477"/>
                </a:cubicBezTo>
                <a:cubicBezTo>
                  <a:pt x="9750680" y="4605477"/>
                  <a:pt x="9846331" y="4611925"/>
                  <a:pt x="9852780" y="4548521"/>
                </a:cubicBezTo>
                <a:cubicBezTo>
                  <a:pt x="9859228" y="4516281"/>
                  <a:pt x="9839883" y="4509833"/>
                  <a:pt x="9833435" y="4484042"/>
                </a:cubicBezTo>
                <a:cubicBezTo>
                  <a:pt x="9820538" y="4464698"/>
                  <a:pt x="9826986" y="4426011"/>
                  <a:pt x="9826986" y="4400219"/>
                </a:cubicBezTo>
                <a:cubicBezTo>
                  <a:pt x="9826986" y="4369054"/>
                  <a:pt x="9820538" y="4336814"/>
                  <a:pt x="9846331" y="4330366"/>
                </a:cubicBezTo>
                <a:cubicBezTo>
                  <a:pt x="9865676" y="4330366"/>
                  <a:pt x="9885021" y="4336814"/>
                  <a:pt x="9910815" y="4330366"/>
                </a:cubicBezTo>
                <a:cubicBezTo>
                  <a:pt x="9955953" y="4317471"/>
                  <a:pt x="9994644" y="4278783"/>
                  <a:pt x="10038707" y="4246544"/>
                </a:cubicBezTo>
                <a:cubicBezTo>
                  <a:pt x="10038707" y="4291679"/>
                  <a:pt x="10058053" y="4356158"/>
                  <a:pt x="10025811" y="4381950"/>
                </a:cubicBezTo>
                <a:cubicBezTo>
                  <a:pt x="10006466" y="4393771"/>
                  <a:pt x="9981747" y="4388398"/>
                  <a:pt x="9962402" y="4393771"/>
                </a:cubicBezTo>
                <a:cubicBezTo>
                  <a:pt x="9949505" y="4400219"/>
                  <a:pt x="9949505" y="4419563"/>
                  <a:pt x="9943057" y="4438906"/>
                </a:cubicBezTo>
                <a:cubicBezTo>
                  <a:pt x="9936608" y="4464698"/>
                  <a:pt x="9930160" y="4451802"/>
                  <a:pt x="9917263" y="4451802"/>
                </a:cubicBezTo>
                <a:cubicBezTo>
                  <a:pt x="9885021" y="4458250"/>
                  <a:pt x="9904367" y="4522729"/>
                  <a:pt x="9904367" y="4548521"/>
                </a:cubicBezTo>
                <a:cubicBezTo>
                  <a:pt x="10096743" y="4464698"/>
                  <a:pt x="10295567" y="4381950"/>
                  <a:pt x="10487943" y="4298127"/>
                </a:cubicBezTo>
                <a:cubicBezTo>
                  <a:pt x="10583594" y="4259439"/>
                  <a:pt x="10679245" y="4214304"/>
                  <a:pt x="10775970" y="4189587"/>
                </a:cubicBezTo>
                <a:cubicBezTo>
                  <a:pt x="10820034" y="4184354"/>
                  <a:pt x="10858724" y="4152114"/>
                  <a:pt x="10903863" y="4139219"/>
                </a:cubicBezTo>
                <a:cubicBezTo>
                  <a:pt x="10949002" y="4126322"/>
                  <a:pt x="10987692" y="4113427"/>
                  <a:pt x="11031756" y="4100532"/>
                </a:cubicBezTo>
                <a:cubicBezTo>
                  <a:pt x="10929656" y="4152114"/>
                  <a:pt x="10832931" y="4214304"/>
                  <a:pt x="10730832" y="4265887"/>
                </a:cubicBezTo>
                <a:cubicBezTo>
                  <a:pt x="10634106" y="4317471"/>
                  <a:pt x="10532007" y="4343262"/>
                  <a:pt x="10436357" y="4381950"/>
                </a:cubicBezTo>
                <a:cubicBezTo>
                  <a:pt x="10385844" y="4400219"/>
                  <a:pt x="10334257" y="4432458"/>
                  <a:pt x="10282671" y="4458250"/>
                </a:cubicBezTo>
                <a:cubicBezTo>
                  <a:pt x="10237532" y="4477594"/>
                  <a:pt x="10192393" y="4484042"/>
                  <a:pt x="10148330" y="4490490"/>
                </a:cubicBezTo>
                <a:cubicBezTo>
                  <a:pt x="10045156" y="4496938"/>
                  <a:pt x="9949505" y="4554969"/>
                  <a:pt x="9852780" y="4618373"/>
                </a:cubicBezTo>
                <a:cubicBezTo>
                  <a:pt x="9801193" y="4650613"/>
                  <a:pt x="9757129" y="4682852"/>
                  <a:pt x="9705542" y="4715092"/>
                </a:cubicBezTo>
                <a:cubicBezTo>
                  <a:pt x="9660403" y="4740884"/>
                  <a:pt x="9615265" y="4766675"/>
                  <a:pt x="9571201" y="4798915"/>
                </a:cubicBezTo>
                <a:cubicBezTo>
                  <a:pt x="9526062" y="4836528"/>
                  <a:pt x="9474476" y="4823632"/>
                  <a:pt x="9429337" y="4830080"/>
                </a:cubicBezTo>
                <a:cubicBezTo>
                  <a:pt x="9378825" y="4842976"/>
                  <a:pt x="9333686" y="4868767"/>
                  <a:pt x="9288548" y="4888111"/>
                </a:cubicBezTo>
                <a:cubicBezTo>
                  <a:pt x="9185374" y="4939694"/>
                  <a:pt x="9089723" y="5009547"/>
                  <a:pt x="8992998" y="5061130"/>
                </a:cubicBezTo>
                <a:cubicBezTo>
                  <a:pt x="8936037" y="5086922"/>
                  <a:pt x="8884450" y="5112713"/>
                  <a:pt x="8832863" y="5144953"/>
                </a:cubicBezTo>
                <a:cubicBezTo>
                  <a:pt x="8787725" y="5164297"/>
                  <a:pt x="8743661" y="5195462"/>
                  <a:pt x="8698522" y="5195462"/>
                </a:cubicBezTo>
                <a:cubicBezTo>
                  <a:pt x="8704971" y="5227701"/>
                  <a:pt x="8730764" y="5285733"/>
                  <a:pt x="8711419" y="5324420"/>
                </a:cubicBezTo>
                <a:cubicBezTo>
                  <a:pt x="8698522" y="5343764"/>
                  <a:pt x="8672729" y="5337316"/>
                  <a:pt x="8653384" y="5343764"/>
                </a:cubicBezTo>
                <a:cubicBezTo>
                  <a:pt x="8627590" y="5356660"/>
                  <a:pt x="8595349" y="5369555"/>
                  <a:pt x="8569555" y="5388899"/>
                </a:cubicBezTo>
                <a:cubicBezTo>
                  <a:pt x="8550210" y="5408243"/>
                  <a:pt x="8530865" y="5432960"/>
                  <a:pt x="8506146" y="5445856"/>
                </a:cubicBezTo>
                <a:cubicBezTo>
                  <a:pt x="8441663" y="5478095"/>
                  <a:pt x="8377179" y="5503887"/>
                  <a:pt x="8313770" y="5549022"/>
                </a:cubicBezTo>
                <a:cubicBezTo>
                  <a:pt x="8255734" y="5587710"/>
                  <a:pt x="8197700" y="5638219"/>
                  <a:pt x="8139664" y="5683354"/>
                </a:cubicBezTo>
                <a:cubicBezTo>
                  <a:pt x="8229942" y="5709146"/>
                  <a:pt x="8313770" y="5651114"/>
                  <a:pt x="8396524" y="5605979"/>
                </a:cubicBezTo>
                <a:cubicBezTo>
                  <a:pt x="8415869" y="5594158"/>
                  <a:pt x="8461008" y="5594158"/>
                  <a:pt x="8467456" y="5549022"/>
                </a:cubicBezTo>
                <a:cubicBezTo>
                  <a:pt x="8473904" y="5503887"/>
                  <a:pt x="8473904" y="5471647"/>
                  <a:pt x="8506146" y="5484543"/>
                </a:cubicBezTo>
                <a:cubicBezTo>
                  <a:pt x="8499698" y="5490991"/>
                  <a:pt x="8493249" y="5503887"/>
                  <a:pt x="8486801" y="5516783"/>
                </a:cubicBezTo>
                <a:cubicBezTo>
                  <a:pt x="8506146" y="5510335"/>
                  <a:pt x="8525491" y="5510335"/>
                  <a:pt x="8538388" y="5510335"/>
                </a:cubicBezTo>
                <a:cubicBezTo>
                  <a:pt x="8525491" y="5452304"/>
                  <a:pt x="8557733" y="5432960"/>
                  <a:pt x="8582452" y="5458752"/>
                </a:cubicBezTo>
                <a:cubicBezTo>
                  <a:pt x="8582452" y="5458752"/>
                  <a:pt x="8576003" y="5465199"/>
                  <a:pt x="8576003" y="5471647"/>
                </a:cubicBezTo>
                <a:cubicBezTo>
                  <a:pt x="8576003" y="5478095"/>
                  <a:pt x="8582452" y="5484543"/>
                  <a:pt x="8582452" y="5490991"/>
                </a:cubicBezTo>
                <a:cubicBezTo>
                  <a:pt x="8601797" y="5426512"/>
                  <a:pt x="8659832" y="5432960"/>
                  <a:pt x="8692074" y="5426512"/>
                </a:cubicBezTo>
                <a:cubicBezTo>
                  <a:pt x="8749035" y="5400720"/>
                  <a:pt x="8807070" y="5369555"/>
                  <a:pt x="8865105" y="5343764"/>
                </a:cubicBezTo>
                <a:cubicBezTo>
                  <a:pt x="8973653" y="5292180"/>
                  <a:pt x="9083275" y="5221253"/>
                  <a:pt x="9191822" y="5170745"/>
                </a:cubicBezTo>
                <a:cubicBezTo>
                  <a:pt x="9307893" y="5119161"/>
                  <a:pt x="9422889" y="5061130"/>
                  <a:pt x="9538959" y="4990203"/>
                </a:cubicBezTo>
                <a:cubicBezTo>
                  <a:pt x="9589471" y="4965486"/>
                  <a:pt x="9634610" y="4907455"/>
                  <a:pt x="9686197" y="4894559"/>
                </a:cubicBezTo>
                <a:cubicBezTo>
                  <a:pt x="9705542" y="4888111"/>
                  <a:pt x="9724887" y="4894559"/>
                  <a:pt x="9744232" y="4894559"/>
                </a:cubicBezTo>
                <a:cubicBezTo>
                  <a:pt x="9757129" y="4888111"/>
                  <a:pt x="9750680" y="4836528"/>
                  <a:pt x="9750680" y="4823632"/>
                </a:cubicBezTo>
                <a:cubicBezTo>
                  <a:pt x="9666852" y="4862319"/>
                  <a:pt x="9584098" y="4913903"/>
                  <a:pt x="9500269" y="4946142"/>
                </a:cubicBezTo>
                <a:cubicBezTo>
                  <a:pt x="9461579" y="4965486"/>
                  <a:pt x="9429337" y="4978382"/>
                  <a:pt x="9390647" y="4997726"/>
                </a:cubicBezTo>
                <a:cubicBezTo>
                  <a:pt x="9359480" y="5009547"/>
                  <a:pt x="9364853" y="5048234"/>
                  <a:pt x="9346583" y="5067578"/>
                </a:cubicBezTo>
                <a:cubicBezTo>
                  <a:pt x="9327238" y="5086922"/>
                  <a:pt x="9301444" y="5080474"/>
                  <a:pt x="9275651" y="5080474"/>
                </a:cubicBezTo>
                <a:cubicBezTo>
                  <a:pt x="9230512" y="5080474"/>
                  <a:pt x="9191822" y="5106266"/>
                  <a:pt x="9147758" y="5125609"/>
                </a:cubicBezTo>
                <a:cubicBezTo>
                  <a:pt x="9070378" y="5164297"/>
                  <a:pt x="8992998" y="5209432"/>
                  <a:pt x="8916692" y="5195462"/>
                </a:cubicBezTo>
                <a:cubicBezTo>
                  <a:pt x="8929589" y="5144953"/>
                  <a:pt x="8980101" y="5132057"/>
                  <a:pt x="9005894" y="5119161"/>
                </a:cubicBezTo>
                <a:cubicBezTo>
                  <a:pt x="9051033" y="5099818"/>
                  <a:pt x="9096172" y="5067578"/>
                  <a:pt x="9134862" y="5041786"/>
                </a:cubicBezTo>
                <a:cubicBezTo>
                  <a:pt x="9243409" y="4978382"/>
                  <a:pt x="9359480" y="4926799"/>
                  <a:pt x="9468027" y="4875215"/>
                </a:cubicBezTo>
                <a:cubicBezTo>
                  <a:pt x="9584098" y="4823632"/>
                  <a:pt x="9692645" y="4773123"/>
                  <a:pt x="9807641" y="4721540"/>
                </a:cubicBezTo>
                <a:cubicBezTo>
                  <a:pt x="9910815" y="4676405"/>
                  <a:pt x="10019362" y="4599030"/>
                  <a:pt x="10128985" y="4580760"/>
                </a:cubicBezTo>
                <a:cubicBezTo>
                  <a:pt x="10128985" y="4663509"/>
                  <a:pt x="10090294" y="4624821"/>
                  <a:pt x="10058053" y="4663509"/>
                </a:cubicBezTo>
                <a:cubicBezTo>
                  <a:pt x="10025811" y="4695748"/>
                  <a:pt x="9987121" y="4702196"/>
                  <a:pt x="9955953" y="4715092"/>
                </a:cubicBezTo>
                <a:cubicBezTo>
                  <a:pt x="9917263" y="4727988"/>
                  <a:pt x="9885021" y="4740884"/>
                  <a:pt x="9852780" y="4760227"/>
                </a:cubicBezTo>
                <a:cubicBezTo>
                  <a:pt x="9833435" y="4766675"/>
                  <a:pt x="9776474" y="4779571"/>
                  <a:pt x="9770026" y="4823632"/>
                </a:cubicBezTo>
                <a:cubicBezTo>
                  <a:pt x="9770026" y="4849424"/>
                  <a:pt x="9763577" y="4888111"/>
                  <a:pt x="9789371" y="4894559"/>
                </a:cubicBezTo>
                <a:cubicBezTo>
                  <a:pt x="9814089" y="4894559"/>
                  <a:pt x="9820538" y="4888111"/>
                  <a:pt x="9826986" y="4849424"/>
                </a:cubicBezTo>
                <a:cubicBezTo>
                  <a:pt x="9826986" y="4817184"/>
                  <a:pt x="9852780" y="4817184"/>
                  <a:pt x="9865676" y="4842976"/>
                </a:cubicBezTo>
                <a:lnTo>
                  <a:pt x="9867618" y="4830031"/>
                </a:lnTo>
                <a:lnTo>
                  <a:pt x="9867175" y="4826849"/>
                </a:lnTo>
                <a:lnTo>
                  <a:pt x="9866965" y="4819327"/>
                </a:lnTo>
                <a:lnTo>
                  <a:pt x="9865676" y="4810736"/>
                </a:lnTo>
                <a:cubicBezTo>
                  <a:pt x="9891470" y="4804288"/>
                  <a:pt x="9930160" y="4823632"/>
                  <a:pt x="9949505" y="4786019"/>
                </a:cubicBezTo>
                <a:cubicBezTo>
                  <a:pt x="9962402" y="4753780"/>
                  <a:pt x="9968850" y="4740884"/>
                  <a:pt x="9994644" y="4760227"/>
                </a:cubicBezTo>
                <a:cubicBezTo>
                  <a:pt x="10045156" y="4798915"/>
                  <a:pt x="9981747" y="4849424"/>
                  <a:pt x="9955953" y="4868767"/>
                </a:cubicBezTo>
                <a:cubicBezTo>
                  <a:pt x="9981747" y="4888111"/>
                  <a:pt x="10000017" y="4901007"/>
                  <a:pt x="10025811" y="4920351"/>
                </a:cubicBezTo>
                <a:cubicBezTo>
                  <a:pt x="9981747" y="4984830"/>
                  <a:pt x="9923712" y="4990203"/>
                  <a:pt x="9865676" y="5015995"/>
                </a:cubicBezTo>
                <a:cubicBezTo>
                  <a:pt x="9801193" y="5054682"/>
                  <a:pt x="9737784" y="5080474"/>
                  <a:pt x="9666852" y="5106266"/>
                </a:cubicBezTo>
                <a:cubicBezTo>
                  <a:pt x="9628162" y="5125609"/>
                  <a:pt x="9589471" y="5138505"/>
                  <a:pt x="9558304" y="5151401"/>
                </a:cubicBezTo>
                <a:cubicBezTo>
                  <a:pt x="9526062" y="5164297"/>
                  <a:pt x="9500269" y="5177193"/>
                  <a:pt x="9474476" y="5157849"/>
                </a:cubicBezTo>
                <a:lnTo>
                  <a:pt x="9472484" y="5156878"/>
                </a:lnTo>
                <a:lnTo>
                  <a:pt x="9476907" y="5170517"/>
                </a:lnTo>
                <a:cubicBezTo>
                  <a:pt x="9475410" y="5174530"/>
                  <a:pt x="9470920" y="5174530"/>
                  <a:pt x="9464932" y="5164898"/>
                </a:cubicBezTo>
                <a:cubicBezTo>
                  <a:pt x="9464932" y="5161687"/>
                  <a:pt x="9466429" y="5158476"/>
                  <a:pt x="9467926" y="5156068"/>
                </a:cubicBezTo>
                <a:lnTo>
                  <a:pt x="9468697" y="5155034"/>
                </a:lnTo>
                <a:lnTo>
                  <a:pt x="9443040" y="5142535"/>
                </a:lnTo>
                <a:cubicBezTo>
                  <a:pt x="9432561" y="5140117"/>
                  <a:pt x="9422889" y="5141729"/>
                  <a:pt x="9416440" y="5151401"/>
                </a:cubicBezTo>
                <a:cubicBezTo>
                  <a:pt x="9403544" y="5157849"/>
                  <a:pt x="9378825" y="5170745"/>
                  <a:pt x="9378825" y="5195462"/>
                </a:cubicBezTo>
                <a:cubicBezTo>
                  <a:pt x="9403544" y="5183641"/>
                  <a:pt x="9442234" y="5138505"/>
                  <a:pt x="9468027" y="5183641"/>
                </a:cubicBezTo>
                <a:cubicBezTo>
                  <a:pt x="9384198" y="5240597"/>
                  <a:pt x="9301444" y="5292180"/>
                  <a:pt x="9211167" y="5343764"/>
                </a:cubicBezTo>
                <a:cubicBezTo>
                  <a:pt x="9173552" y="5363108"/>
                  <a:pt x="9141310" y="5376003"/>
                  <a:pt x="9102620" y="5400720"/>
                </a:cubicBezTo>
                <a:cubicBezTo>
                  <a:pt x="9089723" y="5408243"/>
                  <a:pt x="9070378" y="5420064"/>
                  <a:pt x="9057481" y="5414691"/>
                </a:cubicBezTo>
                <a:cubicBezTo>
                  <a:pt x="9051033" y="5414691"/>
                  <a:pt x="9038136" y="5388899"/>
                  <a:pt x="9025240" y="5395347"/>
                </a:cubicBezTo>
                <a:cubicBezTo>
                  <a:pt x="9025240" y="5396690"/>
                  <a:pt x="9026449" y="5400519"/>
                  <a:pt x="9027860" y="5405607"/>
                </a:cubicBezTo>
                <a:lnTo>
                  <a:pt x="9029904" y="5415120"/>
                </a:lnTo>
                <a:lnTo>
                  <a:pt x="9037858" y="5406503"/>
                </a:lnTo>
                <a:cubicBezTo>
                  <a:pt x="9040852" y="5406503"/>
                  <a:pt x="9043846" y="5409746"/>
                  <a:pt x="9046839" y="5416233"/>
                </a:cubicBezTo>
                <a:lnTo>
                  <a:pt x="9030144" y="5416233"/>
                </a:lnTo>
                <a:lnTo>
                  <a:pt x="9031689" y="5423422"/>
                </a:lnTo>
                <a:cubicBezTo>
                  <a:pt x="9033301" y="5436184"/>
                  <a:pt x="9031688" y="5449080"/>
                  <a:pt x="9018791" y="5452304"/>
                </a:cubicBezTo>
                <a:cubicBezTo>
                  <a:pt x="9005894" y="5452304"/>
                  <a:pt x="8986549" y="5452304"/>
                  <a:pt x="8968279" y="5439408"/>
                </a:cubicBezTo>
                <a:cubicBezTo>
                  <a:pt x="8954308" y="5432960"/>
                  <a:pt x="8941411" y="5426512"/>
                  <a:pt x="8929589" y="5426512"/>
                </a:cubicBezTo>
                <a:cubicBezTo>
                  <a:pt x="8916692" y="5432960"/>
                  <a:pt x="8916692" y="5452304"/>
                  <a:pt x="8903795" y="5458752"/>
                </a:cubicBezTo>
                <a:cubicBezTo>
                  <a:pt x="8890899" y="5471647"/>
                  <a:pt x="8871553" y="5445856"/>
                  <a:pt x="8884450" y="5490991"/>
                </a:cubicBezTo>
                <a:cubicBezTo>
                  <a:pt x="8730764" y="5594158"/>
                  <a:pt x="8582452" y="5715594"/>
                  <a:pt x="8415869" y="5741385"/>
                </a:cubicBezTo>
                <a:cubicBezTo>
                  <a:pt x="8325592" y="5754281"/>
                  <a:pt x="8249286" y="5805864"/>
                  <a:pt x="8171906" y="5856373"/>
                </a:cubicBezTo>
                <a:cubicBezTo>
                  <a:pt x="8089152" y="5907956"/>
                  <a:pt x="8005323" y="5959540"/>
                  <a:pt x="7922569" y="6011123"/>
                </a:cubicBezTo>
                <a:cubicBezTo>
                  <a:pt x="7947288" y="6024019"/>
                  <a:pt x="7979530" y="6042288"/>
                  <a:pt x="8005323" y="6030467"/>
                </a:cubicBezTo>
                <a:cubicBezTo>
                  <a:pt x="8024668" y="6030467"/>
                  <a:pt x="8044014" y="6011123"/>
                  <a:pt x="8056910" y="6042288"/>
                </a:cubicBezTo>
                <a:lnTo>
                  <a:pt x="8058033" y="6038764"/>
                </a:lnTo>
                <a:lnTo>
                  <a:pt x="8054135" y="6026397"/>
                </a:lnTo>
                <a:lnTo>
                  <a:pt x="8057813" y="6014107"/>
                </a:lnTo>
                <a:lnTo>
                  <a:pt x="8056910" y="6011123"/>
                </a:lnTo>
                <a:cubicBezTo>
                  <a:pt x="8108497" y="5959540"/>
                  <a:pt x="8165458" y="5946644"/>
                  <a:pt x="8223493" y="5914404"/>
                </a:cubicBezTo>
                <a:cubicBezTo>
                  <a:pt x="8281528" y="5888613"/>
                  <a:pt x="8333115" y="5849925"/>
                  <a:pt x="8390076" y="5830581"/>
                </a:cubicBezTo>
                <a:cubicBezTo>
                  <a:pt x="8506146" y="5792969"/>
                  <a:pt x="8601797" y="5689802"/>
                  <a:pt x="8711419" y="5638219"/>
                </a:cubicBezTo>
                <a:cubicBezTo>
                  <a:pt x="8743661" y="5625323"/>
                  <a:pt x="8774828" y="5605979"/>
                  <a:pt x="8807070" y="5600606"/>
                </a:cubicBezTo>
                <a:lnTo>
                  <a:pt x="8824041" y="5601471"/>
                </a:lnTo>
                <a:lnTo>
                  <a:pt x="8820327" y="5593734"/>
                </a:lnTo>
                <a:cubicBezTo>
                  <a:pt x="8832302" y="5573893"/>
                  <a:pt x="8826314" y="5587120"/>
                  <a:pt x="8838289" y="5593734"/>
                </a:cubicBezTo>
                <a:lnTo>
                  <a:pt x="8833196" y="5601939"/>
                </a:lnTo>
                <a:lnTo>
                  <a:pt x="8846567" y="5602621"/>
                </a:lnTo>
                <a:cubicBezTo>
                  <a:pt x="8860269" y="5603292"/>
                  <a:pt x="8874778" y="5603292"/>
                  <a:pt x="8890899" y="5600606"/>
                </a:cubicBezTo>
                <a:cubicBezTo>
                  <a:pt x="8948934" y="5581262"/>
                  <a:pt x="9012343" y="5542574"/>
                  <a:pt x="9070378" y="5510335"/>
                </a:cubicBezTo>
                <a:cubicBezTo>
                  <a:pt x="9128413" y="5471647"/>
                  <a:pt x="9185374" y="5432960"/>
                  <a:pt x="9249858" y="5395347"/>
                </a:cubicBezTo>
                <a:cubicBezTo>
                  <a:pt x="9275651" y="5376003"/>
                  <a:pt x="9301444" y="5356660"/>
                  <a:pt x="9327238" y="5343764"/>
                </a:cubicBezTo>
                <a:cubicBezTo>
                  <a:pt x="9353031" y="5330868"/>
                  <a:pt x="9371302" y="5356660"/>
                  <a:pt x="9384198" y="5382451"/>
                </a:cubicBezTo>
                <a:cubicBezTo>
                  <a:pt x="9371302" y="5400720"/>
                  <a:pt x="9359480" y="5426512"/>
                  <a:pt x="9340135" y="5432960"/>
                </a:cubicBezTo>
                <a:cubicBezTo>
                  <a:pt x="9314341" y="5445856"/>
                  <a:pt x="9294996" y="5458752"/>
                  <a:pt x="9269203" y="5471647"/>
                </a:cubicBezTo>
                <a:cubicBezTo>
                  <a:pt x="9217616" y="5497439"/>
                  <a:pt x="9159580" y="5523231"/>
                  <a:pt x="9109068" y="5549022"/>
                </a:cubicBezTo>
                <a:cubicBezTo>
                  <a:pt x="8999446" y="5605979"/>
                  <a:pt x="8897347" y="5657562"/>
                  <a:pt x="8794173" y="5709146"/>
                </a:cubicBezTo>
                <a:cubicBezTo>
                  <a:pt x="8685626" y="5760729"/>
                  <a:pt x="8582452" y="5818760"/>
                  <a:pt x="8473904" y="5869269"/>
                </a:cubicBezTo>
                <a:cubicBezTo>
                  <a:pt x="8422317" y="5901508"/>
                  <a:pt x="8364282" y="5927300"/>
                  <a:pt x="8313770" y="5959540"/>
                </a:cubicBezTo>
                <a:cubicBezTo>
                  <a:pt x="8268632" y="5985331"/>
                  <a:pt x="8217044" y="6024019"/>
                  <a:pt x="8171906" y="6042288"/>
                </a:cubicBezTo>
                <a:cubicBezTo>
                  <a:pt x="8147187" y="6048736"/>
                  <a:pt x="8114946" y="6035840"/>
                  <a:pt x="8102048" y="6061632"/>
                </a:cubicBezTo>
                <a:cubicBezTo>
                  <a:pt x="8082704" y="6087423"/>
                  <a:pt x="8076255" y="6087423"/>
                  <a:pt x="8056910" y="6087423"/>
                </a:cubicBezTo>
                <a:cubicBezTo>
                  <a:pt x="8011772" y="6080975"/>
                  <a:pt x="7973082" y="6132559"/>
                  <a:pt x="7934391" y="6158350"/>
                </a:cubicBezTo>
                <a:cubicBezTo>
                  <a:pt x="7838740" y="6216382"/>
                  <a:pt x="7742015" y="6253994"/>
                  <a:pt x="7646364" y="6305578"/>
                </a:cubicBezTo>
                <a:cubicBezTo>
                  <a:pt x="7549639" y="6357161"/>
                  <a:pt x="7453988" y="6408744"/>
                  <a:pt x="7350814" y="6446357"/>
                </a:cubicBezTo>
                <a:cubicBezTo>
                  <a:pt x="7325021" y="6459253"/>
                  <a:pt x="7300302" y="6465701"/>
                  <a:pt x="7280957" y="6478597"/>
                </a:cubicBezTo>
                <a:cubicBezTo>
                  <a:pt x="7261612" y="6491493"/>
                  <a:pt x="7248715" y="6517284"/>
                  <a:pt x="7229370" y="6523732"/>
                </a:cubicBezTo>
                <a:cubicBezTo>
                  <a:pt x="7210025" y="6530180"/>
                  <a:pt x="7190680" y="6549524"/>
                  <a:pt x="7171335" y="6555972"/>
                </a:cubicBezTo>
                <a:cubicBezTo>
                  <a:pt x="7145542" y="6562420"/>
                  <a:pt x="7126196" y="6568868"/>
                  <a:pt x="7101478" y="6575316"/>
                </a:cubicBezTo>
                <a:cubicBezTo>
                  <a:pt x="7151990" y="6601107"/>
                  <a:pt x="7203576" y="6562420"/>
                  <a:pt x="7248715" y="6530180"/>
                </a:cubicBezTo>
                <a:cubicBezTo>
                  <a:pt x="7300302" y="6491493"/>
                  <a:pt x="7357262" y="6478597"/>
                  <a:pt x="7408850" y="6452805"/>
                </a:cubicBezTo>
                <a:cubicBezTo>
                  <a:pt x="7460436" y="6427013"/>
                  <a:pt x="7517397" y="6402296"/>
                  <a:pt x="7568984" y="6370057"/>
                </a:cubicBezTo>
                <a:cubicBezTo>
                  <a:pt x="7594778" y="6357161"/>
                  <a:pt x="7620571" y="6344265"/>
                  <a:pt x="7646364" y="6331369"/>
                </a:cubicBezTo>
                <a:cubicBezTo>
                  <a:pt x="7672158" y="6318474"/>
                  <a:pt x="7691503" y="6292682"/>
                  <a:pt x="7717296" y="6279786"/>
                </a:cubicBezTo>
                <a:cubicBezTo>
                  <a:pt x="7767808" y="6247547"/>
                  <a:pt x="7819396" y="6235725"/>
                  <a:pt x="7870982" y="6209934"/>
                </a:cubicBezTo>
                <a:cubicBezTo>
                  <a:pt x="7927943" y="6177694"/>
                  <a:pt x="7979530" y="6145455"/>
                  <a:pt x="8037565" y="6119663"/>
                </a:cubicBezTo>
                <a:cubicBezTo>
                  <a:pt x="8089152" y="6106767"/>
                  <a:pt x="8133216" y="6087423"/>
                  <a:pt x="8184802" y="6048736"/>
                </a:cubicBezTo>
                <a:cubicBezTo>
                  <a:pt x="8223493" y="6016496"/>
                  <a:pt x="8275080" y="6030467"/>
                  <a:pt x="8325592" y="5998227"/>
                </a:cubicBezTo>
                <a:cubicBezTo>
                  <a:pt x="8344937" y="5985331"/>
                  <a:pt x="8364282" y="5959540"/>
                  <a:pt x="8390076" y="5946644"/>
                </a:cubicBezTo>
                <a:cubicBezTo>
                  <a:pt x="8415869" y="5933748"/>
                  <a:pt x="8441663" y="5920852"/>
                  <a:pt x="8467456" y="5907956"/>
                </a:cubicBezTo>
                <a:cubicBezTo>
                  <a:pt x="8525491" y="5882165"/>
                  <a:pt x="8582452" y="5849925"/>
                  <a:pt x="8640487" y="5825208"/>
                </a:cubicBezTo>
                <a:cubicBezTo>
                  <a:pt x="8755483" y="5767177"/>
                  <a:pt x="8878002" y="5715594"/>
                  <a:pt x="8992998" y="5664010"/>
                </a:cubicBezTo>
                <a:cubicBezTo>
                  <a:pt x="9109068" y="5605979"/>
                  <a:pt x="9230512" y="5549022"/>
                  <a:pt x="9346583" y="5490991"/>
                </a:cubicBezTo>
                <a:cubicBezTo>
                  <a:pt x="9397095" y="5465199"/>
                  <a:pt x="9448682" y="5445856"/>
                  <a:pt x="9506717" y="5414691"/>
                </a:cubicBezTo>
                <a:cubicBezTo>
                  <a:pt x="9519614" y="5400720"/>
                  <a:pt x="9571201" y="5356660"/>
                  <a:pt x="9584098" y="5395347"/>
                </a:cubicBezTo>
                <a:cubicBezTo>
                  <a:pt x="9384198" y="5523231"/>
                  <a:pt x="9173552" y="5619949"/>
                  <a:pt x="8968279" y="5728489"/>
                </a:cubicBezTo>
                <a:cubicBezTo>
                  <a:pt x="8755483" y="5837029"/>
                  <a:pt x="8538388" y="5953092"/>
                  <a:pt x="8325592" y="6061632"/>
                </a:cubicBezTo>
                <a:cubicBezTo>
                  <a:pt x="8114946" y="6171246"/>
                  <a:pt x="7896776" y="6279786"/>
                  <a:pt x="7685054" y="6395849"/>
                </a:cubicBezTo>
                <a:cubicBezTo>
                  <a:pt x="7575432" y="6446357"/>
                  <a:pt x="7466885" y="6504388"/>
                  <a:pt x="7363711" y="6555972"/>
                </a:cubicBezTo>
                <a:cubicBezTo>
                  <a:pt x="7312124" y="6588211"/>
                  <a:pt x="7261612" y="6614003"/>
                  <a:pt x="7203576" y="6638720"/>
                </a:cubicBezTo>
                <a:cubicBezTo>
                  <a:pt x="7171335" y="6658064"/>
                  <a:pt x="7119748" y="6670960"/>
                  <a:pt x="7095029" y="6716095"/>
                </a:cubicBezTo>
                <a:cubicBezTo>
                  <a:pt x="7101478" y="6728991"/>
                  <a:pt x="7106851" y="6735439"/>
                  <a:pt x="7113300" y="6748335"/>
                </a:cubicBezTo>
                <a:cubicBezTo>
                  <a:pt x="7104165" y="6751558"/>
                  <a:pt x="7096373" y="6753170"/>
                  <a:pt x="7088447" y="6754782"/>
                </a:cubicBezTo>
                <a:lnTo>
                  <a:pt x="7064365" y="6760834"/>
                </a:lnTo>
                <a:lnTo>
                  <a:pt x="7065628" y="6762189"/>
                </a:lnTo>
                <a:cubicBezTo>
                  <a:pt x="7065628" y="6768610"/>
                  <a:pt x="7059641" y="6775031"/>
                  <a:pt x="7059641" y="6781452"/>
                </a:cubicBezTo>
                <a:cubicBezTo>
                  <a:pt x="7059641" y="6775031"/>
                  <a:pt x="7053653" y="6768610"/>
                  <a:pt x="7047666" y="6762189"/>
                </a:cubicBezTo>
                <a:cubicBezTo>
                  <a:pt x="7050660" y="6755767"/>
                  <a:pt x="7053654" y="6752557"/>
                  <a:pt x="7056647" y="6752557"/>
                </a:cubicBezTo>
                <a:lnTo>
                  <a:pt x="7062228" y="6758542"/>
                </a:lnTo>
                <a:lnTo>
                  <a:pt x="7058758" y="6741887"/>
                </a:lnTo>
                <a:cubicBezTo>
                  <a:pt x="7059564" y="6735439"/>
                  <a:pt x="7062788" y="6728991"/>
                  <a:pt x="7069236" y="6722543"/>
                </a:cubicBezTo>
                <a:cubicBezTo>
                  <a:pt x="6966062" y="6696751"/>
                  <a:pt x="6863963" y="6774126"/>
                  <a:pt x="6793031" y="6889114"/>
                </a:cubicBezTo>
                <a:cubicBezTo>
                  <a:pt x="6773686" y="6843979"/>
                  <a:pt x="6741444" y="6863322"/>
                  <a:pt x="6722098" y="6882666"/>
                </a:cubicBezTo>
                <a:cubicBezTo>
                  <a:pt x="6690932" y="6902010"/>
                  <a:pt x="6652242" y="6914906"/>
                  <a:pt x="6620000" y="6934249"/>
                </a:cubicBezTo>
                <a:cubicBezTo>
                  <a:pt x="6549574" y="6966489"/>
                  <a:pt x="6473264" y="7005177"/>
                  <a:pt x="6402329" y="7042789"/>
                </a:cubicBezTo>
                <a:cubicBezTo>
                  <a:pt x="6363638" y="7062133"/>
                  <a:pt x="6324944" y="7081477"/>
                  <a:pt x="6286253" y="7094373"/>
                </a:cubicBezTo>
                <a:cubicBezTo>
                  <a:pt x="6248635" y="7113716"/>
                  <a:pt x="6209943" y="7107269"/>
                  <a:pt x="6177699" y="7126612"/>
                </a:cubicBezTo>
                <a:cubicBezTo>
                  <a:pt x="6151905" y="7145956"/>
                  <a:pt x="6126108" y="7178196"/>
                  <a:pt x="6093865" y="7191091"/>
                </a:cubicBezTo>
                <a:cubicBezTo>
                  <a:pt x="6062697" y="7203987"/>
                  <a:pt x="6030453" y="7210435"/>
                  <a:pt x="6004659" y="7216883"/>
                </a:cubicBezTo>
                <a:cubicBezTo>
                  <a:pt x="5850963" y="7254496"/>
                  <a:pt x="5696190" y="7318975"/>
                  <a:pt x="5548951" y="7377006"/>
                </a:cubicBezTo>
                <a:cubicBezTo>
                  <a:pt x="5465116" y="7409246"/>
                  <a:pt x="5388806" y="7435038"/>
                  <a:pt x="5304974" y="7466202"/>
                </a:cubicBezTo>
                <a:cubicBezTo>
                  <a:pt x="5266284" y="7479098"/>
                  <a:pt x="5228668" y="7498442"/>
                  <a:pt x="5189971" y="7498442"/>
                </a:cubicBezTo>
                <a:cubicBezTo>
                  <a:pt x="5170628" y="7498442"/>
                  <a:pt x="5151276" y="7491994"/>
                  <a:pt x="5151276" y="7530682"/>
                </a:cubicBezTo>
                <a:cubicBezTo>
                  <a:pt x="5177074" y="7530682"/>
                  <a:pt x="5209321" y="7537130"/>
                  <a:pt x="5235115" y="7517786"/>
                </a:cubicBezTo>
                <a:cubicBezTo>
                  <a:pt x="5259834" y="7504890"/>
                  <a:pt x="5279178" y="7491994"/>
                  <a:pt x="5304974" y="7485546"/>
                </a:cubicBezTo>
                <a:cubicBezTo>
                  <a:pt x="5369461" y="7459755"/>
                  <a:pt x="5427499" y="7447933"/>
                  <a:pt x="5490908" y="7428590"/>
                </a:cubicBezTo>
                <a:cubicBezTo>
                  <a:pt x="5619886" y="7383454"/>
                  <a:pt x="5754231" y="7344767"/>
                  <a:pt x="5882127" y="7299631"/>
                </a:cubicBezTo>
                <a:cubicBezTo>
                  <a:pt x="6011105" y="7254496"/>
                  <a:pt x="6145455" y="7210435"/>
                  <a:pt x="6274431" y="7165300"/>
                </a:cubicBezTo>
                <a:cubicBezTo>
                  <a:pt x="6337843" y="7139508"/>
                  <a:pt x="6402329" y="7120164"/>
                  <a:pt x="6466814" y="7094373"/>
                </a:cubicBezTo>
                <a:cubicBezTo>
                  <a:pt x="6523777" y="7075029"/>
                  <a:pt x="6581817" y="7042789"/>
                  <a:pt x="6639344" y="7055685"/>
                </a:cubicBezTo>
                <a:cubicBezTo>
                  <a:pt x="6613552" y="7100821"/>
                  <a:pt x="6581817" y="7107269"/>
                  <a:pt x="6543126" y="7120164"/>
                </a:cubicBezTo>
                <a:cubicBezTo>
                  <a:pt x="6510881" y="7133060"/>
                  <a:pt x="6473264" y="7152404"/>
                  <a:pt x="6434573" y="7171748"/>
                </a:cubicBezTo>
                <a:cubicBezTo>
                  <a:pt x="6357188" y="7203987"/>
                  <a:pt x="6286253" y="7242675"/>
                  <a:pt x="6209943" y="7267392"/>
                </a:cubicBezTo>
                <a:cubicBezTo>
                  <a:pt x="5959517" y="7364110"/>
                  <a:pt x="5709089" y="7441485"/>
                  <a:pt x="5453294" y="7517786"/>
                </a:cubicBezTo>
                <a:cubicBezTo>
                  <a:pt x="5202869" y="7595161"/>
                  <a:pt x="4945995" y="7671461"/>
                  <a:pt x="4695573" y="7729492"/>
                </a:cubicBezTo>
                <a:cubicBezTo>
                  <a:pt x="4182900" y="7845555"/>
                  <a:pt x="3669147" y="7915407"/>
                  <a:pt x="3150022" y="7915407"/>
                </a:cubicBezTo>
                <a:cubicBezTo>
                  <a:pt x="3187639" y="7941199"/>
                  <a:pt x="3265024" y="7941199"/>
                  <a:pt x="3265024" y="8025022"/>
                </a:cubicBezTo>
                <a:cubicBezTo>
                  <a:pt x="3239229" y="8025022"/>
                  <a:pt x="3111329" y="7979886"/>
                  <a:pt x="3111329" y="8050813"/>
                </a:cubicBezTo>
                <a:cubicBezTo>
                  <a:pt x="3368205" y="8076605"/>
                  <a:pt x="3624007" y="8088426"/>
                  <a:pt x="3874434" y="8094874"/>
                </a:cubicBezTo>
                <a:cubicBezTo>
                  <a:pt x="4118412" y="8094874"/>
                  <a:pt x="4368838" y="8081978"/>
                  <a:pt x="4612815" y="8069083"/>
                </a:cubicBezTo>
                <a:cubicBezTo>
                  <a:pt x="4663330" y="8063709"/>
                  <a:pt x="4702022" y="8044366"/>
                  <a:pt x="4753611" y="8018574"/>
                </a:cubicBezTo>
                <a:cubicBezTo>
                  <a:pt x="4798752" y="7992782"/>
                  <a:pt x="4849267" y="8025022"/>
                  <a:pt x="4887960" y="7986334"/>
                </a:cubicBezTo>
                <a:cubicBezTo>
                  <a:pt x="4933102" y="7941199"/>
                  <a:pt x="4984690" y="7960543"/>
                  <a:pt x="5029830" y="7960543"/>
                </a:cubicBezTo>
                <a:cubicBezTo>
                  <a:pt x="5086794" y="7960543"/>
                  <a:pt x="5144828" y="7941199"/>
                  <a:pt x="5202869" y="7928303"/>
                </a:cubicBezTo>
                <a:cubicBezTo>
                  <a:pt x="5453294" y="7863824"/>
                  <a:pt x="5696190" y="7787524"/>
                  <a:pt x="5940168" y="7716596"/>
                </a:cubicBezTo>
                <a:cubicBezTo>
                  <a:pt x="5940168" y="7813315"/>
                  <a:pt x="5844515" y="7806867"/>
                  <a:pt x="5805821" y="7819763"/>
                </a:cubicBezTo>
                <a:cubicBezTo>
                  <a:pt x="5728434" y="7839107"/>
                  <a:pt x="5651055" y="7858451"/>
                  <a:pt x="5581194" y="7883168"/>
                </a:cubicBezTo>
                <a:cubicBezTo>
                  <a:pt x="5427499" y="7921855"/>
                  <a:pt x="5272732" y="7966991"/>
                  <a:pt x="5125487" y="8005678"/>
                </a:cubicBezTo>
                <a:cubicBezTo>
                  <a:pt x="4818097" y="8081978"/>
                  <a:pt x="4516084" y="8146457"/>
                  <a:pt x="4208696" y="8191593"/>
                </a:cubicBezTo>
                <a:cubicBezTo>
                  <a:pt x="4239864" y="8204489"/>
                  <a:pt x="4285004" y="8198041"/>
                  <a:pt x="4297903" y="8256072"/>
                </a:cubicBezTo>
                <a:cubicBezTo>
                  <a:pt x="3765880" y="8492495"/>
                  <a:pt x="3187639" y="8396851"/>
                  <a:pt x="2642717" y="8281864"/>
                </a:cubicBezTo>
                <a:cubicBezTo>
                  <a:pt x="2392327" y="8230280"/>
                  <a:pt x="2155892" y="8120666"/>
                  <a:pt x="1918385" y="7992782"/>
                </a:cubicBezTo>
                <a:cubicBezTo>
                  <a:pt x="1795863" y="7928303"/>
                  <a:pt x="1674418" y="7863824"/>
                  <a:pt x="1552978" y="7793971"/>
                </a:cubicBezTo>
                <a:cubicBezTo>
                  <a:pt x="1527182" y="7774628"/>
                  <a:pt x="1488493" y="7735940"/>
                  <a:pt x="1456251" y="7735940"/>
                </a:cubicBezTo>
                <a:cubicBezTo>
                  <a:pt x="1436911" y="7735940"/>
                  <a:pt x="1353076" y="7697253"/>
                  <a:pt x="1321914" y="7684357"/>
                </a:cubicBezTo>
                <a:cubicBezTo>
                  <a:pt x="1296116" y="7677909"/>
                  <a:pt x="1270323" y="7666088"/>
                  <a:pt x="1238085" y="7653192"/>
                </a:cubicBezTo>
                <a:cubicBezTo>
                  <a:pt x="1180048" y="7627400"/>
                  <a:pt x="1123086" y="7582265"/>
                  <a:pt x="1065052" y="7562921"/>
                </a:cubicBezTo>
                <a:cubicBezTo>
                  <a:pt x="1007014" y="7537130"/>
                  <a:pt x="942526" y="7550025"/>
                  <a:pt x="885577" y="7562921"/>
                </a:cubicBezTo>
                <a:cubicBezTo>
                  <a:pt x="846885" y="7562921"/>
                  <a:pt x="724365" y="7614505"/>
                  <a:pt x="699644" y="7550025"/>
                </a:cubicBezTo>
                <a:cubicBezTo>
                  <a:pt x="673850" y="7498442"/>
                  <a:pt x="737259" y="7485546"/>
                  <a:pt x="756601" y="7485546"/>
                </a:cubicBezTo>
                <a:cubicBezTo>
                  <a:pt x="808191" y="7479098"/>
                  <a:pt x="859780" y="7472650"/>
                  <a:pt x="911364" y="7459755"/>
                </a:cubicBezTo>
                <a:cubicBezTo>
                  <a:pt x="937153" y="7453307"/>
                  <a:pt x="942526" y="7441485"/>
                  <a:pt x="955422" y="7409246"/>
                </a:cubicBezTo>
                <a:cubicBezTo>
                  <a:pt x="961872" y="7389902"/>
                  <a:pt x="974770" y="7377006"/>
                  <a:pt x="994116" y="7383454"/>
                </a:cubicBezTo>
                <a:cubicBezTo>
                  <a:pt x="1007014" y="7389902"/>
                  <a:pt x="1058602" y="7428590"/>
                  <a:pt x="1058602" y="7383454"/>
                </a:cubicBezTo>
                <a:cubicBezTo>
                  <a:pt x="1048929" y="7383454"/>
                  <a:pt x="1040064" y="7380633"/>
                  <a:pt x="1031594" y="7376301"/>
                </a:cubicBezTo>
                <a:lnTo>
                  <a:pt x="1023024" y="7370645"/>
                </a:lnTo>
                <a:lnTo>
                  <a:pt x="1027511" y="7385989"/>
                </a:lnTo>
                <a:cubicBezTo>
                  <a:pt x="1024515" y="7389401"/>
                  <a:pt x="1020026" y="7389401"/>
                  <a:pt x="1017781" y="7385989"/>
                </a:cubicBezTo>
                <a:lnTo>
                  <a:pt x="1020847" y="7369209"/>
                </a:lnTo>
                <a:lnTo>
                  <a:pt x="1007014" y="7360080"/>
                </a:lnTo>
                <a:cubicBezTo>
                  <a:pt x="990891" y="7347991"/>
                  <a:pt x="974770" y="7335095"/>
                  <a:pt x="955422" y="7331871"/>
                </a:cubicBezTo>
                <a:cubicBezTo>
                  <a:pt x="917812" y="7325423"/>
                  <a:pt x="879127" y="7325423"/>
                  <a:pt x="840431" y="7318975"/>
                </a:cubicBezTo>
                <a:cubicBezTo>
                  <a:pt x="808191" y="7318975"/>
                  <a:pt x="756601" y="7344767"/>
                  <a:pt x="737259" y="7299631"/>
                </a:cubicBezTo>
                <a:cubicBezTo>
                  <a:pt x="724365" y="7267392"/>
                  <a:pt x="737259" y="7223331"/>
                  <a:pt x="756601" y="7210435"/>
                </a:cubicBezTo>
                <a:cubicBezTo>
                  <a:pt x="775945" y="7191091"/>
                  <a:pt x="801741" y="7191091"/>
                  <a:pt x="827533" y="7191091"/>
                </a:cubicBezTo>
                <a:cubicBezTo>
                  <a:pt x="904916" y="7184644"/>
                  <a:pt x="981221" y="7178196"/>
                  <a:pt x="1058602" y="7178196"/>
                </a:cubicBezTo>
                <a:cubicBezTo>
                  <a:pt x="1000565" y="7133060"/>
                  <a:pt x="750154" y="6863322"/>
                  <a:pt x="731887" y="6843979"/>
                </a:cubicBezTo>
                <a:cubicBezTo>
                  <a:pt x="680297" y="6787022"/>
                  <a:pt x="628715" y="6728991"/>
                  <a:pt x="570677" y="6670960"/>
                </a:cubicBezTo>
                <a:cubicBezTo>
                  <a:pt x="468577" y="6555972"/>
                  <a:pt x="358957" y="6440984"/>
                  <a:pt x="243959" y="6376505"/>
                </a:cubicBezTo>
                <a:cubicBezTo>
                  <a:pt x="224614" y="6370057"/>
                  <a:pt x="198821" y="6350713"/>
                  <a:pt x="192374" y="6318474"/>
                </a:cubicBezTo>
                <a:cubicBezTo>
                  <a:pt x="185924" y="6286234"/>
                  <a:pt x="179477" y="6266890"/>
                  <a:pt x="160132" y="6247547"/>
                </a:cubicBezTo>
                <a:cubicBezTo>
                  <a:pt x="127890" y="6221755"/>
                  <a:pt x="90276" y="6235725"/>
                  <a:pt x="58034" y="6221755"/>
                </a:cubicBezTo>
                <a:cubicBezTo>
                  <a:pt x="83827" y="6209934"/>
                  <a:pt x="108547" y="6216382"/>
                  <a:pt x="134339" y="6197038"/>
                </a:cubicBezTo>
                <a:cubicBezTo>
                  <a:pt x="160132" y="6177694"/>
                  <a:pt x="147235" y="6139007"/>
                  <a:pt x="160132" y="6106767"/>
                </a:cubicBezTo>
                <a:cubicBezTo>
                  <a:pt x="173028" y="6074527"/>
                  <a:pt x="211718" y="6093871"/>
                  <a:pt x="224614" y="6061632"/>
                </a:cubicBezTo>
                <a:cubicBezTo>
                  <a:pt x="250409" y="6024019"/>
                  <a:pt x="205270" y="5991779"/>
                  <a:pt x="185924" y="5978883"/>
                </a:cubicBezTo>
                <a:cubicBezTo>
                  <a:pt x="243959" y="5985331"/>
                  <a:pt x="301994" y="5991779"/>
                  <a:pt x="358957" y="5998227"/>
                </a:cubicBezTo>
                <a:cubicBezTo>
                  <a:pt x="404096" y="6004675"/>
                  <a:pt x="455682" y="6030467"/>
                  <a:pt x="500825" y="5991779"/>
                </a:cubicBezTo>
                <a:cubicBezTo>
                  <a:pt x="416998" y="5895060"/>
                  <a:pt x="333164" y="5805864"/>
                  <a:pt x="243959" y="5728489"/>
                </a:cubicBezTo>
                <a:cubicBezTo>
                  <a:pt x="224614" y="5709146"/>
                  <a:pt x="205270" y="5696250"/>
                  <a:pt x="185924" y="5683354"/>
                </a:cubicBezTo>
                <a:cubicBezTo>
                  <a:pt x="173028" y="5676906"/>
                  <a:pt x="153683" y="5670458"/>
                  <a:pt x="153683" y="5651114"/>
                </a:cubicBezTo>
                <a:cubicBezTo>
                  <a:pt x="147235" y="5631771"/>
                  <a:pt x="153683" y="5613502"/>
                  <a:pt x="153683" y="5594158"/>
                </a:cubicBezTo>
                <a:cubicBezTo>
                  <a:pt x="140787" y="5594158"/>
                  <a:pt x="134339" y="5587710"/>
                  <a:pt x="121442" y="5581262"/>
                </a:cubicBezTo>
                <a:cubicBezTo>
                  <a:pt x="103172" y="5574814"/>
                  <a:pt x="83827" y="5568366"/>
                  <a:pt x="64482" y="5561918"/>
                </a:cubicBezTo>
                <a:cubicBezTo>
                  <a:pt x="38690" y="5555470"/>
                  <a:pt x="0" y="5555470"/>
                  <a:pt x="0" y="5503887"/>
                </a:cubicBezTo>
                <a:cubicBezTo>
                  <a:pt x="0" y="5452304"/>
                  <a:pt x="38690" y="5465199"/>
                  <a:pt x="58034" y="5452304"/>
                </a:cubicBezTo>
                <a:cubicBezTo>
                  <a:pt x="140787" y="5414691"/>
                  <a:pt x="269753" y="5388899"/>
                  <a:pt x="295546" y="5408243"/>
                </a:cubicBezTo>
                <a:cubicBezTo>
                  <a:pt x="326717" y="5426512"/>
                  <a:pt x="346059" y="5439408"/>
                  <a:pt x="358957" y="5458752"/>
                </a:cubicBezTo>
                <a:cubicBezTo>
                  <a:pt x="371855" y="5432960"/>
                  <a:pt x="365404" y="5376003"/>
                  <a:pt x="384754" y="5363108"/>
                </a:cubicBezTo>
                <a:cubicBezTo>
                  <a:pt x="423440" y="5350212"/>
                  <a:pt x="436339" y="5484543"/>
                  <a:pt x="397648" y="5484543"/>
                </a:cubicBezTo>
                <a:cubicBezTo>
                  <a:pt x="531991" y="5631771"/>
                  <a:pt x="706092" y="5696250"/>
                  <a:pt x="866231" y="5722041"/>
                </a:cubicBezTo>
                <a:cubicBezTo>
                  <a:pt x="866231" y="5702698"/>
                  <a:pt x="859780" y="5670458"/>
                  <a:pt x="872681" y="5657562"/>
                </a:cubicBezTo>
                <a:cubicBezTo>
                  <a:pt x="885577" y="5638219"/>
                  <a:pt x="904916" y="5644666"/>
                  <a:pt x="924259" y="5644666"/>
                </a:cubicBezTo>
                <a:cubicBezTo>
                  <a:pt x="898470" y="5613502"/>
                  <a:pt x="879127" y="5574814"/>
                  <a:pt x="846885" y="5561918"/>
                </a:cubicBezTo>
                <a:cubicBezTo>
                  <a:pt x="821085" y="5536127"/>
                  <a:pt x="795292" y="5516783"/>
                  <a:pt x="775945" y="5478095"/>
                </a:cubicBezTo>
                <a:cubicBezTo>
                  <a:pt x="756601" y="5439408"/>
                  <a:pt x="731887" y="5414691"/>
                  <a:pt x="699644" y="5400720"/>
                </a:cubicBezTo>
                <a:cubicBezTo>
                  <a:pt x="680297" y="5388899"/>
                  <a:pt x="635163" y="5382451"/>
                  <a:pt x="622265" y="5343764"/>
                </a:cubicBezTo>
                <a:cubicBezTo>
                  <a:pt x="615815" y="5305076"/>
                  <a:pt x="622265" y="5285733"/>
                  <a:pt x="590021" y="5272837"/>
                </a:cubicBezTo>
                <a:cubicBezTo>
                  <a:pt x="551335" y="5259941"/>
                  <a:pt x="519093" y="5247045"/>
                  <a:pt x="481475" y="5227701"/>
                </a:cubicBezTo>
                <a:cubicBezTo>
                  <a:pt x="410556" y="5190088"/>
                  <a:pt x="339611" y="5144953"/>
                  <a:pt x="276201" y="5099818"/>
                </a:cubicBezTo>
                <a:cubicBezTo>
                  <a:pt x="289097" y="5080474"/>
                  <a:pt x="308442" y="5067578"/>
                  <a:pt x="321342" y="5054682"/>
                </a:cubicBezTo>
                <a:cubicBezTo>
                  <a:pt x="295546" y="5041786"/>
                  <a:pt x="269753" y="5041786"/>
                  <a:pt x="250409" y="5022443"/>
                </a:cubicBezTo>
                <a:cubicBezTo>
                  <a:pt x="231062" y="5004174"/>
                  <a:pt x="237511" y="4959038"/>
                  <a:pt x="218167" y="4952590"/>
                </a:cubicBezTo>
                <a:cubicBezTo>
                  <a:pt x="166580" y="4913903"/>
                  <a:pt x="116069" y="4933247"/>
                  <a:pt x="77379" y="4849424"/>
                </a:cubicBezTo>
                <a:cubicBezTo>
                  <a:pt x="121442" y="4842976"/>
                  <a:pt x="166580" y="4823632"/>
                  <a:pt x="218167" y="4830080"/>
                </a:cubicBezTo>
                <a:cubicBezTo>
                  <a:pt x="263304" y="4842976"/>
                  <a:pt x="269753" y="4901007"/>
                  <a:pt x="308442" y="4939694"/>
                </a:cubicBezTo>
                <a:cubicBezTo>
                  <a:pt x="352508" y="4990203"/>
                  <a:pt x="429890" y="4959038"/>
                  <a:pt x="481475" y="4933247"/>
                </a:cubicBezTo>
                <a:cubicBezTo>
                  <a:pt x="526613" y="4913903"/>
                  <a:pt x="583570" y="4868767"/>
                  <a:pt x="628715" y="4901007"/>
                </a:cubicBezTo>
                <a:cubicBezTo>
                  <a:pt x="660959" y="4913903"/>
                  <a:pt x="641609" y="4868767"/>
                  <a:pt x="622265" y="4855872"/>
                </a:cubicBezTo>
                <a:cubicBezTo>
                  <a:pt x="602922" y="4849424"/>
                  <a:pt x="583570" y="4842976"/>
                  <a:pt x="557782" y="4836528"/>
                </a:cubicBezTo>
                <a:cubicBezTo>
                  <a:pt x="538440" y="4830080"/>
                  <a:pt x="513724" y="4823632"/>
                  <a:pt x="494372" y="4792467"/>
                </a:cubicBezTo>
                <a:cubicBezTo>
                  <a:pt x="481475" y="4766675"/>
                  <a:pt x="500825" y="4734436"/>
                  <a:pt x="519093" y="4727988"/>
                </a:cubicBezTo>
                <a:cubicBezTo>
                  <a:pt x="609369" y="4682852"/>
                  <a:pt x="731887" y="4817184"/>
                  <a:pt x="795292" y="4907455"/>
                </a:cubicBezTo>
                <a:cubicBezTo>
                  <a:pt x="801741" y="4888111"/>
                  <a:pt x="808191" y="4875215"/>
                  <a:pt x="821085" y="4855872"/>
                </a:cubicBezTo>
                <a:cubicBezTo>
                  <a:pt x="827533" y="4868767"/>
                  <a:pt x="833981" y="4875215"/>
                  <a:pt x="840431" y="4881663"/>
                </a:cubicBezTo>
                <a:cubicBezTo>
                  <a:pt x="859780" y="4894559"/>
                  <a:pt x="879127" y="4888111"/>
                  <a:pt x="898470" y="4907455"/>
                </a:cubicBezTo>
                <a:cubicBezTo>
                  <a:pt x="917812" y="4933247"/>
                  <a:pt x="911364" y="4978382"/>
                  <a:pt x="942526" y="4984830"/>
                </a:cubicBezTo>
                <a:cubicBezTo>
                  <a:pt x="1000565" y="4990203"/>
                  <a:pt x="1071500" y="4946142"/>
                  <a:pt x="1097292" y="4855872"/>
                </a:cubicBezTo>
                <a:cubicBezTo>
                  <a:pt x="1052150" y="4842976"/>
                  <a:pt x="1007014" y="4830080"/>
                  <a:pt x="961872" y="4830080"/>
                </a:cubicBezTo>
                <a:cubicBezTo>
                  <a:pt x="924259" y="4830080"/>
                  <a:pt x="879127" y="4836528"/>
                  <a:pt x="846885" y="4810736"/>
                </a:cubicBezTo>
                <a:cubicBezTo>
                  <a:pt x="821085" y="4792467"/>
                  <a:pt x="840431" y="4740884"/>
                  <a:pt x="808191" y="4721540"/>
                </a:cubicBezTo>
                <a:cubicBezTo>
                  <a:pt x="788844" y="4708644"/>
                  <a:pt x="769495" y="4708644"/>
                  <a:pt x="750154" y="4702196"/>
                </a:cubicBezTo>
                <a:cubicBezTo>
                  <a:pt x="712540" y="4689300"/>
                  <a:pt x="680297" y="4663509"/>
                  <a:pt x="641609" y="4644165"/>
                </a:cubicBezTo>
                <a:cubicBezTo>
                  <a:pt x="622265" y="4631269"/>
                  <a:pt x="596471" y="4618373"/>
                  <a:pt x="577123" y="4593656"/>
                </a:cubicBezTo>
                <a:cubicBezTo>
                  <a:pt x="557782" y="4554969"/>
                  <a:pt x="557782" y="4516281"/>
                  <a:pt x="526613" y="4496938"/>
                </a:cubicBezTo>
                <a:cubicBezTo>
                  <a:pt x="500825" y="4484042"/>
                  <a:pt x="475027" y="4477594"/>
                  <a:pt x="449233" y="4471146"/>
                </a:cubicBezTo>
                <a:cubicBezTo>
                  <a:pt x="507270" y="4419563"/>
                  <a:pt x="577123" y="4375502"/>
                  <a:pt x="602922" y="4272335"/>
                </a:cubicBezTo>
                <a:cubicBezTo>
                  <a:pt x="551335" y="4259439"/>
                  <a:pt x="500825" y="4240096"/>
                  <a:pt x="449233" y="4227200"/>
                </a:cubicBezTo>
                <a:cubicBezTo>
                  <a:pt x="442785" y="4227200"/>
                  <a:pt x="352508" y="4220752"/>
                  <a:pt x="358957" y="4196035"/>
                </a:cubicBezTo>
                <a:cubicBezTo>
                  <a:pt x="371855" y="4165011"/>
                  <a:pt x="442785" y="4184354"/>
                  <a:pt x="462128" y="4184354"/>
                </a:cubicBezTo>
                <a:cubicBezTo>
                  <a:pt x="468577" y="4184354"/>
                  <a:pt x="513724" y="4177906"/>
                  <a:pt x="507270" y="4158563"/>
                </a:cubicBezTo>
                <a:cubicBezTo>
                  <a:pt x="487921" y="4126322"/>
                  <a:pt x="436339" y="4126322"/>
                  <a:pt x="410556" y="4119876"/>
                </a:cubicBezTo>
                <a:cubicBezTo>
                  <a:pt x="308442" y="4106979"/>
                  <a:pt x="211718" y="4094084"/>
                  <a:pt x="108547" y="4087636"/>
                </a:cubicBezTo>
                <a:cubicBezTo>
                  <a:pt x="127890" y="3966206"/>
                  <a:pt x="231062" y="3990915"/>
                  <a:pt x="282648" y="4010258"/>
                </a:cubicBezTo>
                <a:cubicBezTo>
                  <a:pt x="346059" y="4029605"/>
                  <a:pt x="410556" y="4042499"/>
                  <a:pt x="468577" y="4023156"/>
                </a:cubicBezTo>
                <a:cubicBezTo>
                  <a:pt x="500825" y="4016708"/>
                  <a:pt x="531991" y="4010258"/>
                  <a:pt x="564229" y="3998439"/>
                </a:cubicBezTo>
                <a:cubicBezTo>
                  <a:pt x="577123" y="3998439"/>
                  <a:pt x="590021" y="3990915"/>
                  <a:pt x="609369" y="3984469"/>
                </a:cubicBezTo>
                <a:cubicBezTo>
                  <a:pt x="609369" y="3972648"/>
                  <a:pt x="615815" y="3953304"/>
                  <a:pt x="622265" y="3940409"/>
                </a:cubicBezTo>
                <a:cubicBezTo>
                  <a:pt x="538440" y="3921065"/>
                  <a:pt x="462128" y="3908169"/>
                  <a:pt x="378306" y="3888822"/>
                </a:cubicBezTo>
                <a:cubicBezTo>
                  <a:pt x="481475" y="3837243"/>
                  <a:pt x="590021" y="3863039"/>
                  <a:pt x="699644" y="3908169"/>
                </a:cubicBezTo>
                <a:cubicBezTo>
                  <a:pt x="743708" y="3927511"/>
                  <a:pt x="795292" y="3946857"/>
                  <a:pt x="846885" y="3979098"/>
                </a:cubicBezTo>
                <a:cubicBezTo>
                  <a:pt x="872681" y="3998439"/>
                  <a:pt x="898470" y="3990915"/>
                  <a:pt x="929631" y="3998439"/>
                </a:cubicBezTo>
                <a:cubicBezTo>
                  <a:pt x="948972" y="4003812"/>
                  <a:pt x="961872" y="4023156"/>
                  <a:pt x="981221" y="4029605"/>
                </a:cubicBezTo>
                <a:cubicBezTo>
                  <a:pt x="981221" y="3953706"/>
                  <a:pt x="913631" y="3977719"/>
                  <a:pt x="862946" y="3973605"/>
                </a:cubicBezTo>
                <a:lnTo>
                  <a:pt x="861166" y="3973165"/>
                </a:lnTo>
                <a:lnTo>
                  <a:pt x="861361" y="3973462"/>
                </a:lnTo>
                <a:cubicBezTo>
                  <a:pt x="854540" y="3976875"/>
                  <a:pt x="847713" y="3976875"/>
                  <a:pt x="844301" y="3973462"/>
                </a:cubicBezTo>
                <a:lnTo>
                  <a:pt x="845016" y="3969164"/>
                </a:lnTo>
                <a:lnTo>
                  <a:pt x="835225" y="3966739"/>
                </a:lnTo>
                <a:cubicBezTo>
                  <a:pt x="819005" y="3958542"/>
                  <a:pt x="808191" y="3941752"/>
                  <a:pt x="808191" y="3908169"/>
                </a:cubicBezTo>
                <a:cubicBezTo>
                  <a:pt x="833981" y="3908169"/>
                  <a:pt x="853334" y="3914616"/>
                  <a:pt x="872681" y="3901721"/>
                </a:cubicBezTo>
                <a:cubicBezTo>
                  <a:pt x="885577" y="3895275"/>
                  <a:pt x="892023" y="3882376"/>
                  <a:pt x="872681" y="3869481"/>
                </a:cubicBezTo>
                <a:cubicBezTo>
                  <a:pt x="853334" y="3856586"/>
                  <a:pt x="833981" y="3856586"/>
                  <a:pt x="814638" y="3843691"/>
                </a:cubicBezTo>
                <a:cubicBezTo>
                  <a:pt x="801741" y="3830801"/>
                  <a:pt x="788844" y="3811449"/>
                  <a:pt x="775945" y="3798554"/>
                </a:cubicBezTo>
                <a:cubicBezTo>
                  <a:pt x="846885" y="3817897"/>
                  <a:pt x="929631" y="3908169"/>
                  <a:pt x="1000565" y="3824343"/>
                </a:cubicBezTo>
                <a:cubicBezTo>
                  <a:pt x="911364" y="3767389"/>
                  <a:pt x="821085" y="3709359"/>
                  <a:pt x="737259" y="3644881"/>
                </a:cubicBezTo>
                <a:cubicBezTo>
                  <a:pt x="750154" y="3587921"/>
                  <a:pt x="814638" y="3631983"/>
                  <a:pt x="840431" y="3631983"/>
                </a:cubicBezTo>
                <a:cubicBezTo>
                  <a:pt x="840431" y="3593294"/>
                  <a:pt x="846885" y="3555685"/>
                  <a:pt x="833981" y="3516994"/>
                </a:cubicBezTo>
                <a:cubicBezTo>
                  <a:pt x="827533" y="3484756"/>
                  <a:pt x="801741" y="3465411"/>
                  <a:pt x="782393" y="3452516"/>
                </a:cubicBezTo>
                <a:cubicBezTo>
                  <a:pt x="731887" y="3407382"/>
                  <a:pt x="743708" y="3337527"/>
                  <a:pt x="731887" y="3260153"/>
                </a:cubicBezTo>
                <a:cubicBezTo>
                  <a:pt x="724365" y="3195674"/>
                  <a:pt x="680297" y="3169883"/>
                  <a:pt x="641609" y="3151613"/>
                </a:cubicBezTo>
                <a:cubicBezTo>
                  <a:pt x="583570" y="3119374"/>
                  <a:pt x="526613" y="3074240"/>
                  <a:pt x="475027" y="3029103"/>
                </a:cubicBezTo>
                <a:cubicBezTo>
                  <a:pt x="494372" y="2990416"/>
                  <a:pt x="538440" y="3022655"/>
                  <a:pt x="564229" y="3035555"/>
                </a:cubicBezTo>
                <a:cubicBezTo>
                  <a:pt x="602922" y="3048447"/>
                  <a:pt x="641609" y="3054895"/>
                  <a:pt x="680297" y="3054895"/>
                </a:cubicBezTo>
                <a:cubicBezTo>
                  <a:pt x="737259" y="3061340"/>
                  <a:pt x="814638" y="3061340"/>
                  <a:pt x="859780" y="2983968"/>
                </a:cubicBezTo>
                <a:cubicBezTo>
                  <a:pt x="718991" y="2894774"/>
                  <a:pt x="577123" y="2817421"/>
                  <a:pt x="436339" y="2752914"/>
                </a:cubicBezTo>
                <a:cubicBezTo>
                  <a:pt x="590021" y="2689511"/>
                  <a:pt x="743708" y="2644376"/>
                  <a:pt x="904916" y="2637928"/>
                </a:cubicBezTo>
                <a:cubicBezTo>
                  <a:pt x="981221" y="2637928"/>
                  <a:pt x="1065052" y="2644376"/>
                  <a:pt x="1147801" y="2657271"/>
                </a:cubicBezTo>
                <a:cubicBezTo>
                  <a:pt x="1186494" y="2663721"/>
                  <a:pt x="1225190" y="2676615"/>
                  <a:pt x="1263872" y="2683064"/>
                </a:cubicBezTo>
                <a:cubicBezTo>
                  <a:pt x="1302563" y="2695958"/>
                  <a:pt x="1340181" y="2670168"/>
                  <a:pt x="1378874" y="2657271"/>
                </a:cubicBezTo>
                <a:cubicBezTo>
                  <a:pt x="1372424" y="2650824"/>
                  <a:pt x="1365974" y="2637928"/>
                  <a:pt x="1359525" y="2625034"/>
                </a:cubicBezTo>
                <a:cubicBezTo>
                  <a:pt x="1436911" y="2618587"/>
                  <a:pt x="1520744" y="2612137"/>
                  <a:pt x="1597039" y="2579897"/>
                </a:cubicBezTo>
                <a:cubicBezTo>
                  <a:pt x="1674418" y="2547657"/>
                  <a:pt x="1750721" y="2516495"/>
                  <a:pt x="1828106" y="2503598"/>
                </a:cubicBezTo>
                <a:cubicBezTo>
                  <a:pt x="1988240" y="2471358"/>
                  <a:pt x="2155892" y="2471358"/>
                  <a:pt x="2316023" y="2490703"/>
                </a:cubicBezTo>
                <a:cubicBezTo>
                  <a:pt x="2571782" y="2510046"/>
                  <a:pt x="2828657" y="2573448"/>
                  <a:pt x="3079083" y="2605690"/>
                </a:cubicBezTo>
                <a:cubicBezTo>
                  <a:pt x="3342409" y="2644376"/>
                  <a:pt x="3598210" y="2625034"/>
                  <a:pt x="3855086" y="2618587"/>
                </a:cubicBezTo>
                <a:cubicBezTo>
                  <a:pt x="4118412" y="2612137"/>
                  <a:pt x="4375287" y="2605690"/>
                  <a:pt x="4638609" y="2605690"/>
                </a:cubicBezTo>
                <a:cubicBezTo>
                  <a:pt x="4894408" y="2599243"/>
                  <a:pt x="5138382" y="2522941"/>
                  <a:pt x="5388806" y="2445566"/>
                </a:cubicBezTo>
                <a:cubicBezTo>
                  <a:pt x="5895026" y="2298334"/>
                  <a:pt x="6395880" y="2131768"/>
                  <a:pt x="6896204" y="1926509"/>
                </a:cubicBezTo>
                <a:cubicBezTo>
                  <a:pt x="7145542" y="1823342"/>
                  <a:pt x="7395953" y="1765311"/>
                  <a:pt x="7652812" y="1689010"/>
                </a:cubicBezTo>
                <a:cubicBezTo>
                  <a:pt x="7774257" y="1650323"/>
                  <a:pt x="7903224" y="1611636"/>
                  <a:pt x="8024668" y="1566500"/>
                </a:cubicBezTo>
                <a:cubicBezTo>
                  <a:pt x="8139664" y="1522439"/>
                  <a:pt x="8480353" y="1367690"/>
                  <a:pt x="8530865" y="1348346"/>
                </a:cubicBezTo>
                <a:cubicBezTo>
                  <a:pt x="8588900" y="1330077"/>
                  <a:pt x="8653384" y="1304285"/>
                  <a:pt x="8711419" y="1284941"/>
                </a:cubicBezTo>
                <a:cubicBezTo>
                  <a:pt x="8839312" y="1233358"/>
                  <a:pt x="8960756" y="1188223"/>
                  <a:pt x="9089723" y="1136639"/>
                </a:cubicBezTo>
                <a:cubicBezTo>
                  <a:pt x="9340135" y="1040978"/>
                  <a:pt x="9595920" y="937813"/>
                  <a:pt x="9846331" y="848618"/>
                </a:cubicBezTo>
                <a:cubicBezTo>
                  <a:pt x="10347154" y="662706"/>
                  <a:pt x="10852276" y="489690"/>
                  <a:pt x="11359547" y="347838"/>
                </a:cubicBezTo>
                <a:cubicBezTo>
                  <a:pt x="11609959" y="277987"/>
                  <a:pt x="11865744" y="213509"/>
                  <a:pt x="12122604" y="174822"/>
                </a:cubicBezTo>
                <a:cubicBezTo>
                  <a:pt x="12379464" y="136135"/>
                  <a:pt x="12642772" y="110344"/>
                  <a:pt x="12898557" y="79180"/>
                </a:cubicBezTo>
                <a:cubicBezTo>
                  <a:pt x="13155417" y="53388"/>
                  <a:pt x="13418725" y="27597"/>
                  <a:pt x="13675585" y="14702"/>
                </a:cubicBezTo>
                <a:cubicBezTo>
                  <a:pt x="13706752" y="14702"/>
                  <a:pt x="13745442" y="14702"/>
                  <a:pt x="13777684" y="8254"/>
                </a:cubicBezTo>
                <a:cubicBezTo>
                  <a:pt x="13803477" y="8254"/>
                  <a:pt x="13829271" y="-4642"/>
                  <a:pt x="13855064" y="1806"/>
                </a:cubicBezTo>
                <a:close/>
              </a:path>
            </a:pathLst>
          </a:custGeom>
          <a:effectLst/>
        </p:spPr>
        <p:txBody>
          <a:bodyPr wrap="square">
            <a:no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Tree>
    <p:extLst>
      <p:ext uri="{BB962C8B-B14F-4D97-AF65-F5344CB8AC3E}">
        <p14:creationId xmlns:p14="http://schemas.microsoft.com/office/powerpoint/2010/main" val="1622546290"/>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rush Left">
    <p:spTree>
      <p:nvGrpSpPr>
        <p:cNvPr id="1" name=""/>
        <p:cNvGrpSpPr/>
        <p:nvPr/>
      </p:nvGrpSpPr>
      <p:grpSpPr>
        <a:xfrm>
          <a:off x="0" y="0"/>
          <a:ext cx="0" cy="0"/>
          <a:chOff x="0" y="0"/>
          <a:chExt cx="0" cy="0"/>
        </a:xfrm>
      </p:grpSpPr>
      <p:sp>
        <p:nvSpPr>
          <p:cNvPr id="7" name="Picture Placeholder 6"/>
          <p:cNvSpPr>
            <a:spLocks noGrp="1"/>
          </p:cNvSpPr>
          <p:nvPr>
            <p:ph type="pic" sz="quarter" idx="19"/>
          </p:nvPr>
        </p:nvSpPr>
        <p:spPr>
          <a:xfrm>
            <a:off x="895445" y="385311"/>
            <a:ext cx="4575467" cy="4753893"/>
          </a:xfrm>
          <a:custGeom>
            <a:avLst/>
            <a:gdLst>
              <a:gd name="connsiteX0" fmla="*/ 7604327 w 9148551"/>
              <a:gd name="connsiteY0" fmla="*/ 4231262 h 9507786"/>
              <a:gd name="connsiteX1" fmla="*/ 7604327 w 9148551"/>
              <a:gd name="connsiteY1" fmla="*/ 4373596 h 9507786"/>
              <a:gd name="connsiteX2" fmla="*/ 7604327 w 9148551"/>
              <a:gd name="connsiteY2" fmla="*/ 4231262 h 9507786"/>
              <a:gd name="connsiteX3" fmla="*/ 4947769 w 9148551"/>
              <a:gd name="connsiteY3" fmla="*/ 1631 h 9507786"/>
              <a:gd name="connsiteX4" fmla="*/ 5628644 w 9148551"/>
              <a:gd name="connsiteY4" fmla="*/ 79433 h 9507786"/>
              <a:gd name="connsiteX5" fmla="*/ 5561099 w 9148551"/>
              <a:gd name="connsiteY5" fmla="*/ 110191 h 9507786"/>
              <a:gd name="connsiteX6" fmla="*/ 6553766 w 9148551"/>
              <a:gd name="connsiteY6" fmla="*/ 425619 h 9507786"/>
              <a:gd name="connsiteX7" fmla="*/ 7489139 w 9148551"/>
              <a:gd name="connsiteY7" fmla="*/ 984102 h 9507786"/>
              <a:gd name="connsiteX8" fmla="*/ 8265301 w 9148551"/>
              <a:gd name="connsiteY8" fmla="*/ 1747040 h 9507786"/>
              <a:gd name="connsiteX9" fmla="*/ 8810483 w 9148551"/>
              <a:gd name="connsiteY9" fmla="*/ 2621553 h 9507786"/>
              <a:gd name="connsiteX10" fmla="*/ 8949794 w 9148551"/>
              <a:gd name="connsiteY10" fmla="*/ 2936378 h 9507786"/>
              <a:gd name="connsiteX11" fmla="*/ 9075234 w 9148551"/>
              <a:gd name="connsiteY11" fmla="*/ 3299453 h 9507786"/>
              <a:gd name="connsiteX12" fmla="*/ 9136145 w 9148551"/>
              <a:gd name="connsiteY12" fmla="*/ 3722838 h 9507786"/>
              <a:gd name="connsiteX13" fmla="*/ 8922655 w 9148551"/>
              <a:gd name="connsiteY13" fmla="*/ 3173402 h 9507786"/>
              <a:gd name="connsiteX14" fmla="*/ 8739923 w 9148551"/>
              <a:gd name="connsiteY14" fmla="*/ 2753635 h 9507786"/>
              <a:gd name="connsiteX15" fmla="*/ 8569855 w 9148551"/>
              <a:gd name="connsiteY15" fmla="*/ 2455095 h 9507786"/>
              <a:gd name="connsiteX16" fmla="*/ 8682027 w 9148551"/>
              <a:gd name="connsiteY16" fmla="*/ 2682468 h 9507786"/>
              <a:gd name="connsiteX17" fmla="*/ 8800231 w 9148551"/>
              <a:gd name="connsiteY17" fmla="*/ 2956884 h 9507786"/>
              <a:gd name="connsiteX18" fmla="*/ 8875012 w 9148551"/>
              <a:gd name="connsiteY18" fmla="*/ 3281962 h 9507786"/>
              <a:gd name="connsiteX19" fmla="*/ 8712784 w 9148551"/>
              <a:gd name="connsiteY19" fmla="*/ 2970153 h 9507786"/>
              <a:gd name="connsiteX20" fmla="*/ 8248415 w 9148551"/>
              <a:gd name="connsiteY20" fmla="*/ 2201184 h 9507786"/>
              <a:gd name="connsiteX21" fmla="*/ 7557287 w 9148551"/>
              <a:gd name="connsiteY21" fmla="*/ 1448499 h 9507786"/>
              <a:gd name="connsiteX22" fmla="*/ 6696091 w 9148551"/>
              <a:gd name="connsiteY22" fmla="*/ 865892 h 9507786"/>
              <a:gd name="connsiteX23" fmla="*/ 5811980 w 9148551"/>
              <a:gd name="connsiteY23" fmla="*/ 533577 h 9507786"/>
              <a:gd name="connsiteX24" fmla="*/ 5673272 w 9148551"/>
              <a:gd name="connsiteY24" fmla="*/ 540814 h 9507786"/>
              <a:gd name="connsiteX25" fmla="*/ 6591156 w 9148551"/>
              <a:gd name="connsiteY25" fmla="*/ 879160 h 9507786"/>
              <a:gd name="connsiteX26" fmla="*/ 7425213 w 9148551"/>
              <a:gd name="connsiteY26" fmla="*/ 1438246 h 9507786"/>
              <a:gd name="connsiteX27" fmla="*/ 8106088 w 9148551"/>
              <a:gd name="connsiteY27" fmla="*/ 2184297 h 9507786"/>
              <a:gd name="connsiteX28" fmla="*/ 8580710 w 9148551"/>
              <a:gd name="connsiteY28" fmla="*/ 3048558 h 9507786"/>
              <a:gd name="connsiteX29" fmla="*/ 8682027 w 9148551"/>
              <a:gd name="connsiteY29" fmla="*/ 3332624 h 9507786"/>
              <a:gd name="connsiteX30" fmla="*/ 8770077 w 9148551"/>
              <a:gd name="connsiteY30" fmla="*/ 3672176 h 9507786"/>
              <a:gd name="connsiteX31" fmla="*/ 8790581 w 9148551"/>
              <a:gd name="connsiteY31" fmla="*/ 4041281 h 9507786"/>
              <a:gd name="connsiteX32" fmla="*/ 8732686 w 9148551"/>
              <a:gd name="connsiteY32" fmla="*/ 3861554 h 9507786"/>
              <a:gd name="connsiteX33" fmla="*/ 8661523 w 9148551"/>
              <a:gd name="connsiteY33" fmla="*/ 3604024 h 9507786"/>
              <a:gd name="connsiteX34" fmla="*/ 8492058 w 9148551"/>
              <a:gd name="connsiteY34" fmla="*/ 3166768 h 9507786"/>
              <a:gd name="connsiteX35" fmla="*/ 8451652 w 9148551"/>
              <a:gd name="connsiteY35" fmla="*/ 3241553 h 9507786"/>
              <a:gd name="connsiteX36" fmla="*/ 8359983 w 9148551"/>
              <a:gd name="connsiteY36" fmla="*/ 3055192 h 9507786"/>
              <a:gd name="connsiteX37" fmla="*/ 8227909 w 9148551"/>
              <a:gd name="connsiteY37" fmla="*/ 2797663 h 9507786"/>
              <a:gd name="connsiteX38" fmla="*/ 7753891 w 9148551"/>
              <a:gd name="connsiteY38" fmla="*/ 2160172 h 9507786"/>
              <a:gd name="connsiteX39" fmla="*/ 7309422 w 9148551"/>
              <a:gd name="connsiteY39" fmla="*/ 1777196 h 9507786"/>
              <a:gd name="connsiteX40" fmla="*/ 7821435 w 9148551"/>
              <a:gd name="connsiteY40" fmla="*/ 2360406 h 9507786"/>
              <a:gd name="connsiteX41" fmla="*/ 8197153 w 9148551"/>
              <a:gd name="connsiteY41" fmla="*/ 3011165 h 9507786"/>
              <a:gd name="connsiteX42" fmla="*/ 8190519 w 9148551"/>
              <a:gd name="connsiteY42" fmla="*/ 3105853 h 9507786"/>
              <a:gd name="connsiteX43" fmla="*/ 7984266 w 9148551"/>
              <a:gd name="connsiteY43" fmla="*/ 2763285 h 9507786"/>
              <a:gd name="connsiteX44" fmla="*/ 7668857 w 9148551"/>
              <a:gd name="connsiteY44" fmla="*/ 2306126 h 9507786"/>
              <a:gd name="connsiteX45" fmla="*/ 7319675 w 9148551"/>
              <a:gd name="connsiteY45" fmla="*/ 1926768 h 9507786"/>
              <a:gd name="connsiteX46" fmla="*/ 6984363 w 9148551"/>
              <a:gd name="connsiteY46" fmla="*/ 1642098 h 9507786"/>
              <a:gd name="connsiteX47" fmla="*/ 7319675 w 9148551"/>
              <a:gd name="connsiteY47" fmla="*/ 1943052 h 9507786"/>
              <a:gd name="connsiteX48" fmla="*/ 7624831 w 9148551"/>
              <a:gd name="connsiteY48" fmla="*/ 2295872 h 9507786"/>
              <a:gd name="connsiteX49" fmla="*/ 7902851 w 9148551"/>
              <a:gd name="connsiteY49" fmla="*/ 2705989 h 9507786"/>
              <a:gd name="connsiteX50" fmla="*/ 7990297 w 9148551"/>
              <a:gd name="connsiteY50" fmla="*/ 2963519 h 9507786"/>
              <a:gd name="connsiteX51" fmla="*/ 7817817 w 9148551"/>
              <a:gd name="connsiteY51" fmla="*/ 2730114 h 9507786"/>
              <a:gd name="connsiteX52" fmla="*/ 7553669 w 9148551"/>
              <a:gd name="connsiteY52" fmla="*/ 2357390 h 9507786"/>
              <a:gd name="connsiteX53" fmla="*/ 7272031 w 9148551"/>
              <a:gd name="connsiteY53" fmla="*/ 2061865 h 9507786"/>
              <a:gd name="connsiteX54" fmla="*/ 6984363 w 9148551"/>
              <a:gd name="connsiteY54" fmla="*/ 1801320 h 9507786"/>
              <a:gd name="connsiteX55" fmla="*/ 7109803 w 9148551"/>
              <a:gd name="connsiteY55" fmla="*/ 1933402 h 9507786"/>
              <a:gd name="connsiteX56" fmla="*/ 7194234 w 9148551"/>
              <a:gd name="connsiteY56" fmla="*/ 2052215 h 9507786"/>
              <a:gd name="connsiteX57" fmla="*/ 7373951 w 9148551"/>
              <a:gd name="connsiteY57" fmla="*/ 2238577 h 9507786"/>
              <a:gd name="connsiteX58" fmla="*/ 7662223 w 9148551"/>
              <a:gd name="connsiteY58" fmla="*/ 2604063 h 9507786"/>
              <a:gd name="connsiteX59" fmla="*/ 7821435 w 9148551"/>
              <a:gd name="connsiteY59" fmla="*/ 2892351 h 9507786"/>
              <a:gd name="connsiteX60" fmla="*/ 7706247 w 9148551"/>
              <a:gd name="connsiteY60" fmla="*/ 2800678 h 9507786"/>
              <a:gd name="connsiteX61" fmla="*/ 7465619 w 9148551"/>
              <a:gd name="connsiteY61" fmla="*/ 2489472 h 9507786"/>
              <a:gd name="connsiteX62" fmla="*/ 7509644 w 9148551"/>
              <a:gd name="connsiteY62" fmla="*/ 2580542 h 9507786"/>
              <a:gd name="connsiteX63" fmla="*/ 7536783 w 9148551"/>
              <a:gd name="connsiteY63" fmla="*/ 2668596 h 9507786"/>
              <a:gd name="connsiteX64" fmla="*/ 7692377 w 9148551"/>
              <a:gd name="connsiteY64" fmla="*/ 2912857 h 9507786"/>
              <a:gd name="connsiteX65" fmla="*/ 7773792 w 9148551"/>
              <a:gd name="connsiteY65" fmla="*/ 3095600 h 9507786"/>
              <a:gd name="connsiteX66" fmla="*/ 7716499 w 9148551"/>
              <a:gd name="connsiteY66" fmla="*/ 3071476 h 9507786"/>
              <a:gd name="connsiteX67" fmla="*/ 7648955 w 9148551"/>
              <a:gd name="connsiteY67" fmla="*/ 2994277 h 9507786"/>
              <a:gd name="connsiteX68" fmla="*/ 7838321 w 9148551"/>
              <a:gd name="connsiteY68" fmla="*/ 3434550 h 9507786"/>
              <a:gd name="connsiteX69" fmla="*/ 7817817 w 9148551"/>
              <a:gd name="connsiteY69" fmla="*/ 3471943 h 9507786"/>
              <a:gd name="connsiteX70" fmla="*/ 7858223 w 9148551"/>
              <a:gd name="connsiteY70" fmla="*/ 3783752 h 9507786"/>
              <a:gd name="connsiteX71" fmla="*/ 7753891 w 9148551"/>
              <a:gd name="connsiteY71" fmla="*/ 3590756 h 9507786"/>
              <a:gd name="connsiteX72" fmla="*/ 7648955 w 9148551"/>
              <a:gd name="connsiteY72" fmla="*/ 3417663 h 9507786"/>
              <a:gd name="connsiteX73" fmla="*/ 7641718 w 9148551"/>
              <a:gd name="connsiteY73" fmla="*/ 3482195 h 9507786"/>
              <a:gd name="connsiteX74" fmla="*/ 7631465 w 9148551"/>
              <a:gd name="connsiteY74" fmla="*/ 3563616 h 9507786"/>
              <a:gd name="connsiteX75" fmla="*/ 7543416 w 9148551"/>
              <a:gd name="connsiteY75" fmla="*/ 3431534 h 9507786"/>
              <a:gd name="connsiteX76" fmla="*/ 7411342 w 9148551"/>
              <a:gd name="connsiteY76" fmla="*/ 3210795 h 9507786"/>
              <a:gd name="connsiteX77" fmla="*/ 7092917 w 9148551"/>
              <a:gd name="connsiteY77" fmla="*/ 2773538 h 9507786"/>
              <a:gd name="connsiteX78" fmla="*/ 7445115 w 9148551"/>
              <a:gd name="connsiteY78" fmla="*/ 3421281 h 9507786"/>
              <a:gd name="connsiteX79" fmla="*/ 7648955 w 9148551"/>
              <a:gd name="connsiteY79" fmla="*/ 4196884 h 9507786"/>
              <a:gd name="connsiteX80" fmla="*/ 7668857 w 9148551"/>
              <a:gd name="connsiteY80" fmla="*/ 4481554 h 9507786"/>
              <a:gd name="connsiteX81" fmla="*/ 7654985 w 9148551"/>
              <a:gd name="connsiteY81" fmla="*/ 4681787 h 9507786"/>
              <a:gd name="connsiteX82" fmla="*/ 7577189 w 9148551"/>
              <a:gd name="connsiteY82" fmla="*/ 4478538 h 9507786"/>
              <a:gd name="connsiteX83" fmla="*/ 7533164 w 9148551"/>
              <a:gd name="connsiteY83" fmla="*/ 4495425 h 9507786"/>
              <a:gd name="connsiteX84" fmla="*/ 7452351 w 9148551"/>
              <a:gd name="connsiteY84" fmla="*/ 3953227 h 9507786"/>
              <a:gd name="connsiteX85" fmla="*/ 7509644 w 9148551"/>
              <a:gd name="connsiteY85" fmla="*/ 4346456 h 9507786"/>
              <a:gd name="connsiteX86" fmla="*/ 7489139 w 9148551"/>
              <a:gd name="connsiteY86" fmla="*/ 4620270 h 9507786"/>
              <a:gd name="connsiteX87" fmla="*/ 7420991 w 9148551"/>
              <a:gd name="connsiteY87" fmla="*/ 4471301 h 9507786"/>
              <a:gd name="connsiteX88" fmla="*/ 7353447 w 9148551"/>
              <a:gd name="connsiteY88" fmla="*/ 4139589 h 9507786"/>
              <a:gd name="connsiteX89" fmla="*/ 7099551 w 9148551"/>
              <a:gd name="connsiteY89" fmla="*/ 3464705 h 9507786"/>
              <a:gd name="connsiteX90" fmla="*/ 7116437 w 9148551"/>
              <a:gd name="connsiteY90" fmla="*/ 3627546 h 9507786"/>
              <a:gd name="connsiteX91" fmla="*/ 7106185 w 9148551"/>
              <a:gd name="connsiteY91" fmla="*/ 3732487 h 9507786"/>
              <a:gd name="connsiteX92" fmla="*/ 7052511 w 9148551"/>
              <a:gd name="connsiteY92" fmla="*/ 3593771 h 9507786"/>
              <a:gd name="connsiteX93" fmla="*/ 7015120 w 9148551"/>
              <a:gd name="connsiteY93" fmla="*/ 3444802 h 9507786"/>
              <a:gd name="connsiteX94" fmla="*/ 6936720 w 9148551"/>
              <a:gd name="connsiteY94" fmla="*/ 3190289 h 9507786"/>
              <a:gd name="connsiteX95" fmla="*/ 6791378 w 9148551"/>
              <a:gd name="connsiteY95" fmla="*/ 2973772 h 9507786"/>
              <a:gd name="connsiteX96" fmla="*/ 6628547 w 9148551"/>
              <a:gd name="connsiteY96" fmla="*/ 2780775 h 9507786"/>
              <a:gd name="connsiteX97" fmla="*/ 6726849 w 9148551"/>
              <a:gd name="connsiteY97" fmla="*/ 2919491 h 9507786"/>
              <a:gd name="connsiteX98" fmla="*/ 6791378 w 9148551"/>
              <a:gd name="connsiteY98" fmla="*/ 3095600 h 9507786"/>
              <a:gd name="connsiteX99" fmla="*/ 6811279 w 9148551"/>
              <a:gd name="connsiteY99" fmla="*/ 3221048 h 9507786"/>
              <a:gd name="connsiteX100" fmla="*/ 6737101 w 9148551"/>
              <a:gd name="connsiteY100" fmla="*/ 3105853 h 9507786"/>
              <a:gd name="connsiteX101" fmla="*/ 6679809 w 9148551"/>
              <a:gd name="connsiteY101" fmla="*/ 2994277 h 9507786"/>
              <a:gd name="connsiteX102" fmla="*/ 6591156 w 9148551"/>
              <a:gd name="connsiteY102" fmla="*/ 2804297 h 9507786"/>
              <a:gd name="connsiteX103" fmla="*/ 6391538 w 9148551"/>
              <a:gd name="connsiteY103" fmla="*/ 2580542 h 9507786"/>
              <a:gd name="connsiteX104" fmla="*/ 6110503 w 9148551"/>
              <a:gd name="connsiteY104" fmla="*/ 2377293 h 9507786"/>
              <a:gd name="connsiteX105" fmla="*/ 5937420 w 9148551"/>
              <a:gd name="connsiteY105" fmla="*/ 2275970 h 9507786"/>
              <a:gd name="connsiteX106" fmla="*/ 5811980 w 9148551"/>
              <a:gd name="connsiteY106" fmla="*/ 2231340 h 9507786"/>
              <a:gd name="connsiteX107" fmla="*/ 6004965 w 9148551"/>
              <a:gd name="connsiteY107" fmla="*/ 2373674 h 9507786"/>
              <a:gd name="connsiteX108" fmla="*/ 6394553 w 9148551"/>
              <a:gd name="connsiteY108" fmla="*/ 2743382 h 9507786"/>
              <a:gd name="connsiteX109" fmla="*/ 6478984 w 9148551"/>
              <a:gd name="connsiteY109" fmla="*/ 2848324 h 9507786"/>
              <a:gd name="connsiteX110" fmla="*/ 6465716 w 9148551"/>
              <a:gd name="connsiteY110" fmla="*/ 2882098 h 9507786"/>
              <a:gd name="connsiteX111" fmla="*/ 6340276 w 9148551"/>
              <a:gd name="connsiteY111" fmla="*/ 2766904 h 9507786"/>
              <a:gd name="connsiteX112" fmla="*/ 6235340 w 9148551"/>
              <a:gd name="connsiteY112" fmla="*/ 2651709 h 9507786"/>
              <a:gd name="connsiteX113" fmla="*/ 5971192 w 9148551"/>
              <a:gd name="connsiteY113" fmla="*/ 2431573 h 9507786"/>
              <a:gd name="connsiteX114" fmla="*/ 5493555 w 9148551"/>
              <a:gd name="connsiteY114" fmla="*/ 2211437 h 9507786"/>
              <a:gd name="connsiteX115" fmla="*/ 5408521 w 9148551"/>
              <a:gd name="connsiteY115" fmla="*/ 2218071 h 9507786"/>
              <a:gd name="connsiteX116" fmla="*/ 5225788 w 9148551"/>
              <a:gd name="connsiteY116" fmla="*/ 2180678 h 9507786"/>
              <a:gd name="connsiteX117" fmla="*/ 4994809 w 9148551"/>
              <a:gd name="connsiteY117" fmla="*/ 2143888 h 9507786"/>
              <a:gd name="connsiteX118" fmla="*/ 4527424 w 9148551"/>
              <a:gd name="connsiteY118" fmla="*/ 2139666 h 9507786"/>
              <a:gd name="connsiteX119" fmla="*/ 5002046 w 9148551"/>
              <a:gd name="connsiteY119" fmla="*/ 2177059 h 9507786"/>
              <a:gd name="connsiteX120" fmla="*/ 6241974 w 9148551"/>
              <a:gd name="connsiteY120" fmla="*/ 2770522 h 9507786"/>
              <a:gd name="connsiteX121" fmla="*/ 6299870 w 9148551"/>
              <a:gd name="connsiteY121" fmla="*/ 2865211 h 9507786"/>
              <a:gd name="connsiteX122" fmla="*/ 6306504 w 9148551"/>
              <a:gd name="connsiteY122" fmla="*/ 2926729 h 9507786"/>
              <a:gd name="connsiteX123" fmla="*/ 6438578 w 9148551"/>
              <a:gd name="connsiteY123" fmla="*/ 3136009 h 9507786"/>
              <a:gd name="connsiteX124" fmla="*/ 6492855 w 9148551"/>
              <a:gd name="connsiteY124" fmla="*/ 3312721 h 9507786"/>
              <a:gd name="connsiteX125" fmla="*/ 6425310 w 9148551"/>
              <a:gd name="connsiteY125" fmla="*/ 3227682 h 9507786"/>
              <a:gd name="connsiteX126" fmla="*/ 6319771 w 9148551"/>
              <a:gd name="connsiteY126" fmla="*/ 3136009 h 9507786"/>
              <a:gd name="connsiteX127" fmla="*/ 6089999 w 9148551"/>
              <a:gd name="connsiteY127" fmla="*/ 2916476 h 9507786"/>
              <a:gd name="connsiteX128" fmla="*/ 6130405 w 9148551"/>
              <a:gd name="connsiteY128" fmla="*/ 2994277 h 9507786"/>
              <a:gd name="connsiteX129" fmla="*/ 6120153 w 9148551"/>
              <a:gd name="connsiteY129" fmla="*/ 3034686 h 9507786"/>
              <a:gd name="connsiteX130" fmla="*/ 6001346 w 9148551"/>
              <a:gd name="connsiteY130" fmla="*/ 2895367 h 9507786"/>
              <a:gd name="connsiteX131" fmla="*/ 5897014 w 9148551"/>
              <a:gd name="connsiteY131" fmla="*/ 2773538 h 9507786"/>
              <a:gd name="connsiteX132" fmla="*/ 5682921 w 9148551"/>
              <a:gd name="connsiteY132" fmla="*/ 2648694 h 9507786"/>
              <a:gd name="connsiteX133" fmla="*/ 5429025 w 9148551"/>
              <a:gd name="connsiteY133" fmla="*/ 2557021 h 9507786"/>
              <a:gd name="connsiteX134" fmla="*/ 4791572 w 9148551"/>
              <a:gd name="connsiteY134" fmla="*/ 2462332 h 9507786"/>
              <a:gd name="connsiteX135" fmla="*/ 4161958 w 9148551"/>
              <a:gd name="connsiteY135" fmla="*/ 2539530 h 9507786"/>
              <a:gd name="connsiteX136" fmla="*/ 3568530 w 9148551"/>
              <a:gd name="connsiteY136" fmla="*/ 2790425 h 9507786"/>
              <a:gd name="connsiteX137" fmla="*/ 3053501 w 9148551"/>
              <a:gd name="connsiteY137" fmla="*/ 3221048 h 9507786"/>
              <a:gd name="connsiteX138" fmla="*/ 2802621 w 9148551"/>
              <a:gd name="connsiteY138" fmla="*/ 3576884 h 9507786"/>
              <a:gd name="connsiteX139" fmla="*/ 2609636 w 9148551"/>
              <a:gd name="connsiteY139" fmla="*/ 3959861 h 9507786"/>
              <a:gd name="connsiteX140" fmla="*/ 2569230 w 9148551"/>
              <a:gd name="connsiteY140" fmla="*/ 4031028 h 9507786"/>
              <a:gd name="connsiteX141" fmla="*/ 2660294 w 9148551"/>
              <a:gd name="connsiteY141" fmla="*/ 3736106 h 9507786"/>
              <a:gd name="connsiteX142" fmla="*/ 2833378 w 9148551"/>
              <a:gd name="connsiteY142" fmla="*/ 3427915 h 9507786"/>
              <a:gd name="connsiteX143" fmla="*/ 3080640 w 9148551"/>
              <a:gd name="connsiteY143" fmla="*/ 3116106 h 9507786"/>
              <a:gd name="connsiteX144" fmla="*/ 3300763 w 9148551"/>
              <a:gd name="connsiteY144" fmla="*/ 2912857 h 9507786"/>
              <a:gd name="connsiteX145" fmla="*/ 3917712 w 9148551"/>
              <a:gd name="connsiteY145" fmla="*/ 2553402 h 9507786"/>
              <a:gd name="connsiteX146" fmla="*/ 4608839 w 9148551"/>
              <a:gd name="connsiteY146" fmla="*/ 2400814 h 9507786"/>
              <a:gd name="connsiteX147" fmla="*/ 3504000 w 9148551"/>
              <a:gd name="connsiteY147" fmla="*/ 2702974 h 9507786"/>
              <a:gd name="connsiteX148" fmla="*/ 2653660 w 9148551"/>
              <a:gd name="connsiteY148" fmla="*/ 3546125 h 9507786"/>
              <a:gd name="connsiteX149" fmla="*/ 2507716 w 9148551"/>
              <a:gd name="connsiteY149" fmla="*/ 3847682 h 9507786"/>
              <a:gd name="connsiteX150" fmla="*/ 2470325 w 9148551"/>
              <a:gd name="connsiteY150" fmla="*/ 4007507 h 9507786"/>
              <a:gd name="connsiteX151" fmla="*/ 2440171 w 9148551"/>
              <a:gd name="connsiteY151" fmla="*/ 4196884 h 9507786"/>
              <a:gd name="connsiteX152" fmla="*/ 2362374 w 9148551"/>
              <a:gd name="connsiteY152" fmla="*/ 4529200 h 9507786"/>
              <a:gd name="connsiteX153" fmla="*/ 2315334 w 9148551"/>
              <a:gd name="connsiteY153" fmla="*/ 4860912 h 9507786"/>
              <a:gd name="connsiteX154" fmla="*/ 2402780 w 9148551"/>
              <a:gd name="connsiteY154" fmla="*/ 5380192 h 9507786"/>
              <a:gd name="connsiteX155" fmla="*/ 2630140 w 9148551"/>
              <a:gd name="connsiteY155" fmla="*/ 5912137 h 9507786"/>
              <a:gd name="connsiteX156" fmla="*/ 3317649 w 9148551"/>
              <a:gd name="connsiteY156" fmla="*/ 6701009 h 9507786"/>
              <a:gd name="connsiteX157" fmla="*/ 3609539 w 9148551"/>
              <a:gd name="connsiteY157" fmla="*/ 6843947 h 9507786"/>
              <a:gd name="connsiteX158" fmla="*/ 3866450 w 9148551"/>
              <a:gd name="connsiteY158" fmla="*/ 6881340 h 9507786"/>
              <a:gd name="connsiteX159" fmla="*/ 4164974 w 9148551"/>
              <a:gd name="connsiteY159" fmla="*/ 6914511 h 9507786"/>
              <a:gd name="connsiteX160" fmla="*/ 4507522 w 9148551"/>
              <a:gd name="connsiteY160" fmla="*/ 6938636 h 9507786"/>
              <a:gd name="connsiteX161" fmla="*/ 4856101 w 9148551"/>
              <a:gd name="connsiteY161" fmla="*/ 6968791 h 9507786"/>
              <a:gd name="connsiteX162" fmla="*/ 4680002 w 9148551"/>
              <a:gd name="connsiteY162" fmla="*/ 7053830 h 9507786"/>
              <a:gd name="connsiteX163" fmla="*/ 4375448 w 9148551"/>
              <a:gd name="connsiteY163" fmla="*/ 7077352 h 9507786"/>
              <a:gd name="connsiteX164" fmla="*/ 4202365 w 9148551"/>
              <a:gd name="connsiteY164" fmla="*/ 7080970 h 9507786"/>
              <a:gd name="connsiteX165" fmla="*/ 4564815 w 9148551"/>
              <a:gd name="connsiteY165" fmla="*/ 7128013 h 9507786"/>
              <a:gd name="connsiteX166" fmla="*/ 4853086 w 9148551"/>
              <a:gd name="connsiteY166" fmla="*/ 7091223 h 9507786"/>
              <a:gd name="connsiteX167" fmla="*/ 4974908 w 9148551"/>
              <a:gd name="connsiteY167" fmla="*/ 7121379 h 9507786"/>
              <a:gd name="connsiteX168" fmla="*/ 5208902 w 9148551"/>
              <a:gd name="connsiteY168" fmla="*/ 7091223 h 9507786"/>
              <a:gd name="connsiteX169" fmla="*/ 5469431 w 9148551"/>
              <a:gd name="connsiteY169" fmla="*/ 7023071 h 9507786"/>
              <a:gd name="connsiteX170" fmla="*/ 5713678 w 9148551"/>
              <a:gd name="connsiteY170" fmla="*/ 6935017 h 9507786"/>
              <a:gd name="connsiteX171" fmla="*/ 5886761 w 9148551"/>
              <a:gd name="connsiteY171" fmla="*/ 6871087 h 9507786"/>
              <a:gd name="connsiteX172" fmla="*/ 5822232 w 9148551"/>
              <a:gd name="connsiteY172" fmla="*/ 6941651 h 9507786"/>
              <a:gd name="connsiteX173" fmla="*/ 5805346 w 9148551"/>
              <a:gd name="connsiteY173" fmla="*/ 7006184 h 9507786"/>
              <a:gd name="connsiteX174" fmla="*/ 6008583 w 9148551"/>
              <a:gd name="connsiteY174" fmla="*/ 6908480 h 9507786"/>
              <a:gd name="connsiteX175" fmla="*/ 6143673 w 9148551"/>
              <a:gd name="connsiteY175" fmla="*/ 6850581 h 9507786"/>
              <a:gd name="connsiteX176" fmla="*/ 5977826 w 9148551"/>
              <a:gd name="connsiteY176" fmla="*/ 6999550 h 9507786"/>
              <a:gd name="connsiteX177" fmla="*/ 5740817 w 9148551"/>
              <a:gd name="connsiteY177" fmla="*/ 7141885 h 9507786"/>
              <a:gd name="connsiteX178" fmla="*/ 5733580 w 9148551"/>
              <a:gd name="connsiteY178" fmla="*/ 7189531 h 9507786"/>
              <a:gd name="connsiteX179" fmla="*/ 5486921 w 9148551"/>
              <a:gd name="connsiteY179" fmla="*/ 7291457 h 9507786"/>
              <a:gd name="connsiteX180" fmla="*/ 5215536 w 9148551"/>
              <a:gd name="connsiteY180" fmla="*/ 7362021 h 9507786"/>
              <a:gd name="connsiteX181" fmla="*/ 5052705 w 9148551"/>
              <a:gd name="connsiteY181" fmla="*/ 7416301 h 9507786"/>
              <a:gd name="connsiteX182" fmla="*/ 4934501 w 9148551"/>
              <a:gd name="connsiteY182" fmla="*/ 7453694 h 9507786"/>
              <a:gd name="connsiteX183" fmla="*/ 5530945 w 9148551"/>
              <a:gd name="connsiteY183" fmla="*/ 7338499 h 9507786"/>
              <a:gd name="connsiteX184" fmla="*/ 6126786 w 9148551"/>
              <a:gd name="connsiteY184" fmla="*/ 7070717 h 9507786"/>
              <a:gd name="connsiteX185" fmla="*/ 6665938 w 9148551"/>
              <a:gd name="connsiteY185" fmla="*/ 6650348 h 9507786"/>
              <a:gd name="connsiteX186" fmla="*/ 7089299 w 9148551"/>
              <a:gd name="connsiteY186" fmla="*/ 6105134 h 9507786"/>
              <a:gd name="connsiteX187" fmla="*/ 7187600 w 9148551"/>
              <a:gd name="connsiteY187" fmla="*/ 5918772 h 9507786"/>
              <a:gd name="connsiteX188" fmla="*/ 7296154 w 9148551"/>
              <a:gd name="connsiteY188" fmla="*/ 5664258 h 9507786"/>
              <a:gd name="connsiteX189" fmla="*/ 7420991 w 9148551"/>
              <a:gd name="connsiteY189" fmla="*/ 5308421 h 9507786"/>
              <a:gd name="connsiteX190" fmla="*/ 7441496 w 9148551"/>
              <a:gd name="connsiteY190" fmla="*/ 5410348 h 9507786"/>
              <a:gd name="connsiteX191" fmla="*/ 7393853 w 9148551"/>
              <a:gd name="connsiteY191" fmla="*/ 5637118 h 9507786"/>
              <a:gd name="connsiteX192" fmla="*/ 7092917 w 9148551"/>
              <a:gd name="connsiteY192" fmla="*/ 6321651 h 9507786"/>
              <a:gd name="connsiteX193" fmla="*/ 6588141 w 9148551"/>
              <a:gd name="connsiteY193" fmla="*/ 6914511 h 9507786"/>
              <a:gd name="connsiteX194" fmla="*/ 6869175 w 9148551"/>
              <a:gd name="connsiteY194" fmla="*/ 6647332 h 9507786"/>
              <a:gd name="connsiteX195" fmla="*/ 7170714 w 9148551"/>
              <a:gd name="connsiteY195" fmla="*/ 6254102 h 9507786"/>
              <a:gd name="connsiteX196" fmla="*/ 7276253 w 9148551"/>
              <a:gd name="connsiteY196" fmla="*/ 6067741 h 9507786"/>
              <a:gd name="connsiteX197" fmla="*/ 7398075 w 9148551"/>
              <a:gd name="connsiteY197" fmla="*/ 5813227 h 9507786"/>
              <a:gd name="connsiteX198" fmla="*/ 7539797 w 9148551"/>
              <a:gd name="connsiteY198" fmla="*/ 5467643 h 9507786"/>
              <a:gd name="connsiteX199" fmla="*/ 7543416 w 9148551"/>
              <a:gd name="connsiteY199" fmla="*/ 5552079 h 9507786"/>
              <a:gd name="connsiteX200" fmla="*/ 7519896 w 9148551"/>
              <a:gd name="connsiteY200" fmla="*/ 5691398 h 9507786"/>
              <a:gd name="connsiteX201" fmla="*/ 7045274 w 9148551"/>
              <a:gd name="connsiteY201" fmla="*/ 6637079 h 9507786"/>
              <a:gd name="connsiteX202" fmla="*/ 6984363 w 9148551"/>
              <a:gd name="connsiteY202" fmla="*/ 6762527 h 9507786"/>
              <a:gd name="connsiteX203" fmla="*/ 6669557 w 9148551"/>
              <a:gd name="connsiteY203" fmla="*/ 7091223 h 9507786"/>
              <a:gd name="connsiteX204" fmla="*/ 6350528 w 9148551"/>
              <a:gd name="connsiteY204" fmla="*/ 7359005 h 9507786"/>
              <a:gd name="connsiteX205" fmla="*/ 6818517 w 9148551"/>
              <a:gd name="connsiteY205" fmla="*/ 7003169 h 9507786"/>
              <a:gd name="connsiteX206" fmla="*/ 7238862 w 9148551"/>
              <a:gd name="connsiteY206" fmla="*/ 6528519 h 9507786"/>
              <a:gd name="connsiteX207" fmla="*/ 7560303 w 9148551"/>
              <a:gd name="connsiteY207" fmla="*/ 5969433 h 9507786"/>
              <a:gd name="connsiteX208" fmla="*/ 7750272 w 9148551"/>
              <a:gd name="connsiteY208" fmla="*/ 5383207 h 9507786"/>
              <a:gd name="connsiteX209" fmla="*/ 7811183 w 9148551"/>
              <a:gd name="connsiteY209" fmla="*/ 4986962 h 9507786"/>
              <a:gd name="connsiteX210" fmla="*/ 7855207 w 9148551"/>
              <a:gd name="connsiteY210" fmla="*/ 4702293 h 9507786"/>
              <a:gd name="connsiteX211" fmla="*/ 7888980 w 9148551"/>
              <a:gd name="connsiteY211" fmla="*/ 4868149 h 9507786"/>
              <a:gd name="connsiteX212" fmla="*/ 7885965 w 9148551"/>
              <a:gd name="connsiteY212" fmla="*/ 5138947 h 9507786"/>
              <a:gd name="connsiteX213" fmla="*/ 7797915 w 9148551"/>
              <a:gd name="connsiteY213" fmla="*/ 5684764 h 9507786"/>
              <a:gd name="connsiteX214" fmla="*/ 7888980 w 9148551"/>
              <a:gd name="connsiteY214" fmla="*/ 5366320 h 9507786"/>
              <a:gd name="connsiteX215" fmla="*/ 7953509 w 9148551"/>
              <a:gd name="connsiteY215" fmla="*/ 5193227 h 9507786"/>
              <a:gd name="connsiteX216" fmla="*/ 7949891 w 9148551"/>
              <a:gd name="connsiteY216" fmla="*/ 5423616 h 9507786"/>
              <a:gd name="connsiteX217" fmla="*/ 7872093 w 9148551"/>
              <a:gd name="connsiteY217" fmla="*/ 5786087 h 9507786"/>
              <a:gd name="connsiteX218" fmla="*/ 7797915 w 9148551"/>
              <a:gd name="connsiteY218" fmla="*/ 6061106 h 9507786"/>
              <a:gd name="connsiteX219" fmla="*/ 7746653 w 9148551"/>
              <a:gd name="connsiteY219" fmla="*/ 6284861 h 9507786"/>
              <a:gd name="connsiteX220" fmla="*/ 7872093 w 9148551"/>
              <a:gd name="connsiteY220" fmla="*/ 6040600 h 9507786"/>
              <a:gd name="connsiteX221" fmla="*/ 7993915 w 9148551"/>
              <a:gd name="connsiteY221" fmla="*/ 5715523 h 9507786"/>
              <a:gd name="connsiteX222" fmla="*/ 8075331 w 9148551"/>
              <a:gd name="connsiteY222" fmla="*/ 5393460 h 9507786"/>
              <a:gd name="connsiteX223" fmla="*/ 8136242 w 9148551"/>
              <a:gd name="connsiteY223" fmla="*/ 5159453 h 9507786"/>
              <a:gd name="connsiteX224" fmla="*/ 8139861 w 9148551"/>
              <a:gd name="connsiteY224" fmla="*/ 5393460 h 9507786"/>
              <a:gd name="connsiteX225" fmla="*/ 7770777 w 9148551"/>
              <a:gd name="connsiteY225" fmla="*/ 6454336 h 9507786"/>
              <a:gd name="connsiteX226" fmla="*/ 7872093 w 9148551"/>
              <a:gd name="connsiteY226" fmla="*/ 6369297 h 9507786"/>
              <a:gd name="connsiteX227" fmla="*/ 7617595 w 9148551"/>
              <a:gd name="connsiteY227" fmla="*/ 6843947 h 9507786"/>
              <a:gd name="connsiteX228" fmla="*/ 7238862 w 9148551"/>
              <a:gd name="connsiteY228" fmla="*/ 7314375 h 9507786"/>
              <a:gd name="connsiteX229" fmla="*/ 7627847 w 9148551"/>
              <a:gd name="connsiteY229" fmla="*/ 6871087 h 9507786"/>
              <a:gd name="connsiteX230" fmla="*/ 7960143 w 9148551"/>
              <a:gd name="connsiteY230" fmla="*/ 6307779 h 9507786"/>
              <a:gd name="connsiteX231" fmla="*/ 8183885 w 9148551"/>
              <a:gd name="connsiteY231" fmla="*/ 5708285 h 9507786"/>
              <a:gd name="connsiteX232" fmla="*/ 8258667 w 9148551"/>
              <a:gd name="connsiteY232" fmla="*/ 5386223 h 9507786"/>
              <a:gd name="connsiteX233" fmla="*/ 8315959 w 9148551"/>
              <a:gd name="connsiteY233" fmla="*/ 5166087 h 9507786"/>
              <a:gd name="connsiteX234" fmla="*/ 8312943 w 9148551"/>
              <a:gd name="connsiteY234" fmla="*/ 5393460 h 9507786"/>
              <a:gd name="connsiteX235" fmla="*/ 8238162 w 9148551"/>
              <a:gd name="connsiteY235" fmla="*/ 5758947 h 9507786"/>
              <a:gd name="connsiteX236" fmla="*/ 8048193 w 9148551"/>
              <a:gd name="connsiteY236" fmla="*/ 6291495 h 9507786"/>
              <a:gd name="connsiteX237" fmla="*/ 7760525 w 9148551"/>
              <a:gd name="connsiteY237" fmla="*/ 6809569 h 9507786"/>
              <a:gd name="connsiteX238" fmla="*/ 7411342 w 9148551"/>
              <a:gd name="connsiteY238" fmla="*/ 7260095 h 9507786"/>
              <a:gd name="connsiteX239" fmla="*/ 7062160 w 9148551"/>
              <a:gd name="connsiteY239" fmla="*/ 7606282 h 9507786"/>
              <a:gd name="connsiteX240" fmla="*/ 7249114 w 9148551"/>
              <a:gd name="connsiteY240" fmla="*/ 7443441 h 9507786"/>
              <a:gd name="connsiteX241" fmla="*/ 7441496 w 9148551"/>
              <a:gd name="connsiteY241" fmla="*/ 7243811 h 9507786"/>
              <a:gd name="connsiteX242" fmla="*/ 7658604 w 9148551"/>
              <a:gd name="connsiteY242" fmla="*/ 6989297 h 9507786"/>
              <a:gd name="connsiteX243" fmla="*/ 7790678 w 9148551"/>
              <a:gd name="connsiteY243" fmla="*/ 6846962 h 9507786"/>
              <a:gd name="connsiteX244" fmla="*/ 7726149 w 9148551"/>
              <a:gd name="connsiteY244" fmla="*/ 6972410 h 9507786"/>
              <a:gd name="connsiteX245" fmla="*/ 7601311 w 9148551"/>
              <a:gd name="connsiteY245" fmla="*/ 7141885 h 9507786"/>
              <a:gd name="connsiteX246" fmla="*/ 6699710 w 9148551"/>
              <a:gd name="connsiteY246" fmla="*/ 7992274 h 9507786"/>
              <a:gd name="connsiteX247" fmla="*/ 7272031 w 9148551"/>
              <a:gd name="connsiteY247" fmla="*/ 7616534 h 9507786"/>
              <a:gd name="connsiteX248" fmla="*/ 7855207 w 9148551"/>
              <a:gd name="connsiteY248" fmla="*/ 6976029 h 9507786"/>
              <a:gd name="connsiteX249" fmla="*/ 7993915 w 9148551"/>
              <a:gd name="connsiteY249" fmla="*/ 6904258 h 9507786"/>
              <a:gd name="connsiteX250" fmla="*/ 7803946 w 9148551"/>
              <a:gd name="connsiteY250" fmla="*/ 7192546 h 9507786"/>
              <a:gd name="connsiteX251" fmla="*/ 7563921 w 9148551"/>
              <a:gd name="connsiteY251" fmla="*/ 7477818 h 9507786"/>
              <a:gd name="connsiteX252" fmla="*/ 7336561 w 9148551"/>
              <a:gd name="connsiteY252" fmla="*/ 7724492 h 9507786"/>
              <a:gd name="connsiteX253" fmla="*/ 7045274 w 9148551"/>
              <a:gd name="connsiteY253" fmla="*/ 7955484 h 9507786"/>
              <a:gd name="connsiteX254" fmla="*/ 6669557 w 9148551"/>
              <a:gd name="connsiteY254" fmla="*/ 8223266 h 9507786"/>
              <a:gd name="connsiteX255" fmla="*/ 6364399 w 9148551"/>
              <a:gd name="connsiteY255" fmla="*/ 8409628 h 9507786"/>
              <a:gd name="connsiteX256" fmla="*/ 7336561 w 9148551"/>
              <a:gd name="connsiteY256" fmla="*/ 7778772 h 9507786"/>
              <a:gd name="connsiteX257" fmla="*/ 8054827 w 9148551"/>
              <a:gd name="connsiteY257" fmla="*/ 6924764 h 9507786"/>
              <a:gd name="connsiteX258" fmla="*/ 8258667 w 9148551"/>
              <a:gd name="connsiteY258" fmla="*/ 6568927 h 9507786"/>
              <a:gd name="connsiteX259" fmla="*/ 8397375 w 9148551"/>
              <a:gd name="connsiteY259" fmla="*/ 6345172 h 9507786"/>
              <a:gd name="connsiteX260" fmla="*/ 8312943 w 9148551"/>
              <a:gd name="connsiteY260" fmla="*/ 6599686 h 9507786"/>
              <a:gd name="connsiteX261" fmla="*/ 8112722 w 9148551"/>
              <a:gd name="connsiteY261" fmla="*/ 6962157 h 9507786"/>
              <a:gd name="connsiteX262" fmla="*/ 7861841 w 9148551"/>
              <a:gd name="connsiteY262" fmla="*/ 7311359 h 9507786"/>
              <a:gd name="connsiteX263" fmla="*/ 7587441 w 9148551"/>
              <a:gd name="connsiteY263" fmla="*/ 7626787 h 9507786"/>
              <a:gd name="connsiteX264" fmla="*/ 7404709 w 9148551"/>
              <a:gd name="connsiteY264" fmla="*/ 7833655 h 9507786"/>
              <a:gd name="connsiteX265" fmla="*/ 7153828 w 9148551"/>
              <a:gd name="connsiteY265" fmla="*/ 8039920 h 9507786"/>
              <a:gd name="connsiteX266" fmla="*/ 6611661 w 9148551"/>
              <a:gd name="connsiteY266" fmla="*/ 8422896 h 9507786"/>
              <a:gd name="connsiteX267" fmla="*/ 6777507 w 9148551"/>
              <a:gd name="connsiteY267" fmla="*/ 8375250 h 9507786"/>
              <a:gd name="connsiteX268" fmla="*/ 7058541 w 9148551"/>
              <a:gd name="connsiteY268" fmla="*/ 8293830 h 9507786"/>
              <a:gd name="connsiteX269" fmla="*/ 7038640 w 9148551"/>
              <a:gd name="connsiteY269" fmla="*/ 8375250 h 9507786"/>
              <a:gd name="connsiteX270" fmla="*/ 6764239 w 9148551"/>
              <a:gd name="connsiteY270" fmla="*/ 8551962 h 9507786"/>
              <a:gd name="connsiteX271" fmla="*/ 6350528 w 9148551"/>
              <a:gd name="connsiteY271" fmla="*/ 8741340 h 9507786"/>
              <a:gd name="connsiteX272" fmla="*/ 5944054 w 9148551"/>
              <a:gd name="connsiteY272" fmla="*/ 8880056 h 9507786"/>
              <a:gd name="connsiteX273" fmla="*/ 6187697 w 9148551"/>
              <a:gd name="connsiteY273" fmla="*/ 8812507 h 9507786"/>
              <a:gd name="connsiteX274" fmla="*/ 6371033 w 9148551"/>
              <a:gd name="connsiteY274" fmla="*/ 8761242 h 9507786"/>
              <a:gd name="connsiteX275" fmla="*/ 6059242 w 9148551"/>
              <a:gd name="connsiteY275" fmla="*/ 8924686 h 9507786"/>
              <a:gd name="connsiteX276" fmla="*/ 5770970 w 9148551"/>
              <a:gd name="connsiteY276" fmla="*/ 9022390 h 9507786"/>
              <a:gd name="connsiteX277" fmla="*/ 5550847 w 9148551"/>
              <a:gd name="connsiteY277" fmla="*/ 9080289 h 9507786"/>
              <a:gd name="connsiteX278" fmla="*/ 4893492 w 9148551"/>
              <a:gd name="connsiteY278" fmla="*/ 9168344 h 9507786"/>
              <a:gd name="connsiteX279" fmla="*/ 4236137 w 9148551"/>
              <a:gd name="connsiteY279" fmla="*/ 9144219 h 9507786"/>
              <a:gd name="connsiteX280" fmla="*/ 3300763 w 9148551"/>
              <a:gd name="connsiteY280" fmla="*/ 8931320 h 9507786"/>
              <a:gd name="connsiteX281" fmla="*/ 2443789 w 9148551"/>
              <a:gd name="connsiteY281" fmla="*/ 8524822 h 9507786"/>
              <a:gd name="connsiteX282" fmla="*/ 2165771 w 9148551"/>
              <a:gd name="connsiteY282" fmla="*/ 8331223 h 9507786"/>
              <a:gd name="connsiteX283" fmla="*/ 1952281 w 9148551"/>
              <a:gd name="connsiteY283" fmla="*/ 8165367 h 9507786"/>
              <a:gd name="connsiteX284" fmla="*/ 1688133 w 9148551"/>
              <a:gd name="connsiteY284" fmla="*/ 7989258 h 9507786"/>
              <a:gd name="connsiteX285" fmla="*/ 1443886 w 9148551"/>
              <a:gd name="connsiteY285" fmla="*/ 7813149 h 9507786"/>
              <a:gd name="connsiteX286" fmla="*/ 2646423 w 9148551"/>
              <a:gd name="connsiteY286" fmla="*/ 8761242 h 9507786"/>
              <a:gd name="connsiteX287" fmla="*/ 4344088 w 9148551"/>
              <a:gd name="connsiteY287" fmla="*/ 9270270 h 9507786"/>
              <a:gd name="connsiteX288" fmla="*/ 4967671 w 9148551"/>
              <a:gd name="connsiteY288" fmla="*/ 9287157 h 9507786"/>
              <a:gd name="connsiteX289" fmla="*/ 5645530 w 9148551"/>
              <a:gd name="connsiteY289" fmla="*/ 9202721 h 9507786"/>
              <a:gd name="connsiteX290" fmla="*/ 6316756 w 9148551"/>
              <a:gd name="connsiteY290" fmla="*/ 9019375 h 9507786"/>
              <a:gd name="connsiteX291" fmla="*/ 6919833 w 9148551"/>
              <a:gd name="connsiteY291" fmla="*/ 8758227 h 9507786"/>
              <a:gd name="connsiteX292" fmla="*/ 7306407 w 9148551"/>
              <a:gd name="connsiteY292" fmla="*/ 8534472 h 9507786"/>
              <a:gd name="connsiteX293" fmla="*/ 7539797 w 9148551"/>
              <a:gd name="connsiteY293" fmla="*/ 8399375 h 9507786"/>
              <a:gd name="connsiteX294" fmla="*/ 7326308 w 9148551"/>
              <a:gd name="connsiteY294" fmla="*/ 8595990 h 9507786"/>
              <a:gd name="connsiteX295" fmla="*/ 6821532 w 9148551"/>
              <a:gd name="connsiteY295" fmla="*/ 8931320 h 9507786"/>
              <a:gd name="connsiteX296" fmla="*/ 6191316 w 9148551"/>
              <a:gd name="connsiteY296" fmla="*/ 9208752 h 9507786"/>
              <a:gd name="connsiteX297" fmla="*/ 6553766 w 9148551"/>
              <a:gd name="connsiteY297" fmla="*/ 9076670 h 9507786"/>
              <a:gd name="connsiteX298" fmla="*/ 6970492 w 9148551"/>
              <a:gd name="connsiteY298" fmla="*/ 8887293 h 9507786"/>
              <a:gd name="connsiteX299" fmla="*/ 7241877 w 9148551"/>
              <a:gd name="connsiteY299" fmla="*/ 8751593 h 9507786"/>
              <a:gd name="connsiteX300" fmla="*/ 7197853 w 9148551"/>
              <a:gd name="connsiteY300" fmla="*/ 8822760 h 9507786"/>
              <a:gd name="connsiteX301" fmla="*/ 6611661 w 9148551"/>
              <a:gd name="connsiteY301" fmla="*/ 9124316 h 9507786"/>
              <a:gd name="connsiteX302" fmla="*/ 4676987 w 9148551"/>
              <a:gd name="connsiteY302" fmla="*/ 9507293 h 9507786"/>
              <a:gd name="connsiteX303" fmla="*/ 2748344 w 9148551"/>
              <a:gd name="connsiteY303" fmla="*/ 9086923 h 9507786"/>
              <a:gd name="connsiteX304" fmla="*/ 1264169 w 9148551"/>
              <a:gd name="connsiteY304" fmla="*/ 8039920 h 9507786"/>
              <a:gd name="connsiteX305" fmla="*/ 457854 w 9148551"/>
              <a:gd name="connsiteY305" fmla="*/ 6860834 h 9507786"/>
              <a:gd name="connsiteX306" fmla="*/ 38111 w 9148551"/>
              <a:gd name="connsiteY306" fmla="*/ 5467643 h 9507786"/>
              <a:gd name="connsiteX307" fmla="*/ 721 w 9148551"/>
              <a:gd name="connsiteY307" fmla="*/ 4800600 h 9507786"/>
              <a:gd name="connsiteX308" fmla="*/ 54395 w 9148551"/>
              <a:gd name="connsiteY308" fmla="*/ 4160094 h 9507786"/>
              <a:gd name="connsiteX309" fmla="*/ 203355 w 9148551"/>
              <a:gd name="connsiteY309" fmla="*/ 3448421 h 9507786"/>
              <a:gd name="connsiteX310" fmla="*/ 478359 w 9148551"/>
              <a:gd name="connsiteY310" fmla="*/ 2709005 h 9507786"/>
              <a:gd name="connsiteX311" fmla="*/ 1264169 w 9148551"/>
              <a:gd name="connsiteY311" fmla="*/ 1540172 h 9507786"/>
              <a:gd name="connsiteX312" fmla="*/ 2375642 w 9148551"/>
              <a:gd name="connsiteY312" fmla="*/ 648771 h 9507786"/>
              <a:gd name="connsiteX313" fmla="*/ 3666831 w 9148551"/>
              <a:gd name="connsiteY313" fmla="*/ 133713 h 9507786"/>
              <a:gd name="connsiteX314" fmla="*/ 4947769 w 9148551"/>
              <a:gd name="connsiteY314" fmla="*/ 1631 h 9507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Lst>
            <a:rect l="l" t="t" r="r" b="b"/>
            <a:pathLst>
              <a:path w="9148551" h="9507786">
                <a:moveTo>
                  <a:pt x="7604327" y="4231262"/>
                </a:moveTo>
                <a:cubicBezTo>
                  <a:pt x="7594075" y="4251165"/>
                  <a:pt x="7587441" y="4328966"/>
                  <a:pt x="7604327" y="4373596"/>
                </a:cubicBezTo>
                <a:cubicBezTo>
                  <a:pt x="7617595" y="4363344"/>
                  <a:pt x="7611564" y="4288558"/>
                  <a:pt x="7604327" y="4231262"/>
                </a:cubicBezTo>
                <a:close/>
                <a:moveTo>
                  <a:pt x="4947769" y="1631"/>
                </a:moveTo>
                <a:cubicBezTo>
                  <a:pt x="5168496" y="5250"/>
                  <a:pt x="5418773" y="22137"/>
                  <a:pt x="5628644" y="79433"/>
                </a:cubicBezTo>
                <a:cubicBezTo>
                  <a:pt x="5700410" y="116826"/>
                  <a:pt x="5473050" y="86670"/>
                  <a:pt x="5561099" y="110191"/>
                </a:cubicBezTo>
                <a:cubicBezTo>
                  <a:pt x="5886761" y="174725"/>
                  <a:pt x="6225088" y="279666"/>
                  <a:pt x="6553766" y="425619"/>
                </a:cubicBezTo>
                <a:cubicBezTo>
                  <a:pt x="6882443" y="570970"/>
                  <a:pt x="7201471" y="760950"/>
                  <a:pt x="7489139" y="984102"/>
                </a:cubicBezTo>
                <a:cubicBezTo>
                  <a:pt x="7781029" y="1207857"/>
                  <a:pt x="8041559" y="1469005"/>
                  <a:pt x="8265301" y="1747040"/>
                </a:cubicBezTo>
                <a:cubicBezTo>
                  <a:pt x="8485424" y="2025075"/>
                  <a:pt x="8671775" y="2323013"/>
                  <a:pt x="8810483" y="2621553"/>
                </a:cubicBezTo>
                <a:cubicBezTo>
                  <a:pt x="8851492" y="2709005"/>
                  <a:pt x="8902151" y="2818168"/>
                  <a:pt x="8949794" y="2936378"/>
                </a:cubicBezTo>
                <a:cubicBezTo>
                  <a:pt x="8996834" y="3055192"/>
                  <a:pt x="9041462" y="3180639"/>
                  <a:pt x="9075234" y="3299453"/>
                </a:cubicBezTo>
                <a:cubicBezTo>
                  <a:pt x="9139763" y="3529238"/>
                  <a:pt x="9166299" y="3722838"/>
                  <a:pt x="9136145" y="3722838"/>
                </a:cubicBezTo>
                <a:cubicBezTo>
                  <a:pt x="9102373" y="3722838"/>
                  <a:pt x="9034225" y="3458674"/>
                  <a:pt x="8922655" y="3173402"/>
                </a:cubicBezTo>
                <a:cubicBezTo>
                  <a:pt x="8868378" y="3028052"/>
                  <a:pt x="8803849" y="2882098"/>
                  <a:pt x="8739923" y="2753635"/>
                </a:cubicBezTo>
                <a:cubicBezTo>
                  <a:pt x="8675393" y="2624569"/>
                  <a:pt x="8610864" y="2519627"/>
                  <a:pt x="8569855" y="2455095"/>
                </a:cubicBezTo>
                <a:cubicBezTo>
                  <a:pt x="8596993" y="2516612"/>
                  <a:pt x="8638003" y="2597429"/>
                  <a:pt x="8682027" y="2682468"/>
                </a:cubicBezTo>
                <a:cubicBezTo>
                  <a:pt x="8722434" y="2770522"/>
                  <a:pt x="8763443" y="2865211"/>
                  <a:pt x="8800231" y="2956884"/>
                </a:cubicBezTo>
                <a:cubicBezTo>
                  <a:pt x="8868378" y="3132993"/>
                  <a:pt x="8905769" y="3285581"/>
                  <a:pt x="8875012" y="3281962"/>
                </a:cubicBezTo>
                <a:cubicBezTo>
                  <a:pt x="8854508" y="3281962"/>
                  <a:pt x="8783344" y="3113090"/>
                  <a:pt x="8712784" y="2970153"/>
                </a:cubicBezTo>
                <a:cubicBezTo>
                  <a:pt x="8596993" y="2733129"/>
                  <a:pt x="8441399" y="2465347"/>
                  <a:pt x="8248415" y="2201184"/>
                </a:cubicBezTo>
                <a:cubicBezTo>
                  <a:pt x="8054827" y="1940036"/>
                  <a:pt x="7821435" y="1679491"/>
                  <a:pt x="7557287" y="1448499"/>
                </a:cubicBezTo>
                <a:cubicBezTo>
                  <a:pt x="7292536" y="1218110"/>
                  <a:pt x="6997631" y="1021495"/>
                  <a:pt x="6696091" y="865892"/>
                </a:cubicBezTo>
                <a:cubicBezTo>
                  <a:pt x="6394553" y="713304"/>
                  <a:pt x="6089999" y="601125"/>
                  <a:pt x="5811980" y="533577"/>
                </a:cubicBezTo>
                <a:cubicBezTo>
                  <a:pt x="5818614" y="554082"/>
                  <a:pt x="5784841" y="564335"/>
                  <a:pt x="5673272" y="540814"/>
                </a:cubicBezTo>
                <a:cubicBezTo>
                  <a:pt x="5984460" y="614997"/>
                  <a:pt x="6292633" y="730191"/>
                  <a:pt x="6591156" y="879160"/>
                </a:cubicBezTo>
                <a:cubicBezTo>
                  <a:pt x="6886061" y="1031748"/>
                  <a:pt x="7167095" y="1218110"/>
                  <a:pt x="7425213" y="1438246"/>
                </a:cubicBezTo>
                <a:cubicBezTo>
                  <a:pt x="7682124" y="1658985"/>
                  <a:pt x="7909485" y="1909880"/>
                  <a:pt x="8106088" y="2184297"/>
                </a:cubicBezTo>
                <a:cubicBezTo>
                  <a:pt x="8299073" y="2455095"/>
                  <a:pt x="8461904" y="2750016"/>
                  <a:pt x="8580710" y="3048558"/>
                </a:cubicBezTo>
                <a:cubicBezTo>
                  <a:pt x="8610864" y="3122740"/>
                  <a:pt x="8648255" y="3224666"/>
                  <a:pt x="8682027" y="3332624"/>
                </a:cubicBezTo>
                <a:cubicBezTo>
                  <a:pt x="8719418" y="3444802"/>
                  <a:pt x="8750175" y="3563616"/>
                  <a:pt x="8770077" y="3672176"/>
                </a:cubicBezTo>
                <a:cubicBezTo>
                  <a:pt x="8814101" y="3888694"/>
                  <a:pt x="8820735" y="4061184"/>
                  <a:pt x="8790581" y="4041281"/>
                </a:cubicBezTo>
                <a:cubicBezTo>
                  <a:pt x="8773092" y="4028013"/>
                  <a:pt x="8753191" y="3953227"/>
                  <a:pt x="8732686" y="3861554"/>
                </a:cubicBezTo>
                <a:cubicBezTo>
                  <a:pt x="8712784" y="3773499"/>
                  <a:pt x="8685646" y="3672176"/>
                  <a:pt x="8661523" y="3604024"/>
                </a:cubicBezTo>
                <a:cubicBezTo>
                  <a:pt x="8600612" y="3417663"/>
                  <a:pt x="8543319" y="3295231"/>
                  <a:pt x="8492058" y="3166768"/>
                </a:cubicBezTo>
                <a:cubicBezTo>
                  <a:pt x="8468538" y="3163149"/>
                  <a:pt x="8509547" y="3325990"/>
                  <a:pt x="8451652" y="3241553"/>
                </a:cubicBezTo>
                <a:cubicBezTo>
                  <a:pt x="8431147" y="3210795"/>
                  <a:pt x="8400390" y="3139628"/>
                  <a:pt x="8359983" y="3055192"/>
                </a:cubicBezTo>
                <a:cubicBezTo>
                  <a:pt x="8322593" y="2973772"/>
                  <a:pt x="8275553" y="2875464"/>
                  <a:pt x="8227909" y="2797663"/>
                </a:cubicBezTo>
                <a:cubicBezTo>
                  <a:pt x="8089201" y="2557021"/>
                  <a:pt x="7919737" y="2333265"/>
                  <a:pt x="7753891" y="2160172"/>
                </a:cubicBezTo>
                <a:cubicBezTo>
                  <a:pt x="7587441" y="1984666"/>
                  <a:pt x="7425213" y="1855600"/>
                  <a:pt x="7309422" y="1777196"/>
                </a:cubicBezTo>
                <a:cubicBezTo>
                  <a:pt x="7495773" y="1953304"/>
                  <a:pt x="7671872" y="2149919"/>
                  <a:pt x="7821435" y="2360406"/>
                </a:cubicBezTo>
                <a:cubicBezTo>
                  <a:pt x="7974014" y="2566670"/>
                  <a:pt x="8098851" y="2790425"/>
                  <a:pt x="8197153" y="3011165"/>
                </a:cubicBezTo>
                <a:cubicBezTo>
                  <a:pt x="8190519" y="3038305"/>
                  <a:pt x="8230925" y="3136009"/>
                  <a:pt x="8190519" y="3105853"/>
                </a:cubicBezTo>
                <a:cubicBezTo>
                  <a:pt x="8160365" y="3081729"/>
                  <a:pt x="8085583" y="2929744"/>
                  <a:pt x="7984266" y="2763285"/>
                </a:cubicBezTo>
                <a:cubicBezTo>
                  <a:pt x="7882346" y="2594414"/>
                  <a:pt x="7756906" y="2411067"/>
                  <a:pt x="7668857" y="2306126"/>
                </a:cubicBezTo>
                <a:cubicBezTo>
                  <a:pt x="7557287" y="2174044"/>
                  <a:pt x="7438481" y="2041962"/>
                  <a:pt x="7319675" y="1926768"/>
                </a:cubicBezTo>
                <a:cubicBezTo>
                  <a:pt x="7201471" y="1810970"/>
                  <a:pt x="7082665" y="1713265"/>
                  <a:pt x="6984363" y="1642098"/>
                </a:cubicBezTo>
                <a:cubicBezTo>
                  <a:pt x="7106185" y="1736787"/>
                  <a:pt x="7214739" y="1835094"/>
                  <a:pt x="7319675" y="1943052"/>
                </a:cubicBezTo>
                <a:cubicBezTo>
                  <a:pt x="7425213" y="2052215"/>
                  <a:pt x="7522911" y="2166807"/>
                  <a:pt x="7624831" y="2295872"/>
                </a:cubicBezTo>
                <a:cubicBezTo>
                  <a:pt x="7706247" y="2400814"/>
                  <a:pt x="7825053" y="2563655"/>
                  <a:pt x="7902851" y="2705989"/>
                </a:cubicBezTo>
                <a:cubicBezTo>
                  <a:pt x="7980647" y="2851943"/>
                  <a:pt x="8024673" y="2970153"/>
                  <a:pt x="7990297" y="2963519"/>
                </a:cubicBezTo>
                <a:cubicBezTo>
                  <a:pt x="7963761" y="2959900"/>
                  <a:pt x="7902851" y="2854958"/>
                  <a:pt x="7817817" y="2730114"/>
                </a:cubicBezTo>
                <a:cubicBezTo>
                  <a:pt x="7740019" y="2604063"/>
                  <a:pt x="7635084" y="2455095"/>
                  <a:pt x="7553669" y="2357390"/>
                </a:cubicBezTo>
                <a:cubicBezTo>
                  <a:pt x="7458382" y="2248830"/>
                  <a:pt x="7367317" y="2153538"/>
                  <a:pt x="7272031" y="2061865"/>
                </a:cubicBezTo>
                <a:cubicBezTo>
                  <a:pt x="7180967" y="1974413"/>
                  <a:pt x="7085680" y="1889375"/>
                  <a:pt x="6984363" y="1801320"/>
                </a:cubicBezTo>
                <a:cubicBezTo>
                  <a:pt x="7018135" y="1848363"/>
                  <a:pt x="7062160" y="1879122"/>
                  <a:pt x="7109803" y="1933402"/>
                </a:cubicBezTo>
                <a:cubicBezTo>
                  <a:pt x="7147194" y="1977429"/>
                  <a:pt x="7126689" y="1977429"/>
                  <a:pt x="7194234" y="2052215"/>
                </a:cubicBezTo>
                <a:cubicBezTo>
                  <a:pt x="7231625" y="2092624"/>
                  <a:pt x="7313041" y="2171028"/>
                  <a:pt x="7373951" y="2238577"/>
                </a:cubicBezTo>
                <a:cubicBezTo>
                  <a:pt x="7458382" y="2333265"/>
                  <a:pt x="7574173" y="2475600"/>
                  <a:pt x="7662223" y="2604063"/>
                </a:cubicBezTo>
                <a:cubicBezTo>
                  <a:pt x="7750272" y="2736145"/>
                  <a:pt x="7814198" y="2854958"/>
                  <a:pt x="7821435" y="2892351"/>
                </a:cubicBezTo>
                <a:cubicBezTo>
                  <a:pt x="7838321" y="2967137"/>
                  <a:pt x="7784045" y="2899589"/>
                  <a:pt x="7706247" y="2800678"/>
                </a:cubicBezTo>
                <a:cubicBezTo>
                  <a:pt x="7631465" y="2699355"/>
                  <a:pt x="7530149" y="2566670"/>
                  <a:pt x="7465619" y="2489472"/>
                </a:cubicBezTo>
                <a:cubicBezTo>
                  <a:pt x="7465619" y="2499121"/>
                  <a:pt x="7489139" y="2539530"/>
                  <a:pt x="7509644" y="2580542"/>
                </a:cubicBezTo>
                <a:cubicBezTo>
                  <a:pt x="7533164" y="2621553"/>
                  <a:pt x="7550050" y="2661962"/>
                  <a:pt x="7536783" y="2668596"/>
                </a:cubicBezTo>
                <a:cubicBezTo>
                  <a:pt x="7587441" y="2743382"/>
                  <a:pt x="7644733" y="2831437"/>
                  <a:pt x="7692377" y="2912857"/>
                </a:cubicBezTo>
                <a:cubicBezTo>
                  <a:pt x="7736401" y="2990658"/>
                  <a:pt x="7770777" y="3061826"/>
                  <a:pt x="7773792" y="3095600"/>
                </a:cubicBezTo>
                <a:cubicBezTo>
                  <a:pt x="7781029" y="3149881"/>
                  <a:pt x="7750272" y="3116106"/>
                  <a:pt x="7716499" y="3071476"/>
                </a:cubicBezTo>
                <a:cubicBezTo>
                  <a:pt x="7682124" y="3031067"/>
                  <a:pt x="7648955" y="2980406"/>
                  <a:pt x="7648955" y="2994277"/>
                </a:cubicBezTo>
                <a:cubicBezTo>
                  <a:pt x="7729767" y="3146262"/>
                  <a:pt x="7797915" y="3302468"/>
                  <a:pt x="7838321" y="3434550"/>
                </a:cubicBezTo>
                <a:cubicBezTo>
                  <a:pt x="7851589" y="3496067"/>
                  <a:pt x="7803946" y="3411028"/>
                  <a:pt x="7817817" y="3471943"/>
                </a:cubicBezTo>
                <a:cubicBezTo>
                  <a:pt x="7858223" y="3617896"/>
                  <a:pt x="7895613" y="3783752"/>
                  <a:pt x="7858223" y="3783752"/>
                </a:cubicBezTo>
                <a:cubicBezTo>
                  <a:pt x="7828069" y="3780133"/>
                  <a:pt x="7794297" y="3685445"/>
                  <a:pt x="7753891" y="3590756"/>
                </a:cubicBezTo>
                <a:cubicBezTo>
                  <a:pt x="7716499" y="3499083"/>
                  <a:pt x="7671872" y="3411028"/>
                  <a:pt x="7648955" y="3417663"/>
                </a:cubicBezTo>
                <a:cubicBezTo>
                  <a:pt x="7621213" y="3397157"/>
                  <a:pt x="7631465" y="3438168"/>
                  <a:pt x="7641718" y="3482195"/>
                </a:cubicBezTo>
                <a:cubicBezTo>
                  <a:pt x="7651970" y="3522604"/>
                  <a:pt x="7658604" y="3570250"/>
                  <a:pt x="7631465" y="3563616"/>
                </a:cubicBezTo>
                <a:cubicBezTo>
                  <a:pt x="7614579" y="3556378"/>
                  <a:pt x="7584425" y="3502098"/>
                  <a:pt x="7543416" y="3431534"/>
                </a:cubicBezTo>
                <a:cubicBezTo>
                  <a:pt x="7502407" y="3363383"/>
                  <a:pt x="7455367" y="3278344"/>
                  <a:pt x="7411342" y="3210795"/>
                </a:cubicBezTo>
                <a:cubicBezTo>
                  <a:pt x="7306407" y="3048558"/>
                  <a:pt x="7187600" y="2882098"/>
                  <a:pt x="7092917" y="2773538"/>
                </a:cubicBezTo>
                <a:cubicBezTo>
                  <a:pt x="7207502" y="2943013"/>
                  <a:pt x="7343797" y="3166768"/>
                  <a:pt x="7445115" y="3421281"/>
                </a:cubicBezTo>
                <a:cubicBezTo>
                  <a:pt x="7550050" y="3672176"/>
                  <a:pt x="7617595" y="3949608"/>
                  <a:pt x="7648955" y="4196884"/>
                </a:cubicBezTo>
                <a:cubicBezTo>
                  <a:pt x="7658604" y="4274686"/>
                  <a:pt x="7668857" y="4383246"/>
                  <a:pt x="7668857" y="4481554"/>
                </a:cubicBezTo>
                <a:cubicBezTo>
                  <a:pt x="7671872" y="4576846"/>
                  <a:pt x="7665238" y="4657663"/>
                  <a:pt x="7654985" y="4681787"/>
                </a:cubicBezTo>
                <a:cubicBezTo>
                  <a:pt x="7617595" y="4759589"/>
                  <a:pt x="7597693" y="4590114"/>
                  <a:pt x="7577189" y="4478538"/>
                </a:cubicBezTo>
                <a:cubicBezTo>
                  <a:pt x="7557287" y="4471301"/>
                  <a:pt x="7553669" y="4576846"/>
                  <a:pt x="7533164" y="4495425"/>
                </a:cubicBezTo>
                <a:cubicBezTo>
                  <a:pt x="7547035" y="4339219"/>
                  <a:pt x="7522911" y="4135970"/>
                  <a:pt x="7452351" y="3953227"/>
                </a:cubicBezTo>
                <a:cubicBezTo>
                  <a:pt x="7465619" y="4047915"/>
                  <a:pt x="7499391" y="4207137"/>
                  <a:pt x="7509644" y="4346456"/>
                </a:cubicBezTo>
                <a:cubicBezTo>
                  <a:pt x="7522911" y="4485172"/>
                  <a:pt x="7516277" y="4607001"/>
                  <a:pt x="7489139" y="4620270"/>
                </a:cubicBezTo>
                <a:cubicBezTo>
                  <a:pt x="7458382" y="4637760"/>
                  <a:pt x="7441496" y="4569608"/>
                  <a:pt x="7420991" y="4471301"/>
                </a:cubicBezTo>
                <a:cubicBezTo>
                  <a:pt x="7404709" y="4373596"/>
                  <a:pt x="7380585" y="4247546"/>
                  <a:pt x="7353447" y="4139589"/>
                </a:cubicBezTo>
                <a:cubicBezTo>
                  <a:pt x="7302788" y="3929102"/>
                  <a:pt x="7211723" y="3692079"/>
                  <a:pt x="7099551" y="3464705"/>
                </a:cubicBezTo>
                <a:cubicBezTo>
                  <a:pt x="7082665" y="3464705"/>
                  <a:pt x="7102566" y="3549744"/>
                  <a:pt x="7116437" y="3627546"/>
                </a:cubicBezTo>
                <a:cubicBezTo>
                  <a:pt x="7126689" y="3702332"/>
                  <a:pt x="7133323" y="3769880"/>
                  <a:pt x="7106185" y="3732487"/>
                </a:cubicBezTo>
                <a:cubicBezTo>
                  <a:pt x="7085680" y="3705347"/>
                  <a:pt x="7068794" y="3651067"/>
                  <a:pt x="7052511" y="3593771"/>
                </a:cubicBezTo>
                <a:cubicBezTo>
                  <a:pt x="7015120" y="3444802"/>
                  <a:pt x="7015120" y="3444802"/>
                  <a:pt x="7015120" y="3444802"/>
                </a:cubicBezTo>
                <a:cubicBezTo>
                  <a:pt x="6990997" y="3356748"/>
                  <a:pt x="6997631" y="3302468"/>
                  <a:pt x="6936720" y="3190289"/>
                </a:cubicBezTo>
                <a:cubicBezTo>
                  <a:pt x="6899329" y="3122740"/>
                  <a:pt x="6838418" y="3034686"/>
                  <a:pt x="6791378" y="2973772"/>
                </a:cubicBezTo>
                <a:cubicBezTo>
                  <a:pt x="6737101" y="2899589"/>
                  <a:pt x="6682824" y="2824802"/>
                  <a:pt x="6628547" y="2780775"/>
                </a:cubicBezTo>
                <a:cubicBezTo>
                  <a:pt x="6621913" y="2800678"/>
                  <a:pt x="6706947" y="2879083"/>
                  <a:pt x="6726849" y="2919491"/>
                </a:cubicBezTo>
                <a:cubicBezTo>
                  <a:pt x="6753987" y="2956884"/>
                  <a:pt x="6770873" y="3038305"/>
                  <a:pt x="6791378" y="3095600"/>
                </a:cubicBezTo>
                <a:cubicBezTo>
                  <a:pt x="6811279" y="3143246"/>
                  <a:pt x="6872191" y="3285581"/>
                  <a:pt x="6811279" y="3221048"/>
                </a:cubicBezTo>
                <a:cubicBezTo>
                  <a:pt x="6787759" y="3197526"/>
                  <a:pt x="6760621" y="3149881"/>
                  <a:pt x="6737101" y="3105853"/>
                </a:cubicBezTo>
                <a:cubicBezTo>
                  <a:pt x="6679809" y="2994277"/>
                  <a:pt x="6679809" y="2994277"/>
                  <a:pt x="6679809" y="2994277"/>
                </a:cubicBezTo>
                <a:cubicBezTo>
                  <a:pt x="6635181" y="2909239"/>
                  <a:pt x="6618295" y="2862195"/>
                  <a:pt x="6591156" y="2804297"/>
                </a:cubicBezTo>
                <a:cubicBezTo>
                  <a:pt x="6516375" y="2719258"/>
                  <a:pt x="6442196" y="2641456"/>
                  <a:pt x="6391538" y="2580542"/>
                </a:cubicBezTo>
                <a:cubicBezTo>
                  <a:pt x="6310122" y="2522643"/>
                  <a:pt x="6222073" y="2444841"/>
                  <a:pt x="6110503" y="2377293"/>
                </a:cubicBezTo>
                <a:cubicBezTo>
                  <a:pt x="6062860" y="2346534"/>
                  <a:pt x="5998331" y="2306126"/>
                  <a:pt x="5937420" y="2275970"/>
                </a:cubicBezTo>
                <a:cubicBezTo>
                  <a:pt x="5879524" y="2245211"/>
                  <a:pt x="5825247" y="2224705"/>
                  <a:pt x="5811980" y="2231340"/>
                </a:cubicBezTo>
                <a:cubicBezTo>
                  <a:pt x="5818614" y="2258480"/>
                  <a:pt x="5933801" y="2319997"/>
                  <a:pt x="6004965" y="2373674"/>
                </a:cubicBezTo>
                <a:cubicBezTo>
                  <a:pt x="6150909" y="2485250"/>
                  <a:pt x="6279365" y="2607682"/>
                  <a:pt x="6394553" y="2743382"/>
                </a:cubicBezTo>
                <a:cubicBezTo>
                  <a:pt x="6418676" y="2766904"/>
                  <a:pt x="6459082" y="2814550"/>
                  <a:pt x="6478984" y="2848324"/>
                </a:cubicBezTo>
                <a:cubicBezTo>
                  <a:pt x="6503107" y="2885717"/>
                  <a:pt x="6509741" y="2905620"/>
                  <a:pt x="6465716" y="2882098"/>
                </a:cubicBezTo>
                <a:cubicBezTo>
                  <a:pt x="6431944" y="2865211"/>
                  <a:pt x="6384301" y="2814550"/>
                  <a:pt x="6340276" y="2766904"/>
                </a:cubicBezTo>
                <a:cubicBezTo>
                  <a:pt x="6299870" y="2716242"/>
                  <a:pt x="6255242" y="2668596"/>
                  <a:pt x="6235340" y="2651709"/>
                </a:cubicBezTo>
                <a:cubicBezTo>
                  <a:pt x="6157543" y="2570289"/>
                  <a:pt x="6059242" y="2482234"/>
                  <a:pt x="5971192" y="2431573"/>
                </a:cubicBezTo>
                <a:cubicBezTo>
                  <a:pt x="5814995" y="2330250"/>
                  <a:pt x="5649149" y="2272351"/>
                  <a:pt x="5493555" y="2211437"/>
                </a:cubicBezTo>
                <a:cubicBezTo>
                  <a:pt x="5445911" y="2201184"/>
                  <a:pt x="5466416" y="2224705"/>
                  <a:pt x="5408521" y="2218071"/>
                </a:cubicBezTo>
                <a:cubicBezTo>
                  <a:pt x="5371130" y="2211437"/>
                  <a:pt x="5303585" y="2194550"/>
                  <a:pt x="5225788" y="2180678"/>
                </a:cubicBezTo>
                <a:cubicBezTo>
                  <a:pt x="5151006" y="2163791"/>
                  <a:pt x="5066575" y="2149919"/>
                  <a:pt x="4994809" y="2143888"/>
                </a:cubicBezTo>
                <a:cubicBezTo>
                  <a:pt x="4825947" y="2126398"/>
                  <a:pt x="4666735" y="2133635"/>
                  <a:pt x="4527424" y="2139666"/>
                </a:cubicBezTo>
                <a:cubicBezTo>
                  <a:pt x="4683621" y="2146904"/>
                  <a:pt x="4845849" y="2149919"/>
                  <a:pt x="5002046" y="2177059"/>
                </a:cubicBezTo>
                <a:cubicBezTo>
                  <a:pt x="5459782" y="2258480"/>
                  <a:pt x="5882540" y="2458713"/>
                  <a:pt x="6241974" y="2770522"/>
                </a:cubicBezTo>
                <a:cubicBezTo>
                  <a:pt x="6238959" y="2790425"/>
                  <a:pt x="6272731" y="2831437"/>
                  <a:pt x="6299870" y="2865211"/>
                </a:cubicBezTo>
                <a:cubicBezTo>
                  <a:pt x="6327008" y="2902604"/>
                  <a:pt x="6343894" y="2932760"/>
                  <a:pt x="6306504" y="2926729"/>
                </a:cubicBezTo>
                <a:cubicBezTo>
                  <a:pt x="6398171" y="3000912"/>
                  <a:pt x="6411439" y="3078713"/>
                  <a:pt x="6438578" y="3136009"/>
                </a:cubicBezTo>
                <a:cubicBezTo>
                  <a:pt x="6469335" y="3200542"/>
                  <a:pt x="6506725" y="3289200"/>
                  <a:pt x="6492855" y="3312721"/>
                </a:cubicBezTo>
                <a:cubicBezTo>
                  <a:pt x="6465716" y="3309102"/>
                  <a:pt x="6456067" y="3262059"/>
                  <a:pt x="6425310" y="3227682"/>
                </a:cubicBezTo>
                <a:cubicBezTo>
                  <a:pt x="6391538" y="3197526"/>
                  <a:pt x="6360781" y="3177021"/>
                  <a:pt x="6319771" y="3136009"/>
                </a:cubicBezTo>
                <a:cubicBezTo>
                  <a:pt x="6249211" y="3065445"/>
                  <a:pt x="6178048" y="2980406"/>
                  <a:pt x="6089999" y="2916476"/>
                </a:cubicBezTo>
                <a:cubicBezTo>
                  <a:pt x="6083365" y="2926729"/>
                  <a:pt x="6113519" y="2959900"/>
                  <a:pt x="6130405" y="2994277"/>
                </a:cubicBezTo>
                <a:cubicBezTo>
                  <a:pt x="6150909" y="3024433"/>
                  <a:pt x="6160559" y="3048558"/>
                  <a:pt x="6120153" y="3034686"/>
                </a:cubicBezTo>
                <a:cubicBezTo>
                  <a:pt x="6059242" y="2984025"/>
                  <a:pt x="6032103" y="2939997"/>
                  <a:pt x="6001346" y="2895367"/>
                </a:cubicBezTo>
                <a:cubicBezTo>
                  <a:pt x="5974208" y="2854958"/>
                  <a:pt x="5951291" y="2810931"/>
                  <a:pt x="5897014" y="2773538"/>
                </a:cubicBezTo>
                <a:cubicBezTo>
                  <a:pt x="5856004" y="2740367"/>
                  <a:pt x="5774589" y="2689102"/>
                  <a:pt x="5682921" y="2648694"/>
                </a:cubicBezTo>
                <a:cubicBezTo>
                  <a:pt x="5594872" y="2607682"/>
                  <a:pt x="5500188" y="2573908"/>
                  <a:pt x="5429025" y="2557021"/>
                </a:cubicBezTo>
                <a:cubicBezTo>
                  <a:pt x="5218551" y="2496106"/>
                  <a:pt x="5008680" y="2465347"/>
                  <a:pt x="4791572" y="2462332"/>
                </a:cubicBezTo>
                <a:cubicBezTo>
                  <a:pt x="4578082" y="2458713"/>
                  <a:pt x="4365196" y="2485250"/>
                  <a:pt x="4161958" y="2539530"/>
                </a:cubicBezTo>
                <a:cubicBezTo>
                  <a:pt x="3955103" y="2594414"/>
                  <a:pt x="3754881" y="2678849"/>
                  <a:pt x="3568530" y="2790425"/>
                </a:cubicBezTo>
                <a:cubicBezTo>
                  <a:pt x="3382179" y="2905620"/>
                  <a:pt x="3206080" y="3048558"/>
                  <a:pt x="3053501" y="3221048"/>
                </a:cubicBezTo>
                <a:cubicBezTo>
                  <a:pt x="2965452" y="3319355"/>
                  <a:pt x="2877402" y="3444802"/>
                  <a:pt x="2802621" y="3576884"/>
                </a:cubicBezTo>
                <a:cubicBezTo>
                  <a:pt x="2724824" y="3708966"/>
                  <a:pt x="2660294" y="3844666"/>
                  <a:pt x="2609636" y="3959861"/>
                </a:cubicBezTo>
                <a:cubicBezTo>
                  <a:pt x="2572245" y="4050931"/>
                  <a:pt x="2578879" y="4041281"/>
                  <a:pt x="2569230" y="4031028"/>
                </a:cubicBezTo>
                <a:cubicBezTo>
                  <a:pt x="2558977" y="4020775"/>
                  <a:pt x="2596368" y="3878441"/>
                  <a:pt x="2660294" y="3736106"/>
                </a:cubicBezTo>
                <a:cubicBezTo>
                  <a:pt x="2724824" y="3590756"/>
                  <a:pt x="2812873" y="3455055"/>
                  <a:pt x="2833378" y="3427915"/>
                </a:cubicBezTo>
                <a:cubicBezTo>
                  <a:pt x="2925045" y="3285581"/>
                  <a:pt x="3006461" y="3190289"/>
                  <a:pt x="3080640" y="3116106"/>
                </a:cubicBezTo>
                <a:cubicBezTo>
                  <a:pt x="3151803" y="3038305"/>
                  <a:pt x="3219951" y="2980406"/>
                  <a:pt x="3300763" y="2912857"/>
                </a:cubicBezTo>
                <a:cubicBezTo>
                  <a:pt x="3480480" y="2763285"/>
                  <a:pt x="3693970" y="2641456"/>
                  <a:pt x="3917712" y="2553402"/>
                </a:cubicBezTo>
                <a:cubicBezTo>
                  <a:pt x="4144469" y="2465347"/>
                  <a:pt x="4378463" y="2414686"/>
                  <a:pt x="4608839" y="2400814"/>
                </a:cubicBezTo>
                <a:cubicBezTo>
                  <a:pt x="4229503" y="2407448"/>
                  <a:pt x="3849564" y="2509375"/>
                  <a:pt x="3504000" y="2702974"/>
                </a:cubicBezTo>
                <a:cubicBezTo>
                  <a:pt x="3162055" y="2899589"/>
                  <a:pt x="2860516" y="3190289"/>
                  <a:pt x="2653660" y="3546125"/>
                </a:cubicBezTo>
                <a:cubicBezTo>
                  <a:pt x="2596368" y="3648052"/>
                  <a:pt x="2534854" y="3756612"/>
                  <a:pt x="2507716" y="3847682"/>
                </a:cubicBezTo>
                <a:cubicBezTo>
                  <a:pt x="2487211" y="3905581"/>
                  <a:pt x="2477562" y="3956242"/>
                  <a:pt x="2470325" y="4007507"/>
                </a:cubicBezTo>
                <a:cubicBezTo>
                  <a:pt x="2464294" y="4061184"/>
                  <a:pt x="2457057" y="4115464"/>
                  <a:pt x="2440171" y="4196884"/>
                </a:cubicBezTo>
                <a:cubicBezTo>
                  <a:pt x="2410017" y="4342838"/>
                  <a:pt x="2385894" y="4437526"/>
                  <a:pt x="2362374" y="4529200"/>
                </a:cubicBezTo>
                <a:cubicBezTo>
                  <a:pt x="2338251" y="4630523"/>
                  <a:pt x="2305082" y="4732449"/>
                  <a:pt x="2315334" y="4860912"/>
                </a:cubicBezTo>
                <a:cubicBezTo>
                  <a:pt x="2324983" y="5020133"/>
                  <a:pt x="2352122" y="5199861"/>
                  <a:pt x="2402780" y="5380192"/>
                </a:cubicBezTo>
                <a:cubicBezTo>
                  <a:pt x="2454042" y="5559316"/>
                  <a:pt x="2531839" y="5742663"/>
                  <a:pt x="2630140" y="5912137"/>
                </a:cubicBezTo>
                <a:cubicBezTo>
                  <a:pt x="2823125" y="6243850"/>
                  <a:pt x="3056516" y="6514647"/>
                  <a:pt x="3317649" y="6701009"/>
                </a:cubicBezTo>
                <a:cubicBezTo>
                  <a:pt x="3426203" y="6779414"/>
                  <a:pt x="3558277" y="6830075"/>
                  <a:pt x="3609539" y="6843947"/>
                </a:cubicBezTo>
                <a:cubicBezTo>
                  <a:pt x="3700604" y="6871087"/>
                  <a:pt x="3771767" y="6867468"/>
                  <a:pt x="3866450" y="6881340"/>
                </a:cubicBezTo>
                <a:cubicBezTo>
                  <a:pt x="3968370" y="6898227"/>
                  <a:pt x="4063054" y="6908480"/>
                  <a:pt x="4164974" y="6914511"/>
                </a:cubicBezTo>
                <a:cubicBezTo>
                  <a:pt x="4266894" y="6924764"/>
                  <a:pt x="4375448" y="6935017"/>
                  <a:pt x="4507522" y="6938636"/>
                </a:cubicBezTo>
                <a:cubicBezTo>
                  <a:pt x="4683621" y="6945270"/>
                  <a:pt x="4836200" y="6931398"/>
                  <a:pt x="4856101" y="6968791"/>
                </a:cubicBezTo>
                <a:cubicBezTo>
                  <a:pt x="4876606" y="6999550"/>
                  <a:pt x="4791572" y="7033324"/>
                  <a:pt x="4680002" y="7053830"/>
                </a:cubicBezTo>
                <a:cubicBezTo>
                  <a:pt x="4572051" y="7073733"/>
                  <a:pt x="4439374" y="7077352"/>
                  <a:pt x="4375448" y="7077352"/>
                </a:cubicBezTo>
                <a:cubicBezTo>
                  <a:pt x="4303682" y="7077352"/>
                  <a:pt x="4219251" y="7067702"/>
                  <a:pt x="4202365" y="7080970"/>
                </a:cubicBezTo>
                <a:cubicBezTo>
                  <a:pt x="4313934" y="7097857"/>
                  <a:pt x="4429122" y="7128013"/>
                  <a:pt x="4564815" y="7128013"/>
                </a:cubicBezTo>
                <a:cubicBezTo>
                  <a:pt x="4683621" y="7128013"/>
                  <a:pt x="4754181" y="7091223"/>
                  <a:pt x="4853086" y="7091223"/>
                </a:cubicBezTo>
                <a:cubicBezTo>
                  <a:pt x="4947769" y="7091223"/>
                  <a:pt x="4890477" y="7121379"/>
                  <a:pt x="4974908" y="7121379"/>
                </a:cubicBezTo>
                <a:cubicBezTo>
                  <a:pt x="5029185" y="7121379"/>
                  <a:pt x="5117234" y="7111126"/>
                  <a:pt x="5208902" y="7091223"/>
                </a:cubicBezTo>
                <a:cubicBezTo>
                  <a:pt x="5296951" y="7073733"/>
                  <a:pt x="5392237" y="7047196"/>
                  <a:pt x="5469431" y="7023071"/>
                </a:cubicBezTo>
                <a:cubicBezTo>
                  <a:pt x="5530945" y="7003169"/>
                  <a:pt x="5628644" y="6968791"/>
                  <a:pt x="5713678" y="6935017"/>
                </a:cubicBezTo>
                <a:cubicBezTo>
                  <a:pt x="5798109" y="6901243"/>
                  <a:pt x="5869272" y="6871087"/>
                  <a:pt x="5886761" y="6871087"/>
                </a:cubicBezTo>
                <a:cubicBezTo>
                  <a:pt x="5924152" y="6877118"/>
                  <a:pt x="5856004" y="6914511"/>
                  <a:pt x="5822232" y="6941651"/>
                </a:cubicBezTo>
                <a:cubicBezTo>
                  <a:pt x="5801727" y="6965776"/>
                  <a:pt x="5805346" y="6986281"/>
                  <a:pt x="5805346" y="7006184"/>
                </a:cubicBezTo>
                <a:cubicBezTo>
                  <a:pt x="5862638" y="6982663"/>
                  <a:pt x="5940435" y="6941651"/>
                  <a:pt x="6008583" y="6908480"/>
                </a:cubicBezTo>
                <a:cubicBezTo>
                  <a:pt x="6073112" y="6874102"/>
                  <a:pt x="6126786" y="6843947"/>
                  <a:pt x="6143673" y="6850581"/>
                </a:cubicBezTo>
                <a:cubicBezTo>
                  <a:pt x="6178048" y="6867468"/>
                  <a:pt x="6073112" y="6935017"/>
                  <a:pt x="5977826" y="6999550"/>
                </a:cubicBezTo>
                <a:cubicBezTo>
                  <a:pt x="5892792" y="7053830"/>
                  <a:pt x="5814995" y="7105095"/>
                  <a:pt x="5740817" y="7141885"/>
                </a:cubicBezTo>
                <a:cubicBezTo>
                  <a:pt x="5696189" y="7165406"/>
                  <a:pt x="5791475" y="7155153"/>
                  <a:pt x="5733580" y="7189531"/>
                </a:cubicBezTo>
                <a:cubicBezTo>
                  <a:pt x="5669653" y="7226924"/>
                  <a:pt x="5581604" y="7260095"/>
                  <a:pt x="5486921" y="7291457"/>
                </a:cubicBezTo>
                <a:cubicBezTo>
                  <a:pt x="5395253" y="7317994"/>
                  <a:pt x="5296951" y="7341515"/>
                  <a:pt x="5215536" y="7362021"/>
                </a:cubicBezTo>
                <a:cubicBezTo>
                  <a:pt x="5161259" y="7375892"/>
                  <a:pt x="5100348" y="7403032"/>
                  <a:pt x="5052705" y="7416301"/>
                </a:cubicBezTo>
                <a:cubicBezTo>
                  <a:pt x="5005061" y="7430173"/>
                  <a:pt x="4917615" y="7443441"/>
                  <a:pt x="4934501" y="7453694"/>
                </a:cubicBezTo>
                <a:cubicBezTo>
                  <a:pt x="5126883" y="7436204"/>
                  <a:pt x="5330724" y="7399414"/>
                  <a:pt x="5530945" y="7338499"/>
                </a:cubicBezTo>
                <a:cubicBezTo>
                  <a:pt x="5733580" y="7273966"/>
                  <a:pt x="5937420" y="7185912"/>
                  <a:pt x="6126786" y="7070717"/>
                </a:cubicBezTo>
                <a:cubicBezTo>
                  <a:pt x="6319771" y="6955523"/>
                  <a:pt x="6503107" y="6813188"/>
                  <a:pt x="6665938" y="6650348"/>
                </a:cubicBezTo>
                <a:cubicBezTo>
                  <a:pt x="6828769" y="6488110"/>
                  <a:pt x="6974111" y="6301748"/>
                  <a:pt x="7089299" y="6105134"/>
                </a:cubicBezTo>
                <a:cubicBezTo>
                  <a:pt x="7112819" y="6064122"/>
                  <a:pt x="7150209" y="5996573"/>
                  <a:pt x="7187600" y="5918772"/>
                </a:cubicBezTo>
                <a:cubicBezTo>
                  <a:pt x="7224991" y="5840367"/>
                  <a:pt x="7266001" y="5752916"/>
                  <a:pt x="7296154" y="5664258"/>
                </a:cubicBezTo>
                <a:cubicBezTo>
                  <a:pt x="7363699" y="5491768"/>
                  <a:pt x="7404709" y="5328927"/>
                  <a:pt x="7420991" y="5308421"/>
                </a:cubicBezTo>
                <a:cubicBezTo>
                  <a:pt x="7448130" y="5284900"/>
                  <a:pt x="7452351" y="5339180"/>
                  <a:pt x="7441496" y="5410348"/>
                </a:cubicBezTo>
                <a:cubicBezTo>
                  <a:pt x="7434862" y="5484530"/>
                  <a:pt x="7411342" y="5579219"/>
                  <a:pt x="7393853" y="5637118"/>
                </a:cubicBezTo>
                <a:cubicBezTo>
                  <a:pt x="7333545" y="5867507"/>
                  <a:pt x="7228609" y="6101515"/>
                  <a:pt x="7092917" y="6321651"/>
                </a:cubicBezTo>
                <a:cubicBezTo>
                  <a:pt x="6953606" y="6538772"/>
                  <a:pt x="6784141" y="6742021"/>
                  <a:pt x="6588141" y="6914511"/>
                </a:cubicBezTo>
                <a:cubicBezTo>
                  <a:pt x="6665938" y="6850581"/>
                  <a:pt x="6767255" y="6758908"/>
                  <a:pt x="6869175" y="6647332"/>
                </a:cubicBezTo>
                <a:cubicBezTo>
                  <a:pt x="6974111" y="6535756"/>
                  <a:pt x="7075427" y="6399453"/>
                  <a:pt x="7170714" y="6254102"/>
                </a:cubicBezTo>
                <a:cubicBezTo>
                  <a:pt x="7194234" y="6213091"/>
                  <a:pt x="7234641" y="6148558"/>
                  <a:pt x="7276253" y="6067741"/>
                </a:cubicBezTo>
                <a:cubicBezTo>
                  <a:pt x="7319675" y="5989939"/>
                  <a:pt x="7360683" y="5898266"/>
                  <a:pt x="7398075" y="5813227"/>
                </a:cubicBezTo>
                <a:cubicBezTo>
                  <a:pt x="7472253" y="5637118"/>
                  <a:pt x="7519896" y="5477896"/>
                  <a:pt x="7539797" y="5467643"/>
                </a:cubicBezTo>
                <a:cubicBezTo>
                  <a:pt x="7553669" y="5464628"/>
                  <a:pt x="7550050" y="5502021"/>
                  <a:pt x="7543416" y="5552079"/>
                </a:cubicBezTo>
                <a:cubicBezTo>
                  <a:pt x="7539797" y="5599725"/>
                  <a:pt x="7526530" y="5661242"/>
                  <a:pt x="7519896" y="5691398"/>
                </a:cubicBezTo>
                <a:cubicBezTo>
                  <a:pt x="7445115" y="6013460"/>
                  <a:pt x="7276253" y="6339141"/>
                  <a:pt x="7045274" y="6637079"/>
                </a:cubicBezTo>
                <a:cubicBezTo>
                  <a:pt x="7028387" y="6681106"/>
                  <a:pt x="7035021" y="6690756"/>
                  <a:pt x="6984363" y="6762527"/>
                </a:cubicBezTo>
                <a:cubicBezTo>
                  <a:pt x="6913200" y="6860834"/>
                  <a:pt x="6791378" y="6982663"/>
                  <a:pt x="6669557" y="7091223"/>
                </a:cubicBezTo>
                <a:cubicBezTo>
                  <a:pt x="6547132" y="7199783"/>
                  <a:pt x="6421691" y="7291457"/>
                  <a:pt x="6350528" y="7359005"/>
                </a:cubicBezTo>
                <a:cubicBezTo>
                  <a:pt x="6506725" y="7260095"/>
                  <a:pt x="6665938" y="7141885"/>
                  <a:pt x="6818517" y="7003169"/>
                </a:cubicBezTo>
                <a:cubicBezTo>
                  <a:pt x="6967477" y="6863850"/>
                  <a:pt x="7112819" y="6704628"/>
                  <a:pt x="7238862" y="6528519"/>
                </a:cubicBezTo>
                <a:cubicBezTo>
                  <a:pt x="7367317" y="6355425"/>
                  <a:pt x="7475269" y="6166048"/>
                  <a:pt x="7560303" y="5969433"/>
                </a:cubicBezTo>
                <a:cubicBezTo>
                  <a:pt x="7644733" y="5775834"/>
                  <a:pt x="7709263" y="5576204"/>
                  <a:pt x="7750272" y="5383207"/>
                </a:cubicBezTo>
                <a:cubicBezTo>
                  <a:pt x="7770777" y="5291534"/>
                  <a:pt x="7797915" y="5129297"/>
                  <a:pt x="7811183" y="4986962"/>
                </a:cubicBezTo>
                <a:cubicBezTo>
                  <a:pt x="7828069" y="4841009"/>
                  <a:pt x="7838321" y="4719180"/>
                  <a:pt x="7855207" y="4702293"/>
                </a:cubicBezTo>
                <a:cubicBezTo>
                  <a:pt x="7872093" y="4692040"/>
                  <a:pt x="7885965" y="4769239"/>
                  <a:pt x="7888980" y="4868149"/>
                </a:cubicBezTo>
                <a:cubicBezTo>
                  <a:pt x="7892599" y="4965853"/>
                  <a:pt x="7888980" y="5081651"/>
                  <a:pt x="7885965" y="5138947"/>
                </a:cubicBezTo>
                <a:cubicBezTo>
                  <a:pt x="7872093" y="5339180"/>
                  <a:pt x="7835306" y="5524939"/>
                  <a:pt x="7797915" y="5684764"/>
                </a:cubicBezTo>
                <a:cubicBezTo>
                  <a:pt x="7888980" y="5366320"/>
                  <a:pt x="7888980" y="5366320"/>
                  <a:pt x="7888980" y="5366320"/>
                </a:cubicBezTo>
                <a:cubicBezTo>
                  <a:pt x="7916119" y="5271028"/>
                  <a:pt x="7936623" y="5196846"/>
                  <a:pt x="7953509" y="5193227"/>
                </a:cubicBezTo>
                <a:cubicBezTo>
                  <a:pt x="7974014" y="5186593"/>
                  <a:pt x="7970395" y="5291534"/>
                  <a:pt x="7949891" y="5423616"/>
                </a:cubicBezTo>
                <a:cubicBezTo>
                  <a:pt x="7933005" y="5552079"/>
                  <a:pt x="7892599" y="5701651"/>
                  <a:pt x="7872093" y="5786087"/>
                </a:cubicBezTo>
                <a:cubicBezTo>
                  <a:pt x="7841337" y="5898266"/>
                  <a:pt x="7821435" y="5982702"/>
                  <a:pt x="7797915" y="6061106"/>
                </a:cubicBezTo>
                <a:cubicBezTo>
                  <a:pt x="7773792" y="6152779"/>
                  <a:pt x="7712881" y="6291495"/>
                  <a:pt x="7746653" y="6284861"/>
                </a:cubicBezTo>
                <a:cubicBezTo>
                  <a:pt x="7781029" y="6230581"/>
                  <a:pt x="7828069" y="6141923"/>
                  <a:pt x="7872093" y="6040600"/>
                </a:cubicBezTo>
                <a:cubicBezTo>
                  <a:pt x="7916119" y="5939278"/>
                  <a:pt x="7960143" y="5823480"/>
                  <a:pt x="7993915" y="5715523"/>
                </a:cubicBezTo>
                <a:cubicBezTo>
                  <a:pt x="8017435" y="5640737"/>
                  <a:pt x="8051811" y="5511670"/>
                  <a:pt x="8075331" y="5393460"/>
                </a:cubicBezTo>
                <a:cubicBezTo>
                  <a:pt x="8102469" y="5278266"/>
                  <a:pt x="8122974" y="5176340"/>
                  <a:pt x="8136242" y="5159453"/>
                </a:cubicBezTo>
                <a:cubicBezTo>
                  <a:pt x="8170617" y="5125678"/>
                  <a:pt x="8156747" y="5278266"/>
                  <a:pt x="8139861" y="5393460"/>
                </a:cubicBezTo>
                <a:cubicBezTo>
                  <a:pt x="8092217" y="5745678"/>
                  <a:pt x="7957127" y="6115386"/>
                  <a:pt x="7770777" y="6454336"/>
                </a:cubicBezTo>
                <a:cubicBezTo>
                  <a:pt x="7790678" y="6430211"/>
                  <a:pt x="7858223" y="6342157"/>
                  <a:pt x="7872093" y="6369297"/>
                </a:cubicBezTo>
                <a:cubicBezTo>
                  <a:pt x="7838321" y="6484492"/>
                  <a:pt x="7743638" y="6667838"/>
                  <a:pt x="7617595" y="6843947"/>
                </a:cubicBezTo>
                <a:cubicBezTo>
                  <a:pt x="7495773" y="7023071"/>
                  <a:pt x="7343797" y="7192546"/>
                  <a:pt x="7238862" y="7314375"/>
                </a:cubicBezTo>
                <a:cubicBezTo>
                  <a:pt x="7360683" y="7219686"/>
                  <a:pt x="7506025" y="7040562"/>
                  <a:pt x="7627847" y="6871087"/>
                </a:cubicBezTo>
                <a:cubicBezTo>
                  <a:pt x="7763539" y="6681106"/>
                  <a:pt x="7868475" y="6498363"/>
                  <a:pt x="7960143" y="6307779"/>
                </a:cubicBezTo>
                <a:cubicBezTo>
                  <a:pt x="8048193" y="6118402"/>
                  <a:pt x="8122974" y="5921787"/>
                  <a:pt x="8183885" y="5708285"/>
                </a:cubicBezTo>
                <a:cubicBezTo>
                  <a:pt x="8203787" y="5637118"/>
                  <a:pt x="8234543" y="5505036"/>
                  <a:pt x="8258667" y="5386223"/>
                </a:cubicBezTo>
                <a:cubicBezTo>
                  <a:pt x="8282187" y="5271028"/>
                  <a:pt x="8299073" y="5169705"/>
                  <a:pt x="8315959" y="5166087"/>
                </a:cubicBezTo>
                <a:cubicBezTo>
                  <a:pt x="8332845" y="5163071"/>
                  <a:pt x="8329830" y="5264394"/>
                  <a:pt x="8312943" y="5393460"/>
                </a:cubicBezTo>
                <a:cubicBezTo>
                  <a:pt x="8299073" y="5518908"/>
                  <a:pt x="8265301" y="5667877"/>
                  <a:pt x="8238162" y="5758947"/>
                </a:cubicBezTo>
                <a:cubicBezTo>
                  <a:pt x="8194137" y="5932040"/>
                  <a:pt x="8129608" y="6111768"/>
                  <a:pt x="8048193" y="6291495"/>
                </a:cubicBezTo>
                <a:cubicBezTo>
                  <a:pt x="7967380" y="6471223"/>
                  <a:pt x="7868475" y="6647332"/>
                  <a:pt x="7760525" y="6809569"/>
                </a:cubicBezTo>
                <a:cubicBezTo>
                  <a:pt x="7651970" y="6976029"/>
                  <a:pt x="7530149" y="7124997"/>
                  <a:pt x="7411342" y="7260095"/>
                </a:cubicBezTo>
                <a:cubicBezTo>
                  <a:pt x="7289521" y="7392780"/>
                  <a:pt x="7167095" y="7507974"/>
                  <a:pt x="7062160" y="7606282"/>
                </a:cubicBezTo>
                <a:cubicBezTo>
                  <a:pt x="7112819" y="7565270"/>
                  <a:pt x="7180967" y="7507974"/>
                  <a:pt x="7249114" y="7443441"/>
                </a:cubicBezTo>
                <a:cubicBezTo>
                  <a:pt x="7316659" y="7375892"/>
                  <a:pt x="7387822" y="7304725"/>
                  <a:pt x="7441496" y="7243811"/>
                </a:cubicBezTo>
                <a:cubicBezTo>
                  <a:pt x="7502407" y="7179278"/>
                  <a:pt x="7587441" y="7077352"/>
                  <a:pt x="7658604" y="6989297"/>
                </a:cubicBezTo>
                <a:cubicBezTo>
                  <a:pt x="7726149" y="6904258"/>
                  <a:pt x="7781029" y="6836709"/>
                  <a:pt x="7790678" y="6846962"/>
                </a:cubicBezTo>
                <a:cubicBezTo>
                  <a:pt x="7797915" y="6854200"/>
                  <a:pt x="7767158" y="6911495"/>
                  <a:pt x="7726149" y="6972410"/>
                </a:cubicBezTo>
                <a:cubicBezTo>
                  <a:pt x="7685743" y="7033324"/>
                  <a:pt x="7631465" y="7105095"/>
                  <a:pt x="7601311" y="7141885"/>
                </a:cubicBezTo>
                <a:cubicBezTo>
                  <a:pt x="7340179" y="7487468"/>
                  <a:pt x="7021151" y="7775756"/>
                  <a:pt x="6699710" y="7992274"/>
                </a:cubicBezTo>
                <a:cubicBezTo>
                  <a:pt x="6851686" y="7934978"/>
                  <a:pt x="7065779" y="7799278"/>
                  <a:pt x="7272031" y="7616534"/>
                </a:cubicBezTo>
                <a:cubicBezTo>
                  <a:pt x="7482505" y="7430173"/>
                  <a:pt x="7685743" y="7199783"/>
                  <a:pt x="7855207" y="6976029"/>
                </a:cubicBezTo>
                <a:cubicBezTo>
                  <a:pt x="7899232" y="6948888"/>
                  <a:pt x="7990297" y="6857215"/>
                  <a:pt x="7993915" y="6904258"/>
                </a:cubicBezTo>
                <a:cubicBezTo>
                  <a:pt x="7946875" y="6995931"/>
                  <a:pt x="7878727" y="7094842"/>
                  <a:pt x="7803946" y="7192546"/>
                </a:cubicBezTo>
                <a:cubicBezTo>
                  <a:pt x="7726149" y="7291457"/>
                  <a:pt x="7641718" y="7386145"/>
                  <a:pt x="7563921" y="7477818"/>
                </a:cubicBezTo>
                <a:cubicBezTo>
                  <a:pt x="7478887" y="7568889"/>
                  <a:pt x="7428229" y="7643071"/>
                  <a:pt x="7336561" y="7724492"/>
                </a:cubicBezTo>
                <a:cubicBezTo>
                  <a:pt x="7249114" y="7805912"/>
                  <a:pt x="7150209" y="7877079"/>
                  <a:pt x="7045274" y="7955484"/>
                </a:cubicBezTo>
                <a:cubicBezTo>
                  <a:pt x="6936720" y="8036904"/>
                  <a:pt x="6798012" y="8141846"/>
                  <a:pt x="6669557" y="8223266"/>
                </a:cubicBezTo>
                <a:cubicBezTo>
                  <a:pt x="6561002" y="8290814"/>
                  <a:pt x="6401790" y="8372234"/>
                  <a:pt x="6364399" y="8409628"/>
                </a:cubicBezTo>
                <a:cubicBezTo>
                  <a:pt x="6733483" y="8249802"/>
                  <a:pt x="7055526" y="8032682"/>
                  <a:pt x="7336561" y="7778772"/>
                </a:cubicBezTo>
                <a:cubicBezTo>
                  <a:pt x="7614579" y="7527877"/>
                  <a:pt x="7851589" y="7240192"/>
                  <a:pt x="8054827" y="6924764"/>
                </a:cubicBezTo>
                <a:cubicBezTo>
                  <a:pt x="8102469" y="6846962"/>
                  <a:pt x="8190519" y="6697994"/>
                  <a:pt x="8258667" y="6568927"/>
                </a:cubicBezTo>
                <a:cubicBezTo>
                  <a:pt x="8326211" y="6436846"/>
                  <a:pt x="8380489" y="6328285"/>
                  <a:pt x="8397375" y="6345172"/>
                </a:cubicBezTo>
                <a:cubicBezTo>
                  <a:pt x="8410642" y="6355425"/>
                  <a:pt x="8373251" y="6467604"/>
                  <a:pt x="8312943" y="6599686"/>
                </a:cubicBezTo>
                <a:cubicBezTo>
                  <a:pt x="8251429" y="6728149"/>
                  <a:pt x="8166999" y="6874102"/>
                  <a:pt x="8112722" y="6962157"/>
                </a:cubicBezTo>
                <a:cubicBezTo>
                  <a:pt x="8044574" y="7070717"/>
                  <a:pt x="7957127" y="7192546"/>
                  <a:pt x="7861841" y="7311359"/>
                </a:cubicBezTo>
                <a:cubicBezTo>
                  <a:pt x="7767158" y="7426554"/>
                  <a:pt x="7668857" y="7538130"/>
                  <a:pt x="7587441" y="7626787"/>
                </a:cubicBezTo>
                <a:cubicBezTo>
                  <a:pt x="7522911" y="7694336"/>
                  <a:pt x="7465619" y="7775756"/>
                  <a:pt x="7404709" y="7833655"/>
                </a:cubicBezTo>
                <a:cubicBezTo>
                  <a:pt x="7333545" y="7904219"/>
                  <a:pt x="7228609" y="7979005"/>
                  <a:pt x="7153828" y="8039920"/>
                </a:cubicBezTo>
                <a:cubicBezTo>
                  <a:pt x="6967477" y="8188888"/>
                  <a:pt x="6814898" y="8314336"/>
                  <a:pt x="6611661" y="8422896"/>
                </a:cubicBezTo>
                <a:cubicBezTo>
                  <a:pt x="6601409" y="8447021"/>
                  <a:pt x="6720215" y="8395756"/>
                  <a:pt x="6777507" y="8375250"/>
                </a:cubicBezTo>
                <a:cubicBezTo>
                  <a:pt x="6889077" y="8338460"/>
                  <a:pt x="7007883" y="8293830"/>
                  <a:pt x="7058541" y="8293830"/>
                </a:cubicBezTo>
                <a:cubicBezTo>
                  <a:pt x="7106185" y="8297448"/>
                  <a:pt x="7092917" y="8324588"/>
                  <a:pt x="7038640" y="8375250"/>
                </a:cubicBezTo>
                <a:cubicBezTo>
                  <a:pt x="6984363" y="8422896"/>
                  <a:pt x="6886061" y="8487429"/>
                  <a:pt x="6764239" y="8551962"/>
                </a:cubicBezTo>
                <a:cubicBezTo>
                  <a:pt x="6642418" y="8619511"/>
                  <a:pt x="6496473" y="8687060"/>
                  <a:pt x="6350528" y="8741340"/>
                </a:cubicBezTo>
                <a:cubicBezTo>
                  <a:pt x="6205187" y="8798635"/>
                  <a:pt x="6062860" y="8843266"/>
                  <a:pt x="5944054" y="8880056"/>
                </a:cubicBezTo>
                <a:cubicBezTo>
                  <a:pt x="5998331" y="8873421"/>
                  <a:pt x="6100251" y="8843266"/>
                  <a:pt x="6187697" y="8812507"/>
                </a:cubicBezTo>
                <a:cubicBezTo>
                  <a:pt x="6276350" y="8778733"/>
                  <a:pt x="6354147" y="8751593"/>
                  <a:pt x="6371033" y="8761242"/>
                </a:cubicBezTo>
                <a:cubicBezTo>
                  <a:pt x="6394553" y="8772098"/>
                  <a:pt x="6241974" y="8852916"/>
                  <a:pt x="6059242" y="8924686"/>
                </a:cubicBezTo>
                <a:cubicBezTo>
                  <a:pt x="5964558" y="8962079"/>
                  <a:pt x="5862638" y="8995250"/>
                  <a:pt x="5770970" y="9022390"/>
                </a:cubicBezTo>
                <a:cubicBezTo>
                  <a:pt x="5679906" y="9049530"/>
                  <a:pt x="5601505" y="9070036"/>
                  <a:pt x="5550847" y="9080289"/>
                </a:cubicBezTo>
                <a:cubicBezTo>
                  <a:pt x="5337357" y="9127935"/>
                  <a:pt x="5113615" y="9158091"/>
                  <a:pt x="4893492" y="9168344"/>
                </a:cubicBezTo>
                <a:cubicBezTo>
                  <a:pt x="4669750" y="9178597"/>
                  <a:pt x="4449627" y="9168344"/>
                  <a:pt x="4236137" y="9144219"/>
                </a:cubicBezTo>
                <a:cubicBezTo>
                  <a:pt x="3927964" y="9107429"/>
                  <a:pt x="3605920" y="9036262"/>
                  <a:pt x="3300763" y="8931320"/>
                </a:cubicBezTo>
                <a:cubicBezTo>
                  <a:pt x="2992590" y="8825776"/>
                  <a:pt x="2701304" y="8683441"/>
                  <a:pt x="2443789" y="8524822"/>
                </a:cubicBezTo>
                <a:cubicBezTo>
                  <a:pt x="2355740" y="8466923"/>
                  <a:pt x="2253820" y="8399375"/>
                  <a:pt x="2165771" y="8331223"/>
                </a:cubicBezTo>
                <a:cubicBezTo>
                  <a:pt x="2077721" y="8263674"/>
                  <a:pt x="1999924" y="8199141"/>
                  <a:pt x="1952281" y="8165367"/>
                </a:cubicBezTo>
                <a:cubicBezTo>
                  <a:pt x="1864232" y="8097215"/>
                  <a:pt x="1768945" y="8042935"/>
                  <a:pt x="1688133" y="7989258"/>
                </a:cubicBezTo>
                <a:cubicBezTo>
                  <a:pt x="1582594" y="7918090"/>
                  <a:pt x="1471025" y="7819180"/>
                  <a:pt x="1443886" y="7813149"/>
                </a:cubicBezTo>
                <a:cubicBezTo>
                  <a:pt x="1759296" y="8168986"/>
                  <a:pt x="2159137" y="8500698"/>
                  <a:pt x="2646423" y="8761242"/>
                </a:cubicBezTo>
                <a:cubicBezTo>
                  <a:pt x="3134917" y="9022390"/>
                  <a:pt x="3710856" y="9212371"/>
                  <a:pt x="4344088" y="9270270"/>
                </a:cubicBezTo>
                <a:cubicBezTo>
                  <a:pt x="4537676" y="9290172"/>
                  <a:pt x="4748150" y="9297410"/>
                  <a:pt x="4967671" y="9287157"/>
                </a:cubicBezTo>
                <a:cubicBezTo>
                  <a:pt x="5188397" y="9276904"/>
                  <a:pt x="5418773" y="9249764"/>
                  <a:pt x="5645530" y="9202721"/>
                </a:cubicBezTo>
                <a:cubicBezTo>
                  <a:pt x="5876509" y="9158091"/>
                  <a:pt x="6103266" y="9097176"/>
                  <a:pt x="6316756" y="9019375"/>
                </a:cubicBezTo>
                <a:cubicBezTo>
                  <a:pt x="6533864" y="8941573"/>
                  <a:pt x="6737101" y="8852916"/>
                  <a:pt x="6919833" y="8758227"/>
                </a:cubicBezTo>
                <a:cubicBezTo>
                  <a:pt x="7038640" y="8697312"/>
                  <a:pt x="7187600" y="8612274"/>
                  <a:pt x="7306407" y="8534472"/>
                </a:cubicBezTo>
                <a:cubicBezTo>
                  <a:pt x="7428229" y="8460289"/>
                  <a:pt x="7522911" y="8399375"/>
                  <a:pt x="7539797" y="8399375"/>
                </a:cubicBezTo>
                <a:cubicBezTo>
                  <a:pt x="7560303" y="8399375"/>
                  <a:pt x="7434862" y="8507332"/>
                  <a:pt x="7326308" y="8595990"/>
                </a:cubicBezTo>
                <a:cubicBezTo>
                  <a:pt x="7180967" y="8707565"/>
                  <a:pt x="7011501" y="8822760"/>
                  <a:pt x="6821532" y="8931320"/>
                </a:cubicBezTo>
                <a:cubicBezTo>
                  <a:pt x="6632165" y="9036262"/>
                  <a:pt x="6421691" y="9130951"/>
                  <a:pt x="6191316" y="9208752"/>
                </a:cubicBezTo>
                <a:cubicBezTo>
                  <a:pt x="6279365" y="9181612"/>
                  <a:pt x="6411439" y="9134569"/>
                  <a:pt x="6553766" y="9076670"/>
                </a:cubicBezTo>
                <a:cubicBezTo>
                  <a:pt x="6696091" y="9019375"/>
                  <a:pt x="6845655" y="8947604"/>
                  <a:pt x="6970492" y="8887293"/>
                </a:cubicBezTo>
                <a:cubicBezTo>
                  <a:pt x="7095933" y="8822760"/>
                  <a:pt x="7194234" y="8768480"/>
                  <a:pt x="7241877" y="8751593"/>
                </a:cubicBezTo>
                <a:cubicBezTo>
                  <a:pt x="7292536" y="8731087"/>
                  <a:pt x="7289521" y="8747974"/>
                  <a:pt x="7197853" y="8822760"/>
                </a:cubicBezTo>
                <a:cubicBezTo>
                  <a:pt x="7011501" y="8937955"/>
                  <a:pt x="6814898" y="9036262"/>
                  <a:pt x="6611661" y="9124316"/>
                </a:cubicBezTo>
                <a:cubicBezTo>
                  <a:pt x="6001346" y="9384861"/>
                  <a:pt x="5333739" y="9516943"/>
                  <a:pt x="4676987" y="9507293"/>
                </a:cubicBezTo>
                <a:cubicBezTo>
                  <a:pt x="4019029" y="9503674"/>
                  <a:pt x="3355040" y="9357721"/>
                  <a:pt x="2748344" y="9086923"/>
                </a:cubicBezTo>
                <a:cubicBezTo>
                  <a:pt x="2192909" y="8836028"/>
                  <a:pt x="1688133" y="8477176"/>
                  <a:pt x="1264169" y="8039920"/>
                </a:cubicBezTo>
                <a:cubicBezTo>
                  <a:pt x="955996" y="7704588"/>
                  <a:pt x="671343" y="7301106"/>
                  <a:pt x="457854" y="6860834"/>
                </a:cubicBezTo>
                <a:cubicBezTo>
                  <a:pt x="244364" y="6416943"/>
                  <a:pt x="102038" y="5935056"/>
                  <a:pt x="38111" y="5467643"/>
                </a:cubicBezTo>
                <a:cubicBezTo>
                  <a:pt x="6751" y="5237254"/>
                  <a:pt x="-2898" y="5017118"/>
                  <a:pt x="721" y="4800600"/>
                </a:cubicBezTo>
                <a:cubicBezTo>
                  <a:pt x="3736" y="4583480"/>
                  <a:pt x="24241" y="4373596"/>
                  <a:pt x="54395" y="4160094"/>
                </a:cubicBezTo>
                <a:cubicBezTo>
                  <a:pt x="88770" y="3926087"/>
                  <a:pt x="135810" y="3688460"/>
                  <a:pt x="203355" y="3448421"/>
                </a:cubicBezTo>
                <a:cubicBezTo>
                  <a:pt x="271503" y="3207779"/>
                  <a:pt x="359552" y="2959900"/>
                  <a:pt x="478359" y="2709005"/>
                </a:cubicBezTo>
                <a:cubicBezTo>
                  <a:pt x="674962" y="2292857"/>
                  <a:pt x="939110" y="1892993"/>
                  <a:pt x="1264169" y="1540172"/>
                </a:cubicBezTo>
                <a:cubicBezTo>
                  <a:pt x="1586816" y="1191573"/>
                  <a:pt x="1965549" y="886398"/>
                  <a:pt x="2375642" y="648771"/>
                </a:cubicBezTo>
                <a:cubicBezTo>
                  <a:pt x="2785734" y="408732"/>
                  <a:pt x="3226584" y="235639"/>
                  <a:pt x="3666831" y="133713"/>
                </a:cubicBezTo>
                <a:cubicBezTo>
                  <a:pt x="4107681" y="28771"/>
                  <a:pt x="4544913" y="-8622"/>
                  <a:pt x="4947769" y="1631"/>
                </a:cubicBezTo>
                <a:close/>
              </a:path>
            </a:pathLst>
          </a:custGeom>
          <a:effectLst/>
        </p:spPr>
        <p:txBody>
          <a:bodyPr wrap="square">
            <a:no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Tree>
    <p:extLst>
      <p:ext uri="{BB962C8B-B14F-4D97-AF65-F5344CB8AC3E}">
        <p14:creationId xmlns:p14="http://schemas.microsoft.com/office/powerpoint/2010/main" val="3919939872"/>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rush Circle Right">
    <p:spTree>
      <p:nvGrpSpPr>
        <p:cNvPr id="1" name=""/>
        <p:cNvGrpSpPr/>
        <p:nvPr/>
      </p:nvGrpSpPr>
      <p:grpSpPr>
        <a:xfrm>
          <a:off x="0" y="0"/>
          <a:ext cx="0" cy="0"/>
          <a:chOff x="0" y="0"/>
          <a:chExt cx="0" cy="0"/>
        </a:xfrm>
      </p:grpSpPr>
      <p:sp>
        <p:nvSpPr>
          <p:cNvPr id="5" name="Picture Placeholder 4"/>
          <p:cNvSpPr>
            <a:spLocks noGrp="1"/>
          </p:cNvSpPr>
          <p:nvPr>
            <p:ph type="pic" sz="quarter" idx="19"/>
          </p:nvPr>
        </p:nvSpPr>
        <p:spPr>
          <a:xfrm>
            <a:off x="6701219" y="385311"/>
            <a:ext cx="4576281" cy="4753893"/>
          </a:xfrm>
          <a:custGeom>
            <a:avLst/>
            <a:gdLst>
              <a:gd name="connsiteX0" fmla="*/ 1544500 w 9150179"/>
              <a:gd name="connsiteY0" fmla="*/ 4231262 h 9507786"/>
              <a:gd name="connsiteX1" fmla="*/ 1544500 w 9150179"/>
              <a:gd name="connsiteY1" fmla="*/ 4373596 h 9507786"/>
              <a:gd name="connsiteX2" fmla="*/ 1544500 w 9150179"/>
              <a:gd name="connsiteY2" fmla="*/ 4231262 h 9507786"/>
              <a:gd name="connsiteX3" fmla="*/ 4201530 w 9150179"/>
              <a:gd name="connsiteY3" fmla="*/ 1631 h 9507786"/>
              <a:gd name="connsiteX4" fmla="*/ 5482696 w 9150179"/>
              <a:gd name="connsiteY4" fmla="*/ 133713 h 9507786"/>
              <a:gd name="connsiteX5" fmla="*/ 6774116 w 9150179"/>
              <a:gd name="connsiteY5" fmla="*/ 648771 h 9507786"/>
              <a:gd name="connsiteX6" fmla="*/ 7885786 w 9150179"/>
              <a:gd name="connsiteY6" fmla="*/ 1540172 h 9507786"/>
              <a:gd name="connsiteX7" fmla="*/ 8671738 w 9150179"/>
              <a:gd name="connsiteY7" fmla="*/ 2709005 h 9507786"/>
              <a:gd name="connsiteX8" fmla="*/ 8946790 w 9150179"/>
              <a:gd name="connsiteY8" fmla="*/ 3448421 h 9507786"/>
              <a:gd name="connsiteX9" fmla="*/ 9095776 w 9150179"/>
              <a:gd name="connsiteY9" fmla="*/ 4160094 h 9507786"/>
              <a:gd name="connsiteX10" fmla="*/ 9149460 w 9150179"/>
              <a:gd name="connsiteY10" fmla="*/ 4800600 h 9507786"/>
              <a:gd name="connsiteX11" fmla="*/ 9112062 w 9150179"/>
              <a:gd name="connsiteY11" fmla="*/ 5467643 h 9507786"/>
              <a:gd name="connsiteX12" fmla="*/ 8692246 w 9150179"/>
              <a:gd name="connsiteY12" fmla="*/ 6860834 h 9507786"/>
              <a:gd name="connsiteX13" fmla="*/ 7885786 w 9150179"/>
              <a:gd name="connsiteY13" fmla="*/ 8039920 h 9507786"/>
              <a:gd name="connsiteX14" fmla="*/ 6401348 w 9150179"/>
              <a:gd name="connsiteY14" fmla="*/ 9086923 h 9507786"/>
              <a:gd name="connsiteX15" fmla="*/ 4472362 w 9150179"/>
              <a:gd name="connsiteY15" fmla="*/ 9507293 h 9507786"/>
              <a:gd name="connsiteX16" fmla="*/ 2537343 w 9150179"/>
              <a:gd name="connsiteY16" fmla="*/ 9124316 h 9507786"/>
              <a:gd name="connsiteX17" fmla="*/ 1951047 w 9150179"/>
              <a:gd name="connsiteY17" fmla="*/ 8822760 h 9507786"/>
              <a:gd name="connsiteX18" fmla="*/ 1907014 w 9150179"/>
              <a:gd name="connsiteY18" fmla="*/ 8751593 h 9507786"/>
              <a:gd name="connsiteX19" fmla="*/ 2178448 w 9150179"/>
              <a:gd name="connsiteY19" fmla="*/ 8887293 h 9507786"/>
              <a:gd name="connsiteX20" fmla="*/ 2595249 w 9150179"/>
              <a:gd name="connsiteY20" fmla="*/ 9076670 h 9507786"/>
              <a:gd name="connsiteX21" fmla="*/ 2957763 w 9150179"/>
              <a:gd name="connsiteY21" fmla="*/ 9208752 h 9507786"/>
              <a:gd name="connsiteX22" fmla="*/ 2327434 w 9150179"/>
              <a:gd name="connsiteY22" fmla="*/ 8931320 h 9507786"/>
              <a:gd name="connsiteX23" fmla="*/ 1822568 w 9150179"/>
              <a:gd name="connsiteY23" fmla="*/ 8595990 h 9507786"/>
              <a:gd name="connsiteX24" fmla="*/ 1609041 w 9150179"/>
              <a:gd name="connsiteY24" fmla="*/ 8399375 h 9507786"/>
              <a:gd name="connsiteX25" fmla="*/ 1842474 w 9150179"/>
              <a:gd name="connsiteY25" fmla="*/ 8534472 h 9507786"/>
              <a:gd name="connsiteX26" fmla="*/ 2229116 w 9150179"/>
              <a:gd name="connsiteY26" fmla="*/ 8758227 h 9507786"/>
              <a:gd name="connsiteX27" fmla="*/ 2832300 w 9150179"/>
              <a:gd name="connsiteY27" fmla="*/ 9019375 h 9507786"/>
              <a:gd name="connsiteX28" fmla="*/ 3503646 w 9150179"/>
              <a:gd name="connsiteY28" fmla="*/ 9202721 h 9507786"/>
              <a:gd name="connsiteX29" fmla="*/ 4181626 w 9150179"/>
              <a:gd name="connsiteY29" fmla="*/ 9287157 h 9507786"/>
              <a:gd name="connsiteX30" fmla="*/ 4805320 w 9150179"/>
              <a:gd name="connsiteY30" fmla="*/ 9270270 h 9507786"/>
              <a:gd name="connsiteX31" fmla="*/ 6503286 w 9150179"/>
              <a:gd name="connsiteY31" fmla="*/ 8761242 h 9507786"/>
              <a:gd name="connsiteX32" fmla="*/ 7706038 w 9150179"/>
              <a:gd name="connsiteY32" fmla="*/ 7813149 h 9507786"/>
              <a:gd name="connsiteX33" fmla="*/ 7461748 w 9150179"/>
              <a:gd name="connsiteY33" fmla="*/ 7989258 h 9507786"/>
              <a:gd name="connsiteX34" fmla="*/ 7197552 w 9150179"/>
              <a:gd name="connsiteY34" fmla="*/ 8165367 h 9507786"/>
              <a:gd name="connsiteX35" fmla="*/ 6984024 w 9150179"/>
              <a:gd name="connsiteY35" fmla="*/ 8331223 h 9507786"/>
              <a:gd name="connsiteX36" fmla="*/ 6705956 w 9150179"/>
              <a:gd name="connsiteY36" fmla="*/ 8524822 h 9507786"/>
              <a:gd name="connsiteX37" fmla="*/ 5848830 w 9150179"/>
              <a:gd name="connsiteY37" fmla="*/ 8931320 h 9507786"/>
              <a:gd name="connsiteX38" fmla="*/ 4913290 w 9150179"/>
              <a:gd name="connsiteY38" fmla="*/ 9144219 h 9507786"/>
              <a:gd name="connsiteX39" fmla="*/ 4255818 w 9150179"/>
              <a:gd name="connsiteY39" fmla="*/ 9168344 h 9507786"/>
              <a:gd name="connsiteX40" fmla="*/ 3598346 w 9150179"/>
              <a:gd name="connsiteY40" fmla="*/ 9080289 h 9507786"/>
              <a:gd name="connsiteX41" fmla="*/ 3378183 w 9150179"/>
              <a:gd name="connsiteY41" fmla="*/ 9022390 h 9507786"/>
              <a:gd name="connsiteX42" fmla="*/ 3089860 w 9150179"/>
              <a:gd name="connsiteY42" fmla="*/ 8924686 h 9507786"/>
              <a:gd name="connsiteX43" fmla="*/ 2778014 w 9150179"/>
              <a:gd name="connsiteY43" fmla="*/ 8761242 h 9507786"/>
              <a:gd name="connsiteX44" fmla="*/ 2961382 w 9150179"/>
              <a:gd name="connsiteY44" fmla="*/ 8812507 h 9507786"/>
              <a:gd name="connsiteX45" fmla="*/ 3205069 w 9150179"/>
              <a:gd name="connsiteY45" fmla="*/ 8880056 h 9507786"/>
              <a:gd name="connsiteX46" fmla="*/ 2798522 w 9150179"/>
              <a:gd name="connsiteY46" fmla="*/ 8741340 h 9507786"/>
              <a:gd name="connsiteX47" fmla="*/ 2384737 w 9150179"/>
              <a:gd name="connsiteY47" fmla="*/ 8551962 h 9507786"/>
              <a:gd name="connsiteX48" fmla="*/ 2110288 w 9150179"/>
              <a:gd name="connsiteY48" fmla="*/ 8375250 h 9507786"/>
              <a:gd name="connsiteX49" fmla="*/ 2090382 w 9150179"/>
              <a:gd name="connsiteY49" fmla="*/ 8293830 h 9507786"/>
              <a:gd name="connsiteX50" fmla="*/ 2371467 w 9150179"/>
              <a:gd name="connsiteY50" fmla="*/ 8375250 h 9507786"/>
              <a:gd name="connsiteX51" fmla="*/ 2537343 w 9150179"/>
              <a:gd name="connsiteY51" fmla="*/ 8422896 h 9507786"/>
              <a:gd name="connsiteX52" fmla="*/ 1995080 w 9150179"/>
              <a:gd name="connsiteY52" fmla="*/ 8039920 h 9507786"/>
              <a:gd name="connsiteX53" fmla="*/ 1744154 w 9150179"/>
              <a:gd name="connsiteY53" fmla="*/ 7833655 h 9507786"/>
              <a:gd name="connsiteX54" fmla="*/ 1561389 w 9150179"/>
              <a:gd name="connsiteY54" fmla="*/ 7626787 h 9507786"/>
              <a:gd name="connsiteX55" fmla="*/ 1286940 w 9150179"/>
              <a:gd name="connsiteY55" fmla="*/ 7311359 h 9507786"/>
              <a:gd name="connsiteX56" fmla="*/ 1036015 w 9150179"/>
              <a:gd name="connsiteY56" fmla="*/ 6962157 h 9507786"/>
              <a:gd name="connsiteX57" fmla="*/ 835758 w 9150179"/>
              <a:gd name="connsiteY57" fmla="*/ 6599686 h 9507786"/>
              <a:gd name="connsiteX58" fmla="*/ 751311 w 9150179"/>
              <a:gd name="connsiteY58" fmla="*/ 6345172 h 9507786"/>
              <a:gd name="connsiteX59" fmla="*/ 890044 w 9150179"/>
              <a:gd name="connsiteY59" fmla="*/ 6568927 h 9507786"/>
              <a:gd name="connsiteX60" fmla="*/ 1093920 w 9150179"/>
              <a:gd name="connsiteY60" fmla="*/ 6924764 h 9507786"/>
              <a:gd name="connsiteX61" fmla="*/ 1812314 w 9150179"/>
              <a:gd name="connsiteY61" fmla="*/ 7778772 h 9507786"/>
              <a:gd name="connsiteX62" fmla="*/ 2784649 w 9150179"/>
              <a:gd name="connsiteY62" fmla="*/ 8409628 h 9507786"/>
              <a:gd name="connsiteX63" fmla="*/ 2479437 w 9150179"/>
              <a:gd name="connsiteY63" fmla="*/ 8223266 h 9507786"/>
              <a:gd name="connsiteX64" fmla="*/ 2103653 w 9150179"/>
              <a:gd name="connsiteY64" fmla="*/ 7955484 h 9507786"/>
              <a:gd name="connsiteX65" fmla="*/ 1812314 w 9150179"/>
              <a:gd name="connsiteY65" fmla="*/ 7724492 h 9507786"/>
              <a:gd name="connsiteX66" fmla="*/ 1584914 w 9150179"/>
              <a:gd name="connsiteY66" fmla="*/ 7477818 h 9507786"/>
              <a:gd name="connsiteX67" fmla="*/ 1344846 w 9150179"/>
              <a:gd name="connsiteY67" fmla="*/ 7192546 h 9507786"/>
              <a:gd name="connsiteX68" fmla="*/ 1154842 w 9150179"/>
              <a:gd name="connsiteY68" fmla="*/ 6904258 h 9507786"/>
              <a:gd name="connsiteX69" fmla="*/ 1293575 w 9150179"/>
              <a:gd name="connsiteY69" fmla="*/ 6976029 h 9507786"/>
              <a:gd name="connsiteX70" fmla="*/ 1876855 w 9150179"/>
              <a:gd name="connsiteY70" fmla="*/ 7616534 h 9507786"/>
              <a:gd name="connsiteX71" fmla="*/ 2449278 w 9150179"/>
              <a:gd name="connsiteY71" fmla="*/ 7992274 h 9507786"/>
              <a:gd name="connsiteX72" fmla="*/ 1547516 w 9150179"/>
              <a:gd name="connsiteY72" fmla="*/ 7141885 h 9507786"/>
              <a:gd name="connsiteX73" fmla="*/ 1422656 w 9150179"/>
              <a:gd name="connsiteY73" fmla="*/ 6972410 h 9507786"/>
              <a:gd name="connsiteX74" fmla="*/ 1358116 w 9150179"/>
              <a:gd name="connsiteY74" fmla="*/ 6846962 h 9507786"/>
              <a:gd name="connsiteX75" fmla="*/ 1490214 w 9150179"/>
              <a:gd name="connsiteY75" fmla="*/ 6989297 h 9507786"/>
              <a:gd name="connsiteX76" fmla="*/ 1707360 w 9150179"/>
              <a:gd name="connsiteY76" fmla="*/ 7243811 h 9507786"/>
              <a:gd name="connsiteX77" fmla="*/ 1899776 w 9150179"/>
              <a:gd name="connsiteY77" fmla="*/ 7443441 h 9507786"/>
              <a:gd name="connsiteX78" fmla="*/ 2086764 w 9150179"/>
              <a:gd name="connsiteY78" fmla="*/ 7606282 h 9507786"/>
              <a:gd name="connsiteX79" fmla="*/ 1737520 w 9150179"/>
              <a:gd name="connsiteY79" fmla="*/ 7260095 h 9507786"/>
              <a:gd name="connsiteX80" fmla="*/ 1388275 w 9150179"/>
              <a:gd name="connsiteY80" fmla="*/ 6809569 h 9507786"/>
              <a:gd name="connsiteX81" fmla="*/ 1100556 w 9150179"/>
              <a:gd name="connsiteY81" fmla="*/ 6291495 h 9507786"/>
              <a:gd name="connsiteX82" fmla="*/ 910552 w 9150179"/>
              <a:gd name="connsiteY82" fmla="*/ 5758947 h 9507786"/>
              <a:gd name="connsiteX83" fmla="*/ 835758 w 9150179"/>
              <a:gd name="connsiteY83" fmla="*/ 5393460 h 9507786"/>
              <a:gd name="connsiteX84" fmla="*/ 832742 w 9150179"/>
              <a:gd name="connsiteY84" fmla="*/ 5166087 h 9507786"/>
              <a:gd name="connsiteX85" fmla="*/ 890044 w 9150179"/>
              <a:gd name="connsiteY85" fmla="*/ 5386223 h 9507786"/>
              <a:gd name="connsiteX86" fmla="*/ 964839 w 9150179"/>
              <a:gd name="connsiteY86" fmla="*/ 5708285 h 9507786"/>
              <a:gd name="connsiteX87" fmla="*/ 1188620 w 9150179"/>
              <a:gd name="connsiteY87" fmla="*/ 6307779 h 9507786"/>
              <a:gd name="connsiteX88" fmla="*/ 1520976 w 9150179"/>
              <a:gd name="connsiteY88" fmla="*/ 6871087 h 9507786"/>
              <a:gd name="connsiteX89" fmla="*/ 1910030 w 9150179"/>
              <a:gd name="connsiteY89" fmla="*/ 7314375 h 9507786"/>
              <a:gd name="connsiteX90" fmla="*/ 1531230 w 9150179"/>
              <a:gd name="connsiteY90" fmla="*/ 6843947 h 9507786"/>
              <a:gd name="connsiteX91" fmla="*/ 1276686 w 9150179"/>
              <a:gd name="connsiteY91" fmla="*/ 6369297 h 9507786"/>
              <a:gd name="connsiteX92" fmla="*/ 1378021 w 9150179"/>
              <a:gd name="connsiteY92" fmla="*/ 6454336 h 9507786"/>
              <a:gd name="connsiteX93" fmla="*/ 1008872 w 9150179"/>
              <a:gd name="connsiteY93" fmla="*/ 5393460 h 9507786"/>
              <a:gd name="connsiteX94" fmla="*/ 1012490 w 9150179"/>
              <a:gd name="connsiteY94" fmla="*/ 5159453 h 9507786"/>
              <a:gd name="connsiteX95" fmla="*/ 1073412 w 9150179"/>
              <a:gd name="connsiteY95" fmla="*/ 5393460 h 9507786"/>
              <a:gd name="connsiteX96" fmla="*/ 1154842 w 9150179"/>
              <a:gd name="connsiteY96" fmla="*/ 5715523 h 9507786"/>
              <a:gd name="connsiteX97" fmla="*/ 1276686 w 9150179"/>
              <a:gd name="connsiteY97" fmla="*/ 6040600 h 9507786"/>
              <a:gd name="connsiteX98" fmla="*/ 1402148 w 9150179"/>
              <a:gd name="connsiteY98" fmla="*/ 6284861 h 9507786"/>
              <a:gd name="connsiteX99" fmla="*/ 1350878 w 9150179"/>
              <a:gd name="connsiteY99" fmla="*/ 6061106 h 9507786"/>
              <a:gd name="connsiteX100" fmla="*/ 1276686 w 9150179"/>
              <a:gd name="connsiteY100" fmla="*/ 5786087 h 9507786"/>
              <a:gd name="connsiteX101" fmla="*/ 1198875 w 9150179"/>
              <a:gd name="connsiteY101" fmla="*/ 5423616 h 9507786"/>
              <a:gd name="connsiteX102" fmla="*/ 1195256 w 9150179"/>
              <a:gd name="connsiteY102" fmla="*/ 5193227 h 9507786"/>
              <a:gd name="connsiteX103" fmla="*/ 1259796 w 9150179"/>
              <a:gd name="connsiteY103" fmla="*/ 5366320 h 9507786"/>
              <a:gd name="connsiteX104" fmla="*/ 1350878 w 9150179"/>
              <a:gd name="connsiteY104" fmla="*/ 5684764 h 9507786"/>
              <a:gd name="connsiteX105" fmla="*/ 1262812 w 9150179"/>
              <a:gd name="connsiteY105" fmla="*/ 5138947 h 9507786"/>
              <a:gd name="connsiteX106" fmla="*/ 1259796 w 9150179"/>
              <a:gd name="connsiteY106" fmla="*/ 4868149 h 9507786"/>
              <a:gd name="connsiteX107" fmla="*/ 1293575 w 9150179"/>
              <a:gd name="connsiteY107" fmla="*/ 4702293 h 9507786"/>
              <a:gd name="connsiteX108" fmla="*/ 1337608 w 9150179"/>
              <a:gd name="connsiteY108" fmla="*/ 4986962 h 9507786"/>
              <a:gd name="connsiteX109" fmla="*/ 1398529 w 9150179"/>
              <a:gd name="connsiteY109" fmla="*/ 5383207 h 9507786"/>
              <a:gd name="connsiteX110" fmla="*/ 1588532 w 9150179"/>
              <a:gd name="connsiteY110" fmla="*/ 5969433 h 9507786"/>
              <a:gd name="connsiteX111" fmla="*/ 1910030 w 9150179"/>
              <a:gd name="connsiteY111" fmla="*/ 6528519 h 9507786"/>
              <a:gd name="connsiteX112" fmla="*/ 2330450 w 9150179"/>
              <a:gd name="connsiteY112" fmla="*/ 7003169 h 9507786"/>
              <a:gd name="connsiteX113" fmla="*/ 2798522 w 9150179"/>
              <a:gd name="connsiteY113" fmla="*/ 7359005 h 9507786"/>
              <a:gd name="connsiteX114" fmla="*/ 2479437 w 9150179"/>
              <a:gd name="connsiteY114" fmla="*/ 7091223 h 9507786"/>
              <a:gd name="connsiteX115" fmla="*/ 2164574 w 9150179"/>
              <a:gd name="connsiteY115" fmla="*/ 6762527 h 9507786"/>
              <a:gd name="connsiteX116" fmla="*/ 2103653 w 9150179"/>
              <a:gd name="connsiteY116" fmla="*/ 6637079 h 9507786"/>
              <a:gd name="connsiteX117" fmla="*/ 1628946 w 9150179"/>
              <a:gd name="connsiteY117" fmla="*/ 5691398 h 9507786"/>
              <a:gd name="connsiteX118" fmla="*/ 1605422 w 9150179"/>
              <a:gd name="connsiteY118" fmla="*/ 5552079 h 9507786"/>
              <a:gd name="connsiteX119" fmla="*/ 1609041 w 9150179"/>
              <a:gd name="connsiteY119" fmla="*/ 5467643 h 9507786"/>
              <a:gd name="connsiteX120" fmla="*/ 1750790 w 9150179"/>
              <a:gd name="connsiteY120" fmla="*/ 5813227 h 9507786"/>
              <a:gd name="connsiteX121" fmla="*/ 1872633 w 9150179"/>
              <a:gd name="connsiteY121" fmla="*/ 6067741 h 9507786"/>
              <a:gd name="connsiteX122" fmla="*/ 1978190 w 9150179"/>
              <a:gd name="connsiteY122" fmla="*/ 6254102 h 9507786"/>
              <a:gd name="connsiteX123" fmla="*/ 2279783 w 9150179"/>
              <a:gd name="connsiteY123" fmla="*/ 6647332 h 9507786"/>
              <a:gd name="connsiteX124" fmla="*/ 2560867 w 9150179"/>
              <a:gd name="connsiteY124" fmla="*/ 6914511 h 9507786"/>
              <a:gd name="connsiteX125" fmla="*/ 2056001 w 9150179"/>
              <a:gd name="connsiteY125" fmla="*/ 6321651 h 9507786"/>
              <a:gd name="connsiteX126" fmla="*/ 1755012 w 9150179"/>
              <a:gd name="connsiteY126" fmla="*/ 5637118 h 9507786"/>
              <a:gd name="connsiteX127" fmla="*/ 1707360 w 9150179"/>
              <a:gd name="connsiteY127" fmla="*/ 5410348 h 9507786"/>
              <a:gd name="connsiteX128" fmla="*/ 1727868 w 9150179"/>
              <a:gd name="connsiteY128" fmla="*/ 5308421 h 9507786"/>
              <a:gd name="connsiteX129" fmla="*/ 1852728 w 9150179"/>
              <a:gd name="connsiteY129" fmla="*/ 5664258 h 9507786"/>
              <a:gd name="connsiteX130" fmla="*/ 1961301 w 9150179"/>
              <a:gd name="connsiteY130" fmla="*/ 5918772 h 9507786"/>
              <a:gd name="connsiteX131" fmla="*/ 2059620 w 9150179"/>
              <a:gd name="connsiteY131" fmla="*/ 6105134 h 9507786"/>
              <a:gd name="connsiteX132" fmla="*/ 2483056 w 9150179"/>
              <a:gd name="connsiteY132" fmla="*/ 6650348 h 9507786"/>
              <a:gd name="connsiteX133" fmla="*/ 3022304 w 9150179"/>
              <a:gd name="connsiteY133" fmla="*/ 7070717 h 9507786"/>
              <a:gd name="connsiteX134" fmla="*/ 3618250 w 9150179"/>
              <a:gd name="connsiteY134" fmla="*/ 7338499 h 9507786"/>
              <a:gd name="connsiteX135" fmla="*/ 4214802 w 9150179"/>
              <a:gd name="connsiteY135" fmla="*/ 7453694 h 9507786"/>
              <a:gd name="connsiteX136" fmla="*/ 4096578 w 9150179"/>
              <a:gd name="connsiteY136" fmla="*/ 7416301 h 9507786"/>
              <a:gd name="connsiteX137" fmla="*/ 3933718 w 9150179"/>
              <a:gd name="connsiteY137" fmla="*/ 7362021 h 9507786"/>
              <a:gd name="connsiteX138" fmla="*/ 3662284 w 9150179"/>
              <a:gd name="connsiteY138" fmla="*/ 7291457 h 9507786"/>
              <a:gd name="connsiteX139" fmla="*/ 3415580 w 9150179"/>
              <a:gd name="connsiteY139" fmla="*/ 7189531 h 9507786"/>
              <a:gd name="connsiteX140" fmla="*/ 3408342 w 9150179"/>
              <a:gd name="connsiteY140" fmla="*/ 7141885 h 9507786"/>
              <a:gd name="connsiteX141" fmla="*/ 3171290 w 9150179"/>
              <a:gd name="connsiteY141" fmla="*/ 6999550 h 9507786"/>
              <a:gd name="connsiteX142" fmla="*/ 3005414 w 9150179"/>
              <a:gd name="connsiteY142" fmla="*/ 6850581 h 9507786"/>
              <a:gd name="connsiteX143" fmla="*/ 3140528 w 9150179"/>
              <a:gd name="connsiteY143" fmla="*/ 6908480 h 9507786"/>
              <a:gd name="connsiteX144" fmla="*/ 3343802 w 9150179"/>
              <a:gd name="connsiteY144" fmla="*/ 7006184 h 9507786"/>
              <a:gd name="connsiteX145" fmla="*/ 3326912 w 9150179"/>
              <a:gd name="connsiteY145" fmla="*/ 6941651 h 9507786"/>
              <a:gd name="connsiteX146" fmla="*/ 3262372 w 9150179"/>
              <a:gd name="connsiteY146" fmla="*/ 6871087 h 9507786"/>
              <a:gd name="connsiteX147" fmla="*/ 3435486 w 9150179"/>
              <a:gd name="connsiteY147" fmla="*/ 6935017 h 9507786"/>
              <a:gd name="connsiteX148" fmla="*/ 3679776 w 9150179"/>
              <a:gd name="connsiteY148" fmla="*/ 7023071 h 9507786"/>
              <a:gd name="connsiteX149" fmla="*/ 3940352 w 9150179"/>
              <a:gd name="connsiteY149" fmla="*/ 7091223 h 9507786"/>
              <a:gd name="connsiteX150" fmla="*/ 4174388 w 9150179"/>
              <a:gd name="connsiteY150" fmla="*/ 7121379 h 9507786"/>
              <a:gd name="connsiteX151" fmla="*/ 4296230 w 9150179"/>
              <a:gd name="connsiteY151" fmla="*/ 7091223 h 9507786"/>
              <a:gd name="connsiteX152" fmla="*/ 4584554 w 9150179"/>
              <a:gd name="connsiteY152" fmla="*/ 7128013 h 9507786"/>
              <a:gd name="connsiteX153" fmla="*/ 4947068 w 9150179"/>
              <a:gd name="connsiteY153" fmla="*/ 7080970 h 9507786"/>
              <a:gd name="connsiteX154" fmla="*/ 4773954 w 9150179"/>
              <a:gd name="connsiteY154" fmla="*/ 7077352 h 9507786"/>
              <a:gd name="connsiteX155" fmla="*/ 4469346 w 9150179"/>
              <a:gd name="connsiteY155" fmla="*/ 7053830 h 9507786"/>
              <a:gd name="connsiteX156" fmla="*/ 4293216 w 9150179"/>
              <a:gd name="connsiteY156" fmla="*/ 6968791 h 9507786"/>
              <a:gd name="connsiteX157" fmla="*/ 4641856 w 9150179"/>
              <a:gd name="connsiteY157" fmla="*/ 6938636 h 9507786"/>
              <a:gd name="connsiteX158" fmla="*/ 4984466 w 9150179"/>
              <a:gd name="connsiteY158" fmla="*/ 6914511 h 9507786"/>
              <a:gd name="connsiteX159" fmla="*/ 5283042 w 9150179"/>
              <a:gd name="connsiteY159" fmla="*/ 6881340 h 9507786"/>
              <a:gd name="connsiteX160" fmla="*/ 5540000 w 9150179"/>
              <a:gd name="connsiteY160" fmla="*/ 6843947 h 9507786"/>
              <a:gd name="connsiteX161" fmla="*/ 5831942 w 9150179"/>
              <a:gd name="connsiteY161" fmla="*/ 6701009 h 9507786"/>
              <a:gd name="connsiteX162" fmla="*/ 6519572 w 9150179"/>
              <a:gd name="connsiteY162" fmla="*/ 5912137 h 9507786"/>
              <a:gd name="connsiteX163" fmla="*/ 6746974 w 9150179"/>
              <a:gd name="connsiteY163" fmla="*/ 5380192 h 9507786"/>
              <a:gd name="connsiteX164" fmla="*/ 6834434 w 9150179"/>
              <a:gd name="connsiteY164" fmla="*/ 4860912 h 9507786"/>
              <a:gd name="connsiteX165" fmla="*/ 6787386 w 9150179"/>
              <a:gd name="connsiteY165" fmla="*/ 4529200 h 9507786"/>
              <a:gd name="connsiteX166" fmla="*/ 6709576 w 9150179"/>
              <a:gd name="connsiteY166" fmla="*/ 4196884 h 9507786"/>
              <a:gd name="connsiteX167" fmla="*/ 6679416 w 9150179"/>
              <a:gd name="connsiteY167" fmla="*/ 4007507 h 9507786"/>
              <a:gd name="connsiteX168" fmla="*/ 6642018 w 9150179"/>
              <a:gd name="connsiteY168" fmla="*/ 3847682 h 9507786"/>
              <a:gd name="connsiteX169" fmla="*/ 6496048 w 9150179"/>
              <a:gd name="connsiteY169" fmla="*/ 3546125 h 9507786"/>
              <a:gd name="connsiteX170" fmla="*/ 5645556 w 9150179"/>
              <a:gd name="connsiteY170" fmla="*/ 2702974 h 9507786"/>
              <a:gd name="connsiteX171" fmla="*/ 4540522 w 9150179"/>
              <a:gd name="connsiteY171" fmla="*/ 2400814 h 9507786"/>
              <a:gd name="connsiteX172" fmla="*/ 5231772 w 9150179"/>
              <a:gd name="connsiteY172" fmla="*/ 2553402 h 9507786"/>
              <a:gd name="connsiteX173" fmla="*/ 5848830 w 9150179"/>
              <a:gd name="connsiteY173" fmla="*/ 2912857 h 9507786"/>
              <a:gd name="connsiteX174" fmla="*/ 6068992 w 9150179"/>
              <a:gd name="connsiteY174" fmla="*/ 3116106 h 9507786"/>
              <a:gd name="connsiteX175" fmla="*/ 6316298 w 9150179"/>
              <a:gd name="connsiteY175" fmla="*/ 3427915 h 9507786"/>
              <a:gd name="connsiteX176" fmla="*/ 6489412 w 9150179"/>
              <a:gd name="connsiteY176" fmla="*/ 3736106 h 9507786"/>
              <a:gd name="connsiteX177" fmla="*/ 6580494 w 9150179"/>
              <a:gd name="connsiteY177" fmla="*/ 4031028 h 9507786"/>
              <a:gd name="connsiteX178" fmla="*/ 6540080 w 9150179"/>
              <a:gd name="connsiteY178" fmla="*/ 3959861 h 9507786"/>
              <a:gd name="connsiteX179" fmla="*/ 6347062 w 9150179"/>
              <a:gd name="connsiteY179" fmla="*/ 3576884 h 9507786"/>
              <a:gd name="connsiteX180" fmla="*/ 6096136 w 9150179"/>
              <a:gd name="connsiteY180" fmla="*/ 3221048 h 9507786"/>
              <a:gd name="connsiteX181" fmla="*/ 5581016 w 9150179"/>
              <a:gd name="connsiteY181" fmla="*/ 2790425 h 9507786"/>
              <a:gd name="connsiteX182" fmla="*/ 4987482 w 9150179"/>
              <a:gd name="connsiteY182" fmla="*/ 2539530 h 9507786"/>
              <a:gd name="connsiteX183" fmla="*/ 4357756 w 9150179"/>
              <a:gd name="connsiteY183" fmla="*/ 2462332 h 9507786"/>
              <a:gd name="connsiteX184" fmla="*/ 3720190 w 9150179"/>
              <a:gd name="connsiteY184" fmla="*/ 2557020 h 9507786"/>
              <a:gd name="connsiteX185" fmla="*/ 3466248 w 9150179"/>
              <a:gd name="connsiteY185" fmla="*/ 2648693 h 9507786"/>
              <a:gd name="connsiteX186" fmla="*/ 3252118 w 9150179"/>
              <a:gd name="connsiteY186" fmla="*/ 2773538 h 9507786"/>
              <a:gd name="connsiteX187" fmla="*/ 3147766 w 9150179"/>
              <a:gd name="connsiteY187" fmla="*/ 2895367 h 9507786"/>
              <a:gd name="connsiteX188" fmla="*/ 3028939 w 9150179"/>
              <a:gd name="connsiteY188" fmla="*/ 3034686 h 9507786"/>
              <a:gd name="connsiteX189" fmla="*/ 3018685 w 9150179"/>
              <a:gd name="connsiteY189" fmla="*/ 2994277 h 9507786"/>
              <a:gd name="connsiteX190" fmla="*/ 3059098 w 9150179"/>
              <a:gd name="connsiteY190" fmla="*/ 2916476 h 9507786"/>
              <a:gd name="connsiteX191" fmla="*/ 2829284 w 9150179"/>
              <a:gd name="connsiteY191" fmla="*/ 3136009 h 9507786"/>
              <a:gd name="connsiteX192" fmla="*/ 2723727 w 9150179"/>
              <a:gd name="connsiteY192" fmla="*/ 3227682 h 9507786"/>
              <a:gd name="connsiteX193" fmla="*/ 2656170 w 9150179"/>
              <a:gd name="connsiteY193" fmla="*/ 3312721 h 9507786"/>
              <a:gd name="connsiteX194" fmla="*/ 2710457 w 9150179"/>
              <a:gd name="connsiteY194" fmla="*/ 3136009 h 9507786"/>
              <a:gd name="connsiteX195" fmla="*/ 2842554 w 9150179"/>
              <a:gd name="connsiteY195" fmla="*/ 2926729 h 9507786"/>
              <a:gd name="connsiteX196" fmla="*/ 2849190 w 9150179"/>
              <a:gd name="connsiteY196" fmla="*/ 2865211 h 9507786"/>
              <a:gd name="connsiteX197" fmla="*/ 2907096 w 9150179"/>
              <a:gd name="connsiteY197" fmla="*/ 2770523 h 9507786"/>
              <a:gd name="connsiteX198" fmla="*/ 4147244 w 9150179"/>
              <a:gd name="connsiteY198" fmla="*/ 2177059 h 9507786"/>
              <a:gd name="connsiteX199" fmla="*/ 4621952 w 9150179"/>
              <a:gd name="connsiteY199" fmla="*/ 2139666 h 9507786"/>
              <a:gd name="connsiteX200" fmla="*/ 4154482 w 9150179"/>
              <a:gd name="connsiteY200" fmla="*/ 2143888 h 9507786"/>
              <a:gd name="connsiteX201" fmla="*/ 3923462 w 9150179"/>
              <a:gd name="connsiteY201" fmla="*/ 2180678 h 9507786"/>
              <a:gd name="connsiteX202" fmla="*/ 3740698 w 9150179"/>
              <a:gd name="connsiteY202" fmla="*/ 2218071 h 9507786"/>
              <a:gd name="connsiteX203" fmla="*/ 3655648 w 9150179"/>
              <a:gd name="connsiteY203" fmla="*/ 2211437 h 9507786"/>
              <a:gd name="connsiteX204" fmla="*/ 3177926 w 9150179"/>
              <a:gd name="connsiteY204" fmla="*/ 2431573 h 9507786"/>
              <a:gd name="connsiteX205" fmla="*/ 2913730 w 9150179"/>
              <a:gd name="connsiteY205" fmla="*/ 2651709 h 9507786"/>
              <a:gd name="connsiteX206" fmla="*/ 2808776 w 9150179"/>
              <a:gd name="connsiteY206" fmla="*/ 2766904 h 9507786"/>
              <a:gd name="connsiteX207" fmla="*/ 2683314 w 9150179"/>
              <a:gd name="connsiteY207" fmla="*/ 2882098 h 9507786"/>
              <a:gd name="connsiteX208" fmla="*/ 2670044 w 9150179"/>
              <a:gd name="connsiteY208" fmla="*/ 2848324 h 9507786"/>
              <a:gd name="connsiteX209" fmla="*/ 2754490 w 9150179"/>
              <a:gd name="connsiteY209" fmla="*/ 2743382 h 9507786"/>
              <a:gd name="connsiteX210" fmla="*/ 3144148 w 9150179"/>
              <a:gd name="connsiteY210" fmla="*/ 2373674 h 9507786"/>
              <a:gd name="connsiteX211" fmla="*/ 3337166 w 9150179"/>
              <a:gd name="connsiteY211" fmla="*/ 2231340 h 9507786"/>
              <a:gd name="connsiteX212" fmla="*/ 3211704 w 9150179"/>
              <a:gd name="connsiteY212" fmla="*/ 2275970 h 9507786"/>
              <a:gd name="connsiteX213" fmla="*/ 3038590 w 9150179"/>
              <a:gd name="connsiteY213" fmla="*/ 2377293 h 9507786"/>
              <a:gd name="connsiteX214" fmla="*/ 2757506 w 9150179"/>
              <a:gd name="connsiteY214" fmla="*/ 2580542 h 9507786"/>
              <a:gd name="connsiteX215" fmla="*/ 2557852 w 9150179"/>
              <a:gd name="connsiteY215" fmla="*/ 2804297 h 9507786"/>
              <a:gd name="connsiteX216" fmla="*/ 2469183 w 9150179"/>
              <a:gd name="connsiteY216" fmla="*/ 2994277 h 9507786"/>
              <a:gd name="connsiteX217" fmla="*/ 2411880 w 9150179"/>
              <a:gd name="connsiteY217" fmla="*/ 3105853 h 9507786"/>
              <a:gd name="connsiteX218" fmla="*/ 2337688 w 9150179"/>
              <a:gd name="connsiteY218" fmla="*/ 3221048 h 9507786"/>
              <a:gd name="connsiteX219" fmla="*/ 2357594 w 9150179"/>
              <a:gd name="connsiteY219" fmla="*/ 3095600 h 9507786"/>
              <a:gd name="connsiteX220" fmla="*/ 2422134 w 9150179"/>
              <a:gd name="connsiteY220" fmla="*/ 2919491 h 9507786"/>
              <a:gd name="connsiteX221" fmla="*/ 2520454 w 9150179"/>
              <a:gd name="connsiteY221" fmla="*/ 2780775 h 9507786"/>
              <a:gd name="connsiteX222" fmla="*/ 2357594 w 9150179"/>
              <a:gd name="connsiteY222" fmla="*/ 2973771 h 9507786"/>
              <a:gd name="connsiteX223" fmla="*/ 2212226 w 9150179"/>
              <a:gd name="connsiteY223" fmla="*/ 3190289 h 9507786"/>
              <a:gd name="connsiteX224" fmla="*/ 2133812 w 9150179"/>
              <a:gd name="connsiteY224" fmla="*/ 3444802 h 9507786"/>
              <a:gd name="connsiteX225" fmla="*/ 2096414 w 9150179"/>
              <a:gd name="connsiteY225" fmla="*/ 3593771 h 9507786"/>
              <a:gd name="connsiteX226" fmla="*/ 2042731 w 9150179"/>
              <a:gd name="connsiteY226" fmla="*/ 3732487 h 9507786"/>
              <a:gd name="connsiteX227" fmla="*/ 2032477 w 9150179"/>
              <a:gd name="connsiteY227" fmla="*/ 3627546 h 9507786"/>
              <a:gd name="connsiteX228" fmla="*/ 2049366 w 9150179"/>
              <a:gd name="connsiteY228" fmla="*/ 3464705 h 9507786"/>
              <a:gd name="connsiteX229" fmla="*/ 1795425 w 9150179"/>
              <a:gd name="connsiteY229" fmla="*/ 4139589 h 9507786"/>
              <a:gd name="connsiteX230" fmla="*/ 1727868 w 9150179"/>
              <a:gd name="connsiteY230" fmla="*/ 4471301 h 9507786"/>
              <a:gd name="connsiteX231" fmla="*/ 1659708 w 9150179"/>
              <a:gd name="connsiteY231" fmla="*/ 4620270 h 9507786"/>
              <a:gd name="connsiteX232" fmla="*/ 1639200 w 9150179"/>
              <a:gd name="connsiteY232" fmla="*/ 4346456 h 9507786"/>
              <a:gd name="connsiteX233" fmla="*/ 1696502 w 9150179"/>
              <a:gd name="connsiteY233" fmla="*/ 3953227 h 9507786"/>
              <a:gd name="connsiteX234" fmla="*/ 1615676 w 9150179"/>
              <a:gd name="connsiteY234" fmla="*/ 4495425 h 9507786"/>
              <a:gd name="connsiteX235" fmla="*/ 1571644 w 9150179"/>
              <a:gd name="connsiteY235" fmla="*/ 4478538 h 9507786"/>
              <a:gd name="connsiteX236" fmla="*/ 1493832 w 9150179"/>
              <a:gd name="connsiteY236" fmla="*/ 4681787 h 9507786"/>
              <a:gd name="connsiteX237" fmla="*/ 1479959 w 9150179"/>
              <a:gd name="connsiteY237" fmla="*/ 4481554 h 9507786"/>
              <a:gd name="connsiteX238" fmla="*/ 1499864 w 9150179"/>
              <a:gd name="connsiteY238" fmla="*/ 4196884 h 9507786"/>
              <a:gd name="connsiteX239" fmla="*/ 1703741 w 9150179"/>
              <a:gd name="connsiteY239" fmla="*/ 3421281 h 9507786"/>
              <a:gd name="connsiteX240" fmla="*/ 2056001 w 9150179"/>
              <a:gd name="connsiteY240" fmla="*/ 2773538 h 9507786"/>
              <a:gd name="connsiteX241" fmla="*/ 1737520 w 9150179"/>
              <a:gd name="connsiteY241" fmla="*/ 3210795 h 9507786"/>
              <a:gd name="connsiteX242" fmla="*/ 1605422 w 9150179"/>
              <a:gd name="connsiteY242" fmla="*/ 3431534 h 9507786"/>
              <a:gd name="connsiteX243" fmla="*/ 1517356 w 9150179"/>
              <a:gd name="connsiteY243" fmla="*/ 3563616 h 9507786"/>
              <a:gd name="connsiteX244" fmla="*/ 1507102 w 9150179"/>
              <a:gd name="connsiteY244" fmla="*/ 3482195 h 9507786"/>
              <a:gd name="connsiteX245" fmla="*/ 1499864 w 9150179"/>
              <a:gd name="connsiteY245" fmla="*/ 3417663 h 9507786"/>
              <a:gd name="connsiteX246" fmla="*/ 1394910 w 9150179"/>
              <a:gd name="connsiteY246" fmla="*/ 3590756 h 9507786"/>
              <a:gd name="connsiteX247" fmla="*/ 1290559 w 9150179"/>
              <a:gd name="connsiteY247" fmla="*/ 3783752 h 9507786"/>
              <a:gd name="connsiteX248" fmla="*/ 1330972 w 9150179"/>
              <a:gd name="connsiteY248" fmla="*/ 3471943 h 9507786"/>
              <a:gd name="connsiteX249" fmla="*/ 1310464 w 9150179"/>
              <a:gd name="connsiteY249" fmla="*/ 3434550 h 9507786"/>
              <a:gd name="connsiteX250" fmla="*/ 1499864 w 9150179"/>
              <a:gd name="connsiteY250" fmla="*/ 2994277 h 9507786"/>
              <a:gd name="connsiteX251" fmla="*/ 1432308 w 9150179"/>
              <a:gd name="connsiteY251" fmla="*/ 3071476 h 9507786"/>
              <a:gd name="connsiteX252" fmla="*/ 1375005 w 9150179"/>
              <a:gd name="connsiteY252" fmla="*/ 3095600 h 9507786"/>
              <a:gd name="connsiteX253" fmla="*/ 1456435 w 9150179"/>
              <a:gd name="connsiteY253" fmla="*/ 2912857 h 9507786"/>
              <a:gd name="connsiteX254" fmla="*/ 1612057 w 9150179"/>
              <a:gd name="connsiteY254" fmla="*/ 2668596 h 9507786"/>
              <a:gd name="connsiteX255" fmla="*/ 1639200 w 9150179"/>
              <a:gd name="connsiteY255" fmla="*/ 2580542 h 9507786"/>
              <a:gd name="connsiteX256" fmla="*/ 1683232 w 9150179"/>
              <a:gd name="connsiteY256" fmla="*/ 2489472 h 9507786"/>
              <a:gd name="connsiteX257" fmla="*/ 1442562 w 9150179"/>
              <a:gd name="connsiteY257" fmla="*/ 2800678 h 9507786"/>
              <a:gd name="connsiteX258" fmla="*/ 1327354 w 9150179"/>
              <a:gd name="connsiteY258" fmla="*/ 2892351 h 9507786"/>
              <a:gd name="connsiteX259" fmla="*/ 1486594 w 9150179"/>
              <a:gd name="connsiteY259" fmla="*/ 2604063 h 9507786"/>
              <a:gd name="connsiteX260" fmla="*/ 1774917 w 9150179"/>
              <a:gd name="connsiteY260" fmla="*/ 2238577 h 9507786"/>
              <a:gd name="connsiteX261" fmla="*/ 1954666 w 9150179"/>
              <a:gd name="connsiteY261" fmla="*/ 2052215 h 9507786"/>
              <a:gd name="connsiteX262" fmla="*/ 2039112 w 9150179"/>
              <a:gd name="connsiteY262" fmla="*/ 1933402 h 9507786"/>
              <a:gd name="connsiteX263" fmla="*/ 2164574 w 9150179"/>
              <a:gd name="connsiteY263" fmla="*/ 1801320 h 9507786"/>
              <a:gd name="connsiteX264" fmla="*/ 1876855 w 9150179"/>
              <a:gd name="connsiteY264" fmla="*/ 2061865 h 9507786"/>
              <a:gd name="connsiteX265" fmla="*/ 1595168 w 9150179"/>
              <a:gd name="connsiteY265" fmla="*/ 2357390 h 9507786"/>
              <a:gd name="connsiteX266" fmla="*/ 1330972 w 9150179"/>
              <a:gd name="connsiteY266" fmla="*/ 2730114 h 9507786"/>
              <a:gd name="connsiteX267" fmla="*/ 1158462 w 9150179"/>
              <a:gd name="connsiteY267" fmla="*/ 2963518 h 9507786"/>
              <a:gd name="connsiteX268" fmla="*/ 1245924 w 9150179"/>
              <a:gd name="connsiteY268" fmla="*/ 2705989 h 9507786"/>
              <a:gd name="connsiteX269" fmla="*/ 1523992 w 9150179"/>
              <a:gd name="connsiteY269" fmla="*/ 2295872 h 9507786"/>
              <a:gd name="connsiteX270" fmla="*/ 1829204 w 9150179"/>
              <a:gd name="connsiteY270" fmla="*/ 1943051 h 9507786"/>
              <a:gd name="connsiteX271" fmla="*/ 2164574 w 9150179"/>
              <a:gd name="connsiteY271" fmla="*/ 1642098 h 9507786"/>
              <a:gd name="connsiteX272" fmla="*/ 1829204 w 9150179"/>
              <a:gd name="connsiteY272" fmla="*/ 1926768 h 9507786"/>
              <a:gd name="connsiteX273" fmla="*/ 1479959 w 9150179"/>
              <a:gd name="connsiteY273" fmla="*/ 2306125 h 9507786"/>
              <a:gd name="connsiteX274" fmla="*/ 1164494 w 9150179"/>
              <a:gd name="connsiteY274" fmla="*/ 2763285 h 9507786"/>
              <a:gd name="connsiteX275" fmla="*/ 958204 w 9150179"/>
              <a:gd name="connsiteY275" fmla="*/ 3105853 h 9507786"/>
              <a:gd name="connsiteX276" fmla="*/ 951569 w 9150179"/>
              <a:gd name="connsiteY276" fmla="*/ 3011165 h 9507786"/>
              <a:gd name="connsiteX277" fmla="*/ 1327354 w 9150179"/>
              <a:gd name="connsiteY277" fmla="*/ 2360406 h 9507786"/>
              <a:gd name="connsiteX278" fmla="*/ 1839458 w 9150179"/>
              <a:gd name="connsiteY278" fmla="*/ 1777195 h 9507786"/>
              <a:gd name="connsiteX279" fmla="*/ 1394910 w 9150179"/>
              <a:gd name="connsiteY279" fmla="*/ 2160172 h 9507786"/>
              <a:gd name="connsiteX280" fmla="*/ 920806 w 9150179"/>
              <a:gd name="connsiteY280" fmla="*/ 2797662 h 9507786"/>
              <a:gd name="connsiteX281" fmla="*/ 788709 w 9150179"/>
              <a:gd name="connsiteY281" fmla="*/ 3055192 h 9507786"/>
              <a:gd name="connsiteX282" fmla="*/ 697025 w 9150179"/>
              <a:gd name="connsiteY282" fmla="*/ 3241554 h 9507786"/>
              <a:gd name="connsiteX283" fmla="*/ 656611 w 9150179"/>
              <a:gd name="connsiteY283" fmla="*/ 3166768 h 9507786"/>
              <a:gd name="connsiteX284" fmla="*/ 487116 w 9150179"/>
              <a:gd name="connsiteY284" fmla="*/ 3604024 h 9507786"/>
              <a:gd name="connsiteX285" fmla="*/ 415940 w 9150179"/>
              <a:gd name="connsiteY285" fmla="*/ 3861554 h 9507786"/>
              <a:gd name="connsiteX286" fmla="*/ 358035 w 9150179"/>
              <a:gd name="connsiteY286" fmla="*/ 4041281 h 9507786"/>
              <a:gd name="connsiteX287" fmla="*/ 378543 w 9150179"/>
              <a:gd name="connsiteY287" fmla="*/ 3672176 h 9507786"/>
              <a:gd name="connsiteX288" fmla="*/ 466608 w 9150179"/>
              <a:gd name="connsiteY288" fmla="*/ 3332624 h 9507786"/>
              <a:gd name="connsiteX289" fmla="*/ 567943 w 9150179"/>
              <a:gd name="connsiteY289" fmla="*/ 3048557 h 9507786"/>
              <a:gd name="connsiteX290" fmla="*/ 1042650 w 9150179"/>
              <a:gd name="connsiteY290" fmla="*/ 2184297 h 9507786"/>
              <a:gd name="connsiteX291" fmla="*/ 1723646 w 9150179"/>
              <a:gd name="connsiteY291" fmla="*/ 1438246 h 9507786"/>
              <a:gd name="connsiteX292" fmla="*/ 2557852 w 9150179"/>
              <a:gd name="connsiteY292" fmla="*/ 879160 h 9507786"/>
              <a:gd name="connsiteX293" fmla="*/ 3475900 w 9150179"/>
              <a:gd name="connsiteY293" fmla="*/ 540814 h 9507786"/>
              <a:gd name="connsiteX294" fmla="*/ 3337166 w 9150179"/>
              <a:gd name="connsiteY294" fmla="*/ 533577 h 9507786"/>
              <a:gd name="connsiteX295" fmla="*/ 2452897 w 9150179"/>
              <a:gd name="connsiteY295" fmla="*/ 865892 h 9507786"/>
              <a:gd name="connsiteX296" fmla="*/ 1591548 w 9150179"/>
              <a:gd name="connsiteY296" fmla="*/ 1448499 h 9507786"/>
              <a:gd name="connsiteX297" fmla="*/ 900298 w 9150179"/>
              <a:gd name="connsiteY297" fmla="*/ 2201184 h 9507786"/>
              <a:gd name="connsiteX298" fmla="*/ 435846 w 9150179"/>
              <a:gd name="connsiteY298" fmla="*/ 2970153 h 9507786"/>
              <a:gd name="connsiteX299" fmla="*/ 273589 w 9150179"/>
              <a:gd name="connsiteY299" fmla="*/ 3281962 h 9507786"/>
              <a:gd name="connsiteX300" fmla="*/ 348384 w 9150179"/>
              <a:gd name="connsiteY300" fmla="*/ 2956884 h 9507786"/>
              <a:gd name="connsiteX301" fmla="*/ 466608 w 9150179"/>
              <a:gd name="connsiteY301" fmla="*/ 2682468 h 9507786"/>
              <a:gd name="connsiteX302" fmla="*/ 578800 w 9150179"/>
              <a:gd name="connsiteY302" fmla="*/ 2455094 h 9507786"/>
              <a:gd name="connsiteX303" fmla="*/ 408702 w 9150179"/>
              <a:gd name="connsiteY303" fmla="*/ 2753635 h 9507786"/>
              <a:gd name="connsiteX304" fmla="*/ 225937 w 9150179"/>
              <a:gd name="connsiteY304" fmla="*/ 3173402 h 9507786"/>
              <a:gd name="connsiteX305" fmla="*/ 12409 w 9150179"/>
              <a:gd name="connsiteY305" fmla="*/ 3722838 h 9507786"/>
              <a:gd name="connsiteX306" fmla="*/ 73331 w 9150179"/>
              <a:gd name="connsiteY306" fmla="*/ 3299452 h 9507786"/>
              <a:gd name="connsiteX307" fmla="*/ 198794 w 9150179"/>
              <a:gd name="connsiteY307" fmla="*/ 2936379 h 9507786"/>
              <a:gd name="connsiteX308" fmla="*/ 338129 w 9150179"/>
              <a:gd name="connsiteY308" fmla="*/ 2621553 h 9507786"/>
              <a:gd name="connsiteX309" fmla="*/ 883409 w 9150179"/>
              <a:gd name="connsiteY309" fmla="*/ 1747040 h 9507786"/>
              <a:gd name="connsiteX310" fmla="*/ 1659708 w 9150179"/>
              <a:gd name="connsiteY310" fmla="*/ 984102 h 9507786"/>
              <a:gd name="connsiteX311" fmla="*/ 2595249 w 9150179"/>
              <a:gd name="connsiteY311" fmla="*/ 425619 h 9507786"/>
              <a:gd name="connsiteX312" fmla="*/ 3588092 w 9150179"/>
              <a:gd name="connsiteY312" fmla="*/ 110191 h 9507786"/>
              <a:gd name="connsiteX313" fmla="*/ 3520534 w 9150179"/>
              <a:gd name="connsiteY313" fmla="*/ 79433 h 9507786"/>
              <a:gd name="connsiteX314" fmla="*/ 4201530 w 9150179"/>
              <a:gd name="connsiteY314" fmla="*/ 1631 h 9507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Lst>
            <a:rect l="l" t="t" r="r" b="b"/>
            <a:pathLst>
              <a:path w="9150179" h="9507786">
                <a:moveTo>
                  <a:pt x="1544500" y="4231262"/>
                </a:moveTo>
                <a:cubicBezTo>
                  <a:pt x="1537262" y="4288558"/>
                  <a:pt x="1531230" y="4363344"/>
                  <a:pt x="1544500" y="4373596"/>
                </a:cubicBezTo>
                <a:cubicBezTo>
                  <a:pt x="1561389" y="4328966"/>
                  <a:pt x="1554754" y="4251165"/>
                  <a:pt x="1544500" y="4231262"/>
                </a:cubicBezTo>
                <a:close/>
                <a:moveTo>
                  <a:pt x="4201530" y="1631"/>
                </a:moveTo>
                <a:cubicBezTo>
                  <a:pt x="4604458" y="-8622"/>
                  <a:pt x="5041768" y="28771"/>
                  <a:pt x="5482696" y="133713"/>
                </a:cubicBezTo>
                <a:cubicBezTo>
                  <a:pt x="5923022" y="235639"/>
                  <a:pt x="6363950" y="408732"/>
                  <a:pt x="6774116" y="648771"/>
                </a:cubicBezTo>
                <a:cubicBezTo>
                  <a:pt x="7184282" y="886398"/>
                  <a:pt x="7563082" y="1191573"/>
                  <a:pt x="7885786" y="1540172"/>
                </a:cubicBezTo>
                <a:cubicBezTo>
                  <a:pt x="8210904" y="1892993"/>
                  <a:pt x="8475098" y="2292857"/>
                  <a:pt x="8671738" y="2709005"/>
                </a:cubicBezTo>
                <a:cubicBezTo>
                  <a:pt x="8790564" y="2959900"/>
                  <a:pt x="8878630" y="3207779"/>
                  <a:pt x="8946790" y="3448421"/>
                </a:cubicBezTo>
                <a:cubicBezTo>
                  <a:pt x="9014346" y="3688460"/>
                  <a:pt x="9061394" y="3926087"/>
                  <a:pt x="9095776" y="4160094"/>
                </a:cubicBezTo>
                <a:cubicBezTo>
                  <a:pt x="9125936" y="4373596"/>
                  <a:pt x="9146444" y="4583480"/>
                  <a:pt x="9149460" y="4800600"/>
                </a:cubicBezTo>
                <a:cubicBezTo>
                  <a:pt x="9153078" y="5017118"/>
                  <a:pt x="9143428" y="5237254"/>
                  <a:pt x="9112062" y="5467643"/>
                </a:cubicBezTo>
                <a:cubicBezTo>
                  <a:pt x="9048124" y="5935056"/>
                  <a:pt x="8905774" y="6416943"/>
                  <a:pt x="8692246" y="6860834"/>
                </a:cubicBezTo>
                <a:cubicBezTo>
                  <a:pt x="8478718" y="7301106"/>
                  <a:pt x="8194014" y="7704588"/>
                  <a:pt x="7885786" y="8039920"/>
                </a:cubicBezTo>
                <a:cubicBezTo>
                  <a:pt x="7461748" y="8477176"/>
                  <a:pt x="6956882" y="8836028"/>
                  <a:pt x="6401348" y="9086923"/>
                </a:cubicBezTo>
                <a:cubicBezTo>
                  <a:pt x="5794544" y="9357721"/>
                  <a:pt x="5130436" y="9503674"/>
                  <a:pt x="4472362" y="9507293"/>
                </a:cubicBezTo>
                <a:cubicBezTo>
                  <a:pt x="3815492" y="9516943"/>
                  <a:pt x="3147766" y="9384861"/>
                  <a:pt x="2537343" y="9124316"/>
                </a:cubicBezTo>
                <a:cubicBezTo>
                  <a:pt x="2334070" y="9036262"/>
                  <a:pt x="2137431" y="8937955"/>
                  <a:pt x="1951047" y="8822760"/>
                </a:cubicBezTo>
                <a:cubicBezTo>
                  <a:pt x="1859362" y="8747974"/>
                  <a:pt x="1856347" y="8731087"/>
                  <a:pt x="1907014" y="8751593"/>
                </a:cubicBezTo>
                <a:cubicBezTo>
                  <a:pt x="1954666" y="8768480"/>
                  <a:pt x="2052985" y="8822760"/>
                  <a:pt x="2178448" y="8887293"/>
                </a:cubicBezTo>
                <a:cubicBezTo>
                  <a:pt x="2303307" y="8947604"/>
                  <a:pt x="2452897" y="9019375"/>
                  <a:pt x="2595249" y="9076670"/>
                </a:cubicBezTo>
                <a:cubicBezTo>
                  <a:pt x="2737600" y="9134569"/>
                  <a:pt x="2869698" y="9181612"/>
                  <a:pt x="2957763" y="9208752"/>
                </a:cubicBezTo>
                <a:cubicBezTo>
                  <a:pt x="2727346" y="9130951"/>
                  <a:pt x="2516834" y="9036262"/>
                  <a:pt x="2327434" y="8931320"/>
                </a:cubicBezTo>
                <a:cubicBezTo>
                  <a:pt x="2137431" y="8822760"/>
                  <a:pt x="1967936" y="8707565"/>
                  <a:pt x="1822568" y="8595990"/>
                </a:cubicBezTo>
                <a:cubicBezTo>
                  <a:pt x="1713995" y="8507332"/>
                  <a:pt x="1588532" y="8399375"/>
                  <a:pt x="1609041" y="8399375"/>
                </a:cubicBezTo>
                <a:cubicBezTo>
                  <a:pt x="1625930" y="8399375"/>
                  <a:pt x="1720630" y="8460289"/>
                  <a:pt x="1842474" y="8534472"/>
                </a:cubicBezTo>
                <a:cubicBezTo>
                  <a:pt x="1961301" y="8612274"/>
                  <a:pt x="2110288" y="8697312"/>
                  <a:pt x="2229116" y="8758227"/>
                </a:cubicBezTo>
                <a:cubicBezTo>
                  <a:pt x="2411880" y="8852916"/>
                  <a:pt x="2615154" y="8941573"/>
                  <a:pt x="2832300" y="9019375"/>
                </a:cubicBezTo>
                <a:cubicBezTo>
                  <a:pt x="3045828" y="9097176"/>
                  <a:pt x="3272626" y="9158091"/>
                  <a:pt x="3503646" y="9202721"/>
                </a:cubicBezTo>
                <a:cubicBezTo>
                  <a:pt x="3730444" y="9249764"/>
                  <a:pt x="3960860" y="9276904"/>
                  <a:pt x="4181626" y="9287157"/>
                </a:cubicBezTo>
                <a:cubicBezTo>
                  <a:pt x="4401186" y="9297410"/>
                  <a:pt x="4611698" y="9290172"/>
                  <a:pt x="4805320" y="9270270"/>
                </a:cubicBezTo>
                <a:cubicBezTo>
                  <a:pt x="5438664" y="9212371"/>
                  <a:pt x="6014706" y="9022390"/>
                  <a:pt x="6503286" y="8761242"/>
                </a:cubicBezTo>
                <a:cubicBezTo>
                  <a:pt x="6990660" y="8500698"/>
                  <a:pt x="7390572" y="8168986"/>
                  <a:pt x="7706038" y="7813149"/>
                </a:cubicBezTo>
                <a:cubicBezTo>
                  <a:pt x="7678894" y="7819180"/>
                  <a:pt x="7567304" y="7918090"/>
                  <a:pt x="7461748" y="7989258"/>
                </a:cubicBezTo>
                <a:cubicBezTo>
                  <a:pt x="7380920" y="8042935"/>
                  <a:pt x="7285618" y="8097215"/>
                  <a:pt x="7197552" y="8165367"/>
                </a:cubicBezTo>
                <a:cubicBezTo>
                  <a:pt x="7149900" y="8199141"/>
                  <a:pt x="7072090" y="8263674"/>
                  <a:pt x="6984024" y="8331223"/>
                </a:cubicBezTo>
                <a:cubicBezTo>
                  <a:pt x="6895960" y="8399375"/>
                  <a:pt x="6794022" y="8466923"/>
                  <a:pt x="6705956" y="8524822"/>
                </a:cubicBezTo>
                <a:cubicBezTo>
                  <a:pt x="6448396" y="8683441"/>
                  <a:pt x="6157058" y="8825776"/>
                  <a:pt x="5848830" y="8931320"/>
                </a:cubicBezTo>
                <a:cubicBezTo>
                  <a:pt x="5543618" y="9036262"/>
                  <a:pt x="5221518" y="9107429"/>
                  <a:pt x="4913290" y="9144219"/>
                </a:cubicBezTo>
                <a:cubicBezTo>
                  <a:pt x="4699762" y="9168344"/>
                  <a:pt x="4479600" y="9178597"/>
                  <a:pt x="4255818" y="9168344"/>
                </a:cubicBezTo>
                <a:cubicBezTo>
                  <a:pt x="4035654" y="9158091"/>
                  <a:pt x="3811874" y="9127935"/>
                  <a:pt x="3598346" y="9080289"/>
                </a:cubicBezTo>
                <a:cubicBezTo>
                  <a:pt x="3547678" y="9070036"/>
                  <a:pt x="3469264" y="9049530"/>
                  <a:pt x="3378183" y="9022390"/>
                </a:cubicBezTo>
                <a:cubicBezTo>
                  <a:pt x="3286499" y="8995250"/>
                  <a:pt x="3184561" y="8962079"/>
                  <a:pt x="3089860" y="8924686"/>
                </a:cubicBezTo>
                <a:cubicBezTo>
                  <a:pt x="2907096" y="8852916"/>
                  <a:pt x="2754490" y="8772098"/>
                  <a:pt x="2778014" y="8761242"/>
                </a:cubicBezTo>
                <a:cubicBezTo>
                  <a:pt x="2794903" y="8751593"/>
                  <a:pt x="2872714" y="8778733"/>
                  <a:pt x="2961382" y="8812507"/>
                </a:cubicBezTo>
                <a:cubicBezTo>
                  <a:pt x="3048844" y="8843266"/>
                  <a:pt x="3150782" y="8873421"/>
                  <a:pt x="3205069" y="8880056"/>
                </a:cubicBezTo>
                <a:cubicBezTo>
                  <a:pt x="3086242" y="8843266"/>
                  <a:pt x="2943890" y="8798635"/>
                  <a:pt x="2798522" y="8741340"/>
                </a:cubicBezTo>
                <a:cubicBezTo>
                  <a:pt x="2652552" y="8687060"/>
                  <a:pt x="2506580" y="8619511"/>
                  <a:pt x="2384737" y="8551962"/>
                </a:cubicBezTo>
                <a:cubicBezTo>
                  <a:pt x="2262894" y="8487429"/>
                  <a:pt x="2164574" y="8422896"/>
                  <a:pt x="2110288" y="8375250"/>
                </a:cubicBezTo>
                <a:cubicBezTo>
                  <a:pt x="2056001" y="8324588"/>
                  <a:pt x="2042731" y="8297448"/>
                  <a:pt x="2090382" y="8293830"/>
                </a:cubicBezTo>
                <a:cubicBezTo>
                  <a:pt x="2141050" y="8293830"/>
                  <a:pt x="2259878" y="8338460"/>
                  <a:pt x="2371467" y="8375250"/>
                </a:cubicBezTo>
                <a:cubicBezTo>
                  <a:pt x="2428770" y="8395756"/>
                  <a:pt x="2547597" y="8447021"/>
                  <a:pt x="2537343" y="8422896"/>
                </a:cubicBezTo>
                <a:cubicBezTo>
                  <a:pt x="2334070" y="8314336"/>
                  <a:pt x="2181464" y="8188888"/>
                  <a:pt x="1995080" y="8039920"/>
                </a:cubicBezTo>
                <a:cubicBezTo>
                  <a:pt x="1920284" y="7979005"/>
                  <a:pt x="1815330" y="7904219"/>
                  <a:pt x="1744154" y="7833655"/>
                </a:cubicBezTo>
                <a:cubicBezTo>
                  <a:pt x="1683232" y="7775756"/>
                  <a:pt x="1625930" y="7694336"/>
                  <a:pt x="1561389" y="7626787"/>
                </a:cubicBezTo>
                <a:cubicBezTo>
                  <a:pt x="1479959" y="7538130"/>
                  <a:pt x="1381640" y="7426554"/>
                  <a:pt x="1286940" y="7311359"/>
                </a:cubicBezTo>
                <a:cubicBezTo>
                  <a:pt x="1191636" y="7192546"/>
                  <a:pt x="1104175" y="7070717"/>
                  <a:pt x="1036015" y="6962157"/>
                </a:cubicBezTo>
                <a:cubicBezTo>
                  <a:pt x="981728" y="6874102"/>
                  <a:pt x="897282" y="6728149"/>
                  <a:pt x="835758" y="6599686"/>
                </a:cubicBezTo>
                <a:cubicBezTo>
                  <a:pt x="775439" y="6467604"/>
                  <a:pt x="738041" y="6355425"/>
                  <a:pt x="751311" y="6345172"/>
                </a:cubicBezTo>
                <a:cubicBezTo>
                  <a:pt x="768200" y="6328285"/>
                  <a:pt x="822488" y="6436846"/>
                  <a:pt x="890044" y="6568927"/>
                </a:cubicBezTo>
                <a:cubicBezTo>
                  <a:pt x="958204" y="6697994"/>
                  <a:pt x="1046269" y="6846962"/>
                  <a:pt x="1093920" y="6924764"/>
                </a:cubicBezTo>
                <a:cubicBezTo>
                  <a:pt x="1297194" y="7240192"/>
                  <a:pt x="1534246" y="7527877"/>
                  <a:pt x="1812314" y="7778772"/>
                </a:cubicBezTo>
                <a:cubicBezTo>
                  <a:pt x="2093398" y="8032682"/>
                  <a:pt x="2415500" y="8249802"/>
                  <a:pt x="2784649" y="8409628"/>
                </a:cubicBezTo>
                <a:cubicBezTo>
                  <a:pt x="2747252" y="8372234"/>
                  <a:pt x="2588010" y="8290814"/>
                  <a:pt x="2479437" y="8223266"/>
                </a:cubicBezTo>
                <a:cubicBezTo>
                  <a:pt x="2350958" y="8141846"/>
                  <a:pt x="2212226" y="8036904"/>
                  <a:pt x="2103653" y="7955484"/>
                </a:cubicBezTo>
                <a:cubicBezTo>
                  <a:pt x="1998698" y="7877079"/>
                  <a:pt x="1899776" y="7805912"/>
                  <a:pt x="1812314" y="7724492"/>
                </a:cubicBezTo>
                <a:cubicBezTo>
                  <a:pt x="1720630" y="7643071"/>
                  <a:pt x="1669962" y="7568889"/>
                  <a:pt x="1584914" y="7477818"/>
                </a:cubicBezTo>
                <a:cubicBezTo>
                  <a:pt x="1507102" y="7386145"/>
                  <a:pt x="1422656" y="7291457"/>
                  <a:pt x="1344846" y="7192546"/>
                </a:cubicBezTo>
                <a:cubicBezTo>
                  <a:pt x="1270050" y="7094842"/>
                  <a:pt x="1201891" y="6995931"/>
                  <a:pt x="1154842" y="6904258"/>
                </a:cubicBezTo>
                <a:cubicBezTo>
                  <a:pt x="1158462" y="6857215"/>
                  <a:pt x="1249542" y="6948888"/>
                  <a:pt x="1293575" y="6976029"/>
                </a:cubicBezTo>
                <a:cubicBezTo>
                  <a:pt x="1463070" y="7199783"/>
                  <a:pt x="1666344" y="7430173"/>
                  <a:pt x="1876855" y="7616534"/>
                </a:cubicBezTo>
                <a:cubicBezTo>
                  <a:pt x="2083144" y="7799278"/>
                  <a:pt x="2297275" y="7934978"/>
                  <a:pt x="2449278" y="7992274"/>
                </a:cubicBezTo>
                <a:cubicBezTo>
                  <a:pt x="2127780" y="7775756"/>
                  <a:pt x="1808695" y="7487468"/>
                  <a:pt x="1547516" y="7141885"/>
                </a:cubicBezTo>
                <a:cubicBezTo>
                  <a:pt x="1517356" y="7105095"/>
                  <a:pt x="1463070" y="7033324"/>
                  <a:pt x="1422656" y="6972410"/>
                </a:cubicBezTo>
                <a:cubicBezTo>
                  <a:pt x="1381640" y="6911495"/>
                  <a:pt x="1350878" y="6854200"/>
                  <a:pt x="1358116" y="6846962"/>
                </a:cubicBezTo>
                <a:cubicBezTo>
                  <a:pt x="1367766" y="6836709"/>
                  <a:pt x="1422656" y="6904258"/>
                  <a:pt x="1490214" y="6989297"/>
                </a:cubicBezTo>
                <a:cubicBezTo>
                  <a:pt x="1561389" y="7077352"/>
                  <a:pt x="1646438" y="7179278"/>
                  <a:pt x="1707360" y="7243811"/>
                </a:cubicBezTo>
                <a:cubicBezTo>
                  <a:pt x="1761044" y="7304725"/>
                  <a:pt x="1832220" y="7375892"/>
                  <a:pt x="1899776" y="7443441"/>
                </a:cubicBezTo>
                <a:cubicBezTo>
                  <a:pt x="1967936" y="7507974"/>
                  <a:pt x="2036096" y="7565270"/>
                  <a:pt x="2086764" y="7606282"/>
                </a:cubicBezTo>
                <a:cubicBezTo>
                  <a:pt x="1981810" y="7507974"/>
                  <a:pt x="1859362" y="7392780"/>
                  <a:pt x="1737520" y="7260095"/>
                </a:cubicBezTo>
                <a:cubicBezTo>
                  <a:pt x="1618692" y="7124997"/>
                  <a:pt x="1496848" y="6976029"/>
                  <a:pt x="1388275" y="6809569"/>
                </a:cubicBezTo>
                <a:cubicBezTo>
                  <a:pt x="1280305" y="6647332"/>
                  <a:pt x="1181382" y="6471223"/>
                  <a:pt x="1100556" y="6291495"/>
                </a:cubicBezTo>
                <a:cubicBezTo>
                  <a:pt x="1019126" y="6111768"/>
                  <a:pt x="954585" y="5932040"/>
                  <a:pt x="910552" y="5758947"/>
                </a:cubicBezTo>
                <a:cubicBezTo>
                  <a:pt x="883409" y="5667877"/>
                  <a:pt x="849630" y="5518908"/>
                  <a:pt x="835758" y="5393460"/>
                </a:cubicBezTo>
                <a:cubicBezTo>
                  <a:pt x="818868" y="5264394"/>
                  <a:pt x="815852" y="5163071"/>
                  <a:pt x="832742" y="5166087"/>
                </a:cubicBezTo>
                <a:cubicBezTo>
                  <a:pt x="849630" y="5169705"/>
                  <a:pt x="866520" y="5271028"/>
                  <a:pt x="890044" y="5386223"/>
                </a:cubicBezTo>
                <a:cubicBezTo>
                  <a:pt x="914172" y="5505036"/>
                  <a:pt x="944934" y="5637118"/>
                  <a:pt x="964839" y="5708285"/>
                </a:cubicBezTo>
                <a:cubicBezTo>
                  <a:pt x="1025760" y="5921787"/>
                  <a:pt x="1100556" y="6118402"/>
                  <a:pt x="1188620" y="6307779"/>
                </a:cubicBezTo>
                <a:cubicBezTo>
                  <a:pt x="1280305" y="6498363"/>
                  <a:pt x="1385259" y="6681106"/>
                  <a:pt x="1520976" y="6871087"/>
                </a:cubicBezTo>
                <a:cubicBezTo>
                  <a:pt x="1642819" y="7040562"/>
                  <a:pt x="1788187" y="7219686"/>
                  <a:pt x="1910030" y="7314375"/>
                </a:cubicBezTo>
                <a:cubicBezTo>
                  <a:pt x="1805076" y="7192546"/>
                  <a:pt x="1653074" y="7023071"/>
                  <a:pt x="1531230" y="6843947"/>
                </a:cubicBezTo>
                <a:cubicBezTo>
                  <a:pt x="1405164" y="6667838"/>
                  <a:pt x="1310464" y="6484492"/>
                  <a:pt x="1276686" y="6369297"/>
                </a:cubicBezTo>
                <a:cubicBezTo>
                  <a:pt x="1290559" y="6342157"/>
                  <a:pt x="1358116" y="6430211"/>
                  <a:pt x="1378021" y="6454336"/>
                </a:cubicBezTo>
                <a:cubicBezTo>
                  <a:pt x="1191636" y="6115386"/>
                  <a:pt x="1056523" y="5745678"/>
                  <a:pt x="1008872" y="5393460"/>
                </a:cubicBezTo>
                <a:cubicBezTo>
                  <a:pt x="991982" y="5278266"/>
                  <a:pt x="978109" y="5125678"/>
                  <a:pt x="1012490" y="5159453"/>
                </a:cubicBezTo>
                <a:cubicBezTo>
                  <a:pt x="1025760" y="5176340"/>
                  <a:pt x="1046269" y="5278266"/>
                  <a:pt x="1073412" y="5393460"/>
                </a:cubicBezTo>
                <a:cubicBezTo>
                  <a:pt x="1096936" y="5511670"/>
                  <a:pt x="1131318" y="5640737"/>
                  <a:pt x="1154842" y="5715523"/>
                </a:cubicBezTo>
                <a:cubicBezTo>
                  <a:pt x="1188620" y="5823480"/>
                  <a:pt x="1232653" y="5939278"/>
                  <a:pt x="1276686" y="6040600"/>
                </a:cubicBezTo>
                <a:cubicBezTo>
                  <a:pt x="1320718" y="6141923"/>
                  <a:pt x="1367766" y="6230581"/>
                  <a:pt x="1402148" y="6284861"/>
                </a:cubicBezTo>
                <a:cubicBezTo>
                  <a:pt x="1435926" y="6291495"/>
                  <a:pt x="1375005" y="6152779"/>
                  <a:pt x="1350878" y="6061106"/>
                </a:cubicBezTo>
                <a:cubicBezTo>
                  <a:pt x="1327354" y="5982702"/>
                  <a:pt x="1307448" y="5898266"/>
                  <a:pt x="1276686" y="5786087"/>
                </a:cubicBezTo>
                <a:cubicBezTo>
                  <a:pt x="1256178" y="5701651"/>
                  <a:pt x="1215764" y="5552079"/>
                  <a:pt x="1198875" y="5423616"/>
                </a:cubicBezTo>
                <a:cubicBezTo>
                  <a:pt x="1178366" y="5291534"/>
                  <a:pt x="1174748" y="5186593"/>
                  <a:pt x="1195256" y="5193227"/>
                </a:cubicBezTo>
                <a:cubicBezTo>
                  <a:pt x="1212145" y="5196846"/>
                  <a:pt x="1232653" y="5271028"/>
                  <a:pt x="1259796" y="5366320"/>
                </a:cubicBezTo>
                <a:cubicBezTo>
                  <a:pt x="1259796" y="5366320"/>
                  <a:pt x="1259796" y="5366320"/>
                  <a:pt x="1350878" y="5684764"/>
                </a:cubicBezTo>
                <a:cubicBezTo>
                  <a:pt x="1313480" y="5524939"/>
                  <a:pt x="1276686" y="5339180"/>
                  <a:pt x="1262812" y="5138947"/>
                </a:cubicBezTo>
                <a:cubicBezTo>
                  <a:pt x="1259796" y="5081651"/>
                  <a:pt x="1256178" y="4965853"/>
                  <a:pt x="1259796" y="4868149"/>
                </a:cubicBezTo>
                <a:cubicBezTo>
                  <a:pt x="1262812" y="4769239"/>
                  <a:pt x="1276686" y="4692040"/>
                  <a:pt x="1293575" y="4702293"/>
                </a:cubicBezTo>
                <a:cubicBezTo>
                  <a:pt x="1310464" y="4719180"/>
                  <a:pt x="1320718" y="4841009"/>
                  <a:pt x="1337608" y="4986962"/>
                </a:cubicBezTo>
                <a:cubicBezTo>
                  <a:pt x="1350878" y="5129297"/>
                  <a:pt x="1378021" y="5291534"/>
                  <a:pt x="1398529" y="5383207"/>
                </a:cubicBezTo>
                <a:cubicBezTo>
                  <a:pt x="1439546" y="5576204"/>
                  <a:pt x="1504086" y="5775834"/>
                  <a:pt x="1588532" y="5969433"/>
                </a:cubicBezTo>
                <a:cubicBezTo>
                  <a:pt x="1673582" y="6166048"/>
                  <a:pt x="1781552" y="6355425"/>
                  <a:pt x="1910030" y="6528519"/>
                </a:cubicBezTo>
                <a:cubicBezTo>
                  <a:pt x="2036096" y="6704628"/>
                  <a:pt x="2181464" y="6863850"/>
                  <a:pt x="2330450" y="7003169"/>
                </a:cubicBezTo>
                <a:cubicBezTo>
                  <a:pt x="2483056" y="7141885"/>
                  <a:pt x="2642297" y="7260095"/>
                  <a:pt x="2798522" y="7359005"/>
                </a:cubicBezTo>
                <a:cubicBezTo>
                  <a:pt x="2727346" y="7291457"/>
                  <a:pt x="2601884" y="7199783"/>
                  <a:pt x="2479437" y="7091223"/>
                </a:cubicBezTo>
                <a:cubicBezTo>
                  <a:pt x="2357594" y="6982663"/>
                  <a:pt x="2235750" y="6860834"/>
                  <a:pt x="2164574" y="6762527"/>
                </a:cubicBezTo>
                <a:cubicBezTo>
                  <a:pt x="2113907" y="6690756"/>
                  <a:pt x="2120542" y="6681106"/>
                  <a:pt x="2103653" y="6637079"/>
                </a:cubicBezTo>
                <a:cubicBezTo>
                  <a:pt x="1872633" y="6339141"/>
                  <a:pt x="1703741" y="6013460"/>
                  <a:pt x="1628946" y="5691398"/>
                </a:cubicBezTo>
                <a:cubicBezTo>
                  <a:pt x="1622311" y="5661242"/>
                  <a:pt x="1609041" y="5599725"/>
                  <a:pt x="1605422" y="5552079"/>
                </a:cubicBezTo>
                <a:cubicBezTo>
                  <a:pt x="1598786" y="5502021"/>
                  <a:pt x="1595168" y="5464628"/>
                  <a:pt x="1609041" y="5467643"/>
                </a:cubicBezTo>
                <a:cubicBezTo>
                  <a:pt x="1628946" y="5477896"/>
                  <a:pt x="1676598" y="5637118"/>
                  <a:pt x="1750790" y="5813227"/>
                </a:cubicBezTo>
                <a:cubicBezTo>
                  <a:pt x="1788187" y="5898266"/>
                  <a:pt x="1829204" y="5989939"/>
                  <a:pt x="1872633" y="6067741"/>
                </a:cubicBezTo>
                <a:cubicBezTo>
                  <a:pt x="1914252" y="6148558"/>
                  <a:pt x="1954666" y="6213091"/>
                  <a:pt x="1978190" y="6254102"/>
                </a:cubicBezTo>
                <a:cubicBezTo>
                  <a:pt x="2073494" y="6399453"/>
                  <a:pt x="2174828" y="6535756"/>
                  <a:pt x="2279783" y="6647332"/>
                </a:cubicBezTo>
                <a:cubicBezTo>
                  <a:pt x="2381721" y="6758908"/>
                  <a:pt x="2483056" y="6850581"/>
                  <a:pt x="2560867" y="6914511"/>
                </a:cubicBezTo>
                <a:cubicBezTo>
                  <a:pt x="2364832" y="6742021"/>
                  <a:pt x="2195337" y="6538772"/>
                  <a:pt x="2056001" y="6321651"/>
                </a:cubicBezTo>
                <a:cubicBezTo>
                  <a:pt x="1920284" y="6101515"/>
                  <a:pt x="1815330" y="5867507"/>
                  <a:pt x="1755012" y="5637118"/>
                </a:cubicBezTo>
                <a:cubicBezTo>
                  <a:pt x="1737520" y="5579219"/>
                  <a:pt x="1713995" y="5484530"/>
                  <a:pt x="1707360" y="5410348"/>
                </a:cubicBezTo>
                <a:cubicBezTo>
                  <a:pt x="1696502" y="5339180"/>
                  <a:pt x="1700725" y="5284900"/>
                  <a:pt x="1727868" y="5308421"/>
                </a:cubicBezTo>
                <a:cubicBezTo>
                  <a:pt x="1744154" y="5328927"/>
                  <a:pt x="1785171" y="5491768"/>
                  <a:pt x="1852728" y="5664258"/>
                </a:cubicBezTo>
                <a:cubicBezTo>
                  <a:pt x="1882887" y="5752916"/>
                  <a:pt x="1923904" y="5840367"/>
                  <a:pt x="1961301" y="5918772"/>
                </a:cubicBezTo>
                <a:cubicBezTo>
                  <a:pt x="1998698" y="5996573"/>
                  <a:pt x="2036096" y="6064122"/>
                  <a:pt x="2059620" y="6105134"/>
                </a:cubicBezTo>
                <a:cubicBezTo>
                  <a:pt x="2174828" y="6301748"/>
                  <a:pt x="2320196" y="6488110"/>
                  <a:pt x="2483056" y="6650348"/>
                </a:cubicBezTo>
                <a:cubicBezTo>
                  <a:pt x="2645916" y="6813188"/>
                  <a:pt x="2829284" y="6955523"/>
                  <a:pt x="3022304" y="7070717"/>
                </a:cubicBezTo>
                <a:cubicBezTo>
                  <a:pt x="3211704" y="7185912"/>
                  <a:pt x="3415580" y="7273966"/>
                  <a:pt x="3618250" y="7338499"/>
                </a:cubicBezTo>
                <a:cubicBezTo>
                  <a:pt x="3818508" y="7399414"/>
                  <a:pt x="4022386" y="7436204"/>
                  <a:pt x="4214802" y="7453694"/>
                </a:cubicBezTo>
                <a:cubicBezTo>
                  <a:pt x="4231690" y="7443441"/>
                  <a:pt x="4144228" y="7430173"/>
                  <a:pt x="4096578" y="7416301"/>
                </a:cubicBezTo>
                <a:cubicBezTo>
                  <a:pt x="4048926" y="7403032"/>
                  <a:pt x="3988004" y="7375892"/>
                  <a:pt x="3933718" y="7362021"/>
                </a:cubicBezTo>
                <a:cubicBezTo>
                  <a:pt x="3852286" y="7341515"/>
                  <a:pt x="3753968" y="7317994"/>
                  <a:pt x="3662284" y="7291457"/>
                </a:cubicBezTo>
                <a:cubicBezTo>
                  <a:pt x="3567584" y="7260095"/>
                  <a:pt x="3479518" y="7226924"/>
                  <a:pt x="3415580" y="7189531"/>
                </a:cubicBezTo>
                <a:cubicBezTo>
                  <a:pt x="3357675" y="7155153"/>
                  <a:pt x="3452978" y="7165406"/>
                  <a:pt x="3408342" y="7141885"/>
                </a:cubicBezTo>
                <a:cubicBezTo>
                  <a:pt x="3334150" y="7105095"/>
                  <a:pt x="3256340" y="7053830"/>
                  <a:pt x="3171290" y="6999550"/>
                </a:cubicBezTo>
                <a:cubicBezTo>
                  <a:pt x="3075988" y="6935017"/>
                  <a:pt x="2971033" y="6867468"/>
                  <a:pt x="3005414" y="6850581"/>
                </a:cubicBezTo>
                <a:cubicBezTo>
                  <a:pt x="3022304" y="6843947"/>
                  <a:pt x="3075988" y="6874102"/>
                  <a:pt x="3140528" y="6908480"/>
                </a:cubicBezTo>
                <a:cubicBezTo>
                  <a:pt x="3208688" y="6941651"/>
                  <a:pt x="3286499" y="6982663"/>
                  <a:pt x="3343802" y="7006184"/>
                </a:cubicBezTo>
                <a:cubicBezTo>
                  <a:pt x="3343802" y="6986281"/>
                  <a:pt x="3347421" y="6965776"/>
                  <a:pt x="3326912" y="6941651"/>
                </a:cubicBezTo>
                <a:cubicBezTo>
                  <a:pt x="3293134" y="6914511"/>
                  <a:pt x="3224974" y="6877118"/>
                  <a:pt x="3262372" y="6871087"/>
                </a:cubicBezTo>
                <a:cubicBezTo>
                  <a:pt x="3279864" y="6871087"/>
                  <a:pt x="3351040" y="6901243"/>
                  <a:pt x="3435486" y="6935017"/>
                </a:cubicBezTo>
                <a:cubicBezTo>
                  <a:pt x="3520534" y="6968791"/>
                  <a:pt x="3618250" y="7003169"/>
                  <a:pt x="3679776" y="7023071"/>
                </a:cubicBezTo>
                <a:cubicBezTo>
                  <a:pt x="3756984" y="7047196"/>
                  <a:pt x="3852286" y="7073733"/>
                  <a:pt x="3940352" y="7091223"/>
                </a:cubicBezTo>
                <a:cubicBezTo>
                  <a:pt x="4032036" y="7111126"/>
                  <a:pt x="4120102" y="7121379"/>
                  <a:pt x="4174388" y="7121379"/>
                </a:cubicBezTo>
                <a:cubicBezTo>
                  <a:pt x="4258834" y="7121379"/>
                  <a:pt x="4201530" y="7091223"/>
                  <a:pt x="4296230" y="7091223"/>
                </a:cubicBezTo>
                <a:cubicBezTo>
                  <a:pt x="4395154" y="7091223"/>
                  <a:pt x="4465726" y="7128013"/>
                  <a:pt x="4584554" y="7128013"/>
                </a:cubicBezTo>
                <a:cubicBezTo>
                  <a:pt x="4720270" y="7128013"/>
                  <a:pt x="4835478" y="7097857"/>
                  <a:pt x="4947068" y="7080970"/>
                </a:cubicBezTo>
                <a:cubicBezTo>
                  <a:pt x="4930178" y="7067702"/>
                  <a:pt x="4845734" y="7077352"/>
                  <a:pt x="4773954" y="7077352"/>
                </a:cubicBezTo>
                <a:cubicBezTo>
                  <a:pt x="4710016" y="7077352"/>
                  <a:pt x="4577316" y="7073733"/>
                  <a:pt x="4469346" y="7053830"/>
                </a:cubicBezTo>
                <a:cubicBezTo>
                  <a:pt x="4357756" y="7033324"/>
                  <a:pt x="4272706" y="6999550"/>
                  <a:pt x="4293216" y="6968791"/>
                </a:cubicBezTo>
                <a:cubicBezTo>
                  <a:pt x="4313120" y="6931398"/>
                  <a:pt x="4465726" y="6945270"/>
                  <a:pt x="4641856" y="6938636"/>
                </a:cubicBezTo>
                <a:cubicBezTo>
                  <a:pt x="4773954" y="6935017"/>
                  <a:pt x="4882528" y="6924764"/>
                  <a:pt x="4984466" y="6914511"/>
                </a:cubicBezTo>
                <a:cubicBezTo>
                  <a:pt x="5086404" y="6908480"/>
                  <a:pt x="5181104" y="6898227"/>
                  <a:pt x="5283042" y="6881340"/>
                </a:cubicBezTo>
                <a:cubicBezTo>
                  <a:pt x="5377742" y="6867468"/>
                  <a:pt x="5448918" y="6871087"/>
                  <a:pt x="5540000" y="6843947"/>
                </a:cubicBezTo>
                <a:cubicBezTo>
                  <a:pt x="5591270" y="6830075"/>
                  <a:pt x="5723368" y="6779414"/>
                  <a:pt x="5831942" y="6701009"/>
                </a:cubicBezTo>
                <a:cubicBezTo>
                  <a:pt x="6093120" y="6514647"/>
                  <a:pt x="6326552" y="6243850"/>
                  <a:pt x="6519572" y="5912137"/>
                </a:cubicBezTo>
                <a:cubicBezTo>
                  <a:pt x="6617892" y="5742663"/>
                  <a:pt x="6695702" y="5559316"/>
                  <a:pt x="6746974" y="5380192"/>
                </a:cubicBezTo>
                <a:cubicBezTo>
                  <a:pt x="6797640" y="5199861"/>
                  <a:pt x="6824784" y="5020133"/>
                  <a:pt x="6834434" y="4860912"/>
                </a:cubicBezTo>
                <a:cubicBezTo>
                  <a:pt x="6844690" y="4732449"/>
                  <a:pt x="6811514" y="4630523"/>
                  <a:pt x="6787386" y="4529200"/>
                </a:cubicBezTo>
                <a:cubicBezTo>
                  <a:pt x="6763862" y="4437526"/>
                  <a:pt x="6739734" y="4342838"/>
                  <a:pt x="6709576" y="4196884"/>
                </a:cubicBezTo>
                <a:cubicBezTo>
                  <a:pt x="6692686" y="4115464"/>
                  <a:pt x="6685448" y="4061184"/>
                  <a:pt x="6679416" y="4007507"/>
                </a:cubicBezTo>
                <a:cubicBezTo>
                  <a:pt x="6672178" y="3956242"/>
                  <a:pt x="6662526" y="3905581"/>
                  <a:pt x="6642018" y="3847682"/>
                </a:cubicBezTo>
                <a:cubicBezTo>
                  <a:pt x="6614876" y="3756612"/>
                  <a:pt x="6553350" y="3648052"/>
                  <a:pt x="6496048" y="3546125"/>
                </a:cubicBezTo>
                <a:cubicBezTo>
                  <a:pt x="6289156" y="3190289"/>
                  <a:pt x="5987562" y="2899588"/>
                  <a:pt x="5645556" y="2702974"/>
                </a:cubicBezTo>
                <a:cubicBezTo>
                  <a:pt x="5299932" y="2509375"/>
                  <a:pt x="4919926" y="2407449"/>
                  <a:pt x="4540522" y="2400814"/>
                </a:cubicBezTo>
                <a:cubicBezTo>
                  <a:pt x="4770938" y="2414686"/>
                  <a:pt x="5004974" y="2465347"/>
                  <a:pt x="5231772" y="2553402"/>
                </a:cubicBezTo>
                <a:cubicBezTo>
                  <a:pt x="5455554" y="2641456"/>
                  <a:pt x="5669082" y="2763285"/>
                  <a:pt x="5848830" y="2912857"/>
                </a:cubicBezTo>
                <a:cubicBezTo>
                  <a:pt x="5929658" y="2980406"/>
                  <a:pt x="5997816" y="3038305"/>
                  <a:pt x="6068992" y="3116106"/>
                </a:cubicBezTo>
                <a:cubicBezTo>
                  <a:pt x="6143184" y="3190289"/>
                  <a:pt x="6224614" y="3285581"/>
                  <a:pt x="6316298" y="3427915"/>
                </a:cubicBezTo>
                <a:cubicBezTo>
                  <a:pt x="6336806" y="3455055"/>
                  <a:pt x="6424872" y="3590756"/>
                  <a:pt x="6489412" y="3736106"/>
                </a:cubicBezTo>
                <a:cubicBezTo>
                  <a:pt x="6553350" y="3878441"/>
                  <a:pt x="6590748" y="4020775"/>
                  <a:pt x="6580494" y="4031028"/>
                </a:cubicBezTo>
                <a:cubicBezTo>
                  <a:pt x="6570842" y="4041281"/>
                  <a:pt x="6577478" y="4050931"/>
                  <a:pt x="6540080" y="3959861"/>
                </a:cubicBezTo>
                <a:cubicBezTo>
                  <a:pt x="6489412" y="3844666"/>
                  <a:pt x="6424872" y="3708966"/>
                  <a:pt x="6347062" y="3576884"/>
                </a:cubicBezTo>
                <a:cubicBezTo>
                  <a:pt x="6272266" y="3444802"/>
                  <a:pt x="6184202" y="3319355"/>
                  <a:pt x="6096136" y="3221048"/>
                </a:cubicBezTo>
                <a:cubicBezTo>
                  <a:pt x="5943530" y="3048557"/>
                  <a:pt x="5767400" y="2905620"/>
                  <a:pt x="5581016" y="2790425"/>
                </a:cubicBezTo>
                <a:cubicBezTo>
                  <a:pt x="5394632" y="2678849"/>
                  <a:pt x="5194374" y="2594414"/>
                  <a:pt x="4987482" y="2539530"/>
                </a:cubicBezTo>
                <a:cubicBezTo>
                  <a:pt x="4784208" y="2485250"/>
                  <a:pt x="4571284" y="2458713"/>
                  <a:pt x="4357756" y="2462332"/>
                </a:cubicBezTo>
                <a:cubicBezTo>
                  <a:pt x="4140610" y="2465347"/>
                  <a:pt x="3930702" y="2496106"/>
                  <a:pt x="3720190" y="2557020"/>
                </a:cubicBezTo>
                <a:cubicBezTo>
                  <a:pt x="3649014" y="2573908"/>
                  <a:pt x="3554314" y="2607682"/>
                  <a:pt x="3466248" y="2648693"/>
                </a:cubicBezTo>
                <a:cubicBezTo>
                  <a:pt x="3374564" y="2689102"/>
                  <a:pt x="3293134" y="2740367"/>
                  <a:pt x="3252118" y="2773538"/>
                </a:cubicBezTo>
                <a:cubicBezTo>
                  <a:pt x="3197831" y="2810931"/>
                  <a:pt x="3174910" y="2854958"/>
                  <a:pt x="3147766" y="2895367"/>
                </a:cubicBezTo>
                <a:cubicBezTo>
                  <a:pt x="3117004" y="2939997"/>
                  <a:pt x="3089860" y="2984025"/>
                  <a:pt x="3028939" y="3034686"/>
                </a:cubicBezTo>
                <a:cubicBezTo>
                  <a:pt x="2988526" y="3048557"/>
                  <a:pt x="2998176" y="3024433"/>
                  <a:pt x="3018685" y="2994277"/>
                </a:cubicBezTo>
                <a:cubicBezTo>
                  <a:pt x="3035574" y="2959900"/>
                  <a:pt x="3065734" y="2926729"/>
                  <a:pt x="3059098" y="2916476"/>
                </a:cubicBezTo>
                <a:cubicBezTo>
                  <a:pt x="2971033" y="2980406"/>
                  <a:pt x="2899858" y="3065444"/>
                  <a:pt x="2829284" y="3136009"/>
                </a:cubicBezTo>
                <a:cubicBezTo>
                  <a:pt x="2788268" y="3177021"/>
                  <a:pt x="2757506" y="3197526"/>
                  <a:pt x="2723727" y="3227682"/>
                </a:cubicBezTo>
                <a:cubicBezTo>
                  <a:pt x="2692965" y="3262060"/>
                  <a:pt x="2683314" y="3309102"/>
                  <a:pt x="2656170" y="3312721"/>
                </a:cubicBezTo>
                <a:cubicBezTo>
                  <a:pt x="2642297" y="3289200"/>
                  <a:pt x="2679694" y="3200542"/>
                  <a:pt x="2710457" y="3136009"/>
                </a:cubicBezTo>
                <a:cubicBezTo>
                  <a:pt x="2737600" y="3078713"/>
                  <a:pt x="2750870" y="3000912"/>
                  <a:pt x="2842554" y="2926729"/>
                </a:cubicBezTo>
                <a:cubicBezTo>
                  <a:pt x="2805157" y="2932760"/>
                  <a:pt x="2822046" y="2902604"/>
                  <a:pt x="2849190" y="2865211"/>
                </a:cubicBezTo>
                <a:cubicBezTo>
                  <a:pt x="2876333" y="2831437"/>
                  <a:pt x="2910112" y="2790425"/>
                  <a:pt x="2907096" y="2770523"/>
                </a:cubicBezTo>
                <a:cubicBezTo>
                  <a:pt x="3266594" y="2458713"/>
                  <a:pt x="3689426" y="2258480"/>
                  <a:pt x="4147244" y="2177059"/>
                </a:cubicBezTo>
                <a:cubicBezTo>
                  <a:pt x="4303470" y="2149919"/>
                  <a:pt x="4465726" y="2146904"/>
                  <a:pt x="4621952" y="2139666"/>
                </a:cubicBezTo>
                <a:cubicBezTo>
                  <a:pt x="4482616" y="2133635"/>
                  <a:pt x="4323374" y="2126398"/>
                  <a:pt x="4154482" y="2143888"/>
                </a:cubicBezTo>
                <a:cubicBezTo>
                  <a:pt x="4082704" y="2149919"/>
                  <a:pt x="3998258" y="2163791"/>
                  <a:pt x="3923462" y="2180678"/>
                </a:cubicBezTo>
                <a:cubicBezTo>
                  <a:pt x="3845652" y="2194550"/>
                  <a:pt x="3778094" y="2211437"/>
                  <a:pt x="3740698" y="2218071"/>
                </a:cubicBezTo>
                <a:cubicBezTo>
                  <a:pt x="3682792" y="2224705"/>
                  <a:pt x="3703300" y="2201184"/>
                  <a:pt x="3655648" y="2211437"/>
                </a:cubicBezTo>
                <a:cubicBezTo>
                  <a:pt x="3500026" y="2272351"/>
                  <a:pt x="3334150" y="2330250"/>
                  <a:pt x="3177926" y="2431573"/>
                </a:cubicBezTo>
                <a:cubicBezTo>
                  <a:pt x="3089860" y="2482235"/>
                  <a:pt x="2991542" y="2570289"/>
                  <a:pt x="2913730" y="2651709"/>
                </a:cubicBezTo>
                <a:cubicBezTo>
                  <a:pt x="2893826" y="2668596"/>
                  <a:pt x="2849190" y="2716242"/>
                  <a:pt x="2808776" y="2766904"/>
                </a:cubicBezTo>
                <a:cubicBezTo>
                  <a:pt x="2764744" y="2814550"/>
                  <a:pt x="2717092" y="2865211"/>
                  <a:pt x="2683314" y="2882098"/>
                </a:cubicBezTo>
                <a:cubicBezTo>
                  <a:pt x="2639282" y="2905620"/>
                  <a:pt x="2645916" y="2885717"/>
                  <a:pt x="2670044" y="2848324"/>
                </a:cubicBezTo>
                <a:cubicBezTo>
                  <a:pt x="2689949" y="2814550"/>
                  <a:pt x="2730362" y="2766904"/>
                  <a:pt x="2754490" y="2743382"/>
                </a:cubicBezTo>
                <a:cubicBezTo>
                  <a:pt x="2869698" y="2607682"/>
                  <a:pt x="2998176" y="2485250"/>
                  <a:pt x="3144148" y="2373674"/>
                </a:cubicBezTo>
                <a:cubicBezTo>
                  <a:pt x="3215323" y="2319997"/>
                  <a:pt x="3330532" y="2258480"/>
                  <a:pt x="3337166" y="2231340"/>
                </a:cubicBezTo>
                <a:cubicBezTo>
                  <a:pt x="3323896" y="2224705"/>
                  <a:pt x="3269610" y="2245211"/>
                  <a:pt x="3211704" y="2275970"/>
                </a:cubicBezTo>
                <a:cubicBezTo>
                  <a:pt x="3150782" y="2306125"/>
                  <a:pt x="3086242" y="2346534"/>
                  <a:pt x="3038590" y="2377293"/>
                </a:cubicBezTo>
                <a:cubicBezTo>
                  <a:pt x="2927000" y="2444842"/>
                  <a:pt x="2838936" y="2522643"/>
                  <a:pt x="2757506" y="2580542"/>
                </a:cubicBezTo>
                <a:cubicBezTo>
                  <a:pt x="2706838" y="2641456"/>
                  <a:pt x="2632646" y="2719258"/>
                  <a:pt x="2557852" y="2804297"/>
                </a:cubicBezTo>
                <a:cubicBezTo>
                  <a:pt x="2530708" y="2862196"/>
                  <a:pt x="2513819" y="2909239"/>
                  <a:pt x="2469183" y="2994277"/>
                </a:cubicBezTo>
                <a:cubicBezTo>
                  <a:pt x="2469183" y="2994277"/>
                  <a:pt x="2469183" y="2994277"/>
                  <a:pt x="2411880" y="3105853"/>
                </a:cubicBezTo>
                <a:cubicBezTo>
                  <a:pt x="2388356" y="3149880"/>
                  <a:pt x="2361213" y="3197526"/>
                  <a:pt x="2337688" y="3221048"/>
                </a:cubicBezTo>
                <a:cubicBezTo>
                  <a:pt x="2276767" y="3285581"/>
                  <a:pt x="2337688" y="3143246"/>
                  <a:pt x="2357594" y="3095600"/>
                </a:cubicBezTo>
                <a:cubicBezTo>
                  <a:pt x="2378102" y="3038305"/>
                  <a:pt x="2394992" y="2956884"/>
                  <a:pt x="2422134" y="2919491"/>
                </a:cubicBezTo>
                <a:cubicBezTo>
                  <a:pt x="2442040" y="2879083"/>
                  <a:pt x="2527089" y="2800678"/>
                  <a:pt x="2520454" y="2780775"/>
                </a:cubicBezTo>
                <a:cubicBezTo>
                  <a:pt x="2466167" y="2824803"/>
                  <a:pt x="2411880" y="2899588"/>
                  <a:pt x="2357594" y="2973771"/>
                </a:cubicBezTo>
                <a:cubicBezTo>
                  <a:pt x="2310546" y="3034686"/>
                  <a:pt x="2249624" y="3122740"/>
                  <a:pt x="2212226" y="3190289"/>
                </a:cubicBezTo>
                <a:cubicBezTo>
                  <a:pt x="2151304" y="3302468"/>
                  <a:pt x="2157940" y="3356748"/>
                  <a:pt x="2133812" y="3444802"/>
                </a:cubicBezTo>
                <a:cubicBezTo>
                  <a:pt x="2133812" y="3444802"/>
                  <a:pt x="2133812" y="3444802"/>
                  <a:pt x="2096414" y="3593771"/>
                </a:cubicBezTo>
                <a:cubicBezTo>
                  <a:pt x="2080128" y="3651067"/>
                  <a:pt x="2063240" y="3705347"/>
                  <a:pt x="2042731" y="3732487"/>
                </a:cubicBezTo>
                <a:cubicBezTo>
                  <a:pt x="2015588" y="3769880"/>
                  <a:pt x="2022223" y="3702332"/>
                  <a:pt x="2032477" y="3627546"/>
                </a:cubicBezTo>
                <a:cubicBezTo>
                  <a:pt x="2046350" y="3549744"/>
                  <a:pt x="2066256" y="3464705"/>
                  <a:pt x="2049366" y="3464705"/>
                </a:cubicBezTo>
                <a:cubicBezTo>
                  <a:pt x="1937174" y="3692079"/>
                  <a:pt x="1846092" y="3929102"/>
                  <a:pt x="1795425" y="4139589"/>
                </a:cubicBezTo>
                <a:cubicBezTo>
                  <a:pt x="1768282" y="4247546"/>
                  <a:pt x="1744154" y="4373596"/>
                  <a:pt x="1727868" y="4471301"/>
                </a:cubicBezTo>
                <a:cubicBezTo>
                  <a:pt x="1707360" y="4569608"/>
                  <a:pt x="1690471" y="4637760"/>
                  <a:pt x="1659708" y="4620270"/>
                </a:cubicBezTo>
                <a:cubicBezTo>
                  <a:pt x="1632565" y="4607001"/>
                  <a:pt x="1625930" y="4485172"/>
                  <a:pt x="1639200" y="4346456"/>
                </a:cubicBezTo>
                <a:cubicBezTo>
                  <a:pt x="1649454" y="4207137"/>
                  <a:pt x="1683232" y="4047915"/>
                  <a:pt x="1696502" y="3953227"/>
                </a:cubicBezTo>
                <a:cubicBezTo>
                  <a:pt x="1625930" y="4135970"/>
                  <a:pt x="1601802" y="4339219"/>
                  <a:pt x="1615676" y="4495425"/>
                </a:cubicBezTo>
                <a:cubicBezTo>
                  <a:pt x="1595168" y="4576846"/>
                  <a:pt x="1591548" y="4471301"/>
                  <a:pt x="1571644" y="4478538"/>
                </a:cubicBezTo>
                <a:cubicBezTo>
                  <a:pt x="1551135" y="4590114"/>
                  <a:pt x="1531230" y="4759589"/>
                  <a:pt x="1493832" y="4681787"/>
                </a:cubicBezTo>
                <a:cubicBezTo>
                  <a:pt x="1483578" y="4657663"/>
                  <a:pt x="1476944" y="4576846"/>
                  <a:pt x="1479959" y="4481554"/>
                </a:cubicBezTo>
                <a:cubicBezTo>
                  <a:pt x="1479959" y="4383246"/>
                  <a:pt x="1490214" y="4274686"/>
                  <a:pt x="1499864" y="4196884"/>
                </a:cubicBezTo>
                <a:cubicBezTo>
                  <a:pt x="1531230" y="3949608"/>
                  <a:pt x="1598786" y="3672176"/>
                  <a:pt x="1703741" y="3421281"/>
                </a:cubicBezTo>
                <a:cubicBezTo>
                  <a:pt x="1805076" y="3166768"/>
                  <a:pt x="1941396" y="2943013"/>
                  <a:pt x="2056001" y="2773538"/>
                </a:cubicBezTo>
                <a:cubicBezTo>
                  <a:pt x="1961301" y="2882098"/>
                  <a:pt x="1842474" y="3048557"/>
                  <a:pt x="1737520" y="3210795"/>
                </a:cubicBezTo>
                <a:cubicBezTo>
                  <a:pt x="1693487" y="3278344"/>
                  <a:pt x="1646438" y="3363383"/>
                  <a:pt x="1605422" y="3431534"/>
                </a:cubicBezTo>
                <a:cubicBezTo>
                  <a:pt x="1564405" y="3502098"/>
                  <a:pt x="1534246" y="3556378"/>
                  <a:pt x="1517356" y="3563616"/>
                </a:cubicBezTo>
                <a:cubicBezTo>
                  <a:pt x="1490214" y="3570250"/>
                  <a:pt x="1496848" y="3522604"/>
                  <a:pt x="1507102" y="3482195"/>
                </a:cubicBezTo>
                <a:cubicBezTo>
                  <a:pt x="1517356" y="3438168"/>
                  <a:pt x="1527611" y="3397157"/>
                  <a:pt x="1499864" y="3417663"/>
                </a:cubicBezTo>
                <a:cubicBezTo>
                  <a:pt x="1476944" y="3411028"/>
                  <a:pt x="1432308" y="3499083"/>
                  <a:pt x="1394910" y="3590756"/>
                </a:cubicBezTo>
                <a:cubicBezTo>
                  <a:pt x="1354496" y="3685445"/>
                  <a:pt x="1320718" y="3780133"/>
                  <a:pt x="1290559" y="3783752"/>
                </a:cubicBezTo>
                <a:cubicBezTo>
                  <a:pt x="1253162" y="3783752"/>
                  <a:pt x="1290559" y="3617896"/>
                  <a:pt x="1330972" y="3471943"/>
                </a:cubicBezTo>
                <a:cubicBezTo>
                  <a:pt x="1344846" y="3411028"/>
                  <a:pt x="1297194" y="3496067"/>
                  <a:pt x="1310464" y="3434550"/>
                </a:cubicBezTo>
                <a:cubicBezTo>
                  <a:pt x="1350878" y="3302468"/>
                  <a:pt x="1419038" y="3146262"/>
                  <a:pt x="1499864" y="2994277"/>
                </a:cubicBezTo>
                <a:cubicBezTo>
                  <a:pt x="1499864" y="2980406"/>
                  <a:pt x="1466689" y="3031067"/>
                  <a:pt x="1432308" y="3071476"/>
                </a:cubicBezTo>
                <a:cubicBezTo>
                  <a:pt x="1398529" y="3116106"/>
                  <a:pt x="1367766" y="3149880"/>
                  <a:pt x="1375005" y="3095600"/>
                </a:cubicBezTo>
                <a:cubicBezTo>
                  <a:pt x="1378021" y="3061826"/>
                  <a:pt x="1412402" y="2990659"/>
                  <a:pt x="1456435" y="2912857"/>
                </a:cubicBezTo>
                <a:cubicBezTo>
                  <a:pt x="1504086" y="2831437"/>
                  <a:pt x="1561389" y="2743382"/>
                  <a:pt x="1612057" y="2668596"/>
                </a:cubicBezTo>
                <a:cubicBezTo>
                  <a:pt x="1598786" y="2661962"/>
                  <a:pt x="1615676" y="2621553"/>
                  <a:pt x="1639200" y="2580542"/>
                </a:cubicBezTo>
                <a:cubicBezTo>
                  <a:pt x="1659708" y="2539530"/>
                  <a:pt x="1683232" y="2499122"/>
                  <a:pt x="1683232" y="2489472"/>
                </a:cubicBezTo>
                <a:cubicBezTo>
                  <a:pt x="1618692" y="2566670"/>
                  <a:pt x="1517356" y="2699355"/>
                  <a:pt x="1442562" y="2800678"/>
                </a:cubicBezTo>
                <a:cubicBezTo>
                  <a:pt x="1364751" y="2899588"/>
                  <a:pt x="1310464" y="2967137"/>
                  <a:pt x="1327354" y="2892351"/>
                </a:cubicBezTo>
                <a:cubicBezTo>
                  <a:pt x="1334592" y="2854958"/>
                  <a:pt x="1398529" y="2736145"/>
                  <a:pt x="1486594" y="2604063"/>
                </a:cubicBezTo>
                <a:cubicBezTo>
                  <a:pt x="1574660" y="2475600"/>
                  <a:pt x="1690471" y="2333266"/>
                  <a:pt x="1774917" y="2238577"/>
                </a:cubicBezTo>
                <a:cubicBezTo>
                  <a:pt x="1835838" y="2171028"/>
                  <a:pt x="1917268" y="2092624"/>
                  <a:pt x="1954666" y="2052215"/>
                </a:cubicBezTo>
                <a:cubicBezTo>
                  <a:pt x="2022223" y="1977429"/>
                  <a:pt x="2001714" y="1977429"/>
                  <a:pt x="2039112" y="1933402"/>
                </a:cubicBezTo>
                <a:cubicBezTo>
                  <a:pt x="2086764" y="1879122"/>
                  <a:pt x="2130796" y="1848363"/>
                  <a:pt x="2164574" y="1801320"/>
                </a:cubicBezTo>
                <a:cubicBezTo>
                  <a:pt x="2063240" y="1889375"/>
                  <a:pt x="1967936" y="1974413"/>
                  <a:pt x="1876855" y="2061865"/>
                </a:cubicBezTo>
                <a:cubicBezTo>
                  <a:pt x="1781552" y="2153538"/>
                  <a:pt x="1690471" y="2248830"/>
                  <a:pt x="1595168" y="2357390"/>
                </a:cubicBezTo>
                <a:cubicBezTo>
                  <a:pt x="1513738" y="2455094"/>
                  <a:pt x="1408784" y="2604063"/>
                  <a:pt x="1330972" y="2730114"/>
                </a:cubicBezTo>
                <a:cubicBezTo>
                  <a:pt x="1245924" y="2854958"/>
                  <a:pt x="1185002" y="2959900"/>
                  <a:pt x="1158462" y="2963518"/>
                </a:cubicBezTo>
                <a:cubicBezTo>
                  <a:pt x="1124080" y="2970153"/>
                  <a:pt x="1168112" y="2851943"/>
                  <a:pt x="1245924" y="2705989"/>
                </a:cubicBezTo>
                <a:cubicBezTo>
                  <a:pt x="1323734" y="2563655"/>
                  <a:pt x="1442562" y="2400814"/>
                  <a:pt x="1523992" y="2295872"/>
                </a:cubicBezTo>
                <a:cubicBezTo>
                  <a:pt x="1625930" y="2166807"/>
                  <a:pt x="1723646" y="2052215"/>
                  <a:pt x="1829204" y="1943051"/>
                </a:cubicBezTo>
                <a:cubicBezTo>
                  <a:pt x="1934158" y="1835094"/>
                  <a:pt x="2042731" y="1736787"/>
                  <a:pt x="2164574" y="1642098"/>
                </a:cubicBezTo>
                <a:cubicBezTo>
                  <a:pt x="2066256" y="1713265"/>
                  <a:pt x="1947428" y="1810970"/>
                  <a:pt x="1829204" y="1926768"/>
                </a:cubicBezTo>
                <a:cubicBezTo>
                  <a:pt x="1710376" y="2041962"/>
                  <a:pt x="1591548" y="2174044"/>
                  <a:pt x="1479959" y="2306125"/>
                </a:cubicBezTo>
                <a:cubicBezTo>
                  <a:pt x="1391894" y="2411067"/>
                  <a:pt x="1266432" y="2594414"/>
                  <a:pt x="1164494" y="2763285"/>
                </a:cubicBezTo>
                <a:cubicBezTo>
                  <a:pt x="1063158" y="2929744"/>
                  <a:pt x="988363" y="3081729"/>
                  <a:pt x="958204" y="3105853"/>
                </a:cubicBezTo>
                <a:cubicBezTo>
                  <a:pt x="917790" y="3136009"/>
                  <a:pt x="958204" y="3038305"/>
                  <a:pt x="951569" y="3011165"/>
                </a:cubicBezTo>
                <a:cubicBezTo>
                  <a:pt x="1049888" y="2790425"/>
                  <a:pt x="1174748" y="2566670"/>
                  <a:pt x="1327354" y="2360406"/>
                </a:cubicBezTo>
                <a:cubicBezTo>
                  <a:pt x="1476944" y="2149919"/>
                  <a:pt x="1653074" y="1953304"/>
                  <a:pt x="1839458" y="1777195"/>
                </a:cubicBezTo>
                <a:cubicBezTo>
                  <a:pt x="1723646" y="1855600"/>
                  <a:pt x="1561389" y="1984666"/>
                  <a:pt x="1394910" y="2160172"/>
                </a:cubicBezTo>
                <a:cubicBezTo>
                  <a:pt x="1229034" y="2333266"/>
                  <a:pt x="1059539" y="2557020"/>
                  <a:pt x="920806" y="2797662"/>
                </a:cubicBezTo>
                <a:cubicBezTo>
                  <a:pt x="873155" y="2875464"/>
                  <a:pt x="826106" y="2973771"/>
                  <a:pt x="788709" y="3055192"/>
                </a:cubicBezTo>
                <a:cubicBezTo>
                  <a:pt x="748295" y="3139627"/>
                  <a:pt x="717533" y="3210795"/>
                  <a:pt x="697025" y="3241554"/>
                </a:cubicBezTo>
                <a:cubicBezTo>
                  <a:pt x="639119" y="3325990"/>
                  <a:pt x="680136" y="3163149"/>
                  <a:pt x="656611" y="3166768"/>
                </a:cubicBezTo>
                <a:cubicBezTo>
                  <a:pt x="605341" y="3295231"/>
                  <a:pt x="548038" y="3417663"/>
                  <a:pt x="487116" y="3604024"/>
                </a:cubicBezTo>
                <a:cubicBezTo>
                  <a:pt x="462989" y="3672176"/>
                  <a:pt x="435846" y="3773499"/>
                  <a:pt x="415940" y="3861554"/>
                </a:cubicBezTo>
                <a:cubicBezTo>
                  <a:pt x="395432" y="3953227"/>
                  <a:pt x="375527" y="4028013"/>
                  <a:pt x="358035" y="4041281"/>
                </a:cubicBezTo>
                <a:cubicBezTo>
                  <a:pt x="327875" y="4061184"/>
                  <a:pt x="334510" y="3888694"/>
                  <a:pt x="378543" y="3672176"/>
                </a:cubicBezTo>
                <a:cubicBezTo>
                  <a:pt x="398448" y="3563616"/>
                  <a:pt x="429210" y="3444802"/>
                  <a:pt x="466608" y="3332624"/>
                </a:cubicBezTo>
                <a:cubicBezTo>
                  <a:pt x="500386" y="3224666"/>
                  <a:pt x="537784" y="3122740"/>
                  <a:pt x="567943" y="3048557"/>
                </a:cubicBezTo>
                <a:cubicBezTo>
                  <a:pt x="686771" y="2750017"/>
                  <a:pt x="849630" y="2455094"/>
                  <a:pt x="1042650" y="2184297"/>
                </a:cubicBezTo>
                <a:cubicBezTo>
                  <a:pt x="1239288" y="1909880"/>
                  <a:pt x="1466689" y="1658985"/>
                  <a:pt x="1723646" y="1438246"/>
                </a:cubicBezTo>
                <a:cubicBezTo>
                  <a:pt x="1981810" y="1218110"/>
                  <a:pt x="2262894" y="1031748"/>
                  <a:pt x="2557852" y="879160"/>
                </a:cubicBezTo>
                <a:cubicBezTo>
                  <a:pt x="2856428" y="730191"/>
                  <a:pt x="3164656" y="614997"/>
                  <a:pt x="3475900" y="540814"/>
                </a:cubicBezTo>
                <a:cubicBezTo>
                  <a:pt x="3364310" y="564336"/>
                  <a:pt x="3330532" y="554082"/>
                  <a:pt x="3337166" y="533577"/>
                </a:cubicBezTo>
                <a:cubicBezTo>
                  <a:pt x="3059098" y="601125"/>
                  <a:pt x="2754490" y="713304"/>
                  <a:pt x="2452897" y="865892"/>
                </a:cubicBezTo>
                <a:cubicBezTo>
                  <a:pt x="2151304" y="1021495"/>
                  <a:pt x="1856347" y="1218110"/>
                  <a:pt x="1591548" y="1448499"/>
                </a:cubicBezTo>
                <a:cubicBezTo>
                  <a:pt x="1327354" y="1679491"/>
                  <a:pt x="1093920" y="1940036"/>
                  <a:pt x="900298" y="2201184"/>
                </a:cubicBezTo>
                <a:cubicBezTo>
                  <a:pt x="707279" y="2465347"/>
                  <a:pt x="551657" y="2733130"/>
                  <a:pt x="435846" y="2970153"/>
                </a:cubicBezTo>
                <a:cubicBezTo>
                  <a:pt x="365273" y="3113091"/>
                  <a:pt x="294097" y="3281962"/>
                  <a:pt x="273589" y="3281962"/>
                </a:cubicBezTo>
                <a:cubicBezTo>
                  <a:pt x="242826" y="3285581"/>
                  <a:pt x="280224" y="3132993"/>
                  <a:pt x="348384" y="2956884"/>
                </a:cubicBezTo>
                <a:cubicBezTo>
                  <a:pt x="385178" y="2865211"/>
                  <a:pt x="426195" y="2770523"/>
                  <a:pt x="466608" y="2682468"/>
                </a:cubicBezTo>
                <a:cubicBezTo>
                  <a:pt x="510640" y="2597429"/>
                  <a:pt x="551657" y="2516612"/>
                  <a:pt x="578800" y="2455094"/>
                </a:cubicBezTo>
                <a:cubicBezTo>
                  <a:pt x="537784" y="2519628"/>
                  <a:pt x="473243" y="2624569"/>
                  <a:pt x="408702" y="2753635"/>
                </a:cubicBezTo>
                <a:cubicBezTo>
                  <a:pt x="344765" y="2882098"/>
                  <a:pt x="280224" y="3028052"/>
                  <a:pt x="225937" y="3173402"/>
                </a:cubicBezTo>
                <a:cubicBezTo>
                  <a:pt x="114348" y="3458674"/>
                  <a:pt x="46188" y="3722838"/>
                  <a:pt x="12409" y="3722838"/>
                </a:cubicBezTo>
                <a:cubicBezTo>
                  <a:pt x="-17750" y="3722838"/>
                  <a:pt x="8790" y="3529238"/>
                  <a:pt x="73331" y="3299452"/>
                </a:cubicBezTo>
                <a:cubicBezTo>
                  <a:pt x="107110" y="3180639"/>
                  <a:pt x="151745" y="3055192"/>
                  <a:pt x="198794" y="2936379"/>
                </a:cubicBezTo>
                <a:cubicBezTo>
                  <a:pt x="246445" y="2818168"/>
                  <a:pt x="297113" y="2709005"/>
                  <a:pt x="338129" y="2621553"/>
                </a:cubicBezTo>
                <a:cubicBezTo>
                  <a:pt x="476862" y="2323013"/>
                  <a:pt x="663246" y="2025075"/>
                  <a:pt x="883409" y="1747040"/>
                </a:cubicBezTo>
                <a:cubicBezTo>
                  <a:pt x="1107190" y="1469005"/>
                  <a:pt x="1367766" y="1207857"/>
                  <a:pt x="1659708" y="984102"/>
                </a:cubicBezTo>
                <a:cubicBezTo>
                  <a:pt x="1947428" y="760950"/>
                  <a:pt x="2266513" y="570970"/>
                  <a:pt x="2595249" y="425619"/>
                </a:cubicBezTo>
                <a:cubicBezTo>
                  <a:pt x="2923984" y="279666"/>
                  <a:pt x="3262372" y="174725"/>
                  <a:pt x="3588092" y="110191"/>
                </a:cubicBezTo>
                <a:cubicBezTo>
                  <a:pt x="3676158" y="86670"/>
                  <a:pt x="3448756" y="116826"/>
                  <a:pt x="3520534" y="79433"/>
                </a:cubicBezTo>
                <a:cubicBezTo>
                  <a:pt x="3730444" y="22137"/>
                  <a:pt x="3980766" y="5250"/>
                  <a:pt x="4201530" y="1631"/>
                </a:cubicBezTo>
                <a:close/>
              </a:path>
            </a:pathLst>
          </a:custGeom>
          <a:effectLst/>
        </p:spPr>
        <p:txBody>
          <a:bodyPr wrap="square">
            <a:no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Tree>
    <p:extLst>
      <p:ext uri="{BB962C8B-B14F-4D97-AF65-F5344CB8AC3E}">
        <p14:creationId xmlns:p14="http://schemas.microsoft.com/office/powerpoint/2010/main" val="3537856"/>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rush 4">
    <p:spTree>
      <p:nvGrpSpPr>
        <p:cNvPr id="1" name=""/>
        <p:cNvGrpSpPr/>
        <p:nvPr/>
      </p:nvGrpSpPr>
      <p:grpSpPr>
        <a:xfrm>
          <a:off x="0" y="0"/>
          <a:ext cx="0" cy="0"/>
          <a:chOff x="0" y="0"/>
          <a:chExt cx="0" cy="0"/>
        </a:xfrm>
      </p:grpSpPr>
      <p:sp>
        <p:nvSpPr>
          <p:cNvPr id="5" name="Picture Placeholder 4"/>
          <p:cNvSpPr>
            <a:spLocks noGrp="1"/>
          </p:cNvSpPr>
          <p:nvPr>
            <p:ph type="pic" sz="quarter" idx="19"/>
          </p:nvPr>
        </p:nvSpPr>
        <p:spPr>
          <a:xfrm>
            <a:off x="6511144" y="126083"/>
            <a:ext cx="5022565" cy="6731918"/>
          </a:xfrm>
          <a:custGeom>
            <a:avLst/>
            <a:gdLst>
              <a:gd name="connsiteX0" fmla="*/ 8412140 w 10042514"/>
              <a:gd name="connsiteY0" fmla="*/ 13429192 h 13463835"/>
              <a:gd name="connsiteX1" fmla="*/ 8418964 w 10042514"/>
              <a:gd name="connsiteY1" fmla="*/ 13433138 h 13463835"/>
              <a:gd name="connsiteX2" fmla="*/ 8422700 w 10042514"/>
              <a:gd name="connsiteY2" fmla="*/ 13436368 h 13463835"/>
              <a:gd name="connsiteX3" fmla="*/ 8409666 w 10042514"/>
              <a:gd name="connsiteY3" fmla="*/ 13427511 h 13463835"/>
              <a:gd name="connsiteX4" fmla="*/ 8412140 w 10042514"/>
              <a:gd name="connsiteY4" fmla="*/ 13429192 h 13463835"/>
              <a:gd name="connsiteX5" fmla="*/ 8410128 w 10042514"/>
              <a:gd name="connsiteY5" fmla="*/ 13428029 h 13463835"/>
              <a:gd name="connsiteX6" fmla="*/ 8382958 w 10042514"/>
              <a:gd name="connsiteY6" fmla="*/ 13419368 h 13463835"/>
              <a:gd name="connsiteX7" fmla="*/ 8408076 w 10042514"/>
              <a:gd name="connsiteY7" fmla="*/ 13426842 h 13463835"/>
              <a:gd name="connsiteX8" fmla="*/ 8410128 w 10042514"/>
              <a:gd name="connsiteY8" fmla="*/ 13428029 h 13463835"/>
              <a:gd name="connsiteX9" fmla="*/ 8442062 w 10042514"/>
              <a:gd name="connsiteY9" fmla="*/ 13463835 h 13463835"/>
              <a:gd name="connsiteX10" fmla="*/ 8389842 w 10042514"/>
              <a:gd name="connsiteY10" fmla="*/ 13463835 h 13463835"/>
              <a:gd name="connsiteX11" fmla="*/ 8381806 w 10042514"/>
              <a:gd name="connsiteY11" fmla="*/ 13453818 h 13463835"/>
              <a:gd name="connsiteX12" fmla="*/ 8372998 w 10042514"/>
              <a:gd name="connsiteY12" fmla="*/ 13438022 h 13463835"/>
              <a:gd name="connsiteX13" fmla="*/ 8382958 w 10042514"/>
              <a:gd name="connsiteY13" fmla="*/ 13419368 h 13463835"/>
              <a:gd name="connsiteX14" fmla="*/ 9153056 w 10042514"/>
              <a:gd name="connsiteY14" fmla="*/ 13177203 h 13463835"/>
              <a:gd name="connsiteX15" fmla="*/ 9193554 w 10042514"/>
              <a:gd name="connsiteY15" fmla="*/ 13193002 h 13463835"/>
              <a:gd name="connsiteX16" fmla="*/ 9143142 w 10042514"/>
              <a:gd name="connsiteY16" fmla="*/ 13182766 h 13463835"/>
              <a:gd name="connsiteX17" fmla="*/ 9153056 w 10042514"/>
              <a:gd name="connsiteY17" fmla="*/ 13177203 h 13463835"/>
              <a:gd name="connsiteX18" fmla="*/ 9018662 w 10042514"/>
              <a:gd name="connsiteY18" fmla="*/ 13081515 h 13463835"/>
              <a:gd name="connsiteX19" fmla="*/ 9144860 w 10042514"/>
              <a:gd name="connsiteY19" fmla="*/ 13140293 h 13463835"/>
              <a:gd name="connsiteX20" fmla="*/ 9018662 w 10042514"/>
              <a:gd name="connsiteY20" fmla="*/ 13081515 h 13463835"/>
              <a:gd name="connsiteX21" fmla="*/ 7452400 w 10042514"/>
              <a:gd name="connsiteY21" fmla="*/ 12325586 h 13463835"/>
              <a:gd name="connsiteX22" fmla="*/ 7556130 w 10042514"/>
              <a:gd name="connsiteY22" fmla="*/ 12440581 h 13463835"/>
              <a:gd name="connsiteX23" fmla="*/ 7452400 w 10042514"/>
              <a:gd name="connsiteY23" fmla="*/ 12325586 h 13463835"/>
              <a:gd name="connsiteX24" fmla="*/ 7387688 w 10042514"/>
              <a:gd name="connsiteY24" fmla="*/ 12311043 h 13463835"/>
              <a:gd name="connsiteX25" fmla="*/ 7374896 w 10042514"/>
              <a:gd name="connsiteY25" fmla="*/ 12319518 h 13463835"/>
              <a:gd name="connsiteX26" fmla="*/ 7387688 w 10042514"/>
              <a:gd name="connsiteY26" fmla="*/ 12311043 h 13463835"/>
              <a:gd name="connsiteX27" fmla="*/ 8118044 w 10042514"/>
              <a:gd name="connsiteY27" fmla="*/ 12289961 h 13463835"/>
              <a:gd name="connsiteX28" fmla="*/ 8260636 w 10042514"/>
              <a:gd name="connsiteY28" fmla="*/ 12474511 h 13463835"/>
              <a:gd name="connsiteX29" fmla="*/ 8549646 w 10042514"/>
              <a:gd name="connsiteY29" fmla="*/ 12779076 h 13463835"/>
              <a:gd name="connsiteX30" fmla="*/ 8701612 w 10042514"/>
              <a:gd name="connsiteY30" fmla="*/ 12921823 h 13463835"/>
              <a:gd name="connsiteX31" fmla="*/ 8552878 w 10042514"/>
              <a:gd name="connsiteY31" fmla="*/ 12763156 h 13463835"/>
              <a:gd name="connsiteX32" fmla="*/ 8179832 w 10042514"/>
              <a:gd name="connsiteY32" fmla="*/ 12328256 h 13463835"/>
              <a:gd name="connsiteX33" fmla="*/ 8118044 w 10042514"/>
              <a:gd name="connsiteY33" fmla="*/ 12289961 h 13463835"/>
              <a:gd name="connsiteX34" fmla="*/ 7420570 w 10042514"/>
              <a:gd name="connsiteY34" fmla="*/ 12282410 h 13463835"/>
              <a:gd name="connsiteX35" fmla="*/ 7452400 w 10042514"/>
              <a:gd name="connsiteY35" fmla="*/ 12325586 h 13463835"/>
              <a:gd name="connsiteX36" fmla="*/ 7408454 w 10042514"/>
              <a:gd name="connsiteY36" fmla="*/ 12283511 h 13463835"/>
              <a:gd name="connsiteX37" fmla="*/ 7420570 w 10042514"/>
              <a:gd name="connsiteY37" fmla="*/ 12282410 h 13463835"/>
              <a:gd name="connsiteX38" fmla="*/ 7359760 w 10042514"/>
              <a:gd name="connsiteY38" fmla="*/ 12230801 h 13463835"/>
              <a:gd name="connsiteX39" fmla="*/ 7408454 w 10042514"/>
              <a:gd name="connsiteY39" fmla="*/ 12283511 h 13463835"/>
              <a:gd name="connsiteX40" fmla="*/ 7359760 w 10042514"/>
              <a:gd name="connsiteY40" fmla="*/ 12230801 h 13463835"/>
              <a:gd name="connsiteX41" fmla="*/ 7254972 w 10042514"/>
              <a:gd name="connsiteY41" fmla="*/ 12114211 h 13463835"/>
              <a:gd name="connsiteX42" fmla="*/ 7359760 w 10042514"/>
              <a:gd name="connsiteY42" fmla="*/ 12230801 h 13463835"/>
              <a:gd name="connsiteX43" fmla="*/ 7254972 w 10042514"/>
              <a:gd name="connsiteY43" fmla="*/ 12114211 h 13463835"/>
              <a:gd name="connsiteX44" fmla="*/ 7231028 w 10042514"/>
              <a:gd name="connsiteY44" fmla="*/ 12105852 h 13463835"/>
              <a:gd name="connsiteX45" fmla="*/ 7254972 w 10042514"/>
              <a:gd name="connsiteY45" fmla="*/ 12114211 h 13463835"/>
              <a:gd name="connsiteX46" fmla="*/ 7231028 w 10042514"/>
              <a:gd name="connsiteY46" fmla="*/ 12105852 h 13463835"/>
              <a:gd name="connsiteX47" fmla="*/ 7166290 w 10042514"/>
              <a:gd name="connsiteY47" fmla="*/ 12005897 h 13463835"/>
              <a:gd name="connsiteX48" fmla="*/ 7191998 w 10042514"/>
              <a:gd name="connsiteY48" fmla="*/ 12043406 h 13463835"/>
              <a:gd name="connsiteX49" fmla="*/ 7162334 w 10042514"/>
              <a:gd name="connsiteY49" fmla="*/ 12019425 h 13463835"/>
              <a:gd name="connsiteX50" fmla="*/ 7166290 w 10042514"/>
              <a:gd name="connsiteY50" fmla="*/ 12005897 h 13463835"/>
              <a:gd name="connsiteX51" fmla="*/ 6359306 w 10042514"/>
              <a:gd name="connsiteY51" fmla="*/ 11278617 h 13463835"/>
              <a:gd name="connsiteX52" fmla="*/ 6345766 w 10042514"/>
              <a:gd name="connsiteY52" fmla="*/ 11278975 h 13463835"/>
              <a:gd name="connsiteX53" fmla="*/ 6377604 w 10042514"/>
              <a:gd name="connsiteY53" fmla="*/ 11285440 h 13463835"/>
              <a:gd name="connsiteX54" fmla="*/ 6359306 w 10042514"/>
              <a:gd name="connsiteY54" fmla="*/ 11278617 h 13463835"/>
              <a:gd name="connsiteX55" fmla="*/ 10026292 w 10042514"/>
              <a:gd name="connsiteY55" fmla="*/ 11222650 h 13463835"/>
              <a:gd name="connsiteX56" fmla="*/ 10038346 w 10042514"/>
              <a:gd name="connsiteY56" fmla="*/ 11223460 h 13463835"/>
              <a:gd name="connsiteX57" fmla="*/ 10042514 w 10042514"/>
              <a:gd name="connsiteY57" fmla="*/ 11250552 h 13463835"/>
              <a:gd name="connsiteX58" fmla="*/ 10026292 w 10042514"/>
              <a:gd name="connsiteY58" fmla="*/ 11222650 h 13463835"/>
              <a:gd name="connsiteX59" fmla="*/ 6214008 w 10042514"/>
              <a:gd name="connsiteY59" fmla="*/ 11125137 h 13463835"/>
              <a:gd name="connsiteX60" fmla="*/ 6214008 w 10042514"/>
              <a:gd name="connsiteY60" fmla="*/ 11125137 h 13463835"/>
              <a:gd name="connsiteX61" fmla="*/ 6632486 w 10042514"/>
              <a:gd name="connsiteY61" fmla="*/ 11088619 h 13463835"/>
              <a:gd name="connsiteX62" fmla="*/ 6744188 w 10042514"/>
              <a:gd name="connsiteY62" fmla="*/ 11214837 h 13463835"/>
              <a:gd name="connsiteX63" fmla="*/ 7101440 w 10042514"/>
              <a:gd name="connsiteY63" fmla="*/ 11605089 h 13463835"/>
              <a:gd name="connsiteX64" fmla="*/ 7584104 w 10042514"/>
              <a:gd name="connsiteY64" fmla="*/ 12139603 h 13463835"/>
              <a:gd name="connsiteX65" fmla="*/ 7671914 w 10042514"/>
              <a:gd name="connsiteY65" fmla="*/ 12251365 h 13463835"/>
              <a:gd name="connsiteX66" fmla="*/ 7672848 w 10042514"/>
              <a:gd name="connsiteY66" fmla="*/ 12294376 h 13463835"/>
              <a:gd name="connsiteX67" fmla="*/ 8006778 w 10042514"/>
              <a:gd name="connsiteY67" fmla="*/ 12670224 h 13463835"/>
              <a:gd name="connsiteX68" fmla="*/ 8243322 w 10042514"/>
              <a:gd name="connsiteY68" fmla="*/ 12940652 h 13463835"/>
              <a:gd name="connsiteX69" fmla="*/ 8485276 w 10042514"/>
              <a:gd name="connsiteY69" fmla="*/ 13177646 h 13463835"/>
              <a:gd name="connsiteX70" fmla="*/ 8535688 w 10042514"/>
              <a:gd name="connsiteY70" fmla="*/ 13187882 h 13463835"/>
              <a:gd name="connsiteX71" fmla="*/ 8578038 w 10042514"/>
              <a:gd name="connsiteY71" fmla="*/ 13231015 h 13463835"/>
              <a:gd name="connsiteX72" fmla="*/ 8685786 w 10042514"/>
              <a:gd name="connsiteY72" fmla="*/ 13244606 h 13463835"/>
              <a:gd name="connsiteX73" fmla="*/ 8690616 w 10042514"/>
              <a:gd name="connsiteY73" fmla="*/ 13227629 h 13463835"/>
              <a:gd name="connsiteX74" fmla="*/ 8597976 w 10042514"/>
              <a:gd name="connsiteY74" fmla="*/ 13132844 h 13463835"/>
              <a:gd name="connsiteX75" fmla="*/ 8625068 w 10042514"/>
              <a:gd name="connsiteY75" fmla="*/ 13128676 h 13463835"/>
              <a:gd name="connsiteX76" fmla="*/ 8614558 w 10042514"/>
              <a:gd name="connsiteY76" fmla="*/ 13092008 h 13463835"/>
              <a:gd name="connsiteX77" fmla="*/ 8462714 w 10042514"/>
              <a:gd name="connsiteY77" fmla="*/ 12907846 h 13463835"/>
              <a:gd name="connsiteX78" fmla="*/ 8293436 w 10042514"/>
              <a:gd name="connsiteY78" fmla="*/ 12693898 h 13463835"/>
              <a:gd name="connsiteX79" fmla="*/ 7883598 w 10042514"/>
              <a:gd name="connsiteY79" fmla="*/ 12310925 h 13463835"/>
              <a:gd name="connsiteX80" fmla="*/ 7466480 w 10042514"/>
              <a:gd name="connsiteY80" fmla="*/ 11875364 h 13463835"/>
              <a:gd name="connsiteX81" fmla="*/ 6684984 w 10042514"/>
              <a:gd name="connsiteY81" fmla="*/ 11125460 h 13463835"/>
              <a:gd name="connsiteX82" fmla="*/ 6632486 w 10042514"/>
              <a:gd name="connsiteY82" fmla="*/ 11088619 h 13463835"/>
              <a:gd name="connsiteX83" fmla="*/ 5783596 w 10042514"/>
              <a:gd name="connsiteY83" fmla="*/ 11054314 h 13463835"/>
              <a:gd name="connsiteX84" fmla="*/ 5783596 w 10042514"/>
              <a:gd name="connsiteY84" fmla="*/ 11054314 h 13463835"/>
              <a:gd name="connsiteX85" fmla="*/ 5738090 w 10042514"/>
              <a:gd name="connsiteY85" fmla="*/ 11001216 h 13463835"/>
              <a:gd name="connsiteX86" fmla="*/ 5760276 w 10042514"/>
              <a:gd name="connsiteY86" fmla="*/ 11039910 h 13463835"/>
              <a:gd name="connsiteX87" fmla="*/ 5731670 w 10042514"/>
              <a:gd name="connsiteY87" fmla="*/ 11017525 h 13463835"/>
              <a:gd name="connsiteX88" fmla="*/ 5738090 w 10042514"/>
              <a:gd name="connsiteY88" fmla="*/ 11001216 h 13463835"/>
              <a:gd name="connsiteX89" fmla="*/ 6065604 w 10042514"/>
              <a:gd name="connsiteY89" fmla="*/ 10970164 h 13463835"/>
              <a:gd name="connsiteX90" fmla="*/ 6125140 w 10042514"/>
              <a:gd name="connsiteY90" fmla="*/ 11011779 h 13463835"/>
              <a:gd name="connsiteX91" fmla="*/ 6096534 w 10042514"/>
              <a:gd name="connsiteY91" fmla="*/ 10989394 h 13463835"/>
              <a:gd name="connsiteX92" fmla="*/ 6065604 w 10042514"/>
              <a:gd name="connsiteY92" fmla="*/ 10970164 h 13463835"/>
              <a:gd name="connsiteX93" fmla="*/ 5448796 w 10042514"/>
              <a:gd name="connsiteY93" fmla="*/ 10957962 h 13463835"/>
              <a:gd name="connsiteX94" fmla="*/ 5453990 w 10042514"/>
              <a:gd name="connsiteY94" fmla="*/ 10965802 h 13463835"/>
              <a:gd name="connsiteX95" fmla="*/ 5455228 w 10042514"/>
              <a:gd name="connsiteY95" fmla="*/ 10967672 h 13463835"/>
              <a:gd name="connsiteX96" fmla="*/ 5444078 w 10042514"/>
              <a:gd name="connsiteY96" fmla="*/ 10950839 h 13463835"/>
              <a:gd name="connsiteX97" fmla="*/ 5448796 w 10042514"/>
              <a:gd name="connsiteY97" fmla="*/ 10957962 h 13463835"/>
              <a:gd name="connsiteX98" fmla="*/ 5447794 w 10042514"/>
              <a:gd name="connsiteY98" fmla="*/ 10956450 h 13463835"/>
              <a:gd name="connsiteX99" fmla="*/ 5444078 w 10042514"/>
              <a:gd name="connsiteY99" fmla="*/ 10950839 h 13463835"/>
              <a:gd name="connsiteX100" fmla="*/ 5667636 w 10042514"/>
              <a:gd name="connsiteY100" fmla="*/ 10945124 h 13463835"/>
              <a:gd name="connsiteX101" fmla="*/ 5667636 w 10042514"/>
              <a:gd name="connsiteY101" fmla="*/ 10945124 h 13463835"/>
              <a:gd name="connsiteX102" fmla="*/ 5570250 w 10042514"/>
              <a:gd name="connsiteY102" fmla="*/ 10839706 h 13463835"/>
              <a:gd name="connsiteX103" fmla="*/ 5667636 w 10042514"/>
              <a:gd name="connsiteY103" fmla="*/ 10945124 h 13463835"/>
              <a:gd name="connsiteX104" fmla="*/ 5570250 w 10042514"/>
              <a:gd name="connsiteY104" fmla="*/ 10839706 h 13463835"/>
              <a:gd name="connsiteX105" fmla="*/ 5966152 w 10042514"/>
              <a:gd name="connsiteY105" fmla="*/ 10825389 h 13463835"/>
              <a:gd name="connsiteX106" fmla="*/ 5979060 w 10042514"/>
              <a:gd name="connsiteY106" fmla="*/ 10853651 h 13463835"/>
              <a:gd name="connsiteX107" fmla="*/ 5966152 w 10042514"/>
              <a:gd name="connsiteY107" fmla="*/ 10825389 h 13463835"/>
              <a:gd name="connsiteX108" fmla="*/ 5300736 w 10042514"/>
              <a:gd name="connsiteY108" fmla="*/ 10801739 h 13463835"/>
              <a:gd name="connsiteX109" fmla="*/ 5332948 w 10042514"/>
              <a:gd name="connsiteY109" fmla="*/ 10824672 h 13463835"/>
              <a:gd name="connsiteX110" fmla="*/ 5408072 w 10042514"/>
              <a:gd name="connsiteY110" fmla="*/ 10917282 h 13463835"/>
              <a:gd name="connsiteX111" fmla="*/ 5300736 w 10042514"/>
              <a:gd name="connsiteY111" fmla="*/ 10801739 h 13463835"/>
              <a:gd name="connsiteX112" fmla="*/ 5520498 w 10042514"/>
              <a:gd name="connsiteY112" fmla="*/ 10785401 h 13463835"/>
              <a:gd name="connsiteX113" fmla="*/ 5570250 w 10042514"/>
              <a:gd name="connsiteY113" fmla="*/ 10839706 h 13463835"/>
              <a:gd name="connsiteX114" fmla="*/ 5520498 w 10042514"/>
              <a:gd name="connsiteY114" fmla="*/ 10785401 h 13463835"/>
              <a:gd name="connsiteX115" fmla="*/ 5499676 w 10042514"/>
              <a:gd name="connsiteY115" fmla="*/ 10781756 h 13463835"/>
              <a:gd name="connsiteX116" fmla="*/ 5520498 w 10042514"/>
              <a:gd name="connsiteY116" fmla="*/ 10785401 h 13463835"/>
              <a:gd name="connsiteX117" fmla="*/ 5499676 w 10042514"/>
              <a:gd name="connsiteY117" fmla="*/ 10781756 h 13463835"/>
              <a:gd name="connsiteX118" fmla="*/ 5457528 w 10042514"/>
              <a:gd name="connsiteY118" fmla="*/ 10704366 h 13463835"/>
              <a:gd name="connsiteX119" fmla="*/ 5470210 w 10042514"/>
              <a:gd name="connsiteY119" fmla="*/ 10733748 h 13463835"/>
              <a:gd name="connsiteX120" fmla="*/ 5463866 w 10042514"/>
              <a:gd name="connsiteY120" fmla="*/ 10724172 h 13463835"/>
              <a:gd name="connsiteX121" fmla="*/ 5457528 w 10042514"/>
              <a:gd name="connsiteY121" fmla="*/ 10704366 h 13463835"/>
              <a:gd name="connsiteX122" fmla="*/ 5070186 w 10042514"/>
              <a:gd name="connsiteY122" fmla="*/ 10660485 h 13463835"/>
              <a:gd name="connsiteX123" fmla="*/ 5096552 w 10042514"/>
              <a:gd name="connsiteY123" fmla="*/ 10682739 h 13463835"/>
              <a:gd name="connsiteX124" fmla="*/ 5074290 w 10042514"/>
              <a:gd name="connsiteY124" fmla="*/ 10669930 h 13463835"/>
              <a:gd name="connsiteX125" fmla="*/ 5070186 w 10042514"/>
              <a:gd name="connsiteY125" fmla="*/ 10660485 h 13463835"/>
              <a:gd name="connsiteX126" fmla="*/ 5405386 w 10042514"/>
              <a:gd name="connsiteY126" fmla="*/ 10647914 h 13463835"/>
              <a:gd name="connsiteX127" fmla="*/ 5415172 w 10042514"/>
              <a:gd name="connsiteY127" fmla="*/ 10671463 h 13463835"/>
              <a:gd name="connsiteX128" fmla="*/ 5405386 w 10042514"/>
              <a:gd name="connsiteY128" fmla="*/ 10647914 h 13463835"/>
              <a:gd name="connsiteX129" fmla="*/ 5008808 w 10042514"/>
              <a:gd name="connsiteY129" fmla="*/ 10593609 h 13463835"/>
              <a:gd name="connsiteX130" fmla="*/ 5054202 w 10042514"/>
              <a:gd name="connsiteY130" fmla="*/ 10639605 h 13463835"/>
              <a:gd name="connsiteX131" fmla="*/ 5007024 w 10042514"/>
              <a:gd name="connsiteY131" fmla="*/ 10613449 h 13463835"/>
              <a:gd name="connsiteX132" fmla="*/ 5008808 w 10042514"/>
              <a:gd name="connsiteY132" fmla="*/ 10593609 h 13463835"/>
              <a:gd name="connsiteX133" fmla="*/ 3912020 w 10042514"/>
              <a:gd name="connsiteY133" fmla="*/ 9047052 h 13463835"/>
              <a:gd name="connsiteX134" fmla="*/ 4258180 w 10042514"/>
              <a:gd name="connsiteY134" fmla="*/ 9417094 h 13463835"/>
              <a:gd name="connsiteX135" fmla="*/ 4089360 w 10042514"/>
              <a:gd name="connsiteY135" fmla="*/ 9228103 h 13463835"/>
              <a:gd name="connsiteX136" fmla="*/ 3912020 w 10042514"/>
              <a:gd name="connsiteY136" fmla="*/ 9047052 h 13463835"/>
              <a:gd name="connsiteX137" fmla="*/ 3387182 w 10042514"/>
              <a:gd name="connsiteY137" fmla="*/ 8767811 h 13463835"/>
              <a:gd name="connsiteX138" fmla="*/ 3459195 w 10042514"/>
              <a:gd name="connsiteY138" fmla="*/ 8834925 h 13463835"/>
              <a:gd name="connsiteX139" fmla="*/ 3387182 w 10042514"/>
              <a:gd name="connsiteY139" fmla="*/ 8767811 h 13463835"/>
              <a:gd name="connsiteX140" fmla="*/ 3531721 w 10042514"/>
              <a:gd name="connsiteY140" fmla="*/ 8729475 h 13463835"/>
              <a:gd name="connsiteX141" fmla="*/ 3627594 w 10042514"/>
              <a:gd name="connsiteY141" fmla="*/ 8808340 h 13463835"/>
              <a:gd name="connsiteX142" fmla="*/ 3531721 w 10042514"/>
              <a:gd name="connsiteY142" fmla="*/ 8729475 h 13463835"/>
              <a:gd name="connsiteX143" fmla="*/ 4803696 w 10042514"/>
              <a:gd name="connsiteY143" fmla="*/ 8589264 h 13463835"/>
              <a:gd name="connsiteX144" fmla="*/ 4829208 w 10042514"/>
              <a:gd name="connsiteY144" fmla="*/ 8625503 h 13463835"/>
              <a:gd name="connsiteX145" fmla="*/ 5091248 w 10042514"/>
              <a:gd name="connsiteY145" fmla="*/ 8892821 h 13463835"/>
              <a:gd name="connsiteX146" fmla="*/ 4881134 w 10042514"/>
              <a:gd name="connsiteY146" fmla="*/ 8662292 h 13463835"/>
              <a:gd name="connsiteX147" fmla="*/ 4803696 w 10042514"/>
              <a:gd name="connsiteY147" fmla="*/ 8589264 h 13463835"/>
              <a:gd name="connsiteX148" fmla="*/ 3802284 w 10042514"/>
              <a:gd name="connsiteY148" fmla="*/ 8451511 h 13463835"/>
              <a:gd name="connsiteX149" fmla="*/ 4062024 w 10042514"/>
              <a:gd name="connsiteY149" fmla="*/ 8777760 h 13463835"/>
              <a:gd name="connsiteX150" fmla="*/ 5669842 w 10042514"/>
              <a:gd name="connsiteY150" fmla="*/ 10560177 h 13463835"/>
              <a:gd name="connsiteX151" fmla="*/ 5941458 w 10042514"/>
              <a:gd name="connsiteY151" fmla="*/ 10821151 h 13463835"/>
              <a:gd name="connsiteX152" fmla="*/ 5810240 w 10042514"/>
              <a:gd name="connsiteY152" fmla="*/ 10664660 h 13463835"/>
              <a:gd name="connsiteX153" fmla="*/ 5675250 w 10042514"/>
              <a:gd name="connsiteY153" fmla="*/ 10526742 h 13463835"/>
              <a:gd name="connsiteX154" fmla="*/ 3934040 w 10042514"/>
              <a:gd name="connsiteY154" fmla="*/ 8605349 h 13463835"/>
              <a:gd name="connsiteX155" fmla="*/ 3802284 w 10042514"/>
              <a:gd name="connsiteY155" fmla="*/ 8451511 h 13463835"/>
              <a:gd name="connsiteX156" fmla="*/ 3074882 w 10042514"/>
              <a:gd name="connsiteY156" fmla="*/ 8388543 h 13463835"/>
              <a:gd name="connsiteX157" fmla="*/ 3069171 w 10042514"/>
              <a:gd name="connsiteY157" fmla="*/ 8395196 h 13463835"/>
              <a:gd name="connsiteX158" fmla="*/ 3108411 w 10042514"/>
              <a:gd name="connsiteY158" fmla="*/ 8412834 h 13463835"/>
              <a:gd name="connsiteX159" fmla="*/ 3074882 w 10042514"/>
              <a:gd name="connsiteY159" fmla="*/ 8388543 h 13463835"/>
              <a:gd name="connsiteX160" fmla="*/ 2464450 w 10042514"/>
              <a:gd name="connsiteY160" fmla="*/ 7932635 h 13463835"/>
              <a:gd name="connsiteX161" fmla="*/ 2491717 w 10042514"/>
              <a:gd name="connsiteY161" fmla="*/ 7953324 h 13463835"/>
              <a:gd name="connsiteX162" fmla="*/ 2466801 w 10042514"/>
              <a:gd name="connsiteY162" fmla="*/ 7939976 h 13463835"/>
              <a:gd name="connsiteX163" fmla="*/ 2464450 w 10042514"/>
              <a:gd name="connsiteY163" fmla="*/ 7932635 h 13463835"/>
              <a:gd name="connsiteX164" fmla="*/ 7286980 w 10042514"/>
              <a:gd name="connsiteY164" fmla="*/ 7816959 h 13463835"/>
              <a:gd name="connsiteX165" fmla="*/ 7303810 w 10042514"/>
              <a:gd name="connsiteY165" fmla="*/ 7826765 h 13463835"/>
              <a:gd name="connsiteX166" fmla="*/ 7261336 w 10042514"/>
              <a:gd name="connsiteY166" fmla="*/ 7825047 h 13463835"/>
              <a:gd name="connsiteX167" fmla="*/ 7286980 w 10042514"/>
              <a:gd name="connsiteY167" fmla="*/ 7816959 h 13463835"/>
              <a:gd name="connsiteX168" fmla="*/ 7321560 w 10042514"/>
              <a:gd name="connsiteY168" fmla="*/ 7808225 h 13463835"/>
              <a:gd name="connsiteX169" fmla="*/ 7303810 w 10042514"/>
              <a:gd name="connsiteY169" fmla="*/ 7826765 h 13463835"/>
              <a:gd name="connsiteX170" fmla="*/ 7321560 w 10042514"/>
              <a:gd name="connsiteY170" fmla="*/ 7808225 h 13463835"/>
              <a:gd name="connsiteX171" fmla="*/ 7630580 w 10042514"/>
              <a:gd name="connsiteY171" fmla="*/ 7752394 h 13463835"/>
              <a:gd name="connsiteX172" fmla="*/ 7643840 w 10042514"/>
              <a:gd name="connsiteY172" fmla="*/ 7757677 h 13463835"/>
              <a:gd name="connsiteX173" fmla="*/ 7615690 w 10042514"/>
              <a:gd name="connsiteY173" fmla="*/ 7760249 h 13463835"/>
              <a:gd name="connsiteX174" fmla="*/ 7630580 w 10042514"/>
              <a:gd name="connsiteY174" fmla="*/ 7752394 h 13463835"/>
              <a:gd name="connsiteX175" fmla="*/ 7657800 w 10042514"/>
              <a:gd name="connsiteY175" fmla="*/ 7750151 h 13463835"/>
              <a:gd name="connsiteX176" fmla="*/ 7669336 w 10042514"/>
              <a:gd name="connsiteY176" fmla="*/ 7754566 h 13463835"/>
              <a:gd name="connsiteX177" fmla="*/ 7643840 w 10042514"/>
              <a:gd name="connsiteY177" fmla="*/ 7757677 h 13463835"/>
              <a:gd name="connsiteX178" fmla="*/ 7657800 w 10042514"/>
              <a:gd name="connsiteY178" fmla="*/ 7750151 h 13463835"/>
              <a:gd name="connsiteX179" fmla="*/ 7683296 w 10042514"/>
              <a:gd name="connsiteY179" fmla="*/ 7747040 h 13463835"/>
              <a:gd name="connsiteX180" fmla="*/ 7694832 w 10042514"/>
              <a:gd name="connsiteY180" fmla="*/ 7751455 h 13463835"/>
              <a:gd name="connsiteX181" fmla="*/ 7669336 w 10042514"/>
              <a:gd name="connsiteY181" fmla="*/ 7754566 h 13463835"/>
              <a:gd name="connsiteX182" fmla="*/ 7683296 w 10042514"/>
              <a:gd name="connsiteY182" fmla="*/ 7747040 h 13463835"/>
              <a:gd name="connsiteX183" fmla="*/ 7709590 w 10042514"/>
              <a:gd name="connsiteY183" fmla="*/ 7743401 h 13463835"/>
              <a:gd name="connsiteX184" fmla="*/ 7721924 w 10042514"/>
              <a:gd name="connsiteY184" fmla="*/ 7747287 h 13463835"/>
              <a:gd name="connsiteX185" fmla="*/ 7694832 w 10042514"/>
              <a:gd name="connsiteY185" fmla="*/ 7751455 h 13463835"/>
              <a:gd name="connsiteX186" fmla="*/ 7709590 w 10042514"/>
              <a:gd name="connsiteY186" fmla="*/ 7743401 h 13463835"/>
              <a:gd name="connsiteX187" fmla="*/ 7749360 w 10042514"/>
              <a:gd name="connsiteY187" fmla="*/ 7738872 h 13463835"/>
              <a:gd name="connsiteX188" fmla="*/ 7775570 w 10042514"/>
              <a:gd name="connsiteY188" fmla="*/ 7741604 h 13463835"/>
              <a:gd name="connsiteX189" fmla="*/ 7721924 w 10042514"/>
              <a:gd name="connsiteY189" fmla="*/ 7747287 h 13463835"/>
              <a:gd name="connsiteX190" fmla="*/ 7749360 w 10042514"/>
              <a:gd name="connsiteY190" fmla="*/ 7738872 h 13463835"/>
              <a:gd name="connsiteX191" fmla="*/ 7789530 w 10042514"/>
              <a:gd name="connsiteY191" fmla="*/ 7734078 h 13463835"/>
              <a:gd name="connsiteX192" fmla="*/ 7801066 w 10042514"/>
              <a:gd name="connsiteY192" fmla="*/ 7738493 h 13463835"/>
              <a:gd name="connsiteX193" fmla="*/ 7775570 w 10042514"/>
              <a:gd name="connsiteY193" fmla="*/ 7741604 h 13463835"/>
              <a:gd name="connsiteX194" fmla="*/ 7789530 w 10042514"/>
              <a:gd name="connsiteY194" fmla="*/ 7734078 h 13463835"/>
              <a:gd name="connsiteX195" fmla="*/ 7815026 w 10042514"/>
              <a:gd name="connsiteY195" fmla="*/ 7730968 h 13463835"/>
              <a:gd name="connsiteX196" fmla="*/ 7826562 w 10042514"/>
              <a:gd name="connsiteY196" fmla="*/ 7735382 h 13463835"/>
              <a:gd name="connsiteX197" fmla="*/ 7801066 w 10042514"/>
              <a:gd name="connsiteY197" fmla="*/ 7738493 h 13463835"/>
              <a:gd name="connsiteX198" fmla="*/ 7815026 w 10042514"/>
              <a:gd name="connsiteY198" fmla="*/ 7730968 h 13463835"/>
              <a:gd name="connsiteX199" fmla="*/ 7841920 w 10042514"/>
              <a:gd name="connsiteY199" fmla="*/ 7726932 h 13463835"/>
              <a:gd name="connsiteX200" fmla="*/ 7853654 w 10042514"/>
              <a:gd name="connsiteY200" fmla="*/ 7731214 h 13463835"/>
              <a:gd name="connsiteX201" fmla="*/ 7826562 w 10042514"/>
              <a:gd name="connsiteY201" fmla="*/ 7735382 h 13463835"/>
              <a:gd name="connsiteX202" fmla="*/ 7841920 w 10042514"/>
              <a:gd name="connsiteY202" fmla="*/ 7726932 h 13463835"/>
              <a:gd name="connsiteX203" fmla="*/ 7867812 w 10042514"/>
              <a:gd name="connsiteY203" fmla="*/ 7716023 h 13463835"/>
              <a:gd name="connsiteX204" fmla="*/ 7853654 w 10042514"/>
              <a:gd name="connsiteY204" fmla="*/ 7731214 h 13463835"/>
              <a:gd name="connsiteX205" fmla="*/ 7867812 w 10042514"/>
              <a:gd name="connsiteY205" fmla="*/ 7716023 h 13463835"/>
              <a:gd name="connsiteX206" fmla="*/ 7936030 w 10042514"/>
              <a:gd name="connsiteY206" fmla="*/ 7706501 h 13463835"/>
              <a:gd name="connsiteX207" fmla="*/ 7923220 w 10042514"/>
              <a:gd name="connsiteY207" fmla="*/ 7728763 h 13463835"/>
              <a:gd name="connsiteX208" fmla="*/ 7972698 w 10042514"/>
              <a:gd name="connsiteY208" fmla="*/ 7695989 h 13463835"/>
              <a:gd name="connsiteX209" fmla="*/ 7958292 w 10042514"/>
              <a:gd name="connsiteY209" fmla="*/ 7719309 h 13463835"/>
              <a:gd name="connsiteX210" fmla="*/ 1508787 w 10042514"/>
              <a:gd name="connsiteY210" fmla="*/ 6642785 h 13463835"/>
              <a:gd name="connsiteX211" fmla="*/ 1504761 w 10042514"/>
              <a:gd name="connsiteY211" fmla="*/ 6657508 h 13463835"/>
              <a:gd name="connsiteX212" fmla="*/ 1523914 w 10042514"/>
              <a:gd name="connsiteY212" fmla="*/ 6644821 h 13463835"/>
              <a:gd name="connsiteX213" fmla="*/ 1508787 w 10042514"/>
              <a:gd name="connsiteY213" fmla="*/ 6642785 h 13463835"/>
              <a:gd name="connsiteX214" fmla="*/ 8597072 w 10042514"/>
              <a:gd name="connsiteY214" fmla="*/ 6641723 h 13463835"/>
              <a:gd name="connsiteX215" fmla="*/ 8591218 w 10042514"/>
              <a:gd name="connsiteY215" fmla="*/ 6651413 h 13463835"/>
              <a:gd name="connsiteX216" fmla="*/ 8587894 w 10042514"/>
              <a:gd name="connsiteY216" fmla="*/ 6653395 h 13463835"/>
              <a:gd name="connsiteX217" fmla="*/ 1390072 w 10042514"/>
              <a:gd name="connsiteY217" fmla="*/ 6120360 h 13463835"/>
              <a:gd name="connsiteX218" fmla="*/ 1377262 w 10042514"/>
              <a:gd name="connsiteY218" fmla="*/ 6142623 h 13463835"/>
              <a:gd name="connsiteX219" fmla="*/ 1390072 w 10042514"/>
              <a:gd name="connsiteY219" fmla="*/ 6120360 h 13463835"/>
              <a:gd name="connsiteX220" fmla="*/ 1487123 w 10042514"/>
              <a:gd name="connsiteY220" fmla="*/ 5947390 h 13463835"/>
              <a:gd name="connsiteX221" fmla="*/ 1490080 w 10042514"/>
              <a:gd name="connsiteY221" fmla="*/ 5957703 h 13463835"/>
              <a:gd name="connsiteX222" fmla="*/ 1481657 w 10042514"/>
              <a:gd name="connsiteY222" fmla="*/ 5927438 h 13463835"/>
              <a:gd name="connsiteX223" fmla="*/ 1485645 w 10042514"/>
              <a:gd name="connsiteY223" fmla="*/ 5942234 h 13463835"/>
              <a:gd name="connsiteX224" fmla="*/ 1481657 w 10042514"/>
              <a:gd name="connsiteY224" fmla="*/ 5927438 h 13463835"/>
              <a:gd name="connsiteX225" fmla="*/ 2198728 w 10042514"/>
              <a:gd name="connsiteY225" fmla="*/ 5189158 h 13463835"/>
              <a:gd name="connsiteX226" fmla="*/ 2212657 w 10042514"/>
              <a:gd name="connsiteY226" fmla="*/ 5191987 h 13463835"/>
              <a:gd name="connsiteX227" fmla="*/ 2174351 w 10042514"/>
              <a:gd name="connsiteY227" fmla="*/ 5217360 h 13463835"/>
              <a:gd name="connsiteX228" fmla="*/ 2198728 w 10042514"/>
              <a:gd name="connsiteY228" fmla="*/ 5189158 h 13463835"/>
              <a:gd name="connsiteX229" fmla="*/ 2252801 w 10042514"/>
              <a:gd name="connsiteY229" fmla="*/ 4368568 h 13463835"/>
              <a:gd name="connsiteX230" fmla="*/ 2252801 w 10042514"/>
              <a:gd name="connsiteY230" fmla="*/ 4368568 h 13463835"/>
              <a:gd name="connsiteX231" fmla="*/ 9613442 w 10042514"/>
              <a:gd name="connsiteY231" fmla="*/ 4289856 h 13463835"/>
              <a:gd name="connsiteX232" fmla="*/ 9613442 w 10042514"/>
              <a:gd name="connsiteY232" fmla="*/ 4289856 h 13463835"/>
              <a:gd name="connsiteX233" fmla="*/ 1122038 w 10042514"/>
              <a:gd name="connsiteY233" fmla="*/ 3490071 h 13463835"/>
              <a:gd name="connsiteX234" fmla="*/ 1109524 w 10042514"/>
              <a:gd name="connsiteY234" fmla="*/ 3502379 h 13463835"/>
              <a:gd name="connsiteX235" fmla="*/ 1164684 w 10042514"/>
              <a:gd name="connsiteY235" fmla="*/ 3523250 h 13463835"/>
              <a:gd name="connsiteX236" fmla="*/ 1122038 w 10042514"/>
              <a:gd name="connsiteY236" fmla="*/ 3490071 h 13463835"/>
              <a:gd name="connsiteX237" fmla="*/ 8161906 w 10042514"/>
              <a:gd name="connsiteY237" fmla="*/ 3343116 h 13463835"/>
              <a:gd name="connsiteX238" fmla="*/ 8167426 w 10042514"/>
              <a:gd name="connsiteY238" fmla="*/ 3346291 h 13463835"/>
              <a:gd name="connsiteX239" fmla="*/ 8170254 w 10042514"/>
              <a:gd name="connsiteY239" fmla="*/ 3347919 h 13463835"/>
              <a:gd name="connsiteX240" fmla="*/ 8171298 w 10042514"/>
              <a:gd name="connsiteY240" fmla="*/ 3348519 h 13463835"/>
              <a:gd name="connsiteX241" fmla="*/ 8167426 w 10042514"/>
              <a:gd name="connsiteY241" fmla="*/ 3346291 h 13463835"/>
              <a:gd name="connsiteX242" fmla="*/ 8165036 w 10042514"/>
              <a:gd name="connsiteY242" fmla="*/ 3344917 h 13463835"/>
              <a:gd name="connsiteX243" fmla="*/ 8161906 w 10042514"/>
              <a:gd name="connsiteY243" fmla="*/ 3343116 h 13463835"/>
              <a:gd name="connsiteX244" fmla="*/ 1197820 w 10042514"/>
              <a:gd name="connsiteY244" fmla="*/ 3271666 h 13463835"/>
              <a:gd name="connsiteX245" fmla="*/ 1249747 w 10042514"/>
              <a:gd name="connsiteY245" fmla="*/ 3308456 h 13463835"/>
              <a:gd name="connsiteX246" fmla="*/ 1197820 w 10042514"/>
              <a:gd name="connsiteY246" fmla="*/ 3271666 h 13463835"/>
              <a:gd name="connsiteX247" fmla="*/ 7941308 w 10042514"/>
              <a:gd name="connsiteY247" fmla="*/ 3245830 h 13463835"/>
              <a:gd name="connsiteX248" fmla="*/ 7941308 w 10042514"/>
              <a:gd name="connsiteY248" fmla="*/ 3245830 h 13463835"/>
              <a:gd name="connsiteX249" fmla="*/ 1115692 w 10042514"/>
              <a:gd name="connsiteY249" fmla="*/ 3213549 h 13463835"/>
              <a:gd name="connsiteX250" fmla="*/ 1197820 w 10042514"/>
              <a:gd name="connsiteY250" fmla="*/ 3271666 h 13463835"/>
              <a:gd name="connsiteX251" fmla="*/ 1115692 w 10042514"/>
              <a:gd name="connsiteY251" fmla="*/ 3213549 h 13463835"/>
              <a:gd name="connsiteX252" fmla="*/ 1247372 w 10042514"/>
              <a:gd name="connsiteY252" fmla="*/ 3211287 h 13463835"/>
              <a:gd name="connsiteX253" fmla="*/ 1241644 w 10042514"/>
              <a:gd name="connsiteY253" fmla="*/ 3215081 h 13463835"/>
              <a:gd name="connsiteX254" fmla="*/ 1242991 w 10042514"/>
              <a:gd name="connsiteY254" fmla="*/ 3214189 h 13463835"/>
              <a:gd name="connsiteX255" fmla="*/ 1253764 w 10042514"/>
              <a:gd name="connsiteY255" fmla="*/ 3207053 h 13463835"/>
              <a:gd name="connsiteX256" fmla="*/ 1249724 w 10042514"/>
              <a:gd name="connsiteY256" fmla="*/ 3209729 h 13463835"/>
              <a:gd name="connsiteX257" fmla="*/ 1247372 w 10042514"/>
              <a:gd name="connsiteY257" fmla="*/ 3211287 h 13463835"/>
              <a:gd name="connsiteX258" fmla="*/ 1086028 w 10042514"/>
              <a:gd name="connsiteY258" fmla="*/ 3189568 h 13463835"/>
              <a:gd name="connsiteX259" fmla="*/ 1086028 w 10042514"/>
              <a:gd name="connsiteY259" fmla="*/ 3189568 h 13463835"/>
              <a:gd name="connsiteX260" fmla="*/ 1093811 w 10042514"/>
              <a:gd name="connsiteY260" fmla="*/ 3189292 h 13463835"/>
              <a:gd name="connsiteX261" fmla="*/ 1115692 w 10042514"/>
              <a:gd name="connsiteY261" fmla="*/ 3213549 h 13463835"/>
              <a:gd name="connsiteX262" fmla="*/ 1086028 w 10042514"/>
              <a:gd name="connsiteY262" fmla="*/ 3189568 h 13463835"/>
              <a:gd name="connsiteX263" fmla="*/ 1093811 w 10042514"/>
              <a:gd name="connsiteY263" fmla="*/ 3189292 h 13463835"/>
              <a:gd name="connsiteX264" fmla="*/ 7828220 w 10042514"/>
              <a:gd name="connsiteY264" fmla="*/ 3175210 h 13463835"/>
              <a:gd name="connsiteX265" fmla="*/ 7808766 w 10042514"/>
              <a:gd name="connsiteY265" fmla="*/ 3177476 h 13463835"/>
              <a:gd name="connsiteX266" fmla="*/ 7849602 w 10042514"/>
              <a:gd name="connsiteY266" fmla="*/ 3194056 h 13463835"/>
              <a:gd name="connsiteX267" fmla="*/ 7849602 w 10042514"/>
              <a:gd name="connsiteY267" fmla="*/ 3194056 h 13463835"/>
              <a:gd name="connsiteX268" fmla="*/ 7828220 w 10042514"/>
              <a:gd name="connsiteY268" fmla="*/ 3175210 h 13463835"/>
              <a:gd name="connsiteX269" fmla="*/ 1167911 w 10042514"/>
              <a:gd name="connsiteY269" fmla="*/ 3149108 h 13463835"/>
              <a:gd name="connsiteX270" fmla="*/ 1159381 w 10042514"/>
              <a:gd name="connsiteY270" fmla="*/ 3154757 h 13463835"/>
              <a:gd name="connsiteX271" fmla="*/ 1167911 w 10042514"/>
              <a:gd name="connsiteY271" fmla="*/ 3149108 h 13463835"/>
              <a:gd name="connsiteX272" fmla="*/ 1172175 w 10042514"/>
              <a:gd name="connsiteY272" fmla="*/ 3146283 h 13463835"/>
              <a:gd name="connsiteX273" fmla="*/ 1172175 w 10042514"/>
              <a:gd name="connsiteY273" fmla="*/ 3146283 h 13463835"/>
              <a:gd name="connsiteX274" fmla="*/ 1046222 w 10042514"/>
              <a:gd name="connsiteY274" fmla="*/ 3144750 h 13463835"/>
              <a:gd name="connsiteX275" fmla="*/ 1034101 w 10042514"/>
              <a:gd name="connsiteY275" fmla="*/ 3152779 h 13463835"/>
              <a:gd name="connsiteX276" fmla="*/ 1046222 w 10042514"/>
              <a:gd name="connsiteY276" fmla="*/ 3144750 h 13463835"/>
              <a:gd name="connsiteX277" fmla="*/ 951972 w 10042514"/>
              <a:gd name="connsiteY277" fmla="*/ 3094662 h 13463835"/>
              <a:gd name="connsiteX278" fmla="*/ 1034101 w 10042514"/>
              <a:gd name="connsiteY278" fmla="*/ 3152779 h 13463835"/>
              <a:gd name="connsiteX279" fmla="*/ 951972 w 10042514"/>
              <a:gd name="connsiteY279" fmla="*/ 3094662 h 13463835"/>
              <a:gd name="connsiteX280" fmla="*/ 916317 w 10042514"/>
              <a:gd name="connsiteY280" fmla="*/ 3074650 h 13463835"/>
              <a:gd name="connsiteX281" fmla="*/ 909516 w 10042514"/>
              <a:gd name="connsiteY281" fmla="*/ 3079155 h 13463835"/>
              <a:gd name="connsiteX282" fmla="*/ 910937 w 10042514"/>
              <a:gd name="connsiteY282" fmla="*/ 3078214 h 13463835"/>
              <a:gd name="connsiteX283" fmla="*/ 922309 w 10042514"/>
              <a:gd name="connsiteY283" fmla="*/ 3070681 h 13463835"/>
              <a:gd name="connsiteX284" fmla="*/ 918045 w 10042514"/>
              <a:gd name="connsiteY284" fmla="*/ 3073506 h 13463835"/>
              <a:gd name="connsiteX285" fmla="*/ 916317 w 10042514"/>
              <a:gd name="connsiteY285" fmla="*/ 3074650 h 13463835"/>
              <a:gd name="connsiteX286" fmla="*/ 929943 w 10042514"/>
              <a:gd name="connsiteY286" fmla="*/ 3070180 h 13463835"/>
              <a:gd name="connsiteX287" fmla="*/ 951972 w 10042514"/>
              <a:gd name="connsiteY287" fmla="*/ 3094662 h 13463835"/>
              <a:gd name="connsiteX288" fmla="*/ 922309 w 10042514"/>
              <a:gd name="connsiteY288" fmla="*/ 3070681 h 13463835"/>
              <a:gd name="connsiteX289" fmla="*/ 929943 w 10042514"/>
              <a:gd name="connsiteY289" fmla="*/ 3070180 h 13463835"/>
              <a:gd name="connsiteX290" fmla="*/ 488002 w 10042514"/>
              <a:gd name="connsiteY290" fmla="*/ 3059846 h 13463835"/>
              <a:gd name="connsiteX291" fmla="*/ 570131 w 10042514"/>
              <a:gd name="connsiteY291" fmla="*/ 3117963 h 13463835"/>
              <a:gd name="connsiteX292" fmla="*/ 488002 w 10042514"/>
              <a:gd name="connsiteY292" fmla="*/ 3059846 h 13463835"/>
              <a:gd name="connsiteX293" fmla="*/ 470161 w 10042514"/>
              <a:gd name="connsiteY293" fmla="*/ 3032913 h 13463835"/>
              <a:gd name="connsiteX294" fmla="*/ 488002 w 10042514"/>
              <a:gd name="connsiteY294" fmla="*/ 3059846 h 13463835"/>
              <a:gd name="connsiteX295" fmla="*/ 458338 w 10042514"/>
              <a:gd name="connsiteY295" fmla="*/ 3035865 h 13463835"/>
              <a:gd name="connsiteX296" fmla="*/ 470161 w 10042514"/>
              <a:gd name="connsiteY296" fmla="*/ 3032913 h 13463835"/>
              <a:gd name="connsiteX297" fmla="*/ 1017659 w 10042514"/>
              <a:gd name="connsiteY297" fmla="*/ 3029263 h 13463835"/>
              <a:gd name="connsiteX298" fmla="*/ 1024375 w 10042514"/>
              <a:gd name="connsiteY298" fmla="*/ 3030627 h 13463835"/>
              <a:gd name="connsiteX299" fmla="*/ 1017659 w 10042514"/>
              <a:gd name="connsiteY299" fmla="*/ 3029263 h 13463835"/>
              <a:gd name="connsiteX300" fmla="*/ 428674 w 10042514"/>
              <a:gd name="connsiteY300" fmla="*/ 3011885 h 13463835"/>
              <a:gd name="connsiteX301" fmla="*/ 428674 w 10042514"/>
              <a:gd name="connsiteY301" fmla="*/ 3011885 h 13463835"/>
              <a:gd name="connsiteX302" fmla="*/ 440498 w 10042514"/>
              <a:gd name="connsiteY302" fmla="*/ 3008932 h 13463835"/>
              <a:gd name="connsiteX303" fmla="*/ 458338 w 10042514"/>
              <a:gd name="connsiteY303" fmla="*/ 3035865 h 13463835"/>
              <a:gd name="connsiteX304" fmla="*/ 428674 w 10042514"/>
              <a:gd name="connsiteY304" fmla="*/ 3011885 h 13463835"/>
              <a:gd name="connsiteX305" fmla="*/ 440498 w 10042514"/>
              <a:gd name="connsiteY305" fmla="*/ 3008932 h 13463835"/>
              <a:gd name="connsiteX306" fmla="*/ 954933 w 10042514"/>
              <a:gd name="connsiteY306" fmla="*/ 2991662 h 13463835"/>
              <a:gd name="connsiteX307" fmla="*/ 1002112 w 10042514"/>
              <a:gd name="connsiteY307" fmla="*/ 3017818 h 13463835"/>
              <a:gd name="connsiteX308" fmla="*/ 954933 w 10042514"/>
              <a:gd name="connsiteY308" fmla="*/ 2991662 h 13463835"/>
              <a:gd name="connsiteX309" fmla="*/ 978236 w 10042514"/>
              <a:gd name="connsiteY309" fmla="*/ 2918818 h 13463835"/>
              <a:gd name="connsiteX310" fmla="*/ 975437 w 10042514"/>
              <a:gd name="connsiteY310" fmla="*/ 2920672 h 13463835"/>
              <a:gd name="connsiteX311" fmla="*/ 976784 w 10042514"/>
              <a:gd name="connsiteY311" fmla="*/ 2919779 h 13463835"/>
              <a:gd name="connsiteX312" fmla="*/ 987557 w 10042514"/>
              <a:gd name="connsiteY312" fmla="*/ 2912643 h 13463835"/>
              <a:gd name="connsiteX313" fmla="*/ 983517 w 10042514"/>
              <a:gd name="connsiteY313" fmla="*/ 2915319 h 13463835"/>
              <a:gd name="connsiteX314" fmla="*/ 978236 w 10042514"/>
              <a:gd name="connsiteY314" fmla="*/ 2918818 h 13463835"/>
              <a:gd name="connsiteX315" fmla="*/ 992271 w 10042514"/>
              <a:gd name="connsiteY315" fmla="*/ 2909521 h 13463835"/>
              <a:gd name="connsiteX316" fmla="*/ 987557 w 10042514"/>
              <a:gd name="connsiteY316" fmla="*/ 2912643 h 13463835"/>
              <a:gd name="connsiteX317" fmla="*/ 992271 w 10042514"/>
              <a:gd name="connsiteY317" fmla="*/ 2909521 h 13463835"/>
              <a:gd name="connsiteX318" fmla="*/ 6207674 w 10042514"/>
              <a:gd name="connsiteY318" fmla="*/ 2885513 h 13463835"/>
              <a:gd name="connsiteX319" fmla="*/ 6194326 w 10042514"/>
              <a:gd name="connsiteY319" fmla="*/ 2910430 h 13463835"/>
              <a:gd name="connsiteX320" fmla="*/ 6207674 w 10042514"/>
              <a:gd name="connsiteY320" fmla="*/ 2885513 h 13463835"/>
              <a:gd name="connsiteX321" fmla="*/ 142608 w 10042514"/>
              <a:gd name="connsiteY321" fmla="*/ 2746028 h 13463835"/>
              <a:gd name="connsiteX322" fmla="*/ 137024 w 10042514"/>
              <a:gd name="connsiteY322" fmla="*/ 2747533 h 13463835"/>
              <a:gd name="connsiteX323" fmla="*/ 135380 w 10042514"/>
              <a:gd name="connsiteY323" fmla="*/ 2747976 h 13463835"/>
              <a:gd name="connsiteX324" fmla="*/ 150176 w 10042514"/>
              <a:gd name="connsiteY324" fmla="*/ 2743987 h 13463835"/>
              <a:gd name="connsiteX325" fmla="*/ 142608 w 10042514"/>
              <a:gd name="connsiteY325" fmla="*/ 2746028 h 13463835"/>
              <a:gd name="connsiteX326" fmla="*/ 145244 w 10042514"/>
              <a:gd name="connsiteY326" fmla="*/ 2745317 h 13463835"/>
              <a:gd name="connsiteX327" fmla="*/ 150176 w 10042514"/>
              <a:gd name="connsiteY327" fmla="*/ 2743987 h 13463835"/>
              <a:gd name="connsiteX328" fmla="*/ 117525 w 10042514"/>
              <a:gd name="connsiteY328" fmla="*/ 2653096 h 13463835"/>
              <a:gd name="connsiteX329" fmla="*/ 117525 w 10042514"/>
              <a:gd name="connsiteY329" fmla="*/ 2653096 h 13463835"/>
              <a:gd name="connsiteX330" fmla="*/ 3371515 w 10042514"/>
              <a:gd name="connsiteY330" fmla="*/ 2456926 h 13463835"/>
              <a:gd name="connsiteX331" fmla="*/ 3366611 w 10042514"/>
              <a:gd name="connsiteY331" fmla="*/ 2461941 h 13463835"/>
              <a:gd name="connsiteX332" fmla="*/ 3672571 w 10042514"/>
              <a:gd name="connsiteY332" fmla="*/ 2601424 h 13463835"/>
              <a:gd name="connsiteX333" fmla="*/ 3516710 w 10042514"/>
              <a:gd name="connsiteY333" fmla="*/ 2518665 h 13463835"/>
              <a:gd name="connsiteX334" fmla="*/ 3371515 w 10042514"/>
              <a:gd name="connsiteY334" fmla="*/ 2456926 h 13463835"/>
              <a:gd name="connsiteX335" fmla="*/ 3432173 w 10042514"/>
              <a:gd name="connsiteY335" fmla="*/ 2422245 h 13463835"/>
              <a:gd name="connsiteX336" fmla="*/ 3425666 w 10042514"/>
              <a:gd name="connsiteY336" fmla="*/ 2422823 h 13463835"/>
              <a:gd name="connsiteX337" fmla="*/ 3448986 w 10042514"/>
              <a:gd name="connsiteY337" fmla="*/ 2437227 h 13463835"/>
              <a:gd name="connsiteX338" fmla="*/ 3701301 w 10042514"/>
              <a:gd name="connsiteY338" fmla="*/ 2582394 h 13463835"/>
              <a:gd name="connsiteX339" fmla="*/ 3600681 w 10042514"/>
              <a:gd name="connsiteY339" fmla="*/ 2492895 h 13463835"/>
              <a:gd name="connsiteX340" fmla="*/ 3448986 w 10042514"/>
              <a:gd name="connsiteY340" fmla="*/ 2437227 h 13463835"/>
              <a:gd name="connsiteX341" fmla="*/ 3432173 w 10042514"/>
              <a:gd name="connsiteY341" fmla="*/ 2422245 h 13463835"/>
              <a:gd name="connsiteX342" fmla="*/ 3326799 w 10042514"/>
              <a:gd name="connsiteY342" fmla="*/ 2369012 h 13463835"/>
              <a:gd name="connsiteX343" fmla="*/ 3333961 w 10042514"/>
              <a:gd name="connsiteY343" fmla="*/ 2371049 h 13463835"/>
              <a:gd name="connsiteX344" fmla="*/ 3326799 w 10042514"/>
              <a:gd name="connsiteY344" fmla="*/ 2369012 h 13463835"/>
              <a:gd name="connsiteX345" fmla="*/ 3211368 w 10042514"/>
              <a:gd name="connsiteY345" fmla="*/ 2366592 h 13463835"/>
              <a:gd name="connsiteX346" fmla="*/ 3204407 w 10042514"/>
              <a:gd name="connsiteY346" fmla="*/ 2369606 h 13463835"/>
              <a:gd name="connsiteX347" fmla="*/ 3340181 w 10042514"/>
              <a:gd name="connsiteY347" fmla="*/ 2422040 h 13463835"/>
              <a:gd name="connsiteX348" fmla="*/ 3211368 w 10042514"/>
              <a:gd name="connsiteY348" fmla="*/ 2366592 h 13463835"/>
              <a:gd name="connsiteX349" fmla="*/ 3265058 w 10042514"/>
              <a:gd name="connsiteY349" fmla="*/ 2329431 h 13463835"/>
              <a:gd name="connsiteX350" fmla="*/ 3265058 w 10042514"/>
              <a:gd name="connsiteY350" fmla="*/ 2329431 h 13463835"/>
              <a:gd name="connsiteX351" fmla="*/ 3110268 w 10042514"/>
              <a:gd name="connsiteY351" fmla="*/ 2248724 h 13463835"/>
              <a:gd name="connsiteX352" fmla="*/ 3221111 w 10042514"/>
              <a:gd name="connsiteY352" fmla="*/ 2287355 h 13463835"/>
              <a:gd name="connsiteX353" fmla="*/ 3165951 w 10042514"/>
              <a:gd name="connsiteY353" fmla="*/ 2266485 h 13463835"/>
              <a:gd name="connsiteX354" fmla="*/ 3110268 w 10042514"/>
              <a:gd name="connsiteY354" fmla="*/ 2248724 h 13463835"/>
              <a:gd name="connsiteX355" fmla="*/ 5102150 w 10042514"/>
              <a:gd name="connsiteY355" fmla="*/ 2180320 h 13463835"/>
              <a:gd name="connsiteX356" fmla="*/ 5102150 w 10042514"/>
              <a:gd name="connsiteY356" fmla="*/ 2180320 h 13463835"/>
              <a:gd name="connsiteX357" fmla="*/ 5010446 w 10042514"/>
              <a:gd name="connsiteY357" fmla="*/ 2128546 h 13463835"/>
              <a:gd name="connsiteX358" fmla="*/ 5010446 w 10042514"/>
              <a:gd name="connsiteY358" fmla="*/ 2128546 h 13463835"/>
              <a:gd name="connsiteX359" fmla="*/ 2810636 w 10042514"/>
              <a:gd name="connsiteY359" fmla="*/ 2118361 h 13463835"/>
              <a:gd name="connsiteX360" fmla="*/ 3142904 w 10042514"/>
              <a:gd name="connsiteY360" fmla="*/ 2339160 h 13463835"/>
              <a:gd name="connsiteX361" fmla="*/ 3191720 w 10042514"/>
              <a:gd name="connsiteY361" fmla="*/ 2350454 h 13463835"/>
              <a:gd name="connsiteX362" fmla="*/ 3002505 w 10042514"/>
              <a:gd name="connsiteY362" fmla="*/ 2234677 h 13463835"/>
              <a:gd name="connsiteX363" fmla="*/ 2810636 w 10042514"/>
              <a:gd name="connsiteY363" fmla="*/ 2118361 h 13463835"/>
              <a:gd name="connsiteX364" fmla="*/ 2732280 w 10042514"/>
              <a:gd name="connsiteY364" fmla="*/ 2041671 h 13463835"/>
              <a:gd name="connsiteX365" fmla="*/ 2711531 w 10042514"/>
              <a:gd name="connsiteY365" fmla="*/ 2055416 h 13463835"/>
              <a:gd name="connsiteX366" fmla="*/ 2732280 w 10042514"/>
              <a:gd name="connsiteY366" fmla="*/ 2041671 h 13463835"/>
              <a:gd name="connsiteX367" fmla="*/ 4822744 w 10042514"/>
              <a:gd name="connsiteY367" fmla="*/ 2039322 h 13463835"/>
              <a:gd name="connsiteX368" fmla="*/ 4822744 w 10042514"/>
              <a:gd name="connsiteY368" fmla="*/ 2039322 h 13463835"/>
              <a:gd name="connsiteX369" fmla="*/ 2672041 w 10042514"/>
              <a:gd name="connsiteY369" fmla="*/ 2004575 h 13463835"/>
              <a:gd name="connsiteX370" fmla="*/ 2678757 w 10042514"/>
              <a:gd name="connsiteY370" fmla="*/ 2005939 h 13463835"/>
              <a:gd name="connsiteX371" fmla="*/ 2672041 w 10042514"/>
              <a:gd name="connsiteY371" fmla="*/ 2004575 h 13463835"/>
              <a:gd name="connsiteX372" fmla="*/ 2428958 w 10042514"/>
              <a:gd name="connsiteY372" fmla="*/ 1774976 h 13463835"/>
              <a:gd name="connsiteX373" fmla="*/ 2465410 w 10042514"/>
              <a:gd name="connsiteY373" fmla="*/ 1791330 h 13463835"/>
              <a:gd name="connsiteX374" fmla="*/ 2443147 w 10042514"/>
              <a:gd name="connsiteY374" fmla="*/ 1778521 h 13463835"/>
              <a:gd name="connsiteX375" fmla="*/ 2428958 w 10042514"/>
              <a:gd name="connsiteY375" fmla="*/ 1774976 h 13463835"/>
              <a:gd name="connsiteX376" fmla="*/ 3006340 w 10042514"/>
              <a:gd name="connsiteY376" fmla="*/ 1774880 h 13463835"/>
              <a:gd name="connsiteX377" fmla="*/ 3038848 w 10042514"/>
              <a:gd name="connsiteY377" fmla="*/ 1797264 h 13463835"/>
              <a:gd name="connsiteX378" fmla="*/ 4067736 w 10042514"/>
              <a:gd name="connsiteY378" fmla="*/ 2383295 h 13463835"/>
              <a:gd name="connsiteX379" fmla="*/ 4435736 w 10042514"/>
              <a:gd name="connsiteY379" fmla="*/ 2550571 h 13463835"/>
              <a:gd name="connsiteX380" fmla="*/ 4429394 w 10042514"/>
              <a:gd name="connsiteY380" fmla="*/ 2540995 h 13463835"/>
              <a:gd name="connsiteX381" fmla="*/ 4251268 w 10042514"/>
              <a:gd name="connsiteY381" fmla="*/ 2445427 h 13463835"/>
              <a:gd name="connsiteX382" fmla="*/ 3094547 w 10042514"/>
              <a:gd name="connsiteY382" fmla="*/ 1815480 h 13463835"/>
              <a:gd name="connsiteX383" fmla="*/ 3006340 w 10042514"/>
              <a:gd name="connsiteY383" fmla="*/ 1774880 h 13463835"/>
              <a:gd name="connsiteX384" fmla="*/ 3528382 w 10042514"/>
              <a:gd name="connsiteY384" fmla="*/ 1439073 h 13463835"/>
              <a:gd name="connsiteX385" fmla="*/ 3567066 w 10042514"/>
              <a:gd name="connsiteY385" fmla="*/ 1474925 h 13463835"/>
              <a:gd name="connsiteX386" fmla="*/ 3945038 w 10042514"/>
              <a:gd name="connsiteY386" fmla="*/ 1681522 h 13463835"/>
              <a:gd name="connsiteX387" fmla="*/ 4007080 w 10042514"/>
              <a:gd name="connsiteY387" fmla="*/ 1709314 h 13463835"/>
              <a:gd name="connsiteX388" fmla="*/ 4093500 w 10042514"/>
              <a:gd name="connsiteY388" fmla="*/ 1753109 h 13463835"/>
              <a:gd name="connsiteX389" fmla="*/ 4007080 w 10042514"/>
              <a:gd name="connsiteY389" fmla="*/ 1709314 h 13463835"/>
              <a:gd name="connsiteX390" fmla="*/ 3945038 w 10042514"/>
              <a:gd name="connsiteY390" fmla="*/ 1681522 h 13463835"/>
              <a:gd name="connsiteX391" fmla="*/ 3627054 w 10042514"/>
              <a:gd name="connsiteY391" fmla="*/ 1478818 h 13463835"/>
              <a:gd name="connsiteX392" fmla="*/ 3528382 w 10042514"/>
              <a:gd name="connsiteY392" fmla="*/ 1439073 h 13463835"/>
              <a:gd name="connsiteX393" fmla="*/ 1892738 w 10042514"/>
              <a:gd name="connsiteY393" fmla="*/ 1431047 h 13463835"/>
              <a:gd name="connsiteX394" fmla="*/ 1885651 w 10042514"/>
              <a:gd name="connsiteY394" fmla="*/ 1433079 h 13463835"/>
              <a:gd name="connsiteX395" fmla="*/ 1883932 w 10042514"/>
              <a:gd name="connsiteY395" fmla="*/ 1433571 h 13463835"/>
              <a:gd name="connsiteX396" fmla="*/ 4112464 w 10042514"/>
              <a:gd name="connsiteY396" fmla="*/ 1429430 h 13463835"/>
              <a:gd name="connsiteX397" fmla="*/ 4123650 w 10042514"/>
              <a:gd name="connsiteY397" fmla="*/ 1434615 h 13463835"/>
              <a:gd name="connsiteX398" fmla="*/ 4145912 w 10042514"/>
              <a:gd name="connsiteY398" fmla="*/ 1447424 h 13463835"/>
              <a:gd name="connsiteX399" fmla="*/ 4317694 w 10042514"/>
              <a:gd name="connsiteY399" fmla="*/ 1533415 h 13463835"/>
              <a:gd name="connsiteX400" fmla="*/ 4145912 w 10042514"/>
              <a:gd name="connsiteY400" fmla="*/ 1447424 h 13463835"/>
              <a:gd name="connsiteX401" fmla="*/ 4123650 w 10042514"/>
              <a:gd name="connsiteY401" fmla="*/ 1434615 h 13463835"/>
              <a:gd name="connsiteX402" fmla="*/ 4112464 w 10042514"/>
              <a:gd name="connsiteY402" fmla="*/ 1429430 h 13463835"/>
              <a:gd name="connsiteX403" fmla="*/ 1899402 w 10042514"/>
              <a:gd name="connsiteY403" fmla="*/ 1429137 h 13463835"/>
              <a:gd name="connsiteX404" fmla="*/ 1892738 w 10042514"/>
              <a:gd name="connsiteY404" fmla="*/ 1431047 h 13463835"/>
              <a:gd name="connsiteX405" fmla="*/ 1894246 w 10042514"/>
              <a:gd name="connsiteY405" fmla="*/ 1430615 h 13463835"/>
              <a:gd name="connsiteX406" fmla="*/ 1899402 w 10042514"/>
              <a:gd name="connsiteY406" fmla="*/ 1429137 h 13463835"/>
              <a:gd name="connsiteX407" fmla="*/ 1899402 w 10042514"/>
              <a:gd name="connsiteY407" fmla="*/ 1429137 h 13463835"/>
              <a:gd name="connsiteX408" fmla="*/ 1982588 w 10042514"/>
              <a:gd name="connsiteY408" fmla="*/ 1488850 h 13463835"/>
              <a:gd name="connsiteX409" fmla="*/ 1899402 w 10042514"/>
              <a:gd name="connsiteY409" fmla="*/ 1429137 h 13463835"/>
              <a:gd name="connsiteX410" fmla="*/ 4086284 w 10042514"/>
              <a:gd name="connsiteY410" fmla="*/ 1406048 h 13463835"/>
              <a:gd name="connsiteX411" fmla="*/ 4073238 w 10042514"/>
              <a:gd name="connsiteY411" fmla="*/ 1424378 h 13463835"/>
              <a:gd name="connsiteX412" fmla="*/ 4093986 w 10042514"/>
              <a:gd name="connsiteY412" fmla="*/ 1410634 h 13463835"/>
              <a:gd name="connsiteX413" fmla="*/ 4086284 w 10042514"/>
              <a:gd name="connsiteY413" fmla="*/ 1406048 h 13463835"/>
              <a:gd name="connsiteX414" fmla="*/ 1840948 w 10042514"/>
              <a:gd name="connsiteY414" fmla="*/ 1394734 h 13463835"/>
              <a:gd name="connsiteX415" fmla="*/ 1831083 w 10042514"/>
              <a:gd name="connsiteY415" fmla="*/ 1397393 h 13463835"/>
              <a:gd name="connsiteX416" fmla="*/ 1851873 w 10042514"/>
              <a:gd name="connsiteY416" fmla="*/ 1389435 h 13463835"/>
              <a:gd name="connsiteX417" fmla="*/ 1845880 w 10042514"/>
              <a:gd name="connsiteY417" fmla="*/ 1393404 h 13463835"/>
              <a:gd name="connsiteX418" fmla="*/ 1850145 w 10042514"/>
              <a:gd name="connsiteY418" fmla="*/ 1390579 h 13463835"/>
              <a:gd name="connsiteX419" fmla="*/ 1858674 w 10042514"/>
              <a:gd name="connsiteY419" fmla="*/ 1384930 h 13463835"/>
              <a:gd name="connsiteX420" fmla="*/ 1857252 w 10042514"/>
              <a:gd name="connsiteY420" fmla="*/ 1385871 h 13463835"/>
              <a:gd name="connsiteX421" fmla="*/ 1851873 w 10042514"/>
              <a:gd name="connsiteY421" fmla="*/ 1389435 h 13463835"/>
              <a:gd name="connsiteX422" fmla="*/ 1802688 w 10042514"/>
              <a:gd name="connsiteY422" fmla="*/ 1349002 h 13463835"/>
              <a:gd name="connsiteX423" fmla="*/ 1806155 w 10042514"/>
              <a:gd name="connsiteY423" fmla="*/ 1354236 h 13463835"/>
              <a:gd name="connsiteX424" fmla="*/ 1809872 w 10042514"/>
              <a:gd name="connsiteY424" fmla="*/ 1359847 h 13463835"/>
              <a:gd name="connsiteX425" fmla="*/ 1798722 w 10042514"/>
              <a:gd name="connsiteY425" fmla="*/ 1343014 h 13463835"/>
              <a:gd name="connsiteX426" fmla="*/ 1802688 w 10042514"/>
              <a:gd name="connsiteY426" fmla="*/ 1349002 h 13463835"/>
              <a:gd name="connsiteX427" fmla="*/ 1799961 w 10042514"/>
              <a:gd name="connsiteY427" fmla="*/ 1344884 h 13463835"/>
              <a:gd name="connsiteX428" fmla="*/ 1798722 w 10042514"/>
              <a:gd name="connsiteY428" fmla="*/ 1343014 h 13463835"/>
              <a:gd name="connsiteX429" fmla="*/ 3092557 w 10042514"/>
              <a:gd name="connsiteY429" fmla="*/ 1233530 h 13463835"/>
              <a:gd name="connsiteX430" fmla="*/ 3092557 w 10042514"/>
              <a:gd name="connsiteY430" fmla="*/ 1233530 h 13463835"/>
              <a:gd name="connsiteX431" fmla="*/ 1756002 w 10042514"/>
              <a:gd name="connsiteY431" fmla="*/ 1128584 h 13463835"/>
              <a:gd name="connsiteX432" fmla="*/ 1762749 w 10042514"/>
              <a:gd name="connsiteY432" fmla="*/ 1136170 h 13463835"/>
              <a:gd name="connsiteX433" fmla="*/ 1752451 w 10042514"/>
              <a:gd name="connsiteY433" fmla="*/ 1130269 h 13463835"/>
              <a:gd name="connsiteX434" fmla="*/ 1733308 w 10042514"/>
              <a:gd name="connsiteY434" fmla="*/ 1119373 h 13463835"/>
              <a:gd name="connsiteX435" fmla="*/ 1740542 w 10042514"/>
              <a:gd name="connsiteY435" fmla="*/ 1123445 h 13463835"/>
              <a:gd name="connsiteX436" fmla="*/ 1752451 w 10042514"/>
              <a:gd name="connsiteY436" fmla="*/ 1130269 h 13463835"/>
              <a:gd name="connsiteX437" fmla="*/ 1746829 w 10042514"/>
              <a:gd name="connsiteY437" fmla="*/ 1132938 h 13463835"/>
              <a:gd name="connsiteX438" fmla="*/ 429229 w 10042514"/>
              <a:gd name="connsiteY438" fmla="*/ 1036674 h 13463835"/>
              <a:gd name="connsiteX439" fmla="*/ 429229 w 10042514"/>
              <a:gd name="connsiteY439" fmla="*/ 1036674 h 13463835"/>
              <a:gd name="connsiteX440" fmla="*/ 960919 w 10042514"/>
              <a:gd name="connsiteY440" fmla="*/ 958783 h 13463835"/>
              <a:gd name="connsiteX441" fmla="*/ 972069 w 10042514"/>
              <a:gd name="connsiteY441" fmla="*/ 975616 h 13463835"/>
              <a:gd name="connsiteX442" fmla="*/ 960919 w 10042514"/>
              <a:gd name="connsiteY442" fmla="*/ 958783 h 13463835"/>
              <a:gd name="connsiteX443" fmla="*/ 208705 w 10042514"/>
              <a:gd name="connsiteY443" fmla="*/ 911784 h 13463835"/>
              <a:gd name="connsiteX444" fmla="*/ 202977 w 10042514"/>
              <a:gd name="connsiteY444" fmla="*/ 915578 h 13463835"/>
              <a:gd name="connsiteX445" fmla="*/ 204324 w 10042514"/>
              <a:gd name="connsiteY445" fmla="*/ 914686 h 13463835"/>
              <a:gd name="connsiteX446" fmla="*/ 215097 w 10042514"/>
              <a:gd name="connsiteY446" fmla="*/ 907550 h 13463835"/>
              <a:gd name="connsiteX447" fmla="*/ 211057 w 10042514"/>
              <a:gd name="connsiteY447" fmla="*/ 910226 h 13463835"/>
              <a:gd name="connsiteX448" fmla="*/ 208705 w 10042514"/>
              <a:gd name="connsiteY448" fmla="*/ 911784 h 13463835"/>
              <a:gd name="connsiteX449" fmla="*/ 873748 w 10042514"/>
              <a:gd name="connsiteY449" fmla="*/ 827187 h 13463835"/>
              <a:gd name="connsiteX450" fmla="*/ 873748 w 10042514"/>
              <a:gd name="connsiteY450" fmla="*/ 827187 h 13463835"/>
              <a:gd name="connsiteX451" fmla="*/ 229126 w 10042514"/>
              <a:gd name="connsiteY451" fmla="*/ 742107 h 13463835"/>
              <a:gd name="connsiteX452" fmla="*/ 224806 w 10042514"/>
              <a:gd name="connsiteY452" fmla="*/ 744969 h 13463835"/>
              <a:gd name="connsiteX453" fmla="*/ 223834 w 10042514"/>
              <a:gd name="connsiteY453" fmla="*/ 745613 h 13463835"/>
              <a:gd name="connsiteX454" fmla="*/ 232587 w 10042514"/>
              <a:gd name="connsiteY454" fmla="*/ 739814 h 13463835"/>
              <a:gd name="connsiteX455" fmla="*/ 229126 w 10042514"/>
              <a:gd name="connsiteY455" fmla="*/ 742107 h 13463835"/>
              <a:gd name="connsiteX456" fmla="*/ 229669 w 10042514"/>
              <a:gd name="connsiteY456" fmla="*/ 741747 h 13463835"/>
              <a:gd name="connsiteX457" fmla="*/ 232587 w 10042514"/>
              <a:gd name="connsiteY457" fmla="*/ 739814 h 13463835"/>
              <a:gd name="connsiteX458" fmla="*/ 1772289 w 10042514"/>
              <a:gd name="connsiteY458" fmla="*/ 667069 h 13463835"/>
              <a:gd name="connsiteX459" fmla="*/ 1779005 w 10042514"/>
              <a:gd name="connsiteY459" fmla="*/ 668433 h 13463835"/>
              <a:gd name="connsiteX460" fmla="*/ 1772289 w 10042514"/>
              <a:gd name="connsiteY460" fmla="*/ 667069 h 13463835"/>
              <a:gd name="connsiteX461" fmla="*/ 2345042 w 10042514"/>
              <a:gd name="connsiteY461" fmla="*/ 663194 h 13463835"/>
              <a:gd name="connsiteX462" fmla="*/ 2345042 w 10042514"/>
              <a:gd name="connsiteY462" fmla="*/ 663194 h 13463835"/>
              <a:gd name="connsiteX463" fmla="*/ 1904392 w 10042514"/>
              <a:gd name="connsiteY463" fmla="*/ 642784 h 13463835"/>
              <a:gd name="connsiteX464" fmla="*/ 1967491 w 10042514"/>
              <a:gd name="connsiteY464" fmla="*/ 672173 h 13463835"/>
              <a:gd name="connsiteX465" fmla="*/ 1904392 w 10042514"/>
              <a:gd name="connsiteY465" fmla="*/ 642784 h 13463835"/>
              <a:gd name="connsiteX466" fmla="*/ 2375490 w 10042514"/>
              <a:gd name="connsiteY466" fmla="*/ 601691 h 13463835"/>
              <a:gd name="connsiteX467" fmla="*/ 2388177 w 10042514"/>
              <a:gd name="connsiteY467" fmla="*/ 620843 h 13463835"/>
              <a:gd name="connsiteX468" fmla="*/ 2375490 w 10042514"/>
              <a:gd name="connsiteY468" fmla="*/ 601691 h 13463835"/>
              <a:gd name="connsiteX469" fmla="*/ 2341563 w 10042514"/>
              <a:gd name="connsiteY469" fmla="*/ 580535 h 13463835"/>
              <a:gd name="connsiteX470" fmla="*/ 2333033 w 10042514"/>
              <a:gd name="connsiteY470" fmla="*/ 586185 h 13463835"/>
              <a:gd name="connsiteX471" fmla="*/ 2345827 w 10042514"/>
              <a:gd name="connsiteY471" fmla="*/ 577710 h 13463835"/>
              <a:gd name="connsiteX472" fmla="*/ 2375490 w 10042514"/>
              <a:gd name="connsiteY472" fmla="*/ 601691 h 13463835"/>
              <a:gd name="connsiteX473" fmla="*/ 2345827 w 10042514"/>
              <a:gd name="connsiteY473" fmla="*/ 577710 h 13463835"/>
              <a:gd name="connsiteX474" fmla="*/ 2478192 w 10042514"/>
              <a:gd name="connsiteY474" fmla="*/ 347658 h 13463835"/>
              <a:gd name="connsiteX475" fmla="*/ 2489867 w 10042514"/>
              <a:gd name="connsiteY475" fmla="*/ 349683 h 13463835"/>
              <a:gd name="connsiteX476" fmla="*/ 2490299 w 10042514"/>
              <a:gd name="connsiteY476" fmla="*/ 353589 h 13463835"/>
              <a:gd name="connsiteX477" fmla="*/ 1075785 w 10042514"/>
              <a:gd name="connsiteY477" fmla="*/ 36318 h 13463835"/>
              <a:gd name="connsiteX478" fmla="*/ 1123979 w 10042514"/>
              <a:gd name="connsiteY478" fmla="*/ 64386 h 13463835"/>
              <a:gd name="connsiteX479" fmla="*/ 1477848 w 10042514"/>
              <a:gd name="connsiteY479" fmla="*/ 342062 h 13463835"/>
              <a:gd name="connsiteX480" fmla="*/ 1792599 w 10042514"/>
              <a:gd name="connsiteY480" fmla="*/ 560686 h 13463835"/>
              <a:gd name="connsiteX481" fmla="*/ 1884304 w 10042514"/>
              <a:gd name="connsiteY481" fmla="*/ 612459 h 13463835"/>
              <a:gd name="connsiteX482" fmla="*/ 1514516 w 10042514"/>
              <a:gd name="connsiteY482" fmla="*/ 331550 h 13463835"/>
              <a:gd name="connsiteX483" fmla="*/ 1431453 w 10042514"/>
              <a:gd name="connsiteY483" fmla="*/ 230422 h 13463835"/>
              <a:gd name="connsiteX484" fmla="*/ 1651928 w 10042514"/>
              <a:gd name="connsiteY484" fmla="*/ 369122 h 13463835"/>
              <a:gd name="connsiteX485" fmla="*/ 2974448 w 10042514"/>
              <a:gd name="connsiteY485" fmla="*/ 1311767 h 13463835"/>
              <a:gd name="connsiteX486" fmla="*/ 3749302 w 10042514"/>
              <a:gd name="connsiteY486" fmla="*/ 1795105 h 13463835"/>
              <a:gd name="connsiteX487" fmla="*/ 4548922 w 10042514"/>
              <a:gd name="connsiteY487" fmla="*/ 2163295 h 13463835"/>
              <a:gd name="connsiteX488" fmla="*/ 4548922 w 10042514"/>
              <a:gd name="connsiteY488" fmla="*/ 2163295 h 13463835"/>
              <a:gd name="connsiteX489" fmla="*/ 3316415 w 10042514"/>
              <a:gd name="connsiteY489" fmla="*/ 1484807 h 13463835"/>
              <a:gd name="connsiteX490" fmla="*/ 2275749 w 10042514"/>
              <a:gd name="connsiteY490" fmla="*/ 752724 h 13463835"/>
              <a:gd name="connsiteX491" fmla="*/ 2148699 w 10042514"/>
              <a:gd name="connsiteY491" fmla="*/ 623325 h 13463835"/>
              <a:gd name="connsiteX492" fmla="*/ 2348425 w 10042514"/>
              <a:gd name="connsiteY492" fmla="*/ 775770 h 13463835"/>
              <a:gd name="connsiteX493" fmla="*/ 3362660 w 10042514"/>
              <a:gd name="connsiteY493" fmla="*/ 1467952 h 13463835"/>
              <a:gd name="connsiteX494" fmla="*/ 4273412 w 10042514"/>
              <a:gd name="connsiteY494" fmla="*/ 1962309 h 13463835"/>
              <a:gd name="connsiteX495" fmla="*/ 4415528 w 10042514"/>
              <a:gd name="connsiteY495" fmla="*/ 2024319 h 13463835"/>
              <a:gd name="connsiteX496" fmla="*/ 4280416 w 10042514"/>
              <a:gd name="connsiteY496" fmla="*/ 1927817 h 13463835"/>
              <a:gd name="connsiteX497" fmla="*/ 4111868 w 10042514"/>
              <a:gd name="connsiteY497" fmla="*/ 1825905 h 13463835"/>
              <a:gd name="connsiteX498" fmla="*/ 4121444 w 10042514"/>
              <a:gd name="connsiteY498" fmla="*/ 1819562 h 13463835"/>
              <a:gd name="connsiteX499" fmla="*/ 4121444 w 10042514"/>
              <a:gd name="connsiteY499" fmla="*/ 1819562 h 13463835"/>
              <a:gd name="connsiteX500" fmla="*/ 4111868 w 10042514"/>
              <a:gd name="connsiteY500" fmla="*/ 1825905 h 13463835"/>
              <a:gd name="connsiteX501" fmla="*/ 3815484 w 10042514"/>
              <a:gd name="connsiteY501" fmla="*/ 1680079 h 13463835"/>
              <a:gd name="connsiteX502" fmla="*/ 3380299 w 10042514"/>
              <a:gd name="connsiteY502" fmla="*/ 1428712 h 13463835"/>
              <a:gd name="connsiteX503" fmla="*/ 3185320 w 10042514"/>
              <a:gd name="connsiteY503" fmla="*/ 1286900 h 13463835"/>
              <a:gd name="connsiteX504" fmla="*/ 3185320 w 10042514"/>
              <a:gd name="connsiteY504" fmla="*/ 1286900 h 13463835"/>
              <a:gd name="connsiteX505" fmla="*/ 3133393 w 10042514"/>
              <a:gd name="connsiteY505" fmla="*/ 1250111 h 13463835"/>
              <a:gd name="connsiteX506" fmla="*/ 2345042 w 10042514"/>
              <a:gd name="connsiteY506" fmla="*/ 663194 h 13463835"/>
              <a:gd name="connsiteX507" fmla="*/ 3193382 w 10042514"/>
              <a:gd name="connsiteY507" fmla="*/ 1254004 h 13463835"/>
              <a:gd name="connsiteX508" fmla="*/ 3488047 w 10042514"/>
              <a:gd name="connsiteY508" fmla="*/ 1442303 h 13463835"/>
              <a:gd name="connsiteX509" fmla="*/ 3455273 w 10042514"/>
              <a:gd name="connsiteY509" fmla="*/ 1392827 h 13463835"/>
              <a:gd name="connsiteX510" fmla="*/ 3378431 w 10042514"/>
              <a:gd name="connsiteY510" fmla="*/ 1342690 h 13463835"/>
              <a:gd name="connsiteX511" fmla="*/ 2388177 w 10042514"/>
              <a:gd name="connsiteY511" fmla="*/ 620843 h 13463835"/>
              <a:gd name="connsiteX512" fmla="*/ 3574193 w 10042514"/>
              <a:gd name="connsiteY512" fmla="*/ 1399017 h 13463835"/>
              <a:gd name="connsiteX513" fmla="*/ 4720404 w 10042514"/>
              <a:gd name="connsiteY513" fmla="*/ 1992295 h 13463835"/>
              <a:gd name="connsiteX514" fmla="*/ 4763416 w 10042514"/>
              <a:gd name="connsiteY514" fmla="*/ 1991360 h 13463835"/>
              <a:gd name="connsiteX515" fmla="*/ 4468092 w 10042514"/>
              <a:gd name="connsiteY515" fmla="*/ 1847130 h 13463835"/>
              <a:gd name="connsiteX516" fmla="*/ 2498578 w 10042514"/>
              <a:gd name="connsiteY516" fmla="*/ 634973 h 13463835"/>
              <a:gd name="connsiteX517" fmla="*/ 2178725 w 10042514"/>
              <a:gd name="connsiteY517" fmla="*/ 346246 h 13463835"/>
              <a:gd name="connsiteX518" fmla="*/ 2178725 w 10042514"/>
              <a:gd name="connsiteY518" fmla="*/ 346246 h 13463835"/>
              <a:gd name="connsiteX519" fmla="*/ 2090253 w 10042514"/>
              <a:gd name="connsiteY519" fmla="*/ 278553 h 13463835"/>
              <a:gd name="connsiteX520" fmla="*/ 2050079 w 10042514"/>
              <a:gd name="connsiteY520" fmla="*/ 217905 h 13463835"/>
              <a:gd name="connsiteX521" fmla="*/ 2389746 w 10042514"/>
              <a:gd name="connsiteY521" fmla="*/ 449875 h 13463835"/>
              <a:gd name="connsiteX522" fmla="*/ 3577277 w 10042514"/>
              <a:gd name="connsiteY522" fmla="*/ 1254601 h 13463835"/>
              <a:gd name="connsiteX523" fmla="*/ 4277008 w 10042514"/>
              <a:gd name="connsiteY523" fmla="*/ 1645330 h 13463835"/>
              <a:gd name="connsiteX524" fmla="*/ 4797098 w 10042514"/>
              <a:gd name="connsiteY524" fmla="*/ 1913937 h 13463835"/>
              <a:gd name="connsiteX525" fmla="*/ 4980632 w 10042514"/>
              <a:gd name="connsiteY525" fmla="*/ 1976069 h 13463835"/>
              <a:gd name="connsiteX526" fmla="*/ 4914424 w 10042514"/>
              <a:gd name="connsiteY526" fmla="*/ 1921185 h 13463835"/>
              <a:gd name="connsiteX527" fmla="*/ 3637266 w 10042514"/>
              <a:gd name="connsiteY527" fmla="*/ 1258495 h 13463835"/>
              <a:gd name="connsiteX528" fmla="*/ 2487918 w 10042514"/>
              <a:gd name="connsiteY528" fmla="*/ 469810 h 13463835"/>
              <a:gd name="connsiteX529" fmla="*/ 2317856 w 10042514"/>
              <a:gd name="connsiteY529" fmla="*/ 341346 h 13463835"/>
              <a:gd name="connsiteX530" fmla="*/ 2310579 w 10042514"/>
              <a:gd name="connsiteY530" fmla="*/ 288759 h 13463835"/>
              <a:gd name="connsiteX531" fmla="*/ 2268228 w 10042514"/>
              <a:gd name="connsiteY531" fmla="*/ 245626 h 13463835"/>
              <a:gd name="connsiteX532" fmla="*/ 2491936 w 10042514"/>
              <a:gd name="connsiteY532" fmla="*/ 368407 h 13463835"/>
              <a:gd name="connsiteX533" fmla="*/ 2488703 w 10042514"/>
              <a:gd name="connsiteY533" fmla="*/ 384326 h 13463835"/>
              <a:gd name="connsiteX534" fmla="*/ 2320155 w 10042514"/>
              <a:gd name="connsiteY534" fmla="*/ 282415 h 13463835"/>
              <a:gd name="connsiteX535" fmla="*/ 2491936 w 10042514"/>
              <a:gd name="connsiteY535" fmla="*/ 368407 h 13463835"/>
              <a:gd name="connsiteX536" fmla="*/ 2490299 w 10042514"/>
              <a:gd name="connsiteY536" fmla="*/ 353589 h 13463835"/>
              <a:gd name="connsiteX537" fmla="*/ 2559090 w 10042514"/>
              <a:gd name="connsiteY537" fmla="*/ 387287 h 13463835"/>
              <a:gd name="connsiteX538" fmla="*/ 2792944 w 10042514"/>
              <a:gd name="connsiteY538" fmla="*/ 566282 h 13463835"/>
              <a:gd name="connsiteX539" fmla="*/ 4415866 w 10042514"/>
              <a:gd name="connsiteY539" fmla="*/ 1553349 h 13463835"/>
              <a:gd name="connsiteX540" fmla="*/ 5079712 w 10042514"/>
              <a:gd name="connsiteY540" fmla="*/ 1869105 h 13463835"/>
              <a:gd name="connsiteX541" fmla="*/ 6388708 w 10042514"/>
              <a:gd name="connsiteY541" fmla="*/ 2538260 h 13463835"/>
              <a:gd name="connsiteX542" fmla="*/ 7391948 w 10042514"/>
              <a:gd name="connsiteY542" fmla="*/ 2998906 h 13463835"/>
              <a:gd name="connsiteX543" fmla="*/ 7642750 w 10042514"/>
              <a:gd name="connsiteY543" fmla="*/ 3117520 h 13463835"/>
              <a:gd name="connsiteX544" fmla="*/ 7693742 w 10042514"/>
              <a:gd name="connsiteY544" fmla="*/ 3111298 h 13463835"/>
              <a:gd name="connsiteX545" fmla="*/ 7422274 w 10042514"/>
              <a:gd name="connsiteY545" fmla="*/ 2978819 h 13463835"/>
              <a:gd name="connsiteX546" fmla="*/ 6469446 w 10042514"/>
              <a:gd name="connsiteY546" fmla="*/ 2528409 h 13463835"/>
              <a:gd name="connsiteX547" fmla="*/ 5841606 w 10042514"/>
              <a:gd name="connsiteY547" fmla="*/ 2246210 h 13463835"/>
              <a:gd name="connsiteX548" fmla="*/ 5527788 w 10042514"/>
              <a:gd name="connsiteY548" fmla="*/ 2070598 h 13463835"/>
              <a:gd name="connsiteX549" fmla="*/ 5294504 w 10042514"/>
              <a:gd name="connsiteY549" fmla="*/ 1954161 h 13463835"/>
              <a:gd name="connsiteX550" fmla="*/ 5335920 w 10042514"/>
              <a:gd name="connsiteY550" fmla="*/ 1954282 h 13463835"/>
              <a:gd name="connsiteX551" fmla="*/ 6261658 w 10042514"/>
              <a:gd name="connsiteY551" fmla="*/ 2408861 h 13463835"/>
              <a:gd name="connsiteX552" fmla="*/ 7312658 w 10042514"/>
              <a:gd name="connsiteY552" fmla="*/ 2879205 h 13463835"/>
              <a:gd name="connsiteX553" fmla="*/ 8359968 w 10042514"/>
              <a:gd name="connsiteY553" fmla="*/ 3340512 h 13463835"/>
              <a:gd name="connsiteX554" fmla="*/ 9266430 w 10042514"/>
              <a:gd name="connsiteY554" fmla="*/ 3849192 h 13463835"/>
              <a:gd name="connsiteX555" fmla="*/ 9390370 w 10042514"/>
              <a:gd name="connsiteY555" fmla="*/ 3953096 h 13463835"/>
              <a:gd name="connsiteX556" fmla="*/ 9301502 w 10042514"/>
              <a:gd name="connsiteY556" fmla="*/ 3839738 h 13463835"/>
              <a:gd name="connsiteX557" fmla="*/ 9372000 w 10042514"/>
              <a:gd name="connsiteY557" fmla="*/ 3880299 h 13463835"/>
              <a:gd name="connsiteX558" fmla="*/ 9613442 w 10042514"/>
              <a:gd name="connsiteY558" fmla="*/ 4289856 h 13463835"/>
              <a:gd name="connsiteX559" fmla="*/ 9567586 w 10042514"/>
              <a:gd name="connsiteY559" fmla="*/ 4175563 h 13463835"/>
              <a:gd name="connsiteX560" fmla="*/ 9600632 w 10042514"/>
              <a:gd name="connsiteY560" fmla="*/ 4312120 h 13463835"/>
              <a:gd name="connsiteX561" fmla="*/ 9557498 w 10042514"/>
              <a:gd name="connsiteY561" fmla="*/ 4354470 h 13463835"/>
              <a:gd name="connsiteX562" fmla="*/ 9557646 w 10042514"/>
              <a:gd name="connsiteY562" fmla="*/ 4482966 h 13463835"/>
              <a:gd name="connsiteX563" fmla="*/ 9480168 w 10042514"/>
              <a:gd name="connsiteY563" fmla="*/ 4646808 h 13463835"/>
              <a:gd name="connsiteX564" fmla="*/ 9450654 w 10042514"/>
              <a:gd name="connsiteY564" fmla="*/ 4751322 h 13463835"/>
              <a:gd name="connsiteX565" fmla="*/ 9405344 w 10042514"/>
              <a:gd name="connsiteY565" fmla="*/ 4811189 h 13463835"/>
              <a:gd name="connsiteX566" fmla="*/ 9388640 w 10042514"/>
              <a:gd name="connsiteY566" fmla="*/ 4893440 h 13463835"/>
              <a:gd name="connsiteX567" fmla="*/ 9375018 w 10042514"/>
              <a:gd name="connsiteY567" fmla="*/ 4831277 h 13463835"/>
              <a:gd name="connsiteX568" fmla="*/ 9341610 w 10042514"/>
              <a:gd name="connsiteY568" fmla="*/ 4995780 h 13463835"/>
              <a:gd name="connsiteX569" fmla="*/ 9298474 w 10042514"/>
              <a:gd name="connsiteY569" fmla="*/ 5038131 h 13463835"/>
              <a:gd name="connsiteX570" fmla="*/ 9294456 w 10042514"/>
              <a:gd name="connsiteY570" fmla="*/ 5139534 h 13463835"/>
              <a:gd name="connsiteX571" fmla="*/ 9214654 w 10042514"/>
              <a:gd name="connsiteY571" fmla="*/ 5192397 h 13463835"/>
              <a:gd name="connsiteX572" fmla="*/ 9202778 w 10042514"/>
              <a:gd name="connsiteY572" fmla="*/ 5257671 h 13463835"/>
              <a:gd name="connsiteX573" fmla="*/ 9150338 w 10042514"/>
              <a:gd name="connsiteY573" fmla="*/ 5393445 h 13463835"/>
              <a:gd name="connsiteX574" fmla="*/ 9119228 w 10042514"/>
              <a:gd name="connsiteY574" fmla="*/ 5499017 h 13463835"/>
              <a:gd name="connsiteX575" fmla="*/ 9063284 w 10042514"/>
              <a:gd name="connsiteY575" fmla="*/ 5563631 h 13463835"/>
              <a:gd name="connsiteX576" fmla="*/ 9065732 w 10042514"/>
              <a:gd name="connsiteY576" fmla="*/ 5633195 h 13463835"/>
              <a:gd name="connsiteX577" fmla="*/ 9003444 w 10042514"/>
              <a:gd name="connsiteY577" fmla="*/ 5688233 h 13463835"/>
              <a:gd name="connsiteX578" fmla="*/ 8976502 w 10042514"/>
              <a:gd name="connsiteY578" fmla="*/ 5820896 h 13463835"/>
              <a:gd name="connsiteX579" fmla="*/ 8936600 w 10042514"/>
              <a:gd name="connsiteY579" fmla="*/ 5847327 h 13463835"/>
              <a:gd name="connsiteX580" fmla="*/ 8892100 w 10042514"/>
              <a:gd name="connsiteY580" fmla="*/ 5991621 h 13463835"/>
              <a:gd name="connsiteX581" fmla="*/ 8821750 w 10042514"/>
              <a:gd name="connsiteY581" fmla="*/ 6079555 h 13463835"/>
              <a:gd name="connsiteX582" fmla="*/ 8830542 w 10042514"/>
              <a:gd name="connsiteY582" fmla="*/ 6158696 h 13463835"/>
              <a:gd name="connsiteX583" fmla="*/ 8771488 w 10042514"/>
              <a:gd name="connsiteY583" fmla="*/ 6197814 h 13463835"/>
              <a:gd name="connsiteX584" fmla="*/ 8772422 w 10042514"/>
              <a:gd name="connsiteY584" fmla="*/ 6240826 h 13463835"/>
              <a:gd name="connsiteX585" fmla="*/ 8738864 w 10042514"/>
              <a:gd name="connsiteY585" fmla="*/ 6276832 h 13463835"/>
              <a:gd name="connsiteX586" fmla="*/ 8741312 w 10042514"/>
              <a:gd name="connsiteY586" fmla="*/ 6346397 h 13463835"/>
              <a:gd name="connsiteX587" fmla="*/ 8705578 w 10042514"/>
              <a:gd name="connsiteY587" fmla="*/ 6399920 h 13463835"/>
              <a:gd name="connsiteX588" fmla="*/ 8661658 w 10042514"/>
              <a:gd name="connsiteY588" fmla="*/ 6527755 h 13463835"/>
              <a:gd name="connsiteX589" fmla="*/ 8653016 w 10042514"/>
              <a:gd name="connsiteY589" fmla="*/ 6577109 h 13463835"/>
              <a:gd name="connsiteX590" fmla="*/ 8568342 w 10042514"/>
              <a:gd name="connsiteY590" fmla="*/ 6660754 h 13463835"/>
              <a:gd name="connsiteX591" fmla="*/ 8581494 w 10042514"/>
              <a:gd name="connsiteY591" fmla="*/ 6657209 h 13463835"/>
              <a:gd name="connsiteX592" fmla="*/ 8587894 w 10042514"/>
              <a:gd name="connsiteY592" fmla="*/ 6653395 h 13463835"/>
              <a:gd name="connsiteX593" fmla="*/ 8577284 w 10042514"/>
              <a:gd name="connsiteY593" fmla="*/ 6666886 h 13463835"/>
              <a:gd name="connsiteX594" fmla="*/ 8544360 w 10042514"/>
              <a:gd name="connsiteY594" fmla="*/ 6690418 h 13463835"/>
              <a:gd name="connsiteX595" fmla="*/ 8534932 w 10042514"/>
              <a:gd name="connsiteY595" fmla="*/ 6825257 h 13463835"/>
              <a:gd name="connsiteX596" fmla="*/ 8484794 w 10042514"/>
              <a:gd name="connsiteY596" fmla="*/ 6902100 h 13463835"/>
              <a:gd name="connsiteX597" fmla="*/ 8468088 w 10042514"/>
              <a:gd name="connsiteY597" fmla="*/ 6984352 h 13463835"/>
              <a:gd name="connsiteX598" fmla="*/ 8415378 w 10042514"/>
              <a:gd name="connsiteY598" fmla="*/ 7033046 h 13463835"/>
              <a:gd name="connsiteX599" fmla="*/ 8411482 w 10042514"/>
              <a:gd name="connsiteY599" fmla="*/ 7093034 h 13463835"/>
              <a:gd name="connsiteX600" fmla="*/ 8358770 w 10042514"/>
              <a:gd name="connsiteY600" fmla="*/ 7141728 h 13463835"/>
              <a:gd name="connsiteX601" fmla="*/ 8385202 w 10042514"/>
              <a:gd name="connsiteY601" fmla="*/ 7181629 h 13463835"/>
              <a:gd name="connsiteX602" fmla="*/ 8346896 w 10042514"/>
              <a:gd name="connsiteY602" fmla="*/ 7207003 h 13463835"/>
              <a:gd name="connsiteX603" fmla="*/ 8338710 w 10042514"/>
              <a:gd name="connsiteY603" fmla="*/ 7281315 h 13463835"/>
              <a:gd name="connsiteX604" fmla="*/ 8248668 w 10042514"/>
              <a:gd name="connsiteY604" fmla="*/ 7384589 h 13463835"/>
              <a:gd name="connsiteX605" fmla="*/ 8279144 w 10042514"/>
              <a:gd name="connsiteY605" fmla="*/ 7492997 h 13463835"/>
              <a:gd name="connsiteX606" fmla="*/ 8090806 w 10042514"/>
              <a:gd name="connsiteY606" fmla="*/ 7617752 h 13463835"/>
              <a:gd name="connsiteX607" fmla="*/ 8044562 w 10042514"/>
              <a:gd name="connsiteY607" fmla="*/ 7634608 h 13463835"/>
              <a:gd name="connsiteX608" fmla="*/ 8106726 w 10042514"/>
              <a:gd name="connsiteY608" fmla="*/ 7620985 h 13463835"/>
              <a:gd name="connsiteX609" fmla="*/ 7593428 w 10042514"/>
              <a:gd name="connsiteY609" fmla="*/ 7747440 h 13463835"/>
              <a:gd name="connsiteX610" fmla="*/ 7593428 w 10042514"/>
              <a:gd name="connsiteY610" fmla="*/ 7747440 h 13463835"/>
              <a:gd name="connsiteX611" fmla="*/ 7615690 w 10042514"/>
              <a:gd name="connsiteY611" fmla="*/ 7760249 h 13463835"/>
              <a:gd name="connsiteX612" fmla="*/ 7136072 w 10042514"/>
              <a:gd name="connsiteY612" fmla="*/ 7809281 h 13463835"/>
              <a:gd name="connsiteX613" fmla="*/ 7136072 w 10042514"/>
              <a:gd name="connsiteY613" fmla="*/ 7809281 h 13463835"/>
              <a:gd name="connsiteX614" fmla="*/ 7261336 w 10042514"/>
              <a:gd name="connsiteY614" fmla="*/ 7825047 h 13463835"/>
              <a:gd name="connsiteX615" fmla="*/ 7102514 w 10042514"/>
              <a:gd name="connsiteY615" fmla="*/ 7845288 h 13463835"/>
              <a:gd name="connsiteX616" fmla="*/ 7178300 w 10042514"/>
              <a:gd name="connsiteY616" fmla="*/ 7893829 h 13463835"/>
              <a:gd name="connsiteX617" fmla="*/ 7147974 w 10042514"/>
              <a:gd name="connsiteY617" fmla="*/ 7913917 h 13463835"/>
              <a:gd name="connsiteX618" fmla="*/ 7224816 w 10042514"/>
              <a:gd name="connsiteY618" fmla="*/ 7964054 h 13463835"/>
              <a:gd name="connsiteX619" fmla="*/ 7234270 w 10042514"/>
              <a:gd name="connsiteY619" fmla="*/ 7999126 h 13463835"/>
              <a:gd name="connsiteX620" fmla="*/ 7274444 w 10042514"/>
              <a:gd name="connsiteY620" fmla="*/ 8059775 h 13463835"/>
              <a:gd name="connsiteX621" fmla="*/ 7539594 w 10042514"/>
              <a:gd name="connsiteY621" fmla="*/ 8352588 h 13463835"/>
              <a:gd name="connsiteX622" fmla="*/ 8251526 w 10042514"/>
              <a:gd name="connsiteY622" fmla="*/ 9104943 h 13463835"/>
              <a:gd name="connsiteX623" fmla="*/ 8608776 w 10042514"/>
              <a:gd name="connsiteY623" fmla="*/ 9495195 h 13463835"/>
              <a:gd name="connsiteX624" fmla="*/ 8759808 w 10042514"/>
              <a:gd name="connsiteY624" fmla="*/ 9594931 h 13463835"/>
              <a:gd name="connsiteX625" fmla="*/ 9132856 w 10042514"/>
              <a:gd name="connsiteY625" fmla="*/ 10029830 h 13463835"/>
              <a:gd name="connsiteX626" fmla="*/ 9785732 w 10042514"/>
              <a:gd name="connsiteY626" fmla="*/ 10821304 h 13463835"/>
              <a:gd name="connsiteX627" fmla="*/ 9989652 w 10042514"/>
              <a:gd name="connsiteY627" fmla="*/ 11170751 h 13463835"/>
              <a:gd name="connsiteX628" fmla="*/ 9982524 w 10042514"/>
              <a:gd name="connsiteY628" fmla="*/ 11246659 h 13463835"/>
              <a:gd name="connsiteX629" fmla="*/ 9960410 w 10042514"/>
              <a:gd name="connsiteY629" fmla="*/ 11362346 h 13463835"/>
              <a:gd name="connsiteX630" fmla="*/ 9974612 w 10042514"/>
              <a:gd name="connsiteY630" fmla="*/ 11408051 h 13463835"/>
              <a:gd name="connsiteX631" fmla="*/ 9929962 w 10042514"/>
              <a:gd name="connsiteY631" fmla="*/ 11423849 h 13463835"/>
              <a:gd name="connsiteX632" fmla="*/ 9929300 w 10042514"/>
              <a:gd name="connsiteY632" fmla="*/ 11467917 h 13463835"/>
              <a:gd name="connsiteX633" fmla="*/ 9925406 w 10042514"/>
              <a:gd name="connsiteY633" fmla="*/ 11527906 h 13463835"/>
              <a:gd name="connsiteX634" fmla="*/ 9860670 w 10042514"/>
              <a:gd name="connsiteY634" fmla="*/ 11513379 h 13463835"/>
              <a:gd name="connsiteX635" fmla="*/ 9866228 w 10042514"/>
              <a:gd name="connsiteY635" fmla="*/ 11608439 h 13463835"/>
              <a:gd name="connsiteX636" fmla="*/ 9788144 w 10042514"/>
              <a:gd name="connsiteY636" fmla="*/ 11618829 h 13463835"/>
              <a:gd name="connsiteX637" fmla="*/ 9849524 w 10042514"/>
              <a:gd name="connsiteY637" fmla="*/ 11690691 h 13463835"/>
              <a:gd name="connsiteX638" fmla="*/ 9757818 w 10042514"/>
              <a:gd name="connsiteY638" fmla="*/ 11638917 h 13463835"/>
              <a:gd name="connsiteX639" fmla="*/ 9725194 w 10042514"/>
              <a:gd name="connsiteY639" fmla="*/ 11717935 h 13463835"/>
              <a:gd name="connsiteX640" fmla="*/ 9754734 w 10042514"/>
              <a:gd name="connsiteY640" fmla="*/ 11783332 h 13463835"/>
              <a:gd name="connsiteX641" fmla="*/ 9688280 w 10042514"/>
              <a:gd name="connsiteY641" fmla="*/ 11811278 h 13463835"/>
              <a:gd name="connsiteX642" fmla="*/ 9744374 w 10042514"/>
              <a:gd name="connsiteY642" fmla="*/ 11875159 h 13463835"/>
              <a:gd name="connsiteX643" fmla="*/ 9678976 w 10042514"/>
              <a:gd name="connsiteY643" fmla="*/ 11904701 h 13463835"/>
              <a:gd name="connsiteX644" fmla="*/ 9651098 w 10042514"/>
              <a:gd name="connsiteY644" fmla="*/ 11994353 h 13463835"/>
              <a:gd name="connsiteX645" fmla="*/ 9605392 w 10042514"/>
              <a:gd name="connsiteY645" fmla="*/ 12008555 h 13463835"/>
              <a:gd name="connsiteX646" fmla="*/ 9549570 w 10042514"/>
              <a:gd name="connsiteY646" fmla="*/ 12031754 h 13463835"/>
              <a:gd name="connsiteX647" fmla="*/ 9562680 w 10042514"/>
              <a:gd name="connsiteY647" fmla="*/ 12266481 h 13463835"/>
              <a:gd name="connsiteX648" fmla="*/ 9562680 w 10042514"/>
              <a:gd name="connsiteY648" fmla="*/ 12266481 h 13463835"/>
              <a:gd name="connsiteX649" fmla="*/ 9449980 w 10042514"/>
              <a:gd name="connsiteY649" fmla="*/ 12311283 h 13463835"/>
              <a:gd name="connsiteX650" fmla="*/ 9502840 w 10042514"/>
              <a:gd name="connsiteY650" fmla="*/ 12391084 h 13463835"/>
              <a:gd name="connsiteX651" fmla="*/ 9268894 w 10042514"/>
              <a:gd name="connsiteY651" fmla="*/ 12318715 h 13463835"/>
              <a:gd name="connsiteX652" fmla="*/ 9307888 w 10042514"/>
              <a:gd name="connsiteY652" fmla="*/ 12419183 h 13463835"/>
              <a:gd name="connsiteX653" fmla="*/ 9271220 w 10042514"/>
              <a:gd name="connsiteY653" fmla="*/ 12429695 h 13463835"/>
              <a:gd name="connsiteX654" fmla="*/ 9403098 w 10042514"/>
              <a:gd name="connsiteY654" fmla="*/ 12542117 h 13463835"/>
              <a:gd name="connsiteX655" fmla="*/ 9287288 w 10042514"/>
              <a:gd name="connsiteY655" fmla="*/ 12561422 h 13463835"/>
              <a:gd name="connsiteX656" fmla="*/ 9355284 w 10042514"/>
              <a:gd name="connsiteY656" fmla="*/ 12729940 h 13463835"/>
              <a:gd name="connsiteX657" fmla="*/ 9254814 w 10042514"/>
              <a:gd name="connsiteY657" fmla="*/ 12768937 h 13463835"/>
              <a:gd name="connsiteX658" fmla="*/ 9250918 w 10042514"/>
              <a:gd name="connsiteY658" fmla="*/ 12828925 h 13463835"/>
              <a:gd name="connsiteX659" fmla="*/ 9277226 w 10042514"/>
              <a:gd name="connsiteY659" fmla="*/ 12910241 h 13463835"/>
              <a:gd name="connsiteX660" fmla="*/ 9262820 w 10042514"/>
              <a:gd name="connsiteY660" fmla="*/ 12933561 h 13463835"/>
              <a:gd name="connsiteX661" fmla="*/ 9282784 w 10042514"/>
              <a:gd name="connsiteY661" fmla="*/ 13005301 h 13463835"/>
              <a:gd name="connsiteX662" fmla="*/ 9212558 w 10042514"/>
              <a:gd name="connsiteY662" fmla="*/ 13051820 h 13463835"/>
              <a:gd name="connsiteX663" fmla="*/ 9238988 w 10042514"/>
              <a:gd name="connsiteY663" fmla="*/ 13091720 h 13463835"/>
              <a:gd name="connsiteX664" fmla="*/ 9207026 w 10042514"/>
              <a:gd name="connsiteY664" fmla="*/ 13126671 h 13463835"/>
              <a:gd name="connsiteX665" fmla="*/ 9036302 w 10042514"/>
              <a:gd name="connsiteY665" fmla="*/ 13042275 h 13463835"/>
              <a:gd name="connsiteX666" fmla="*/ 8890950 w 10042514"/>
              <a:gd name="connsiteY666" fmla="*/ 12996184 h 13463835"/>
              <a:gd name="connsiteX667" fmla="*/ 8605590 w 10042514"/>
              <a:gd name="connsiteY667" fmla="*/ 12714462 h 13463835"/>
              <a:gd name="connsiteX668" fmla="*/ 8326696 w 10042514"/>
              <a:gd name="connsiteY668" fmla="*/ 12400900 h 13463835"/>
              <a:gd name="connsiteX669" fmla="*/ 7276668 w 10042514"/>
              <a:gd name="connsiteY669" fmla="*/ 11245606 h 13463835"/>
              <a:gd name="connsiteX670" fmla="*/ 6078838 w 10042514"/>
              <a:gd name="connsiteY670" fmla="*/ 9974657 h 13463835"/>
              <a:gd name="connsiteX671" fmla="*/ 6023802 w 10042514"/>
              <a:gd name="connsiteY671" fmla="*/ 9912371 h 13463835"/>
              <a:gd name="connsiteX672" fmla="*/ 6040656 w 10042514"/>
              <a:gd name="connsiteY672" fmla="*/ 9958615 h 13463835"/>
              <a:gd name="connsiteX673" fmla="*/ 6703894 w 10042514"/>
              <a:gd name="connsiteY673" fmla="*/ 10658261 h 13463835"/>
              <a:gd name="connsiteX674" fmla="*/ 7454942 w 10042514"/>
              <a:gd name="connsiteY674" fmla="*/ 11469669 h 13463835"/>
              <a:gd name="connsiteX675" fmla="*/ 8208560 w 10042514"/>
              <a:gd name="connsiteY675" fmla="*/ 12309226 h 13463835"/>
              <a:gd name="connsiteX676" fmla="*/ 8758948 w 10042514"/>
              <a:gd name="connsiteY676" fmla="*/ 12925177 h 13463835"/>
              <a:gd name="connsiteX677" fmla="*/ 8933178 w 10042514"/>
              <a:gd name="connsiteY677" fmla="*/ 13080733 h 13463835"/>
              <a:gd name="connsiteX678" fmla="*/ 8959608 w 10042514"/>
              <a:gd name="connsiteY678" fmla="*/ 13120633 h 13463835"/>
              <a:gd name="connsiteX679" fmla="*/ 9154586 w 10042514"/>
              <a:gd name="connsiteY679" fmla="*/ 13262445 h 13463835"/>
              <a:gd name="connsiteX680" fmla="*/ 9100280 w 10042514"/>
              <a:gd name="connsiteY680" fmla="*/ 13312196 h 13463835"/>
              <a:gd name="connsiteX681" fmla="*/ 9137882 w 10042514"/>
              <a:gd name="connsiteY681" fmla="*/ 13344696 h 13463835"/>
              <a:gd name="connsiteX682" fmla="*/ 9084236 w 10042514"/>
              <a:gd name="connsiteY682" fmla="*/ 13350379 h 13463835"/>
              <a:gd name="connsiteX683" fmla="*/ 9104324 w 10042514"/>
              <a:gd name="connsiteY683" fmla="*/ 13380704 h 13463835"/>
              <a:gd name="connsiteX684" fmla="*/ 9058078 w 10042514"/>
              <a:gd name="connsiteY684" fmla="*/ 13397559 h 13463835"/>
              <a:gd name="connsiteX685" fmla="*/ 9060892 w 10042514"/>
              <a:gd name="connsiteY685" fmla="*/ 13452426 h 13463835"/>
              <a:gd name="connsiteX686" fmla="*/ 9064614 w 10042514"/>
              <a:gd name="connsiteY686" fmla="*/ 13463835 h 13463835"/>
              <a:gd name="connsiteX687" fmla="*/ 8544590 w 10042514"/>
              <a:gd name="connsiteY687" fmla="*/ 13463835 h 13463835"/>
              <a:gd name="connsiteX688" fmla="*/ 8534676 w 10042514"/>
              <a:gd name="connsiteY688" fmla="*/ 13439427 h 13463835"/>
              <a:gd name="connsiteX689" fmla="*/ 8528710 w 10042514"/>
              <a:gd name="connsiteY689" fmla="*/ 13392286 h 13463835"/>
              <a:gd name="connsiteX690" fmla="*/ 8486360 w 10042514"/>
              <a:gd name="connsiteY690" fmla="*/ 13349152 h 13463835"/>
              <a:gd name="connsiteX691" fmla="*/ 8485426 w 10042514"/>
              <a:gd name="connsiteY691" fmla="*/ 13306141 h 13463835"/>
              <a:gd name="connsiteX692" fmla="*/ 8387104 w 10042514"/>
              <a:gd name="connsiteY692" fmla="*/ 13157711 h 13463835"/>
              <a:gd name="connsiteX693" fmla="*/ 7898096 w 10042514"/>
              <a:gd name="connsiteY693" fmla="*/ 12613621 h 13463835"/>
              <a:gd name="connsiteX694" fmla="*/ 7764042 w 10042514"/>
              <a:gd name="connsiteY694" fmla="*/ 12518714 h 13463835"/>
              <a:gd name="connsiteX695" fmla="*/ 7737488 w 10042514"/>
              <a:gd name="connsiteY695" fmla="*/ 12520229 h 13463835"/>
              <a:gd name="connsiteX696" fmla="*/ 7119834 w 10042514"/>
              <a:gd name="connsiteY696" fmla="*/ 11847797 h 13463835"/>
              <a:gd name="connsiteX697" fmla="*/ 7038244 w 10042514"/>
              <a:gd name="connsiteY697" fmla="*/ 11787026 h 13463835"/>
              <a:gd name="connsiteX698" fmla="*/ 7031238 w 10042514"/>
              <a:gd name="connsiteY698" fmla="*/ 11821519 h 13463835"/>
              <a:gd name="connsiteX699" fmla="*/ 6797804 w 10042514"/>
              <a:gd name="connsiteY699" fmla="*/ 11576586 h 13463835"/>
              <a:gd name="connsiteX700" fmla="*/ 6707696 w 10042514"/>
              <a:gd name="connsiteY700" fmla="*/ 11523755 h 13463835"/>
              <a:gd name="connsiteX701" fmla="*/ 7024772 w 10042514"/>
              <a:gd name="connsiteY701" fmla="*/ 11853358 h 13463835"/>
              <a:gd name="connsiteX702" fmla="*/ 7142246 w 10042514"/>
              <a:gd name="connsiteY702" fmla="*/ 11989101 h 13463835"/>
              <a:gd name="connsiteX703" fmla="*/ 7041626 w 10042514"/>
              <a:gd name="connsiteY703" fmla="*/ 11899602 h 13463835"/>
              <a:gd name="connsiteX704" fmla="*/ 6933068 w 10042514"/>
              <a:gd name="connsiteY704" fmla="*/ 11801584 h 13463835"/>
              <a:gd name="connsiteX705" fmla="*/ 6933068 w 10042514"/>
              <a:gd name="connsiteY705" fmla="*/ 11801584 h 13463835"/>
              <a:gd name="connsiteX706" fmla="*/ 7374896 w 10042514"/>
              <a:gd name="connsiteY706" fmla="*/ 12319518 h 13463835"/>
              <a:gd name="connsiteX707" fmla="*/ 7083192 w 10042514"/>
              <a:gd name="connsiteY707" fmla="*/ 12028219 h 13463835"/>
              <a:gd name="connsiteX708" fmla="*/ 6482392 w 10042514"/>
              <a:gd name="connsiteY708" fmla="*/ 11402031 h 13463835"/>
              <a:gd name="connsiteX709" fmla="*/ 6408202 w 10042514"/>
              <a:gd name="connsiteY709" fmla="*/ 11352432 h 13463835"/>
              <a:gd name="connsiteX710" fmla="*/ 6696672 w 10042514"/>
              <a:gd name="connsiteY710" fmla="*/ 11659651 h 13463835"/>
              <a:gd name="connsiteX711" fmla="*/ 6690206 w 10042514"/>
              <a:gd name="connsiteY711" fmla="*/ 11691490 h 13463835"/>
              <a:gd name="connsiteX712" fmla="*/ 6900320 w 10042514"/>
              <a:gd name="connsiteY712" fmla="*/ 11922018 h 13463835"/>
              <a:gd name="connsiteX713" fmla="*/ 6866884 w 10042514"/>
              <a:gd name="connsiteY713" fmla="*/ 11916610 h 13463835"/>
              <a:gd name="connsiteX714" fmla="*/ 6896424 w 10042514"/>
              <a:gd name="connsiteY714" fmla="*/ 11982006 h 13463835"/>
              <a:gd name="connsiteX715" fmla="*/ 6672840 w 10042514"/>
              <a:gd name="connsiteY715" fmla="*/ 11817810 h 13463835"/>
              <a:gd name="connsiteX716" fmla="*/ 6246146 w 10042514"/>
              <a:gd name="connsiteY716" fmla="*/ 11388593 h 13463835"/>
              <a:gd name="connsiteX717" fmla="*/ 6025400 w 10042514"/>
              <a:gd name="connsiteY717" fmla="*/ 11162812 h 13463835"/>
              <a:gd name="connsiteX718" fmla="*/ 5974408 w 10042514"/>
              <a:gd name="connsiteY718" fmla="*/ 11169034 h 13463835"/>
              <a:gd name="connsiteX719" fmla="*/ 5770636 w 10042514"/>
              <a:gd name="connsiteY719" fmla="*/ 10948082 h 13463835"/>
              <a:gd name="connsiteX720" fmla="*/ 4381848 w 10042514"/>
              <a:gd name="connsiteY720" fmla="*/ 9433918 h 13463835"/>
              <a:gd name="connsiteX721" fmla="*/ 4392360 w 10042514"/>
              <a:gd name="connsiteY721" fmla="*/ 9470586 h 13463835"/>
              <a:gd name="connsiteX722" fmla="*/ 5737202 w 10042514"/>
              <a:gd name="connsiteY722" fmla="*/ 10942674 h 13463835"/>
              <a:gd name="connsiteX723" fmla="*/ 5779428 w 10042514"/>
              <a:gd name="connsiteY723" fmla="*/ 11027223 h 13463835"/>
              <a:gd name="connsiteX724" fmla="*/ 5294588 w 10042514"/>
              <a:gd name="connsiteY724" fmla="*/ 10510224 h 13463835"/>
              <a:gd name="connsiteX725" fmla="*/ 5220856 w 10042514"/>
              <a:gd name="connsiteY725" fmla="*/ 10485583 h 13463835"/>
              <a:gd name="connsiteX726" fmla="*/ 5097038 w 10042514"/>
              <a:gd name="connsiteY726" fmla="*/ 10340264 h 13463835"/>
              <a:gd name="connsiteX727" fmla="*/ 4355568 w 10042514"/>
              <a:gd name="connsiteY727" fmla="*/ 9522513 h 13463835"/>
              <a:gd name="connsiteX728" fmla="*/ 4294064 w 10042514"/>
              <a:gd name="connsiteY728" fmla="*/ 9492066 h 13463835"/>
              <a:gd name="connsiteX729" fmla="*/ 5254564 w 10042514"/>
              <a:gd name="connsiteY729" fmla="*/ 10578071 h 13463835"/>
              <a:gd name="connsiteX730" fmla="*/ 5594962 w 10042514"/>
              <a:gd name="connsiteY730" fmla="*/ 10922079 h 13463835"/>
              <a:gd name="connsiteX731" fmla="*/ 5608582 w 10042514"/>
              <a:gd name="connsiteY731" fmla="*/ 10984243 h 13463835"/>
              <a:gd name="connsiteX732" fmla="*/ 3964758 w 10042514"/>
              <a:gd name="connsiteY732" fmla="*/ 9168268 h 13463835"/>
              <a:gd name="connsiteX733" fmla="*/ 3709061 w 10042514"/>
              <a:gd name="connsiteY733" fmla="*/ 8910526 h 13463835"/>
              <a:gd name="connsiteX734" fmla="*/ 3735491 w 10042514"/>
              <a:gd name="connsiteY734" fmla="*/ 8950427 h 13463835"/>
              <a:gd name="connsiteX735" fmla="*/ 4233414 w 10042514"/>
              <a:gd name="connsiteY735" fmla="*/ 9532242 h 13463835"/>
              <a:gd name="connsiteX736" fmla="*/ 4385258 w 10042514"/>
              <a:gd name="connsiteY736" fmla="*/ 9716405 h 13463835"/>
              <a:gd name="connsiteX737" fmla="*/ 3889906 w 10042514"/>
              <a:gd name="connsiteY737" fmla="*/ 9162738 h 13463835"/>
              <a:gd name="connsiteX738" fmla="*/ 3819408 w 10042514"/>
              <a:gd name="connsiteY738" fmla="*/ 9122177 h 13463835"/>
              <a:gd name="connsiteX739" fmla="*/ 4528376 w 10042514"/>
              <a:gd name="connsiteY739" fmla="*/ 9977532 h 13463835"/>
              <a:gd name="connsiteX740" fmla="*/ 5050820 w 10042514"/>
              <a:gd name="connsiteY740" fmla="*/ 10527030 h 13463835"/>
              <a:gd name="connsiteX741" fmla="*/ 5194724 w 10042514"/>
              <a:gd name="connsiteY741" fmla="*/ 10702673 h 13463835"/>
              <a:gd name="connsiteX742" fmla="*/ 4982312 w 10042514"/>
              <a:gd name="connsiteY742" fmla="*/ 10531076 h 13463835"/>
              <a:gd name="connsiteX743" fmla="*/ 4437210 w 10042514"/>
              <a:gd name="connsiteY743" fmla="*/ 9923105 h 13463835"/>
              <a:gd name="connsiteX744" fmla="*/ 4312732 w 10042514"/>
              <a:gd name="connsiteY744" fmla="*/ 9821854 h 13463835"/>
              <a:gd name="connsiteX745" fmla="*/ 3965056 w 10042514"/>
              <a:gd name="connsiteY745" fmla="*/ 9425259 h 13463835"/>
              <a:gd name="connsiteX746" fmla="*/ 3822790 w 10042514"/>
              <a:gd name="connsiteY746" fmla="*/ 9234753 h 13463835"/>
              <a:gd name="connsiteX747" fmla="*/ 3734856 w 10042514"/>
              <a:gd name="connsiteY747" fmla="*/ 9164407 h 13463835"/>
              <a:gd name="connsiteX748" fmla="*/ 3632640 w 10042514"/>
              <a:gd name="connsiteY748" fmla="*/ 9075965 h 13463835"/>
              <a:gd name="connsiteX749" fmla="*/ 4387732 w 10042514"/>
              <a:gd name="connsiteY749" fmla="*/ 9955879 h 13463835"/>
              <a:gd name="connsiteX750" fmla="*/ 5030220 w 10042514"/>
              <a:gd name="connsiteY750" fmla="*/ 10669269 h 13463835"/>
              <a:gd name="connsiteX751" fmla="*/ 5467424 w 10042514"/>
              <a:gd name="connsiteY751" fmla="*/ 11135154 h 13463835"/>
              <a:gd name="connsiteX752" fmla="*/ 5552002 w 10042514"/>
              <a:gd name="connsiteY752" fmla="*/ 11262836 h 13463835"/>
              <a:gd name="connsiteX753" fmla="*/ 5060818 w 10042514"/>
              <a:gd name="connsiteY753" fmla="*/ 10736262 h 13463835"/>
              <a:gd name="connsiteX754" fmla="*/ 4532572 w 10042514"/>
              <a:gd name="connsiteY754" fmla="*/ 10174534 h 13463835"/>
              <a:gd name="connsiteX755" fmla="*/ 4593288 w 10042514"/>
              <a:gd name="connsiteY755" fmla="*/ 10290464 h 13463835"/>
              <a:gd name="connsiteX756" fmla="*/ 5446552 w 10042514"/>
              <a:gd name="connsiteY756" fmla="*/ 11190314 h 13463835"/>
              <a:gd name="connsiteX757" fmla="*/ 5421056 w 10042514"/>
              <a:gd name="connsiteY757" fmla="*/ 11193425 h 13463835"/>
              <a:gd name="connsiteX758" fmla="*/ 5328418 w 10042514"/>
              <a:gd name="connsiteY758" fmla="*/ 11098640 h 13463835"/>
              <a:gd name="connsiteX759" fmla="*/ 2346879 w 10042514"/>
              <a:gd name="connsiteY759" fmla="*/ 7734669 h 13463835"/>
              <a:gd name="connsiteX760" fmla="*/ 2008904 w 10042514"/>
              <a:gd name="connsiteY760" fmla="*/ 7290314 h 13463835"/>
              <a:gd name="connsiteX761" fmla="*/ 1789998 w 10042514"/>
              <a:gd name="connsiteY761" fmla="*/ 6980647 h 13463835"/>
              <a:gd name="connsiteX762" fmla="*/ 1834797 w 10042514"/>
              <a:gd name="connsiteY762" fmla="*/ 7093344 h 13463835"/>
              <a:gd name="connsiteX763" fmla="*/ 1878743 w 10042514"/>
              <a:gd name="connsiteY763" fmla="*/ 7135420 h 13463835"/>
              <a:gd name="connsiteX764" fmla="*/ 2427684 w 10042514"/>
              <a:gd name="connsiteY764" fmla="*/ 7880924 h 13463835"/>
              <a:gd name="connsiteX765" fmla="*/ 2306977 w 10042514"/>
              <a:gd name="connsiteY765" fmla="*/ 7761100 h 13463835"/>
              <a:gd name="connsiteX766" fmla="*/ 1864337 w 10042514"/>
              <a:gd name="connsiteY766" fmla="*/ 7158740 h 13463835"/>
              <a:gd name="connsiteX767" fmla="*/ 1562908 w 10042514"/>
              <a:gd name="connsiteY767" fmla="*/ 6745290 h 13463835"/>
              <a:gd name="connsiteX768" fmla="*/ 1572757 w 10042514"/>
              <a:gd name="connsiteY768" fmla="*/ 6826026 h 13463835"/>
              <a:gd name="connsiteX769" fmla="*/ 1405655 w 10042514"/>
              <a:gd name="connsiteY769" fmla="*/ 6594562 h 13463835"/>
              <a:gd name="connsiteX770" fmla="*/ 1268730 w 10042514"/>
              <a:gd name="connsiteY770" fmla="*/ 6214516 h 13463835"/>
              <a:gd name="connsiteX771" fmla="*/ 1381429 w 10042514"/>
              <a:gd name="connsiteY771" fmla="*/ 6169714 h 13463835"/>
              <a:gd name="connsiteX772" fmla="*/ 1379711 w 10042514"/>
              <a:gd name="connsiteY772" fmla="*/ 6212187 h 13463835"/>
              <a:gd name="connsiteX773" fmla="*/ 1400583 w 10042514"/>
              <a:gd name="connsiteY773" fmla="*/ 6157027 h 13463835"/>
              <a:gd name="connsiteX774" fmla="*/ 1433207 w 10042514"/>
              <a:gd name="connsiteY774" fmla="*/ 6078009 h 13463835"/>
              <a:gd name="connsiteX775" fmla="*/ 1516121 w 10042514"/>
              <a:gd name="connsiteY775" fmla="*/ 6050642 h 13463835"/>
              <a:gd name="connsiteX776" fmla="*/ 1535396 w 10042514"/>
              <a:gd name="connsiteY776" fmla="*/ 5996540 h 13463835"/>
              <a:gd name="connsiteX777" fmla="*/ 1591218 w 10042514"/>
              <a:gd name="connsiteY777" fmla="*/ 5973341 h 13463835"/>
              <a:gd name="connsiteX778" fmla="*/ 1621271 w 10042514"/>
              <a:gd name="connsiteY778" fmla="*/ 5866174 h 13463835"/>
              <a:gd name="connsiteX779" fmla="*/ 1710651 w 10042514"/>
              <a:gd name="connsiteY779" fmla="*/ 5806968 h 13463835"/>
              <a:gd name="connsiteX780" fmla="*/ 1630970 w 10042514"/>
              <a:gd name="connsiteY780" fmla="*/ 5818414 h 13463835"/>
              <a:gd name="connsiteX781" fmla="*/ 1816196 w 10042514"/>
              <a:gd name="connsiteY781" fmla="*/ 5668163 h 13463835"/>
              <a:gd name="connsiteX782" fmla="*/ 1922158 w 10042514"/>
              <a:gd name="connsiteY782" fmla="*/ 5568121 h 13463835"/>
              <a:gd name="connsiteX783" fmla="*/ 1902194 w 10042514"/>
              <a:gd name="connsiteY783" fmla="*/ 5496382 h 13463835"/>
              <a:gd name="connsiteX784" fmla="*/ 2186376 w 10042514"/>
              <a:gd name="connsiteY784" fmla="*/ 5280582 h 13463835"/>
              <a:gd name="connsiteX785" fmla="*/ 2212657 w 10042514"/>
              <a:gd name="connsiteY785" fmla="*/ 5191987 h 13463835"/>
              <a:gd name="connsiteX786" fmla="*/ 2265907 w 10042514"/>
              <a:gd name="connsiteY786" fmla="*/ 5140639 h 13463835"/>
              <a:gd name="connsiteX787" fmla="*/ 2380906 w 10042514"/>
              <a:gd name="connsiteY787" fmla="*/ 5036906 h 13463835"/>
              <a:gd name="connsiteX788" fmla="*/ 2400844 w 10042514"/>
              <a:gd name="connsiteY788" fmla="*/ 4938736 h 13463835"/>
              <a:gd name="connsiteX789" fmla="*/ 2480648 w 10042514"/>
              <a:gd name="connsiteY789" fmla="*/ 4885874 h 13463835"/>
              <a:gd name="connsiteX790" fmla="*/ 2543597 w 10042514"/>
              <a:gd name="connsiteY790" fmla="*/ 4786767 h 13463835"/>
              <a:gd name="connsiteX791" fmla="*/ 2669769 w 10042514"/>
              <a:gd name="connsiteY791" fmla="*/ 4675633 h 13463835"/>
              <a:gd name="connsiteX792" fmla="*/ 2445127 w 10042514"/>
              <a:gd name="connsiteY792" fmla="*/ 4509841 h 13463835"/>
              <a:gd name="connsiteX793" fmla="*/ 2252801 w 10042514"/>
              <a:gd name="connsiteY793" fmla="*/ 4368568 h 13463835"/>
              <a:gd name="connsiteX794" fmla="*/ 2571447 w 10042514"/>
              <a:gd name="connsiteY794" fmla="*/ 4527203 h 13463835"/>
              <a:gd name="connsiteX795" fmla="*/ 2527501 w 10042514"/>
              <a:gd name="connsiteY795" fmla="*/ 4485128 h 13463835"/>
              <a:gd name="connsiteX796" fmla="*/ 1877250 w 10042514"/>
              <a:gd name="connsiteY796" fmla="*/ 4061625 h 13463835"/>
              <a:gd name="connsiteX797" fmla="*/ 1222831 w 10042514"/>
              <a:gd name="connsiteY797" fmla="*/ 3611031 h 13463835"/>
              <a:gd name="connsiteX798" fmla="*/ 570131 w 10042514"/>
              <a:gd name="connsiteY798" fmla="*/ 3117963 h 13463835"/>
              <a:gd name="connsiteX799" fmla="*/ 944209 w 10042514"/>
              <a:gd name="connsiteY799" fmla="*/ 3384548 h 13463835"/>
              <a:gd name="connsiteX800" fmla="*/ 1071921 w 10042514"/>
              <a:gd name="connsiteY800" fmla="*/ 3469880 h 13463835"/>
              <a:gd name="connsiteX801" fmla="*/ 974534 w 10042514"/>
              <a:gd name="connsiteY801" fmla="*/ 3364461 h 13463835"/>
              <a:gd name="connsiteX802" fmla="*/ 150176 w 10042514"/>
              <a:gd name="connsiteY802" fmla="*/ 2743987 h 13463835"/>
              <a:gd name="connsiteX803" fmla="*/ 928017 w 10042514"/>
              <a:gd name="connsiteY803" fmla="*/ 3294236 h 13463835"/>
              <a:gd name="connsiteX804" fmla="*/ 991116 w 10042514"/>
              <a:gd name="connsiteY804" fmla="*/ 3323625 h 13463835"/>
              <a:gd name="connsiteX805" fmla="*/ 937593 w 10042514"/>
              <a:gd name="connsiteY805" fmla="*/ 3287893 h 13463835"/>
              <a:gd name="connsiteX806" fmla="*/ 117525 w 10042514"/>
              <a:gd name="connsiteY806" fmla="*/ 2653096 h 13463835"/>
              <a:gd name="connsiteX807" fmla="*/ 305103 w 10042514"/>
              <a:gd name="connsiteY807" fmla="*/ 2783735 h 13463835"/>
              <a:gd name="connsiteX808" fmla="*/ 497428 w 10042514"/>
              <a:gd name="connsiteY808" fmla="*/ 2925007 h 13463835"/>
              <a:gd name="connsiteX809" fmla="*/ 377779 w 10042514"/>
              <a:gd name="connsiteY809" fmla="*/ 2806780 h 13463835"/>
              <a:gd name="connsiteX810" fmla="*/ 236323 w 10042514"/>
              <a:gd name="connsiteY810" fmla="*/ 2700701 h 13463835"/>
              <a:gd name="connsiteX811" fmla="*/ 368325 w 10042514"/>
              <a:gd name="connsiteY811" fmla="*/ 2771708 h 13463835"/>
              <a:gd name="connsiteX812" fmla="*/ 1095753 w 10042514"/>
              <a:gd name="connsiteY812" fmla="*/ 3311720 h 13463835"/>
              <a:gd name="connsiteX813" fmla="*/ 1392014 w 10042514"/>
              <a:gd name="connsiteY813" fmla="*/ 3498962 h 13463835"/>
              <a:gd name="connsiteX814" fmla="*/ 1354411 w 10042514"/>
              <a:gd name="connsiteY814" fmla="*/ 3466462 h 13463835"/>
              <a:gd name="connsiteX815" fmla="*/ 761038 w 10042514"/>
              <a:gd name="connsiteY815" fmla="*/ 3021358 h 13463835"/>
              <a:gd name="connsiteX816" fmla="*/ 536396 w 10042514"/>
              <a:gd name="connsiteY816" fmla="*/ 2855565 h 13463835"/>
              <a:gd name="connsiteX817" fmla="*/ 676338 w 10042514"/>
              <a:gd name="connsiteY817" fmla="*/ 2935091 h 13463835"/>
              <a:gd name="connsiteX818" fmla="*/ 1349787 w 10042514"/>
              <a:gd name="connsiteY818" fmla="*/ 3414414 h 13463835"/>
              <a:gd name="connsiteX819" fmla="*/ 1622188 w 10042514"/>
              <a:gd name="connsiteY819" fmla="*/ 3589904 h 13463835"/>
              <a:gd name="connsiteX820" fmla="*/ 1433553 w 10042514"/>
              <a:gd name="connsiteY820" fmla="*/ 3457669 h 13463835"/>
              <a:gd name="connsiteX821" fmla="*/ 1249747 w 10042514"/>
              <a:gd name="connsiteY821" fmla="*/ 3308456 h 13463835"/>
              <a:gd name="connsiteX822" fmla="*/ 1589414 w 10042514"/>
              <a:gd name="connsiteY822" fmla="*/ 3540427 h 13463835"/>
              <a:gd name="connsiteX823" fmla="*/ 1707673 w 10042514"/>
              <a:gd name="connsiteY823" fmla="*/ 3590686 h 13463835"/>
              <a:gd name="connsiteX824" fmla="*/ 2101443 w 10042514"/>
              <a:gd name="connsiteY824" fmla="*/ 3841932 h 13463835"/>
              <a:gd name="connsiteX825" fmla="*/ 2164543 w 10042514"/>
              <a:gd name="connsiteY825" fmla="*/ 3871320 h 13463835"/>
              <a:gd name="connsiteX826" fmla="*/ 2068669 w 10042514"/>
              <a:gd name="connsiteY826" fmla="*/ 3792455 h 13463835"/>
              <a:gd name="connsiteX827" fmla="*/ 1253764 w 10042514"/>
              <a:gd name="connsiteY827" fmla="*/ 3207053 h 13463835"/>
              <a:gd name="connsiteX828" fmla="*/ 1947963 w 10042514"/>
              <a:gd name="connsiteY828" fmla="*/ 3672632 h 13463835"/>
              <a:gd name="connsiteX829" fmla="*/ 2046134 w 10042514"/>
              <a:gd name="connsiteY829" fmla="*/ 3692566 h 13463835"/>
              <a:gd name="connsiteX830" fmla="*/ 1238630 w 10042514"/>
              <a:gd name="connsiteY830" fmla="*/ 3118336 h 13463835"/>
              <a:gd name="connsiteX831" fmla="*/ 1185769 w 10042514"/>
              <a:gd name="connsiteY831" fmla="*/ 3038535 h 13463835"/>
              <a:gd name="connsiteX832" fmla="*/ 1736915 w 10042514"/>
              <a:gd name="connsiteY832" fmla="*/ 3399092 h 13463835"/>
              <a:gd name="connsiteX833" fmla="*/ 1839254 w 10042514"/>
              <a:gd name="connsiteY833" fmla="*/ 3446118 h 13463835"/>
              <a:gd name="connsiteX834" fmla="*/ 956503 w 10042514"/>
              <a:gd name="connsiteY834" fmla="*/ 2820694 h 13463835"/>
              <a:gd name="connsiteX835" fmla="*/ 637045 w 10042514"/>
              <a:gd name="connsiteY835" fmla="*/ 2577632 h 13463835"/>
              <a:gd name="connsiteX836" fmla="*/ 549235 w 10042514"/>
              <a:gd name="connsiteY836" fmla="*/ 2465870 h 13463835"/>
              <a:gd name="connsiteX837" fmla="*/ 329422 w 10042514"/>
              <a:gd name="connsiteY837" fmla="*/ 2283101 h 13463835"/>
              <a:gd name="connsiteX838" fmla="*/ 283961 w 10042514"/>
              <a:gd name="connsiteY838" fmla="*/ 2214472 h 13463835"/>
              <a:gd name="connsiteX839" fmla="*/ 152082 w 10042514"/>
              <a:gd name="connsiteY839" fmla="*/ 2102049 h 13463835"/>
              <a:gd name="connsiteX840" fmla="*/ 32432 w 10042514"/>
              <a:gd name="connsiteY840" fmla="*/ 1983822 h 13463835"/>
              <a:gd name="connsiteX841" fmla="*/ 182407 w 10042514"/>
              <a:gd name="connsiteY841" fmla="*/ 2081962 h 13463835"/>
              <a:gd name="connsiteX842" fmla="*/ 116859 w 10042514"/>
              <a:gd name="connsiteY842" fmla="*/ 1983008 h 13463835"/>
              <a:gd name="connsiteX843" fmla="*/ 412458 w 10042514"/>
              <a:gd name="connsiteY843" fmla="*/ 2214319 h 13463835"/>
              <a:gd name="connsiteX844" fmla="*/ 412581 w 10042514"/>
              <a:gd name="connsiteY844" fmla="*/ 2172903 h 13463835"/>
              <a:gd name="connsiteX845" fmla="*/ 283935 w 10042514"/>
              <a:gd name="connsiteY845" fmla="*/ 2044561 h 13463835"/>
              <a:gd name="connsiteX846" fmla="*/ 57778 w 10042514"/>
              <a:gd name="connsiteY846" fmla="*/ 1852215 h 13463835"/>
              <a:gd name="connsiteX847" fmla="*/ 185491 w 10042514"/>
              <a:gd name="connsiteY847" fmla="*/ 1937546 h 13463835"/>
              <a:gd name="connsiteX848" fmla="*/ 323837 w 10042514"/>
              <a:gd name="connsiteY848" fmla="*/ 2018129 h 13463835"/>
              <a:gd name="connsiteX849" fmla="*/ 165527 w 10042514"/>
              <a:gd name="connsiteY849" fmla="*/ 1865807 h 13463835"/>
              <a:gd name="connsiteX850" fmla="*/ 294 w 10042514"/>
              <a:gd name="connsiteY850" fmla="*/ 1720366 h 13463835"/>
              <a:gd name="connsiteX851" fmla="*/ 176699 w 10042514"/>
              <a:gd name="connsiteY851" fmla="*/ 1858406 h 13463835"/>
              <a:gd name="connsiteX852" fmla="*/ 185342 w 10042514"/>
              <a:gd name="connsiteY852" fmla="*/ 1809051 h 13463835"/>
              <a:gd name="connsiteX853" fmla="*/ 239921 w 10042514"/>
              <a:gd name="connsiteY853" fmla="*/ 1846379 h 13463835"/>
              <a:gd name="connsiteX854" fmla="*/ 281337 w 10042514"/>
              <a:gd name="connsiteY854" fmla="*/ 1846501 h 13463835"/>
              <a:gd name="connsiteX855" fmla="*/ 144710 w 10042514"/>
              <a:gd name="connsiteY855" fmla="*/ 1723446 h 13463835"/>
              <a:gd name="connsiteX856" fmla="*/ 169272 w 10042514"/>
              <a:gd name="connsiteY856" fmla="*/ 1677323 h 13463835"/>
              <a:gd name="connsiteX857" fmla="*/ 183016 w 10042514"/>
              <a:gd name="connsiteY857" fmla="*/ 1698072 h 13463835"/>
              <a:gd name="connsiteX858" fmla="*/ 169272 w 10042514"/>
              <a:gd name="connsiteY858" fmla="*/ 1677323 h 13463835"/>
              <a:gd name="connsiteX859" fmla="*/ 88739 w 10042514"/>
              <a:gd name="connsiteY859" fmla="*/ 1618149 h 13463835"/>
              <a:gd name="connsiteX860" fmla="*/ 143899 w 10042514"/>
              <a:gd name="connsiteY860" fmla="*/ 1639018 h 13463835"/>
              <a:gd name="connsiteX861" fmla="*/ 314623 w 10042514"/>
              <a:gd name="connsiteY861" fmla="*/ 1723414 h 13463835"/>
              <a:gd name="connsiteX862" fmla="*/ 199720 w 10042514"/>
              <a:gd name="connsiteY862" fmla="*/ 1615820 h 13463835"/>
              <a:gd name="connsiteX863" fmla="*/ 110853 w 10042514"/>
              <a:gd name="connsiteY863" fmla="*/ 1502462 h 13463835"/>
              <a:gd name="connsiteX864" fmla="*/ 245965 w 10042514"/>
              <a:gd name="connsiteY864" fmla="*/ 1598965 h 13463835"/>
              <a:gd name="connsiteX865" fmla="*/ 643903 w 10042514"/>
              <a:gd name="connsiteY865" fmla="*/ 1877301 h 13463835"/>
              <a:gd name="connsiteX866" fmla="*/ 781192 w 10042514"/>
              <a:gd name="connsiteY866" fmla="*/ 1956289 h 13463835"/>
              <a:gd name="connsiteX867" fmla="*/ 559203 w 10042514"/>
              <a:gd name="connsiteY867" fmla="*/ 1791036 h 13463835"/>
              <a:gd name="connsiteX868" fmla="*/ 220320 w 10042514"/>
              <a:gd name="connsiteY868" fmla="*/ 1473580 h 13463835"/>
              <a:gd name="connsiteX869" fmla="*/ 332235 w 10042514"/>
              <a:gd name="connsiteY869" fmla="*/ 1514263 h 13463835"/>
              <a:gd name="connsiteX870" fmla="*/ 152324 w 10042514"/>
              <a:gd name="connsiteY870" fmla="*/ 1305063 h 13463835"/>
              <a:gd name="connsiteX871" fmla="*/ 394523 w 10042514"/>
              <a:gd name="connsiteY871" fmla="*/ 1459226 h 13463835"/>
              <a:gd name="connsiteX872" fmla="*/ 394251 w 10042514"/>
              <a:gd name="connsiteY872" fmla="*/ 1372145 h 13463835"/>
              <a:gd name="connsiteX873" fmla="*/ 400594 w 10042514"/>
              <a:gd name="connsiteY873" fmla="*/ 1381721 h 13463835"/>
              <a:gd name="connsiteX874" fmla="*/ 394251 w 10042514"/>
              <a:gd name="connsiteY874" fmla="*/ 1372145 h 13463835"/>
              <a:gd name="connsiteX875" fmla="*/ 375220 w 10042514"/>
              <a:gd name="connsiteY875" fmla="*/ 1343417 h 13463835"/>
              <a:gd name="connsiteX876" fmla="*/ 447896 w 10042514"/>
              <a:gd name="connsiteY876" fmla="*/ 1366462 h 13463835"/>
              <a:gd name="connsiteX877" fmla="*/ 553345 w 10042514"/>
              <a:gd name="connsiteY877" fmla="*/ 1438984 h 13463835"/>
              <a:gd name="connsiteX878" fmla="*/ 1609808 w 10042514"/>
              <a:gd name="connsiteY878" fmla="*/ 2215715 h 13463835"/>
              <a:gd name="connsiteX879" fmla="*/ 1609808 w 10042514"/>
              <a:gd name="connsiteY879" fmla="*/ 2215715 h 13463835"/>
              <a:gd name="connsiteX880" fmla="*/ 1197131 w 10042514"/>
              <a:gd name="connsiteY880" fmla="*/ 1894327 h 13463835"/>
              <a:gd name="connsiteX881" fmla="*/ 766542 w 10042514"/>
              <a:gd name="connsiteY881" fmla="*/ 1525097 h 13463835"/>
              <a:gd name="connsiteX882" fmla="*/ 510723 w 10042514"/>
              <a:gd name="connsiteY882" fmla="*/ 1308771 h 13463835"/>
              <a:gd name="connsiteX883" fmla="*/ 642725 w 10042514"/>
              <a:gd name="connsiteY883" fmla="*/ 1379778 h 13463835"/>
              <a:gd name="connsiteX884" fmla="*/ 642725 w 10042514"/>
              <a:gd name="connsiteY884" fmla="*/ 1379778 h 13463835"/>
              <a:gd name="connsiteX885" fmla="*/ 346192 w 10042514"/>
              <a:gd name="connsiteY885" fmla="*/ 1105457 h 13463835"/>
              <a:gd name="connsiteX886" fmla="*/ 386094 w 10042514"/>
              <a:gd name="connsiteY886" fmla="*/ 1079026 h 13463835"/>
              <a:gd name="connsiteX887" fmla="*/ 215097 w 10042514"/>
              <a:gd name="connsiteY887" fmla="*/ 907550 h 13463835"/>
              <a:gd name="connsiteX888" fmla="*/ 362897 w 10042514"/>
              <a:gd name="connsiteY888" fmla="*/ 1023205 h 13463835"/>
              <a:gd name="connsiteX889" fmla="*/ 510696 w 10042514"/>
              <a:gd name="connsiteY889" fmla="*/ 1138861 h 13463835"/>
              <a:gd name="connsiteX890" fmla="*/ 442039 w 10042514"/>
              <a:gd name="connsiteY890" fmla="*/ 1014411 h 13463835"/>
              <a:gd name="connsiteX891" fmla="*/ 672090 w 10042514"/>
              <a:gd name="connsiteY891" fmla="*/ 1146768 h 13463835"/>
              <a:gd name="connsiteX892" fmla="*/ 406817 w 10042514"/>
              <a:gd name="connsiteY892" fmla="*/ 895370 h 13463835"/>
              <a:gd name="connsiteX893" fmla="*/ 232587 w 10042514"/>
              <a:gd name="connsiteY893" fmla="*/ 739814 h 13463835"/>
              <a:gd name="connsiteX894" fmla="*/ 456172 w 10042514"/>
              <a:gd name="connsiteY894" fmla="*/ 904011 h 13463835"/>
              <a:gd name="connsiteX895" fmla="*/ 499307 w 10042514"/>
              <a:gd name="connsiteY895" fmla="*/ 861660 h 13463835"/>
              <a:gd name="connsiteX896" fmla="*/ 665597 w 10042514"/>
              <a:gd name="connsiteY896" fmla="*/ 1008697 h 13463835"/>
              <a:gd name="connsiteX897" fmla="*/ 724529 w 10042514"/>
              <a:gd name="connsiteY897" fmla="*/ 1010994 h 13463835"/>
              <a:gd name="connsiteX898" fmla="*/ 906821 w 10042514"/>
              <a:gd name="connsiteY898" fmla="*/ 1133653 h 13463835"/>
              <a:gd name="connsiteX899" fmla="*/ 1276609 w 10042514"/>
              <a:gd name="connsiteY899" fmla="*/ 1414562 h 13463835"/>
              <a:gd name="connsiteX900" fmla="*/ 1276609 w 10042514"/>
              <a:gd name="connsiteY900" fmla="*/ 1414562 h 13463835"/>
              <a:gd name="connsiteX901" fmla="*/ 915463 w 10042514"/>
              <a:gd name="connsiteY901" fmla="*/ 1084298 h 13463835"/>
              <a:gd name="connsiteX902" fmla="*/ 725314 w 10042514"/>
              <a:gd name="connsiteY902" fmla="*/ 925510 h 13463835"/>
              <a:gd name="connsiteX903" fmla="*/ 601496 w 10042514"/>
              <a:gd name="connsiteY903" fmla="*/ 780192 h 13463835"/>
              <a:gd name="connsiteX904" fmla="*/ 788535 w 10042514"/>
              <a:gd name="connsiteY904" fmla="*/ 913484 h 13463835"/>
              <a:gd name="connsiteX905" fmla="*/ 825204 w 10042514"/>
              <a:gd name="connsiteY905" fmla="*/ 902973 h 13463835"/>
              <a:gd name="connsiteX906" fmla="*/ 979347 w 10042514"/>
              <a:gd name="connsiteY906" fmla="*/ 1028204 h 13463835"/>
              <a:gd name="connsiteX907" fmla="*/ 1136722 w 10042514"/>
              <a:gd name="connsiteY907" fmla="*/ 1137515 h 13463835"/>
              <a:gd name="connsiteX908" fmla="*/ 1110292 w 10042514"/>
              <a:gd name="connsiteY908" fmla="*/ 1097615 h 13463835"/>
              <a:gd name="connsiteX909" fmla="*/ 1156537 w 10042514"/>
              <a:gd name="connsiteY909" fmla="*/ 1080760 h 13463835"/>
              <a:gd name="connsiteX910" fmla="*/ 873748 w 10042514"/>
              <a:gd name="connsiteY910" fmla="*/ 827187 h 13463835"/>
              <a:gd name="connsiteX911" fmla="*/ 1146149 w 10042514"/>
              <a:gd name="connsiteY911" fmla="*/ 1002676 h 13463835"/>
              <a:gd name="connsiteX912" fmla="*/ 1122952 w 10042514"/>
              <a:gd name="connsiteY912" fmla="*/ 946856 h 13463835"/>
              <a:gd name="connsiteX913" fmla="*/ 1728555 w 10042514"/>
              <a:gd name="connsiteY913" fmla="*/ 1386157 h 13463835"/>
              <a:gd name="connsiteX914" fmla="*/ 2563731 w 10042514"/>
              <a:gd name="connsiteY914" fmla="*/ 1939760 h 13463835"/>
              <a:gd name="connsiteX915" fmla="*/ 2563731 w 10042514"/>
              <a:gd name="connsiteY915" fmla="*/ 1939760 h 13463835"/>
              <a:gd name="connsiteX916" fmla="*/ 1982588 w 10042514"/>
              <a:gd name="connsiteY916" fmla="*/ 1488850 h 13463835"/>
              <a:gd name="connsiteX917" fmla="*/ 2356728 w 10042514"/>
              <a:gd name="connsiteY917" fmla="*/ 1734727 h 13463835"/>
              <a:gd name="connsiteX918" fmla="*/ 2348870 w 10042514"/>
              <a:gd name="connsiteY918" fmla="*/ 1698598 h 13463835"/>
              <a:gd name="connsiteX919" fmla="*/ 1094858 w 10042514"/>
              <a:gd name="connsiteY919" fmla="*/ 751908 h 13463835"/>
              <a:gd name="connsiteX920" fmla="*/ 860763 w 10042514"/>
              <a:gd name="connsiteY920" fmla="*/ 551043 h 13463835"/>
              <a:gd name="connsiteX921" fmla="*/ 895256 w 10042514"/>
              <a:gd name="connsiteY921" fmla="*/ 558047 h 13463835"/>
              <a:gd name="connsiteX922" fmla="*/ 1143675 w 10042514"/>
              <a:gd name="connsiteY922" fmla="*/ 763201 h 13463835"/>
              <a:gd name="connsiteX923" fmla="*/ 1396923 w 10042514"/>
              <a:gd name="connsiteY923" fmla="*/ 951378 h 13463835"/>
              <a:gd name="connsiteX924" fmla="*/ 1439935 w 10042514"/>
              <a:gd name="connsiteY924" fmla="*/ 950443 h 13463835"/>
              <a:gd name="connsiteX925" fmla="*/ 1655581 w 10042514"/>
              <a:gd name="connsiteY925" fmla="*/ 1106120 h 13463835"/>
              <a:gd name="connsiteX926" fmla="*/ 1709226 w 10042514"/>
              <a:gd name="connsiteY926" fmla="*/ 1100437 h 13463835"/>
              <a:gd name="connsiteX927" fmla="*/ 1722874 w 10042514"/>
              <a:gd name="connsiteY927" fmla="*/ 1108907 h 13463835"/>
              <a:gd name="connsiteX928" fmla="*/ 1733308 w 10042514"/>
              <a:gd name="connsiteY928" fmla="*/ 1119373 h 13463835"/>
              <a:gd name="connsiteX929" fmla="*/ 1726124 w 10042514"/>
              <a:gd name="connsiteY929" fmla="*/ 1115330 h 13463835"/>
              <a:gd name="connsiteX930" fmla="*/ 1746829 w 10042514"/>
              <a:gd name="connsiteY930" fmla="*/ 1132938 h 13463835"/>
              <a:gd name="connsiteX931" fmla="*/ 1816851 w 10042514"/>
              <a:gd name="connsiteY931" fmla="*/ 1155444 h 13463835"/>
              <a:gd name="connsiteX932" fmla="*/ 1594862 w 10042514"/>
              <a:gd name="connsiteY932" fmla="*/ 990191 h 13463835"/>
              <a:gd name="connsiteX933" fmla="*/ 1571665 w 10042514"/>
              <a:gd name="connsiteY933" fmla="*/ 934370 h 13463835"/>
              <a:gd name="connsiteX934" fmla="*/ 1384749 w 10042514"/>
              <a:gd name="connsiteY934" fmla="*/ 759663 h 13463835"/>
              <a:gd name="connsiteX935" fmla="*/ 1095493 w 10042514"/>
              <a:gd name="connsiteY935" fmla="*/ 537928 h 13463835"/>
              <a:gd name="connsiteX936" fmla="*/ 1174635 w 10042514"/>
              <a:gd name="connsiteY936" fmla="*/ 529134 h 13463835"/>
              <a:gd name="connsiteX937" fmla="*/ 1266340 w 10042514"/>
              <a:gd name="connsiteY937" fmla="*/ 580908 h 13463835"/>
              <a:gd name="connsiteX938" fmla="*/ 1411030 w 10042514"/>
              <a:gd name="connsiteY938" fmla="*/ 671067 h 13463835"/>
              <a:gd name="connsiteX939" fmla="*/ 1597012 w 10042514"/>
              <a:gd name="connsiteY939" fmla="*/ 802764 h 13463835"/>
              <a:gd name="connsiteX940" fmla="*/ 2526942 w 10042514"/>
              <a:gd name="connsiteY940" fmla="*/ 1454345 h 13463835"/>
              <a:gd name="connsiteX941" fmla="*/ 2714520 w 10042514"/>
              <a:gd name="connsiteY941" fmla="*/ 1584984 h 13463835"/>
              <a:gd name="connsiteX942" fmla="*/ 2604904 w 10042514"/>
              <a:gd name="connsiteY942" fmla="*/ 1485370 h 13463835"/>
              <a:gd name="connsiteX943" fmla="*/ 1979692 w 10042514"/>
              <a:gd name="connsiteY943" fmla="*/ 1033800 h 13463835"/>
              <a:gd name="connsiteX944" fmla="*/ 1726442 w 10042514"/>
              <a:gd name="connsiteY944" fmla="*/ 845622 h 13463835"/>
              <a:gd name="connsiteX945" fmla="*/ 1733571 w 10042514"/>
              <a:gd name="connsiteY945" fmla="*/ 769714 h 13463835"/>
              <a:gd name="connsiteX946" fmla="*/ 1625012 w 10042514"/>
              <a:gd name="connsiteY946" fmla="*/ 671697 h 13463835"/>
              <a:gd name="connsiteX947" fmla="*/ 1526568 w 10042514"/>
              <a:gd name="connsiteY947" fmla="*/ 564682 h 13463835"/>
              <a:gd name="connsiteX948" fmla="*/ 1158416 w 10042514"/>
              <a:gd name="connsiteY948" fmla="*/ 268911 h 13463835"/>
              <a:gd name="connsiteX949" fmla="*/ 1040281 w 10042514"/>
              <a:gd name="connsiteY949" fmla="*/ 177236 h 13463835"/>
              <a:gd name="connsiteX950" fmla="*/ 1131986 w 10042514"/>
              <a:gd name="connsiteY950" fmla="*/ 229010 h 13463835"/>
              <a:gd name="connsiteX951" fmla="*/ 1441328 w 10042514"/>
              <a:gd name="connsiteY951" fmla="*/ 481069 h 13463835"/>
              <a:gd name="connsiteX952" fmla="*/ 1500260 w 10042514"/>
              <a:gd name="connsiteY952" fmla="*/ 483366 h 13463835"/>
              <a:gd name="connsiteX953" fmla="*/ 1612053 w 10042514"/>
              <a:gd name="connsiteY953" fmla="*/ 565464 h 13463835"/>
              <a:gd name="connsiteX954" fmla="*/ 1708048 w 10042514"/>
              <a:gd name="connsiteY954" fmla="*/ 602914 h 13463835"/>
              <a:gd name="connsiteX955" fmla="*/ 1544329 w 10042514"/>
              <a:gd name="connsiteY955" fmla="*/ 484027 h 13463835"/>
              <a:gd name="connsiteX956" fmla="*/ 1497812 w 10042514"/>
              <a:gd name="connsiteY956" fmla="*/ 413802 h 13463835"/>
              <a:gd name="connsiteX957" fmla="*/ 1428369 w 10042514"/>
              <a:gd name="connsiteY957" fmla="*/ 374837 h 13463835"/>
              <a:gd name="connsiteX958" fmla="*/ 1382909 w 10042514"/>
              <a:gd name="connsiteY958" fmla="*/ 306207 h 13463835"/>
              <a:gd name="connsiteX959" fmla="*/ 1221366 w 10042514"/>
              <a:gd name="connsiteY959" fmla="*/ 169804 h 13463835"/>
              <a:gd name="connsiteX960" fmla="*/ 1075785 w 10042514"/>
              <a:gd name="connsiteY960" fmla="*/ 36318 h 13463835"/>
              <a:gd name="connsiteX961" fmla="*/ 1035861 w 10042514"/>
              <a:gd name="connsiteY961" fmla="*/ 6002 h 13463835"/>
              <a:gd name="connsiteX962" fmla="*/ 1025997 w 10042514"/>
              <a:gd name="connsiteY962" fmla="*/ 8661 h 13463835"/>
              <a:gd name="connsiteX963" fmla="*/ 1035861 w 10042514"/>
              <a:gd name="connsiteY963" fmla="*/ 6002 h 13463835"/>
              <a:gd name="connsiteX964" fmla="*/ 1049633 w 10042514"/>
              <a:gd name="connsiteY964" fmla="*/ 2138 h 13463835"/>
              <a:gd name="connsiteX965" fmla="*/ 1040793 w 10042514"/>
              <a:gd name="connsiteY965" fmla="*/ 4673 h 13463835"/>
              <a:gd name="connsiteX966" fmla="*/ 1045950 w 10042514"/>
              <a:gd name="connsiteY966" fmla="*/ 3194 h 13463835"/>
              <a:gd name="connsiteX967" fmla="*/ 1056263 w 10042514"/>
              <a:gd name="connsiteY967" fmla="*/ 238 h 13463835"/>
              <a:gd name="connsiteX968" fmla="*/ 1054544 w 10042514"/>
              <a:gd name="connsiteY968" fmla="*/ 731 h 13463835"/>
              <a:gd name="connsiteX969" fmla="*/ 1049633 w 10042514"/>
              <a:gd name="connsiteY969" fmla="*/ 2138 h 13463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Lst>
            <a:rect l="l" t="t" r="r" b="b"/>
            <a:pathLst>
              <a:path w="10042514" h="13463835">
                <a:moveTo>
                  <a:pt x="8412140" y="13429192"/>
                </a:moveTo>
                <a:lnTo>
                  <a:pt x="8418964" y="13433138"/>
                </a:lnTo>
                <a:cubicBezTo>
                  <a:pt x="8424872" y="13436938"/>
                  <a:pt x="8427424" y="13439302"/>
                  <a:pt x="8422700" y="13436368"/>
                </a:cubicBezTo>
                <a:close/>
                <a:moveTo>
                  <a:pt x="8409666" y="13427511"/>
                </a:moveTo>
                <a:lnTo>
                  <a:pt x="8412140" y="13429192"/>
                </a:lnTo>
                <a:lnTo>
                  <a:pt x="8410128" y="13428029"/>
                </a:lnTo>
                <a:close/>
                <a:moveTo>
                  <a:pt x="8382958" y="13419368"/>
                </a:moveTo>
                <a:cubicBezTo>
                  <a:pt x="8390112" y="13418791"/>
                  <a:pt x="8399792" y="13422570"/>
                  <a:pt x="8408076" y="13426842"/>
                </a:cubicBezTo>
                <a:lnTo>
                  <a:pt x="8410128" y="13428029"/>
                </a:lnTo>
                <a:lnTo>
                  <a:pt x="8442062" y="13463835"/>
                </a:lnTo>
                <a:lnTo>
                  <a:pt x="8389842" y="13463835"/>
                </a:lnTo>
                <a:lnTo>
                  <a:pt x="8381806" y="13453818"/>
                </a:lnTo>
                <a:cubicBezTo>
                  <a:pt x="8376664" y="13446752"/>
                  <a:pt x="8373386" y="13441209"/>
                  <a:pt x="8372998" y="13438022"/>
                </a:cubicBezTo>
                <a:cubicBezTo>
                  <a:pt x="8371178" y="13424875"/>
                  <a:pt x="8375806" y="13419944"/>
                  <a:pt x="8382958" y="13419368"/>
                </a:cubicBezTo>
                <a:close/>
                <a:moveTo>
                  <a:pt x="9153056" y="13177203"/>
                </a:moveTo>
                <a:cubicBezTo>
                  <a:pt x="9167914" y="13177695"/>
                  <a:pt x="9193554" y="13193002"/>
                  <a:pt x="9193554" y="13193002"/>
                </a:cubicBezTo>
                <a:cubicBezTo>
                  <a:pt x="9213640" y="13223327"/>
                  <a:pt x="9140966" y="13200281"/>
                  <a:pt x="9143142" y="13182766"/>
                </a:cubicBezTo>
                <a:cubicBezTo>
                  <a:pt x="9144350" y="13178522"/>
                  <a:pt x="9148104" y="13177039"/>
                  <a:pt x="9153056" y="13177203"/>
                </a:cubicBezTo>
                <a:close/>
                <a:moveTo>
                  <a:pt x="9018662" y="13081515"/>
                </a:moveTo>
                <a:cubicBezTo>
                  <a:pt x="9018662" y="13081515"/>
                  <a:pt x="9148094" y="13124373"/>
                  <a:pt x="9144860" y="13140293"/>
                </a:cubicBezTo>
                <a:cubicBezTo>
                  <a:pt x="9151204" y="13149869"/>
                  <a:pt x="9019596" y="13124527"/>
                  <a:pt x="9018662" y="13081515"/>
                </a:cubicBezTo>
                <a:close/>
                <a:moveTo>
                  <a:pt x="7452400" y="12325586"/>
                </a:moveTo>
                <a:cubicBezTo>
                  <a:pt x="7490584" y="12341628"/>
                  <a:pt x="7524414" y="12392700"/>
                  <a:pt x="7556130" y="12440581"/>
                </a:cubicBezTo>
                <a:cubicBezTo>
                  <a:pt x="7517948" y="12424540"/>
                  <a:pt x="7485174" y="12375063"/>
                  <a:pt x="7452400" y="12325586"/>
                </a:cubicBezTo>
                <a:close/>
                <a:moveTo>
                  <a:pt x="7387688" y="12311043"/>
                </a:moveTo>
                <a:cubicBezTo>
                  <a:pt x="7386268" y="12311985"/>
                  <a:pt x="7382478" y="12314496"/>
                  <a:pt x="7374896" y="12319518"/>
                </a:cubicBezTo>
                <a:cubicBezTo>
                  <a:pt x="7374896" y="12319518"/>
                  <a:pt x="7391954" y="12308218"/>
                  <a:pt x="7387688" y="12311043"/>
                </a:cubicBezTo>
                <a:close/>
                <a:moveTo>
                  <a:pt x="8118044" y="12289961"/>
                </a:moveTo>
                <a:cubicBezTo>
                  <a:pt x="8099886" y="12294238"/>
                  <a:pt x="8196318" y="12408614"/>
                  <a:pt x="8260636" y="12474511"/>
                </a:cubicBezTo>
                <a:cubicBezTo>
                  <a:pt x="8350042" y="12585215"/>
                  <a:pt x="8470750" y="12705039"/>
                  <a:pt x="8549646" y="12779076"/>
                </a:cubicBezTo>
                <a:cubicBezTo>
                  <a:pt x="8605740" y="12842957"/>
                  <a:pt x="8713638" y="12985043"/>
                  <a:pt x="8701612" y="12921823"/>
                </a:cubicBezTo>
                <a:cubicBezTo>
                  <a:pt x="8707022" y="12888388"/>
                  <a:pt x="8595228" y="12806289"/>
                  <a:pt x="8552878" y="12763156"/>
                </a:cubicBezTo>
                <a:cubicBezTo>
                  <a:pt x="8471412" y="12660970"/>
                  <a:pt x="8286794" y="12427331"/>
                  <a:pt x="8179832" y="12328256"/>
                </a:cubicBezTo>
                <a:cubicBezTo>
                  <a:pt x="8142882" y="12299342"/>
                  <a:pt x="8124098" y="12288535"/>
                  <a:pt x="8118044" y="12289961"/>
                </a:cubicBezTo>
                <a:close/>
                <a:moveTo>
                  <a:pt x="7420570" y="12282410"/>
                </a:moveTo>
                <a:cubicBezTo>
                  <a:pt x="7430008" y="12289182"/>
                  <a:pt x="7433714" y="12315576"/>
                  <a:pt x="7452400" y="12325586"/>
                </a:cubicBezTo>
                <a:cubicBezTo>
                  <a:pt x="7431652" y="12339331"/>
                  <a:pt x="7414796" y="12293087"/>
                  <a:pt x="7408454" y="12283511"/>
                </a:cubicBezTo>
                <a:cubicBezTo>
                  <a:pt x="7413640" y="12280075"/>
                  <a:pt x="7417424" y="12280152"/>
                  <a:pt x="7420570" y="12282410"/>
                </a:cubicBezTo>
                <a:close/>
                <a:moveTo>
                  <a:pt x="7359760" y="12230801"/>
                </a:moveTo>
                <a:cubicBezTo>
                  <a:pt x="7380510" y="12217057"/>
                  <a:pt x="7386190" y="12270702"/>
                  <a:pt x="7408454" y="12283511"/>
                </a:cubicBezTo>
                <a:cubicBezTo>
                  <a:pt x="7389300" y="12296197"/>
                  <a:pt x="7382024" y="12243610"/>
                  <a:pt x="7359760" y="12230801"/>
                </a:cubicBezTo>
                <a:close/>
                <a:moveTo>
                  <a:pt x="7254972" y="12114211"/>
                </a:moveTo>
                <a:cubicBezTo>
                  <a:pt x="7294214" y="12131848"/>
                  <a:pt x="7326986" y="12181324"/>
                  <a:pt x="7359760" y="12230801"/>
                </a:cubicBezTo>
                <a:cubicBezTo>
                  <a:pt x="7320520" y="12213164"/>
                  <a:pt x="7287746" y="12163687"/>
                  <a:pt x="7254972" y="12114211"/>
                </a:cubicBezTo>
                <a:close/>
                <a:moveTo>
                  <a:pt x="7231028" y="12105852"/>
                </a:moveTo>
                <a:cubicBezTo>
                  <a:pt x="7223048" y="12103066"/>
                  <a:pt x="7254972" y="12114211"/>
                  <a:pt x="7254972" y="12114211"/>
                </a:cubicBezTo>
                <a:cubicBezTo>
                  <a:pt x="7240784" y="12109258"/>
                  <a:pt x="7233690" y="12106781"/>
                  <a:pt x="7231028" y="12105852"/>
                </a:cubicBezTo>
                <a:close/>
                <a:moveTo>
                  <a:pt x="7166290" y="12005897"/>
                </a:moveTo>
                <a:cubicBezTo>
                  <a:pt x="7173516" y="12008573"/>
                  <a:pt x="7184368" y="12019756"/>
                  <a:pt x="7191998" y="12043406"/>
                </a:cubicBezTo>
                <a:cubicBezTo>
                  <a:pt x="7201450" y="12078478"/>
                  <a:pt x="7168676" y="12029001"/>
                  <a:pt x="7162334" y="12019425"/>
                </a:cubicBezTo>
                <a:cubicBezTo>
                  <a:pt x="7155462" y="12009051"/>
                  <a:pt x="7159064" y="12003221"/>
                  <a:pt x="7166290" y="12005897"/>
                </a:cubicBezTo>
                <a:close/>
                <a:moveTo>
                  <a:pt x="6359306" y="11278617"/>
                </a:moveTo>
                <a:cubicBezTo>
                  <a:pt x="6352140" y="11278197"/>
                  <a:pt x="6345766" y="11278975"/>
                  <a:pt x="6345766" y="11278975"/>
                </a:cubicBezTo>
                <a:cubicBezTo>
                  <a:pt x="6342532" y="11294895"/>
                  <a:pt x="6397692" y="11315765"/>
                  <a:pt x="6377604" y="11285440"/>
                </a:cubicBezTo>
                <a:cubicBezTo>
                  <a:pt x="6374434" y="11280652"/>
                  <a:pt x="6366474" y="11279036"/>
                  <a:pt x="6359306" y="11278617"/>
                </a:cubicBezTo>
                <a:close/>
                <a:moveTo>
                  <a:pt x="10026292" y="11222650"/>
                </a:moveTo>
                <a:cubicBezTo>
                  <a:pt x="10029400" y="11221492"/>
                  <a:pt x="10033374" y="11221587"/>
                  <a:pt x="10038346" y="11223460"/>
                </a:cubicBezTo>
                <a:cubicBezTo>
                  <a:pt x="10047922" y="11217117"/>
                  <a:pt x="10036170" y="11240976"/>
                  <a:pt x="10042514" y="11250552"/>
                </a:cubicBezTo>
                <a:cubicBezTo>
                  <a:pt x="10025174" y="11300213"/>
                  <a:pt x="10004532" y="11230753"/>
                  <a:pt x="10026292" y="11222650"/>
                </a:cubicBezTo>
                <a:close/>
                <a:moveTo>
                  <a:pt x="6214008" y="11125137"/>
                </a:moveTo>
                <a:cubicBezTo>
                  <a:pt x="6231524" y="11127312"/>
                  <a:pt x="6214008" y="11125137"/>
                  <a:pt x="6214008" y="11125137"/>
                </a:cubicBezTo>
                <a:close/>
                <a:moveTo>
                  <a:pt x="6632486" y="11088619"/>
                </a:moveTo>
                <a:cubicBezTo>
                  <a:pt x="6612672" y="11080646"/>
                  <a:pt x="6680664" y="11150137"/>
                  <a:pt x="6744188" y="11214837"/>
                </a:cubicBezTo>
                <a:cubicBezTo>
                  <a:pt x="6879178" y="11352755"/>
                  <a:pt x="7002996" y="11498074"/>
                  <a:pt x="7101440" y="11605089"/>
                </a:cubicBezTo>
                <a:cubicBezTo>
                  <a:pt x="7275546" y="11802060"/>
                  <a:pt x="7452886" y="11983112"/>
                  <a:pt x="7584104" y="12139603"/>
                </a:cubicBezTo>
                <a:cubicBezTo>
                  <a:pt x="7603134" y="12168331"/>
                  <a:pt x="7671914" y="12251365"/>
                  <a:pt x="7671914" y="12251365"/>
                </a:cubicBezTo>
                <a:cubicBezTo>
                  <a:pt x="7684600" y="12270517"/>
                  <a:pt x="7659104" y="12273628"/>
                  <a:pt x="7672848" y="12294376"/>
                </a:cubicBezTo>
                <a:cubicBezTo>
                  <a:pt x="7751082" y="12412482"/>
                  <a:pt x="7889306" y="12534480"/>
                  <a:pt x="8006778" y="12670224"/>
                </a:cubicBezTo>
                <a:cubicBezTo>
                  <a:pt x="8088246" y="12772409"/>
                  <a:pt x="8177652" y="12883114"/>
                  <a:pt x="8243322" y="12940652"/>
                </a:cubicBezTo>
                <a:cubicBezTo>
                  <a:pt x="8304704" y="13012514"/>
                  <a:pt x="8409490" y="13129104"/>
                  <a:pt x="8485276" y="13177646"/>
                </a:cubicBezTo>
                <a:cubicBezTo>
                  <a:pt x="8485276" y="13177646"/>
                  <a:pt x="8518172" y="13185707"/>
                  <a:pt x="8535688" y="13187882"/>
                </a:cubicBezTo>
                <a:cubicBezTo>
                  <a:pt x="8542032" y="13197458"/>
                  <a:pt x="8568462" y="13237359"/>
                  <a:pt x="8578038" y="13231015"/>
                </a:cubicBezTo>
                <a:cubicBezTo>
                  <a:pt x="8617278" y="13248653"/>
                  <a:pt x="8633860" y="13207817"/>
                  <a:pt x="8685786" y="13244606"/>
                </a:cubicBezTo>
                <a:cubicBezTo>
                  <a:pt x="8692130" y="13254183"/>
                  <a:pt x="8690616" y="13227629"/>
                  <a:pt x="8690616" y="13227629"/>
                </a:cubicBezTo>
                <a:cubicBezTo>
                  <a:pt x="8687506" y="13202134"/>
                  <a:pt x="8601086" y="13158340"/>
                  <a:pt x="8597976" y="13132844"/>
                </a:cubicBezTo>
                <a:lnTo>
                  <a:pt x="8625068" y="13128676"/>
                </a:lnTo>
                <a:cubicBezTo>
                  <a:pt x="8634644" y="13122333"/>
                  <a:pt x="8618726" y="13119100"/>
                  <a:pt x="8614558" y="13092008"/>
                </a:cubicBezTo>
                <a:cubicBezTo>
                  <a:pt x="8595528" y="13063280"/>
                  <a:pt x="8526748" y="12980246"/>
                  <a:pt x="8462714" y="12907846"/>
                </a:cubicBezTo>
                <a:cubicBezTo>
                  <a:pt x="8407678" y="12845561"/>
                  <a:pt x="8348474" y="12756184"/>
                  <a:pt x="8293436" y="12693898"/>
                </a:cubicBezTo>
                <a:cubicBezTo>
                  <a:pt x="8194992" y="12586883"/>
                  <a:pt x="8029678" y="12469053"/>
                  <a:pt x="7883598" y="12310925"/>
                </a:cubicBezTo>
                <a:cubicBezTo>
                  <a:pt x="7725288" y="12158602"/>
                  <a:pt x="7590298" y="12020683"/>
                  <a:pt x="7466480" y="11875364"/>
                </a:cubicBezTo>
                <a:cubicBezTo>
                  <a:pt x="7226704" y="11620855"/>
                  <a:pt x="6950920" y="11332789"/>
                  <a:pt x="6684984" y="11125460"/>
                </a:cubicBezTo>
                <a:cubicBezTo>
                  <a:pt x="6655450" y="11102541"/>
                  <a:pt x="6639090" y="11091276"/>
                  <a:pt x="6632486" y="11088619"/>
                </a:cubicBezTo>
                <a:close/>
                <a:moveTo>
                  <a:pt x="5783596" y="11054314"/>
                </a:moveTo>
                <a:cubicBezTo>
                  <a:pt x="5799516" y="11057547"/>
                  <a:pt x="5783596" y="11054314"/>
                  <a:pt x="5783596" y="11054314"/>
                </a:cubicBezTo>
                <a:close/>
                <a:moveTo>
                  <a:pt x="5738090" y="11001216"/>
                </a:moveTo>
                <a:cubicBezTo>
                  <a:pt x="5743656" y="11004418"/>
                  <a:pt x="5751850" y="11016788"/>
                  <a:pt x="5760276" y="11039910"/>
                </a:cubicBezTo>
                <a:cubicBezTo>
                  <a:pt x="5780364" y="11070234"/>
                  <a:pt x="5738012" y="11027101"/>
                  <a:pt x="5731670" y="11017525"/>
                </a:cubicBezTo>
                <a:cubicBezTo>
                  <a:pt x="5729586" y="11003979"/>
                  <a:pt x="5732524" y="10998014"/>
                  <a:pt x="5738090" y="11001216"/>
                </a:cubicBezTo>
                <a:close/>
                <a:moveTo>
                  <a:pt x="6065604" y="10970164"/>
                </a:moveTo>
                <a:cubicBezTo>
                  <a:pt x="6065010" y="10977554"/>
                  <a:pt x="6137780" y="11046462"/>
                  <a:pt x="6125140" y="11011779"/>
                </a:cubicBezTo>
                <a:cubicBezTo>
                  <a:pt x="6122030" y="10986283"/>
                  <a:pt x="6102878" y="10998970"/>
                  <a:pt x="6096534" y="10989394"/>
                </a:cubicBezTo>
                <a:cubicBezTo>
                  <a:pt x="6074152" y="10972072"/>
                  <a:pt x="6065802" y="10967700"/>
                  <a:pt x="6065604" y="10970164"/>
                </a:cubicBezTo>
                <a:close/>
                <a:moveTo>
                  <a:pt x="5448796" y="10957962"/>
                </a:moveTo>
                <a:lnTo>
                  <a:pt x="5453990" y="10965802"/>
                </a:lnTo>
                <a:cubicBezTo>
                  <a:pt x="5455642" y="10968296"/>
                  <a:pt x="5456468" y="10969542"/>
                  <a:pt x="5455228" y="10967672"/>
                </a:cubicBezTo>
                <a:close/>
                <a:moveTo>
                  <a:pt x="5444078" y="10950839"/>
                </a:moveTo>
                <a:lnTo>
                  <a:pt x="5448796" y="10957962"/>
                </a:lnTo>
                <a:lnTo>
                  <a:pt x="5447794" y="10956450"/>
                </a:lnTo>
                <a:cubicBezTo>
                  <a:pt x="5445730" y="10953333"/>
                  <a:pt x="5444078" y="10950839"/>
                  <a:pt x="5444078" y="10950839"/>
                </a:cubicBezTo>
                <a:close/>
                <a:moveTo>
                  <a:pt x="5667636" y="10945124"/>
                </a:moveTo>
                <a:cubicBezTo>
                  <a:pt x="5724392" y="10964937"/>
                  <a:pt x="5667636" y="10945124"/>
                  <a:pt x="5667636" y="10945124"/>
                </a:cubicBezTo>
                <a:close/>
                <a:moveTo>
                  <a:pt x="5570250" y="10839706"/>
                </a:moveTo>
                <a:cubicBezTo>
                  <a:pt x="5608432" y="10855747"/>
                  <a:pt x="5641206" y="10905224"/>
                  <a:pt x="5667636" y="10945124"/>
                </a:cubicBezTo>
                <a:cubicBezTo>
                  <a:pt x="5637972" y="10921143"/>
                  <a:pt x="5603024" y="10889183"/>
                  <a:pt x="5570250" y="10839706"/>
                </a:cubicBezTo>
                <a:close/>
                <a:moveTo>
                  <a:pt x="5966152" y="10825389"/>
                </a:moveTo>
                <a:cubicBezTo>
                  <a:pt x="5967586" y="10828529"/>
                  <a:pt x="5971410" y="10836903"/>
                  <a:pt x="5979060" y="10853651"/>
                </a:cubicBezTo>
                <a:cubicBezTo>
                  <a:pt x="5979060" y="10853651"/>
                  <a:pt x="5961848" y="10815968"/>
                  <a:pt x="5966152" y="10825389"/>
                </a:cubicBezTo>
                <a:close/>
                <a:moveTo>
                  <a:pt x="5300736" y="10801739"/>
                </a:moveTo>
                <a:cubicBezTo>
                  <a:pt x="5307006" y="10804792"/>
                  <a:pt x="5317388" y="10812016"/>
                  <a:pt x="5332948" y="10824672"/>
                </a:cubicBezTo>
                <a:cubicBezTo>
                  <a:pt x="5359378" y="10864572"/>
                  <a:pt x="5391216" y="10871038"/>
                  <a:pt x="5408072" y="10917282"/>
                </a:cubicBezTo>
                <a:cubicBezTo>
                  <a:pt x="5414438" y="10963296"/>
                  <a:pt x="5256842" y="10780361"/>
                  <a:pt x="5300736" y="10801739"/>
                </a:cubicBezTo>
                <a:close/>
                <a:moveTo>
                  <a:pt x="5520498" y="10785401"/>
                </a:moveTo>
                <a:cubicBezTo>
                  <a:pt x="5556628" y="10777542"/>
                  <a:pt x="5562848" y="10828534"/>
                  <a:pt x="5570250" y="10839706"/>
                </a:cubicBezTo>
                <a:cubicBezTo>
                  <a:pt x="5549500" y="10853450"/>
                  <a:pt x="5543820" y="10799805"/>
                  <a:pt x="5520498" y="10785401"/>
                </a:cubicBezTo>
                <a:close/>
                <a:moveTo>
                  <a:pt x="5499676" y="10781756"/>
                </a:moveTo>
                <a:cubicBezTo>
                  <a:pt x="5492736" y="10780540"/>
                  <a:pt x="5520498" y="10785401"/>
                  <a:pt x="5520498" y="10785401"/>
                </a:cubicBezTo>
                <a:cubicBezTo>
                  <a:pt x="5508160" y="10783241"/>
                  <a:pt x="5501990" y="10782161"/>
                  <a:pt x="5499676" y="10781756"/>
                </a:cubicBezTo>
                <a:close/>
                <a:moveTo>
                  <a:pt x="5457528" y="10704366"/>
                </a:moveTo>
                <a:cubicBezTo>
                  <a:pt x="5455680" y="10698164"/>
                  <a:pt x="5465452" y="10726566"/>
                  <a:pt x="5470210" y="10733748"/>
                </a:cubicBezTo>
                <a:cubicBezTo>
                  <a:pt x="5470210" y="10733748"/>
                  <a:pt x="5470210" y="10733748"/>
                  <a:pt x="5463866" y="10724172"/>
                </a:cubicBezTo>
                <a:cubicBezTo>
                  <a:pt x="5460052" y="10712347"/>
                  <a:pt x="5458144" y="10706434"/>
                  <a:pt x="5457528" y="10704366"/>
                </a:cubicBezTo>
                <a:close/>
                <a:moveTo>
                  <a:pt x="5070186" y="10660485"/>
                </a:moveTo>
                <a:cubicBezTo>
                  <a:pt x="5071542" y="10656681"/>
                  <a:pt x="5087038" y="10668374"/>
                  <a:pt x="5096552" y="10682739"/>
                </a:cubicBezTo>
                <a:cubicBezTo>
                  <a:pt x="5093320" y="10698658"/>
                  <a:pt x="5069460" y="10686907"/>
                  <a:pt x="5074290" y="10669930"/>
                </a:cubicBezTo>
                <a:cubicBezTo>
                  <a:pt x="5070854" y="10664743"/>
                  <a:pt x="5069734" y="10661753"/>
                  <a:pt x="5070186" y="10660485"/>
                </a:cubicBezTo>
                <a:close/>
                <a:moveTo>
                  <a:pt x="5405386" y="10647914"/>
                </a:moveTo>
                <a:cubicBezTo>
                  <a:pt x="5406474" y="10650530"/>
                  <a:pt x="5409374" y="10657508"/>
                  <a:pt x="5415172" y="10671463"/>
                </a:cubicBezTo>
                <a:cubicBezTo>
                  <a:pt x="5415172" y="10671463"/>
                  <a:pt x="5402124" y="10640064"/>
                  <a:pt x="5405386" y="10647914"/>
                </a:cubicBezTo>
                <a:close/>
                <a:moveTo>
                  <a:pt x="5008808" y="10593609"/>
                </a:moveTo>
                <a:cubicBezTo>
                  <a:pt x="5018092" y="10596358"/>
                  <a:pt x="5034644" y="10610079"/>
                  <a:pt x="5054202" y="10639605"/>
                </a:cubicBezTo>
                <a:cubicBezTo>
                  <a:pt x="5056774" y="10667754"/>
                  <a:pt x="5003790" y="10629369"/>
                  <a:pt x="5007024" y="10613449"/>
                </a:cubicBezTo>
                <a:cubicBezTo>
                  <a:pt x="4997510" y="10599085"/>
                  <a:pt x="4999524" y="10590861"/>
                  <a:pt x="5008808" y="10593609"/>
                </a:cubicBezTo>
                <a:close/>
                <a:moveTo>
                  <a:pt x="3912020" y="9047052"/>
                </a:moveTo>
                <a:cubicBezTo>
                  <a:pt x="3906612" y="9080487"/>
                  <a:pt x="4266972" y="9496234"/>
                  <a:pt x="4258180" y="9417094"/>
                </a:cubicBezTo>
                <a:cubicBezTo>
                  <a:pt x="4234984" y="9361274"/>
                  <a:pt x="4145454" y="9291984"/>
                  <a:pt x="4089360" y="9228103"/>
                </a:cubicBezTo>
                <a:cubicBezTo>
                  <a:pt x="4060754" y="9205718"/>
                  <a:pt x="3912020" y="9047052"/>
                  <a:pt x="3912020" y="9047052"/>
                </a:cubicBezTo>
                <a:close/>
                <a:moveTo>
                  <a:pt x="3387182" y="8767811"/>
                </a:moveTo>
                <a:cubicBezTo>
                  <a:pt x="3383410" y="8786383"/>
                  <a:pt x="3476049" y="8881169"/>
                  <a:pt x="3459195" y="8834925"/>
                </a:cubicBezTo>
                <a:cubicBezTo>
                  <a:pt x="3435998" y="8779105"/>
                  <a:pt x="3383410" y="8786383"/>
                  <a:pt x="3387182" y="8767811"/>
                </a:cubicBezTo>
                <a:close/>
                <a:moveTo>
                  <a:pt x="3531721" y="8729475"/>
                </a:moveTo>
                <a:cubicBezTo>
                  <a:pt x="3528488" y="8745394"/>
                  <a:pt x="3630165" y="8836490"/>
                  <a:pt x="3627594" y="8808340"/>
                </a:cubicBezTo>
                <a:cubicBezTo>
                  <a:pt x="3618140" y="8773269"/>
                  <a:pt x="3531721" y="8729475"/>
                  <a:pt x="3531721" y="8729475"/>
                </a:cubicBezTo>
                <a:close/>
                <a:moveTo>
                  <a:pt x="4803696" y="8589264"/>
                </a:moveTo>
                <a:cubicBezTo>
                  <a:pt x="4803424" y="8591777"/>
                  <a:pt x="4810428" y="8602350"/>
                  <a:pt x="4829208" y="8625503"/>
                </a:cubicBezTo>
                <a:cubicBezTo>
                  <a:pt x="4884244" y="8687788"/>
                  <a:pt x="5084782" y="8924660"/>
                  <a:pt x="5091248" y="8892821"/>
                </a:cubicBezTo>
                <a:cubicBezTo>
                  <a:pt x="5099310" y="8859924"/>
                  <a:pt x="4893820" y="8681445"/>
                  <a:pt x="4881134" y="8662292"/>
                </a:cubicBezTo>
                <a:cubicBezTo>
                  <a:pt x="4870826" y="8646731"/>
                  <a:pt x="4804514" y="8581725"/>
                  <a:pt x="4803696" y="8589264"/>
                </a:cubicBezTo>
                <a:close/>
                <a:moveTo>
                  <a:pt x="3802284" y="8451511"/>
                </a:moveTo>
                <a:cubicBezTo>
                  <a:pt x="3792584" y="8499270"/>
                  <a:pt x="4015506" y="8707534"/>
                  <a:pt x="4062024" y="8777760"/>
                </a:cubicBezTo>
                <a:cubicBezTo>
                  <a:pt x="4638842" y="9433612"/>
                  <a:pt x="5118274" y="9984045"/>
                  <a:pt x="5669842" y="10560177"/>
                </a:cubicBezTo>
                <a:cubicBezTo>
                  <a:pt x="5712192" y="10603310"/>
                  <a:pt x="5954144" y="10840304"/>
                  <a:pt x="5941458" y="10821151"/>
                </a:cubicBezTo>
                <a:cubicBezTo>
                  <a:pt x="5938886" y="10793002"/>
                  <a:pt x="5859990" y="10718966"/>
                  <a:pt x="5810240" y="10664660"/>
                </a:cubicBezTo>
                <a:cubicBezTo>
                  <a:pt x="5761546" y="10611951"/>
                  <a:pt x="5719196" y="10568818"/>
                  <a:pt x="5675250" y="10526742"/>
                </a:cubicBezTo>
                <a:cubicBezTo>
                  <a:pt x="5085622" y="9893153"/>
                  <a:pt x="4527834" y="9266030"/>
                  <a:pt x="3934040" y="8605349"/>
                </a:cubicBezTo>
                <a:cubicBezTo>
                  <a:pt x="3907610" y="8565448"/>
                  <a:pt x="3802284" y="8451511"/>
                  <a:pt x="3802284" y="8451511"/>
                </a:cubicBezTo>
                <a:close/>
                <a:moveTo>
                  <a:pt x="3074882" y="8388543"/>
                </a:moveTo>
                <a:cubicBezTo>
                  <a:pt x="3072043" y="8389132"/>
                  <a:pt x="3069979" y="8391216"/>
                  <a:pt x="3069171" y="8395196"/>
                </a:cubicBezTo>
                <a:cubicBezTo>
                  <a:pt x="3065399" y="8413769"/>
                  <a:pt x="3125264" y="8459078"/>
                  <a:pt x="3108411" y="8412834"/>
                </a:cubicBezTo>
                <a:cubicBezTo>
                  <a:pt x="3098896" y="8398469"/>
                  <a:pt x="3083400" y="8386776"/>
                  <a:pt x="3074882" y="8388543"/>
                </a:cubicBezTo>
                <a:close/>
                <a:moveTo>
                  <a:pt x="2464450" y="7932635"/>
                </a:moveTo>
                <a:cubicBezTo>
                  <a:pt x="2468187" y="7931452"/>
                  <a:pt x="2486960" y="7946142"/>
                  <a:pt x="2491717" y="7953324"/>
                </a:cubicBezTo>
                <a:cubicBezTo>
                  <a:pt x="2504404" y="7972476"/>
                  <a:pt x="2474202" y="7951149"/>
                  <a:pt x="2466801" y="7939976"/>
                </a:cubicBezTo>
                <a:cubicBezTo>
                  <a:pt x="2463629" y="7935188"/>
                  <a:pt x="2463204" y="7933030"/>
                  <a:pt x="2464450" y="7932635"/>
                </a:cubicBezTo>
                <a:close/>
                <a:moveTo>
                  <a:pt x="7286980" y="7816959"/>
                </a:moveTo>
                <a:cubicBezTo>
                  <a:pt x="7294278" y="7817578"/>
                  <a:pt x="7300108" y="7821179"/>
                  <a:pt x="7303810" y="7826765"/>
                </a:cubicBezTo>
                <a:cubicBezTo>
                  <a:pt x="7294232" y="7833108"/>
                  <a:pt x="7284656" y="7839452"/>
                  <a:pt x="7261336" y="7825047"/>
                </a:cubicBezTo>
                <a:cubicBezTo>
                  <a:pt x="7270912" y="7818704"/>
                  <a:pt x="7279680" y="7816340"/>
                  <a:pt x="7286980" y="7816959"/>
                </a:cubicBezTo>
                <a:close/>
                <a:moveTo>
                  <a:pt x="7321560" y="7808225"/>
                </a:moveTo>
                <a:cubicBezTo>
                  <a:pt x="7327478" y="7802045"/>
                  <a:pt x="7303810" y="7826765"/>
                  <a:pt x="7303810" y="7826765"/>
                </a:cubicBezTo>
                <a:cubicBezTo>
                  <a:pt x="7314328" y="7815778"/>
                  <a:pt x="7319588" y="7810285"/>
                  <a:pt x="7321560" y="7808225"/>
                </a:cubicBezTo>
                <a:close/>
                <a:moveTo>
                  <a:pt x="7630580" y="7752394"/>
                </a:moveTo>
                <a:cubicBezTo>
                  <a:pt x="7635496" y="7751148"/>
                  <a:pt x="7640140" y="7752091"/>
                  <a:pt x="7643840" y="7757677"/>
                </a:cubicBezTo>
                <a:cubicBezTo>
                  <a:pt x="7632668" y="7765077"/>
                  <a:pt x="7623090" y="7771421"/>
                  <a:pt x="7615690" y="7760249"/>
                </a:cubicBezTo>
                <a:cubicBezTo>
                  <a:pt x="7620478" y="7757077"/>
                  <a:pt x="7625666" y="7753641"/>
                  <a:pt x="7630580" y="7752394"/>
                </a:cubicBezTo>
                <a:close/>
                <a:moveTo>
                  <a:pt x="7657800" y="7750151"/>
                </a:moveTo>
                <a:cubicBezTo>
                  <a:pt x="7662184" y="7748969"/>
                  <a:pt x="7666164" y="7749778"/>
                  <a:pt x="7669336" y="7754566"/>
                </a:cubicBezTo>
                <a:cubicBezTo>
                  <a:pt x="7659760" y="7760909"/>
                  <a:pt x="7650182" y="7767253"/>
                  <a:pt x="7643840" y="7757677"/>
                </a:cubicBezTo>
                <a:cubicBezTo>
                  <a:pt x="7648628" y="7754505"/>
                  <a:pt x="7653416" y="7751333"/>
                  <a:pt x="7657800" y="7750151"/>
                </a:cubicBezTo>
                <a:close/>
                <a:moveTo>
                  <a:pt x="7683296" y="7747040"/>
                </a:moveTo>
                <a:cubicBezTo>
                  <a:pt x="7687680" y="7745859"/>
                  <a:pt x="7691660" y="7746667"/>
                  <a:pt x="7694832" y="7751455"/>
                </a:cubicBezTo>
                <a:cubicBezTo>
                  <a:pt x="7685256" y="7757798"/>
                  <a:pt x="7675680" y="7764142"/>
                  <a:pt x="7669336" y="7754566"/>
                </a:cubicBezTo>
                <a:cubicBezTo>
                  <a:pt x="7674124" y="7751394"/>
                  <a:pt x="7678912" y="7748222"/>
                  <a:pt x="7683296" y="7747040"/>
                </a:cubicBezTo>
                <a:close/>
                <a:moveTo>
                  <a:pt x="7709590" y="7743401"/>
                </a:moveTo>
                <a:cubicBezTo>
                  <a:pt x="7714372" y="7741955"/>
                  <a:pt x="7718752" y="7742499"/>
                  <a:pt x="7721924" y="7747287"/>
                </a:cubicBezTo>
                <a:cubicBezTo>
                  <a:pt x="7710752" y="7754687"/>
                  <a:pt x="7701176" y="7761031"/>
                  <a:pt x="7694832" y="7751455"/>
                </a:cubicBezTo>
                <a:cubicBezTo>
                  <a:pt x="7699620" y="7748283"/>
                  <a:pt x="7704806" y="7744847"/>
                  <a:pt x="7709590" y="7743401"/>
                </a:cubicBezTo>
                <a:close/>
                <a:moveTo>
                  <a:pt x="7749360" y="7738872"/>
                </a:moveTo>
                <a:cubicBezTo>
                  <a:pt x="7758188" y="7738765"/>
                  <a:pt x="7766812" y="7740516"/>
                  <a:pt x="7775570" y="7741604"/>
                </a:cubicBezTo>
                <a:cubicBezTo>
                  <a:pt x="7754820" y="7755348"/>
                  <a:pt x="7735668" y="7768035"/>
                  <a:pt x="7721924" y="7747287"/>
                </a:cubicBezTo>
                <a:cubicBezTo>
                  <a:pt x="7731500" y="7740943"/>
                  <a:pt x="7740532" y="7738979"/>
                  <a:pt x="7749360" y="7738872"/>
                </a:cubicBezTo>
                <a:close/>
                <a:moveTo>
                  <a:pt x="7789530" y="7734078"/>
                </a:moveTo>
                <a:cubicBezTo>
                  <a:pt x="7793914" y="7732897"/>
                  <a:pt x="7797894" y="7733705"/>
                  <a:pt x="7801066" y="7738493"/>
                </a:cubicBezTo>
                <a:cubicBezTo>
                  <a:pt x="7791490" y="7744836"/>
                  <a:pt x="7781914" y="7751180"/>
                  <a:pt x="7775570" y="7741604"/>
                </a:cubicBezTo>
                <a:cubicBezTo>
                  <a:pt x="7780358" y="7738432"/>
                  <a:pt x="7785146" y="7735260"/>
                  <a:pt x="7789530" y="7734078"/>
                </a:cubicBezTo>
                <a:close/>
                <a:moveTo>
                  <a:pt x="7815026" y="7730968"/>
                </a:moveTo>
                <a:cubicBezTo>
                  <a:pt x="7819410" y="7729786"/>
                  <a:pt x="7823390" y="7730594"/>
                  <a:pt x="7826562" y="7735382"/>
                </a:cubicBezTo>
                <a:cubicBezTo>
                  <a:pt x="7816986" y="7741726"/>
                  <a:pt x="7807410" y="7748069"/>
                  <a:pt x="7801066" y="7738493"/>
                </a:cubicBezTo>
                <a:cubicBezTo>
                  <a:pt x="7805854" y="7735321"/>
                  <a:pt x="7810642" y="7732149"/>
                  <a:pt x="7815026" y="7730968"/>
                </a:cubicBezTo>
                <a:close/>
                <a:moveTo>
                  <a:pt x="7841920" y="7726932"/>
                </a:moveTo>
                <a:cubicBezTo>
                  <a:pt x="7846502" y="7725618"/>
                  <a:pt x="7850482" y="7726426"/>
                  <a:pt x="7853654" y="7731214"/>
                </a:cubicBezTo>
                <a:cubicBezTo>
                  <a:pt x="7844078" y="7737557"/>
                  <a:pt x="7832906" y="7744958"/>
                  <a:pt x="7826562" y="7735382"/>
                </a:cubicBezTo>
                <a:cubicBezTo>
                  <a:pt x="7832148" y="7731682"/>
                  <a:pt x="7837336" y="7728246"/>
                  <a:pt x="7841920" y="7726932"/>
                </a:cubicBezTo>
                <a:close/>
                <a:moveTo>
                  <a:pt x="7867812" y="7716023"/>
                </a:moveTo>
                <a:cubicBezTo>
                  <a:pt x="7866238" y="7717711"/>
                  <a:pt x="7862044" y="7722212"/>
                  <a:pt x="7853654" y="7731214"/>
                </a:cubicBezTo>
                <a:cubicBezTo>
                  <a:pt x="7853654" y="7731214"/>
                  <a:pt x="7872530" y="7710960"/>
                  <a:pt x="7867812" y="7716023"/>
                </a:cubicBezTo>
                <a:close/>
                <a:moveTo>
                  <a:pt x="7936030" y="7706501"/>
                </a:moveTo>
                <a:cubicBezTo>
                  <a:pt x="7951948" y="7709733"/>
                  <a:pt x="7923220" y="7728763"/>
                  <a:pt x="7923220" y="7728763"/>
                </a:cubicBezTo>
                <a:close/>
                <a:moveTo>
                  <a:pt x="7972698" y="7695989"/>
                </a:moveTo>
                <a:cubicBezTo>
                  <a:pt x="7979040" y="7705565"/>
                  <a:pt x="7958292" y="7719309"/>
                  <a:pt x="7958292" y="7719309"/>
                </a:cubicBezTo>
                <a:close/>
                <a:moveTo>
                  <a:pt x="1508787" y="6642785"/>
                </a:moveTo>
                <a:cubicBezTo>
                  <a:pt x="1503999" y="6645957"/>
                  <a:pt x="1501061" y="6651922"/>
                  <a:pt x="1504761" y="6657508"/>
                </a:cubicBezTo>
                <a:cubicBezTo>
                  <a:pt x="1511105" y="6667085"/>
                  <a:pt x="1530257" y="6654397"/>
                  <a:pt x="1523914" y="6644821"/>
                </a:cubicBezTo>
                <a:cubicBezTo>
                  <a:pt x="1520214" y="6639235"/>
                  <a:pt x="1513575" y="6639614"/>
                  <a:pt x="1508787" y="6642785"/>
                </a:cubicBezTo>
                <a:close/>
                <a:moveTo>
                  <a:pt x="8597072" y="6641723"/>
                </a:moveTo>
                <a:cubicBezTo>
                  <a:pt x="8596264" y="6645703"/>
                  <a:pt x="8594064" y="6648883"/>
                  <a:pt x="8591218" y="6651413"/>
                </a:cubicBezTo>
                <a:lnTo>
                  <a:pt x="8587894" y="6653395"/>
                </a:lnTo>
                <a:close/>
                <a:moveTo>
                  <a:pt x="1390072" y="6120360"/>
                </a:moveTo>
                <a:cubicBezTo>
                  <a:pt x="1396415" y="6129936"/>
                  <a:pt x="1383605" y="6152198"/>
                  <a:pt x="1377262" y="6142623"/>
                </a:cubicBezTo>
                <a:cubicBezTo>
                  <a:pt x="1367686" y="6148967"/>
                  <a:pt x="1390072" y="6120360"/>
                  <a:pt x="1390072" y="6120360"/>
                </a:cubicBezTo>
                <a:close/>
                <a:moveTo>
                  <a:pt x="1487123" y="5947390"/>
                </a:moveTo>
                <a:cubicBezTo>
                  <a:pt x="1488766" y="5953120"/>
                  <a:pt x="1491065" y="5961141"/>
                  <a:pt x="1490080" y="5957703"/>
                </a:cubicBezTo>
                <a:close/>
                <a:moveTo>
                  <a:pt x="1481657" y="5927438"/>
                </a:moveTo>
                <a:cubicBezTo>
                  <a:pt x="1480328" y="5922506"/>
                  <a:pt x="1485645" y="5942234"/>
                  <a:pt x="1485645" y="5942234"/>
                </a:cubicBezTo>
                <a:cubicBezTo>
                  <a:pt x="1483282" y="5933466"/>
                  <a:pt x="1482100" y="5929082"/>
                  <a:pt x="1481657" y="5927438"/>
                </a:cubicBezTo>
                <a:close/>
                <a:moveTo>
                  <a:pt x="2198728" y="5189158"/>
                </a:moveTo>
                <a:cubicBezTo>
                  <a:pt x="2204713" y="5185193"/>
                  <a:pt x="2208957" y="5186400"/>
                  <a:pt x="2212657" y="5191987"/>
                </a:cubicBezTo>
                <a:cubicBezTo>
                  <a:pt x="2203081" y="5198330"/>
                  <a:pt x="2183928" y="5211017"/>
                  <a:pt x="2174351" y="5217360"/>
                </a:cubicBezTo>
                <a:cubicBezTo>
                  <a:pt x="2185016" y="5202259"/>
                  <a:pt x="2192742" y="5193123"/>
                  <a:pt x="2198728" y="5189158"/>
                </a:cubicBezTo>
                <a:close/>
                <a:moveTo>
                  <a:pt x="2252801" y="4368568"/>
                </a:moveTo>
                <a:cubicBezTo>
                  <a:pt x="2252801" y="4368568"/>
                  <a:pt x="2241628" y="4375969"/>
                  <a:pt x="2252801" y="4368568"/>
                </a:cubicBezTo>
                <a:close/>
                <a:moveTo>
                  <a:pt x="9613442" y="4289856"/>
                </a:moveTo>
                <a:cubicBezTo>
                  <a:pt x="9613442" y="4289856"/>
                  <a:pt x="9626128" y="4309008"/>
                  <a:pt x="9613442" y="4289856"/>
                </a:cubicBezTo>
                <a:close/>
                <a:moveTo>
                  <a:pt x="1122038" y="3490071"/>
                </a:moveTo>
                <a:cubicBezTo>
                  <a:pt x="1109834" y="3487247"/>
                  <a:pt x="1102652" y="3492005"/>
                  <a:pt x="1109524" y="3502379"/>
                </a:cubicBezTo>
                <a:cubicBezTo>
                  <a:pt x="1109524" y="3502379"/>
                  <a:pt x="1183713" y="3551978"/>
                  <a:pt x="1164684" y="3523250"/>
                </a:cubicBezTo>
                <a:cubicBezTo>
                  <a:pt x="1151469" y="3503299"/>
                  <a:pt x="1134243" y="3492894"/>
                  <a:pt x="1122038" y="3490071"/>
                </a:cubicBezTo>
                <a:close/>
                <a:moveTo>
                  <a:pt x="8161906" y="3343116"/>
                </a:moveTo>
                <a:lnTo>
                  <a:pt x="8167426" y="3346291"/>
                </a:lnTo>
                <a:lnTo>
                  <a:pt x="8170254" y="3347919"/>
                </a:lnTo>
                <a:cubicBezTo>
                  <a:pt x="8171646" y="3348719"/>
                  <a:pt x="8172342" y="3349120"/>
                  <a:pt x="8171298" y="3348519"/>
                </a:cubicBezTo>
                <a:lnTo>
                  <a:pt x="8167426" y="3346291"/>
                </a:lnTo>
                <a:lnTo>
                  <a:pt x="8165036" y="3344917"/>
                </a:lnTo>
                <a:cubicBezTo>
                  <a:pt x="8163298" y="3343916"/>
                  <a:pt x="8161906" y="3343116"/>
                  <a:pt x="8161906" y="3343116"/>
                </a:cubicBezTo>
                <a:close/>
                <a:moveTo>
                  <a:pt x="1197820" y="3271666"/>
                </a:moveTo>
                <a:cubicBezTo>
                  <a:pt x="1223317" y="3268556"/>
                  <a:pt x="1230717" y="3279728"/>
                  <a:pt x="1249747" y="3308456"/>
                </a:cubicBezTo>
                <a:cubicBezTo>
                  <a:pt x="1233827" y="3305224"/>
                  <a:pt x="1211564" y="3292415"/>
                  <a:pt x="1197820" y="3271666"/>
                </a:cubicBezTo>
                <a:close/>
                <a:moveTo>
                  <a:pt x="7941308" y="3245830"/>
                </a:moveTo>
                <a:cubicBezTo>
                  <a:pt x="7941308" y="3245830"/>
                  <a:pt x="7967738" y="3285731"/>
                  <a:pt x="7941308" y="3245830"/>
                </a:cubicBezTo>
                <a:close/>
                <a:moveTo>
                  <a:pt x="1115692" y="3213549"/>
                </a:moveTo>
                <a:cubicBezTo>
                  <a:pt x="1149127" y="3218958"/>
                  <a:pt x="1178791" y="3242938"/>
                  <a:pt x="1197820" y="3271666"/>
                </a:cubicBezTo>
                <a:cubicBezTo>
                  <a:pt x="1165981" y="3265201"/>
                  <a:pt x="1134721" y="3242277"/>
                  <a:pt x="1115692" y="3213549"/>
                </a:cubicBezTo>
                <a:close/>
                <a:moveTo>
                  <a:pt x="1247372" y="3211287"/>
                </a:moveTo>
                <a:lnTo>
                  <a:pt x="1241644" y="3215081"/>
                </a:lnTo>
                <a:cubicBezTo>
                  <a:pt x="1240297" y="3215973"/>
                  <a:pt x="1241195" y="3215379"/>
                  <a:pt x="1242991" y="3214189"/>
                </a:cubicBezTo>
                <a:close/>
                <a:moveTo>
                  <a:pt x="1253764" y="3207053"/>
                </a:moveTo>
                <a:cubicBezTo>
                  <a:pt x="1253764" y="3207053"/>
                  <a:pt x="1251969" y="3208242"/>
                  <a:pt x="1249724" y="3209729"/>
                </a:cubicBezTo>
                <a:lnTo>
                  <a:pt x="1247372" y="3211287"/>
                </a:lnTo>
                <a:close/>
                <a:moveTo>
                  <a:pt x="1086028" y="3189568"/>
                </a:moveTo>
                <a:cubicBezTo>
                  <a:pt x="1086028" y="3189568"/>
                  <a:pt x="1055703" y="3209656"/>
                  <a:pt x="1086028" y="3189568"/>
                </a:cubicBezTo>
                <a:close/>
                <a:moveTo>
                  <a:pt x="1093811" y="3189292"/>
                </a:moveTo>
                <a:cubicBezTo>
                  <a:pt x="1102014" y="3192901"/>
                  <a:pt x="1110934" y="3206367"/>
                  <a:pt x="1115692" y="3213549"/>
                </a:cubicBezTo>
                <a:cubicBezTo>
                  <a:pt x="1106115" y="3219893"/>
                  <a:pt x="1092371" y="3199145"/>
                  <a:pt x="1086028" y="3189568"/>
                </a:cubicBezTo>
                <a:cubicBezTo>
                  <a:pt x="1088422" y="3187982"/>
                  <a:pt x="1091077" y="3188090"/>
                  <a:pt x="1093811" y="3189292"/>
                </a:cubicBezTo>
                <a:close/>
                <a:moveTo>
                  <a:pt x="7828220" y="3175210"/>
                </a:moveTo>
                <a:cubicBezTo>
                  <a:pt x="7821126" y="3172734"/>
                  <a:pt x="7814352" y="3173776"/>
                  <a:pt x="7808766" y="3177476"/>
                </a:cubicBezTo>
                <a:cubicBezTo>
                  <a:pt x="7805534" y="3193396"/>
                  <a:pt x="7822510" y="3198225"/>
                  <a:pt x="7849602" y="3194056"/>
                </a:cubicBezTo>
                <a:cubicBezTo>
                  <a:pt x="7866458" y="3240301"/>
                  <a:pt x="7868756" y="3181369"/>
                  <a:pt x="7849602" y="3194056"/>
                </a:cubicBezTo>
                <a:cubicBezTo>
                  <a:pt x="7842730" y="3183682"/>
                  <a:pt x="7835316" y="3177687"/>
                  <a:pt x="7828220" y="3175210"/>
                </a:cubicBezTo>
                <a:close/>
                <a:moveTo>
                  <a:pt x="1167911" y="3149108"/>
                </a:moveTo>
                <a:lnTo>
                  <a:pt x="1159381" y="3154757"/>
                </a:lnTo>
                <a:cubicBezTo>
                  <a:pt x="1156538" y="3156640"/>
                  <a:pt x="1163172" y="3152246"/>
                  <a:pt x="1167911" y="3149108"/>
                </a:cubicBezTo>
                <a:close/>
                <a:moveTo>
                  <a:pt x="1172175" y="3146283"/>
                </a:moveTo>
                <a:cubicBezTo>
                  <a:pt x="1230567" y="3151232"/>
                  <a:pt x="1172175" y="3146283"/>
                  <a:pt x="1172175" y="3146283"/>
                </a:cubicBezTo>
                <a:close/>
                <a:moveTo>
                  <a:pt x="1046222" y="3144750"/>
                </a:moveTo>
                <a:cubicBezTo>
                  <a:pt x="1044875" y="3145642"/>
                  <a:pt x="1041284" y="3148021"/>
                  <a:pt x="1034101" y="3152779"/>
                </a:cubicBezTo>
                <a:cubicBezTo>
                  <a:pt x="1034101" y="3152779"/>
                  <a:pt x="1050262" y="3142074"/>
                  <a:pt x="1046222" y="3144750"/>
                </a:cubicBezTo>
                <a:close/>
                <a:moveTo>
                  <a:pt x="951972" y="3094662"/>
                </a:moveTo>
                <a:cubicBezTo>
                  <a:pt x="983812" y="3101127"/>
                  <a:pt x="1015071" y="3124051"/>
                  <a:pt x="1034101" y="3152779"/>
                </a:cubicBezTo>
                <a:cubicBezTo>
                  <a:pt x="1000666" y="3147371"/>
                  <a:pt x="971002" y="3123390"/>
                  <a:pt x="951972" y="3094662"/>
                </a:cubicBezTo>
                <a:close/>
                <a:moveTo>
                  <a:pt x="916317" y="3074650"/>
                </a:moveTo>
                <a:lnTo>
                  <a:pt x="909516" y="3079155"/>
                </a:lnTo>
                <a:cubicBezTo>
                  <a:pt x="908094" y="3080097"/>
                  <a:pt x="909042" y="3079469"/>
                  <a:pt x="910937" y="3078214"/>
                </a:cubicBezTo>
                <a:close/>
                <a:moveTo>
                  <a:pt x="922309" y="3070681"/>
                </a:moveTo>
                <a:cubicBezTo>
                  <a:pt x="922309" y="3070681"/>
                  <a:pt x="920414" y="3071936"/>
                  <a:pt x="918045" y="3073506"/>
                </a:cubicBezTo>
                <a:lnTo>
                  <a:pt x="916317" y="3074650"/>
                </a:lnTo>
                <a:close/>
                <a:moveTo>
                  <a:pt x="929943" y="3070180"/>
                </a:moveTo>
                <a:cubicBezTo>
                  <a:pt x="937898" y="3073415"/>
                  <a:pt x="946422" y="3086283"/>
                  <a:pt x="951972" y="3094662"/>
                </a:cubicBezTo>
                <a:cubicBezTo>
                  <a:pt x="942396" y="3101005"/>
                  <a:pt x="928652" y="3080256"/>
                  <a:pt x="922309" y="3070681"/>
                </a:cubicBezTo>
                <a:cubicBezTo>
                  <a:pt x="924703" y="3069095"/>
                  <a:pt x="927292" y="3069102"/>
                  <a:pt x="929943" y="3070180"/>
                </a:cubicBezTo>
                <a:close/>
                <a:moveTo>
                  <a:pt x="488002" y="3059846"/>
                </a:moveTo>
                <a:cubicBezTo>
                  <a:pt x="519841" y="3066312"/>
                  <a:pt x="551101" y="3089235"/>
                  <a:pt x="570131" y="3117963"/>
                </a:cubicBezTo>
                <a:cubicBezTo>
                  <a:pt x="536695" y="3112556"/>
                  <a:pt x="524008" y="3093403"/>
                  <a:pt x="488002" y="3059846"/>
                </a:cubicBezTo>
                <a:close/>
                <a:moveTo>
                  <a:pt x="470161" y="3032913"/>
                </a:moveTo>
                <a:cubicBezTo>
                  <a:pt x="479711" y="3035630"/>
                  <a:pt x="483244" y="3052664"/>
                  <a:pt x="488002" y="3059846"/>
                </a:cubicBezTo>
                <a:cubicBezTo>
                  <a:pt x="478425" y="3066190"/>
                  <a:pt x="472082" y="3056613"/>
                  <a:pt x="458338" y="3035865"/>
                </a:cubicBezTo>
                <a:cubicBezTo>
                  <a:pt x="463126" y="3032694"/>
                  <a:pt x="466978" y="3032008"/>
                  <a:pt x="470161" y="3032913"/>
                </a:cubicBezTo>
                <a:close/>
                <a:moveTo>
                  <a:pt x="1017659" y="3029263"/>
                </a:moveTo>
                <a:cubicBezTo>
                  <a:pt x="1018405" y="3029415"/>
                  <a:pt x="1020395" y="3029819"/>
                  <a:pt x="1024375" y="3030627"/>
                </a:cubicBezTo>
                <a:cubicBezTo>
                  <a:pt x="1024375" y="3030627"/>
                  <a:pt x="1015420" y="3028809"/>
                  <a:pt x="1017659" y="3029263"/>
                </a:cubicBezTo>
                <a:close/>
                <a:moveTo>
                  <a:pt x="428674" y="3011885"/>
                </a:moveTo>
                <a:cubicBezTo>
                  <a:pt x="428674" y="3011885"/>
                  <a:pt x="398349" y="3031972"/>
                  <a:pt x="428674" y="3011885"/>
                </a:cubicBezTo>
                <a:close/>
                <a:moveTo>
                  <a:pt x="440498" y="3008932"/>
                </a:moveTo>
                <a:cubicBezTo>
                  <a:pt x="450048" y="3011648"/>
                  <a:pt x="453581" y="3028683"/>
                  <a:pt x="458338" y="3035865"/>
                </a:cubicBezTo>
                <a:cubicBezTo>
                  <a:pt x="448762" y="3042209"/>
                  <a:pt x="442418" y="3032633"/>
                  <a:pt x="428674" y="3011885"/>
                </a:cubicBezTo>
                <a:cubicBezTo>
                  <a:pt x="433463" y="3008713"/>
                  <a:pt x="437314" y="3008027"/>
                  <a:pt x="440498" y="3008932"/>
                </a:cubicBezTo>
                <a:close/>
                <a:moveTo>
                  <a:pt x="954933" y="2991662"/>
                </a:moveTo>
                <a:cubicBezTo>
                  <a:pt x="954933" y="2991662"/>
                  <a:pt x="989426" y="2998666"/>
                  <a:pt x="1002112" y="3017818"/>
                </a:cubicBezTo>
                <a:cubicBezTo>
                  <a:pt x="1022200" y="3048143"/>
                  <a:pt x="951700" y="3007582"/>
                  <a:pt x="954933" y="2991662"/>
                </a:cubicBezTo>
                <a:close/>
                <a:moveTo>
                  <a:pt x="978236" y="2918818"/>
                </a:moveTo>
                <a:lnTo>
                  <a:pt x="975437" y="2920672"/>
                </a:lnTo>
                <a:cubicBezTo>
                  <a:pt x="974090" y="2921564"/>
                  <a:pt x="974988" y="2920969"/>
                  <a:pt x="976784" y="2919779"/>
                </a:cubicBezTo>
                <a:close/>
                <a:moveTo>
                  <a:pt x="987557" y="2912643"/>
                </a:moveTo>
                <a:cubicBezTo>
                  <a:pt x="987557" y="2912643"/>
                  <a:pt x="985762" y="2913832"/>
                  <a:pt x="983517" y="2915319"/>
                </a:cubicBezTo>
                <a:lnTo>
                  <a:pt x="978236" y="2918818"/>
                </a:lnTo>
                <a:close/>
                <a:moveTo>
                  <a:pt x="992271" y="2909521"/>
                </a:moveTo>
                <a:cubicBezTo>
                  <a:pt x="993842" y="2908480"/>
                  <a:pt x="987557" y="2912643"/>
                  <a:pt x="987557" y="2912643"/>
                </a:cubicBezTo>
                <a:cubicBezTo>
                  <a:pt x="990350" y="2910793"/>
                  <a:pt x="991747" y="2909868"/>
                  <a:pt x="992271" y="2909521"/>
                </a:cubicBezTo>
                <a:close/>
                <a:moveTo>
                  <a:pt x="6207674" y="2885513"/>
                </a:moveTo>
                <a:lnTo>
                  <a:pt x="6194326" y="2910430"/>
                </a:lnTo>
                <a:cubicBezTo>
                  <a:pt x="6210246" y="2913663"/>
                  <a:pt x="6224652" y="2890342"/>
                  <a:pt x="6207674" y="2885513"/>
                </a:cubicBezTo>
                <a:close/>
                <a:moveTo>
                  <a:pt x="142608" y="2746028"/>
                </a:moveTo>
                <a:lnTo>
                  <a:pt x="137024" y="2747533"/>
                </a:lnTo>
                <a:cubicBezTo>
                  <a:pt x="134832" y="2748124"/>
                  <a:pt x="133736" y="2748419"/>
                  <a:pt x="135380" y="2747976"/>
                </a:cubicBezTo>
                <a:close/>
                <a:moveTo>
                  <a:pt x="150176" y="2743987"/>
                </a:moveTo>
                <a:lnTo>
                  <a:pt x="142608" y="2746028"/>
                </a:lnTo>
                <a:lnTo>
                  <a:pt x="145244" y="2745317"/>
                </a:lnTo>
                <a:cubicBezTo>
                  <a:pt x="147984" y="2744578"/>
                  <a:pt x="150176" y="2743987"/>
                  <a:pt x="150176" y="2743987"/>
                </a:cubicBezTo>
                <a:close/>
                <a:moveTo>
                  <a:pt x="117525" y="2653096"/>
                </a:moveTo>
                <a:cubicBezTo>
                  <a:pt x="81396" y="2660954"/>
                  <a:pt x="117525" y="2653096"/>
                  <a:pt x="117525" y="2653096"/>
                </a:cubicBezTo>
                <a:close/>
                <a:moveTo>
                  <a:pt x="3371515" y="2456926"/>
                </a:moveTo>
                <a:cubicBezTo>
                  <a:pt x="3368027" y="2457200"/>
                  <a:pt x="3366222" y="2458754"/>
                  <a:pt x="3366611" y="2461941"/>
                </a:cubicBezTo>
                <a:cubicBezTo>
                  <a:pt x="3357035" y="2468285"/>
                  <a:pt x="3684596" y="2664645"/>
                  <a:pt x="3672571" y="2601424"/>
                </a:cubicBezTo>
                <a:cubicBezTo>
                  <a:pt x="3658827" y="2580675"/>
                  <a:pt x="3563889" y="2544822"/>
                  <a:pt x="3516710" y="2518665"/>
                </a:cubicBezTo>
                <a:cubicBezTo>
                  <a:pt x="3502780" y="2515837"/>
                  <a:pt x="3395927" y="2455009"/>
                  <a:pt x="3371515" y="2456926"/>
                </a:cubicBezTo>
                <a:close/>
                <a:moveTo>
                  <a:pt x="3432173" y="2422245"/>
                </a:moveTo>
                <a:cubicBezTo>
                  <a:pt x="3428060" y="2421237"/>
                  <a:pt x="3425666" y="2422823"/>
                  <a:pt x="3425666" y="2422823"/>
                </a:cubicBezTo>
                <a:cubicBezTo>
                  <a:pt x="3422433" y="2438742"/>
                  <a:pt x="3432009" y="2432399"/>
                  <a:pt x="3448986" y="2437227"/>
                </a:cubicBezTo>
                <a:cubicBezTo>
                  <a:pt x="3515195" y="2492112"/>
                  <a:pt x="3616477" y="2537542"/>
                  <a:pt x="3701301" y="2582394"/>
                </a:cubicBezTo>
                <a:cubicBezTo>
                  <a:pt x="3813754" y="2620423"/>
                  <a:pt x="3635630" y="2524855"/>
                  <a:pt x="3600681" y="2492895"/>
                </a:cubicBezTo>
                <a:cubicBezTo>
                  <a:pt x="3537582" y="2463506"/>
                  <a:pt x="3488765" y="2452212"/>
                  <a:pt x="3448986" y="2437227"/>
                </a:cubicBezTo>
                <a:cubicBezTo>
                  <a:pt x="3442115" y="2426853"/>
                  <a:pt x="3436285" y="2423252"/>
                  <a:pt x="3432173" y="2422245"/>
                </a:cubicBezTo>
                <a:close/>
                <a:moveTo>
                  <a:pt x="3326799" y="2369012"/>
                </a:moveTo>
                <a:cubicBezTo>
                  <a:pt x="3324412" y="2368333"/>
                  <a:pt x="3333961" y="2371049"/>
                  <a:pt x="3333961" y="2371049"/>
                </a:cubicBezTo>
                <a:cubicBezTo>
                  <a:pt x="3329717" y="2369842"/>
                  <a:pt x="3327595" y="2369238"/>
                  <a:pt x="3326799" y="2369012"/>
                </a:cubicBezTo>
                <a:close/>
                <a:moveTo>
                  <a:pt x="3211368" y="2366592"/>
                </a:moveTo>
                <a:cubicBezTo>
                  <a:pt x="3207486" y="2366562"/>
                  <a:pt x="3205011" y="2367484"/>
                  <a:pt x="3204407" y="2369606"/>
                </a:cubicBezTo>
                <a:cubicBezTo>
                  <a:pt x="3202231" y="2387122"/>
                  <a:pt x="3350692" y="2458708"/>
                  <a:pt x="3340181" y="2422040"/>
                </a:cubicBezTo>
                <a:cubicBezTo>
                  <a:pt x="3334631" y="2413662"/>
                  <a:pt x="3238539" y="2366803"/>
                  <a:pt x="3211368" y="2366592"/>
                </a:cubicBezTo>
                <a:close/>
                <a:moveTo>
                  <a:pt x="3265058" y="2329431"/>
                </a:moveTo>
                <a:cubicBezTo>
                  <a:pt x="3265058" y="2329431"/>
                  <a:pt x="3280315" y="2376732"/>
                  <a:pt x="3265058" y="2329431"/>
                </a:cubicBezTo>
                <a:close/>
                <a:moveTo>
                  <a:pt x="3110268" y="2248724"/>
                </a:moveTo>
                <a:cubicBezTo>
                  <a:pt x="3107508" y="2256258"/>
                  <a:pt x="3233752" y="2322038"/>
                  <a:pt x="3221111" y="2287355"/>
                </a:cubicBezTo>
                <a:cubicBezTo>
                  <a:pt x="3214768" y="2277779"/>
                  <a:pt x="3165951" y="2266485"/>
                  <a:pt x="3165951" y="2266485"/>
                </a:cubicBezTo>
                <a:cubicBezTo>
                  <a:pt x="3126442" y="2250174"/>
                  <a:pt x="3111188" y="2246213"/>
                  <a:pt x="3110268" y="2248724"/>
                </a:cubicBezTo>
                <a:close/>
                <a:moveTo>
                  <a:pt x="5102150" y="2180320"/>
                </a:moveTo>
                <a:cubicBezTo>
                  <a:pt x="5102150" y="2180320"/>
                  <a:pt x="5115894" y="2201068"/>
                  <a:pt x="5102150" y="2180320"/>
                </a:cubicBezTo>
                <a:close/>
                <a:moveTo>
                  <a:pt x="5010446" y="2128546"/>
                </a:moveTo>
                <a:cubicBezTo>
                  <a:pt x="5010446" y="2128546"/>
                  <a:pt x="5035818" y="2166851"/>
                  <a:pt x="5010446" y="2128546"/>
                </a:cubicBezTo>
                <a:close/>
                <a:moveTo>
                  <a:pt x="2810636" y="2118361"/>
                </a:moveTo>
                <a:cubicBezTo>
                  <a:pt x="2900166" y="2187651"/>
                  <a:pt x="3018302" y="2279325"/>
                  <a:pt x="3142904" y="2339160"/>
                </a:cubicBezTo>
                <a:cubicBezTo>
                  <a:pt x="3142904" y="2339160"/>
                  <a:pt x="3182144" y="2356798"/>
                  <a:pt x="3191720" y="2350454"/>
                </a:cubicBezTo>
                <a:cubicBezTo>
                  <a:pt x="3192382" y="2306386"/>
                  <a:pt x="3024768" y="2247486"/>
                  <a:pt x="3002505" y="2234677"/>
                </a:cubicBezTo>
                <a:cubicBezTo>
                  <a:pt x="2909742" y="2181307"/>
                  <a:pt x="2876968" y="2131830"/>
                  <a:pt x="2810636" y="2118361"/>
                </a:cubicBezTo>
                <a:close/>
                <a:moveTo>
                  <a:pt x="2732280" y="2041671"/>
                </a:moveTo>
                <a:cubicBezTo>
                  <a:pt x="2732280" y="2041671"/>
                  <a:pt x="2695611" y="2052183"/>
                  <a:pt x="2711531" y="2055416"/>
                </a:cubicBezTo>
                <a:cubicBezTo>
                  <a:pt x="2717874" y="2064991"/>
                  <a:pt x="2738623" y="2051247"/>
                  <a:pt x="2732280" y="2041671"/>
                </a:cubicBezTo>
                <a:close/>
                <a:moveTo>
                  <a:pt x="4822744" y="2039322"/>
                </a:moveTo>
                <a:cubicBezTo>
                  <a:pt x="4835430" y="2058474"/>
                  <a:pt x="4822744" y="2039322"/>
                  <a:pt x="4822744" y="2039322"/>
                </a:cubicBezTo>
                <a:close/>
                <a:moveTo>
                  <a:pt x="2672041" y="2004575"/>
                </a:moveTo>
                <a:cubicBezTo>
                  <a:pt x="2672787" y="2004726"/>
                  <a:pt x="2674777" y="2005131"/>
                  <a:pt x="2678757" y="2005939"/>
                </a:cubicBezTo>
                <a:cubicBezTo>
                  <a:pt x="2678757" y="2005939"/>
                  <a:pt x="2669802" y="2004120"/>
                  <a:pt x="2672041" y="2004575"/>
                </a:cubicBezTo>
                <a:close/>
                <a:moveTo>
                  <a:pt x="2428958" y="1774976"/>
                </a:moveTo>
                <a:cubicBezTo>
                  <a:pt x="2409821" y="1775661"/>
                  <a:pt x="2480157" y="1831794"/>
                  <a:pt x="2465410" y="1791330"/>
                </a:cubicBezTo>
                <a:cubicBezTo>
                  <a:pt x="2459067" y="1781754"/>
                  <a:pt x="2449491" y="1788098"/>
                  <a:pt x="2443147" y="1778521"/>
                </a:cubicBezTo>
                <a:cubicBezTo>
                  <a:pt x="2436252" y="1775912"/>
                  <a:pt x="2431692" y="1774879"/>
                  <a:pt x="2428958" y="1774976"/>
                </a:cubicBezTo>
                <a:close/>
                <a:moveTo>
                  <a:pt x="3006340" y="1774880"/>
                </a:moveTo>
                <a:cubicBezTo>
                  <a:pt x="2998577" y="1772057"/>
                  <a:pt x="3004661" y="1776854"/>
                  <a:pt x="3038848" y="1797264"/>
                </a:cubicBezTo>
                <a:cubicBezTo>
                  <a:pt x="3383802" y="2037215"/>
                  <a:pt x="3741688" y="2213488"/>
                  <a:pt x="4067736" y="2383295"/>
                </a:cubicBezTo>
                <a:cubicBezTo>
                  <a:pt x="4191280" y="2441534"/>
                  <a:pt x="4327988" y="2536980"/>
                  <a:pt x="4435736" y="2550571"/>
                </a:cubicBezTo>
                <a:lnTo>
                  <a:pt x="4429394" y="2540995"/>
                </a:lnTo>
                <a:cubicBezTo>
                  <a:pt x="4423050" y="2531418"/>
                  <a:pt x="4298448" y="2471583"/>
                  <a:pt x="4251268" y="2445427"/>
                </a:cubicBezTo>
                <a:cubicBezTo>
                  <a:pt x="3858432" y="2237193"/>
                  <a:pt x="3472397" y="2063493"/>
                  <a:pt x="3094547" y="1815480"/>
                </a:cubicBezTo>
                <a:cubicBezTo>
                  <a:pt x="3070683" y="1805455"/>
                  <a:pt x="3019279" y="1779585"/>
                  <a:pt x="3006340" y="1774880"/>
                </a:cubicBezTo>
                <a:close/>
                <a:moveTo>
                  <a:pt x="3528382" y="1439073"/>
                </a:moveTo>
                <a:cubicBezTo>
                  <a:pt x="3521520" y="1440941"/>
                  <a:pt x="3529901" y="1451320"/>
                  <a:pt x="3567066" y="1474925"/>
                </a:cubicBezTo>
                <a:cubicBezTo>
                  <a:pt x="3666171" y="1537870"/>
                  <a:pt x="3826780" y="1631263"/>
                  <a:pt x="3945038" y="1681522"/>
                </a:cubicBezTo>
                <a:cubicBezTo>
                  <a:pt x="3964068" y="1710250"/>
                  <a:pt x="3979988" y="1713483"/>
                  <a:pt x="4007080" y="1709314"/>
                </a:cubicBezTo>
                <a:cubicBezTo>
                  <a:pt x="4027168" y="1739639"/>
                  <a:pt x="4059008" y="1746104"/>
                  <a:pt x="4093500" y="1753109"/>
                </a:cubicBezTo>
                <a:cubicBezTo>
                  <a:pt x="4067070" y="1713208"/>
                  <a:pt x="4039978" y="1717376"/>
                  <a:pt x="4007080" y="1709314"/>
                </a:cubicBezTo>
                <a:cubicBezTo>
                  <a:pt x="3988052" y="1680586"/>
                  <a:pt x="3970534" y="1678411"/>
                  <a:pt x="3945038" y="1681522"/>
                </a:cubicBezTo>
                <a:cubicBezTo>
                  <a:pt x="3849706" y="1600003"/>
                  <a:pt x="3748423" y="1554572"/>
                  <a:pt x="3627054" y="1478818"/>
                </a:cubicBezTo>
                <a:cubicBezTo>
                  <a:pt x="3593603" y="1456485"/>
                  <a:pt x="3539820" y="1435959"/>
                  <a:pt x="3528382" y="1439073"/>
                </a:cubicBezTo>
                <a:close/>
                <a:moveTo>
                  <a:pt x="1892738" y="1431047"/>
                </a:moveTo>
                <a:lnTo>
                  <a:pt x="1885651" y="1433079"/>
                </a:lnTo>
                <a:cubicBezTo>
                  <a:pt x="1883359" y="1433735"/>
                  <a:pt x="1882214" y="1434064"/>
                  <a:pt x="1883932" y="1433571"/>
                </a:cubicBezTo>
                <a:close/>
                <a:moveTo>
                  <a:pt x="4112464" y="1429430"/>
                </a:moveTo>
                <a:cubicBezTo>
                  <a:pt x="4106940" y="1428891"/>
                  <a:pt x="4116468" y="1439372"/>
                  <a:pt x="4123650" y="1434615"/>
                </a:cubicBezTo>
                <a:cubicBezTo>
                  <a:pt x="4129992" y="1444190"/>
                  <a:pt x="4136336" y="1453767"/>
                  <a:pt x="4145912" y="1447424"/>
                </a:cubicBezTo>
                <a:cubicBezTo>
                  <a:pt x="4199434" y="1483155"/>
                  <a:pt x="4257704" y="1529522"/>
                  <a:pt x="4317694" y="1533415"/>
                </a:cubicBezTo>
                <a:cubicBezTo>
                  <a:pt x="4264172" y="1497682"/>
                  <a:pt x="4202668" y="1467236"/>
                  <a:pt x="4145912" y="1447424"/>
                </a:cubicBezTo>
                <a:cubicBezTo>
                  <a:pt x="4139568" y="1437847"/>
                  <a:pt x="4133226" y="1428271"/>
                  <a:pt x="4123650" y="1434615"/>
                </a:cubicBezTo>
                <a:cubicBezTo>
                  <a:pt x="4117820" y="1431013"/>
                  <a:pt x="4114306" y="1429609"/>
                  <a:pt x="4112464" y="1429430"/>
                </a:cubicBezTo>
                <a:close/>
                <a:moveTo>
                  <a:pt x="1899402" y="1429137"/>
                </a:moveTo>
                <a:lnTo>
                  <a:pt x="1892738" y="1431047"/>
                </a:lnTo>
                <a:lnTo>
                  <a:pt x="1894246" y="1430615"/>
                </a:lnTo>
                <a:cubicBezTo>
                  <a:pt x="1897110" y="1429794"/>
                  <a:pt x="1899402" y="1429137"/>
                  <a:pt x="1899402" y="1429137"/>
                </a:cubicBezTo>
                <a:close/>
                <a:moveTo>
                  <a:pt x="1899402" y="1429137"/>
                </a:moveTo>
                <a:cubicBezTo>
                  <a:pt x="1924898" y="1426026"/>
                  <a:pt x="1956158" y="1448949"/>
                  <a:pt x="1982588" y="1488850"/>
                </a:cubicBezTo>
                <a:cubicBezTo>
                  <a:pt x="1948095" y="1481846"/>
                  <a:pt x="1919489" y="1459461"/>
                  <a:pt x="1899402" y="1429137"/>
                </a:cubicBezTo>
                <a:close/>
                <a:moveTo>
                  <a:pt x="4086284" y="1406048"/>
                </a:moveTo>
                <a:cubicBezTo>
                  <a:pt x="4076582" y="1404078"/>
                  <a:pt x="4063722" y="1410014"/>
                  <a:pt x="4073238" y="1424378"/>
                </a:cubicBezTo>
                <a:cubicBezTo>
                  <a:pt x="4073238" y="1424378"/>
                  <a:pt x="4100328" y="1420209"/>
                  <a:pt x="4093986" y="1410634"/>
                </a:cubicBezTo>
                <a:cubicBezTo>
                  <a:pt x="4092400" y="1408240"/>
                  <a:pt x="4089518" y="1406705"/>
                  <a:pt x="4086284" y="1406048"/>
                </a:cubicBezTo>
                <a:close/>
                <a:moveTo>
                  <a:pt x="1840948" y="1394734"/>
                </a:moveTo>
                <a:cubicBezTo>
                  <a:pt x="1835468" y="1396211"/>
                  <a:pt x="1827795" y="1398279"/>
                  <a:pt x="1831083" y="1397393"/>
                </a:cubicBezTo>
                <a:close/>
                <a:moveTo>
                  <a:pt x="1851873" y="1389435"/>
                </a:moveTo>
                <a:lnTo>
                  <a:pt x="1845880" y="1393404"/>
                </a:lnTo>
                <a:cubicBezTo>
                  <a:pt x="1845880" y="1393404"/>
                  <a:pt x="1847775" y="1392149"/>
                  <a:pt x="1850145" y="1390579"/>
                </a:cubicBezTo>
                <a:close/>
                <a:moveTo>
                  <a:pt x="1858674" y="1384930"/>
                </a:moveTo>
                <a:cubicBezTo>
                  <a:pt x="1860095" y="1383988"/>
                  <a:pt x="1859147" y="1384616"/>
                  <a:pt x="1857252" y="1385871"/>
                </a:cubicBezTo>
                <a:lnTo>
                  <a:pt x="1851873" y="1389435"/>
                </a:lnTo>
                <a:close/>
                <a:moveTo>
                  <a:pt x="1802688" y="1349002"/>
                </a:moveTo>
                <a:lnTo>
                  <a:pt x="1806155" y="1354236"/>
                </a:lnTo>
                <a:cubicBezTo>
                  <a:pt x="1808220" y="1357353"/>
                  <a:pt x="1809872" y="1359847"/>
                  <a:pt x="1809872" y="1359847"/>
                </a:cubicBezTo>
                <a:close/>
                <a:moveTo>
                  <a:pt x="1798722" y="1343014"/>
                </a:moveTo>
                <a:lnTo>
                  <a:pt x="1802688" y="1349002"/>
                </a:lnTo>
                <a:lnTo>
                  <a:pt x="1799961" y="1344884"/>
                </a:lnTo>
                <a:cubicBezTo>
                  <a:pt x="1798309" y="1342391"/>
                  <a:pt x="1797483" y="1341144"/>
                  <a:pt x="1798722" y="1343014"/>
                </a:cubicBezTo>
                <a:close/>
                <a:moveTo>
                  <a:pt x="3092557" y="1233530"/>
                </a:moveTo>
                <a:cubicBezTo>
                  <a:pt x="3092557" y="1233530"/>
                  <a:pt x="3108477" y="1236763"/>
                  <a:pt x="3092557" y="1233530"/>
                </a:cubicBezTo>
                <a:close/>
                <a:moveTo>
                  <a:pt x="1756002" y="1128584"/>
                </a:moveTo>
                <a:cubicBezTo>
                  <a:pt x="1757992" y="1128988"/>
                  <a:pt x="1759578" y="1131382"/>
                  <a:pt x="1762749" y="1136170"/>
                </a:cubicBezTo>
                <a:lnTo>
                  <a:pt x="1752451" y="1130269"/>
                </a:lnTo>
                <a:close/>
                <a:moveTo>
                  <a:pt x="1733308" y="1119373"/>
                </a:moveTo>
                <a:lnTo>
                  <a:pt x="1740542" y="1123445"/>
                </a:lnTo>
                <a:lnTo>
                  <a:pt x="1752451" y="1130269"/>
                </a:lnTo>
                <a:lnTo>
                  <a:pt x="1746829" y="1132938"/>
                </a:lnTo>
                <a:close/>
                <a:moveTo>
                  <a:pt x="429229" y="1036674"/>
                </a:moveTo>
                <a:cubicBezTo>
                  <a:pt x="429229" y="1036674"/>
                  <a:pt x="392560" y="1047186"/>
                  <a:pt x="429229" y="1036674"/>
                </a:cubicBezTo>
                <a:close/>
                <a:moveTo>
                  <a:pt x="960919" y="958783"/>
                </a:moveTo>
                <a:cubicBezTo>
                  <a:pt x="957202" y="953172"/>
                  <a:pt x="972069" y="975616"/>
                  <a:pt x="972069" y="975616"/>
                </a:cubicBezTo>
                <a:cubicBezTo>
                  <a:pt x="965462" y="965641"/>
                  <a:pt x="962158" y="960653"/>
                  <a:pt x="960919" y="958783"/>
                </a:cubicBezTo>
                <a:close/>
                <a:moveTo>
                  <a:pt x="208705" y="911784"/>
                </a:moveTo>
                <a:lnTo>
                  <a:pt x="202977" y="915578"/>
                </a:lnTo>
                <a:cubicBezTo>
                  <a:pt x="201630" y="916470"/>
                  <a:pt x="202528" y="915876"/>
                  <a:pt x="204324" y="914686"/>
                </a:cubicBezTo>
                <a:close/>
                <a:moveTo>
                  <a:pt x="215097" y="907550"/>
                </a:moveTo>
                <a:cubicBezTo>
                  <a:pt x="215097" y="907550"/>
                  <a:pt x="213302" y="908739"/>
                  <a:pt x="211057" y="910226"/>
                </a:cubicBezTo>
                <a:lnTo>
                  <a:pt x="208705" y="911784"/>
                </a:lnTo>
                <a:close/>
                <a:moveTo>
                  <a:pt x="873748" y="827187"/>
                </a:moveTo>
                <a:cubicBezTo>
                  <a:pt x="873748" y="827187"/>
                  <a:pt x="843423" y="847274"/>
                  <a:pt x="873748" y="827187"/>
                </a:cubicBezTo>
                <a:close/>
                <a:moveTo>
                  <a:pt x="229126" y="742107"/>
                </a:moveTo>
                <a:lnTo>
                  <a:pt x="224806" y="744969"/>
                </a:lnTo>
                <a:cubicBezTo>
                  <a:pt x="223510" y="745828"/>
                  <a:pt x="222861" y="746257"/>
                  <a:pt x="223834" y="745613"/>
                </a:cubicBezTo>
                <a:close/>
                <a:moveTo>
                  <a:pt x="232587" y="739814"/>
                </a:moveTo>
                <a:lnTo>
                  <a:pt x="229126" y="742107"/>
                </a:lnTo>
                <a:lnTo>
                  <a:pt x="229669" y="741747"/>
                </a:lnTo>
                <a:cubicBezTo>
                  <a:pt x="231290" y="740674"/>
                  <a:pt x="232587" y="739814"/>
                  <a:pt x="232587" y="739814"/>
                </a:cubicBezTo>
                <a:close/>
                <a:moveTo>
                  <a:pt x="1772289" y="667069"/>
                </a:moveTo>
                <a:cubicBezTo>
                  <a:pt x="1770050" y="666614"/>
                  <a:pt x="1779005" y="668433"/>
                  <a:pt x="1779005" y="668433"/>
                </a:cubicBezTo>
                <a:cubicBezTo>
                  <a:pt x="1775025" y="667625"/>
                  <a:pt x="1773035" y="667220"/>
                  <a:pt x="1772289" y="667069"/>
                </a:cubicBezTo>
                <a:close/>
                <a:moveTo>
                  <a:pt x="2345042" y="663194"/>
                </a:moveTo>
                <a:cubicBezTo>
                  <a:pt x="2345042" y="663194"/>
                  <a:pt x="2325889" y="675882"/>
                  <a:pt x="2345042" y="663194"/>
                </a:cubicBezTo>
                <a:close/>
                <a:moveTo>
                  <a:pt x="1904392" y="642784"/>
                </a:moveTo>
                <a:cubicBezTo>
                  <a:pt x="1897925" y="674623"/>
                  <a:pt x="1971658" y="699264"/>
                  <a:pt x="1967491" y="672173"/>
                </a:cubicBezTo>
                <a:cubicBezTo>
                  <a:pt x="1954804" y="653020"/>
                  <a:pt x="1904392" y="642784"/>
                  <a:pt x="1904392" y="642784"/>
                </a:cubicBezTo>
                <a:close/>
                <a:moveTo>
                  <a:pt x="2375490" y="601691"/>
                </a:moveTo>
                <a:cubicBezTo>
                  <a:pt x="2375490" y="601691"/>
                  <a:pt x="2391410" y="604924"/>
                  <a:pt x="2388177" y="620843"/>
                </a:cubicBezTo>
                <a:cubicBezTo>
                  <a:pt x="2388177" y="620843"/>
                  <a:pt x="2372257" y="617611"/>
                  <a:pt x="2375490" y="601691"/>
                </a:cubicBezTo>
                <a:close/>
                <a:moveTo>
                  <a:pt x="2341563" y="580535"/>
                </a:moveTo>
                <a:cubicBezTo>
                  <a:pt x="2336824" y="583674"/>
                  <a:pt x="2330190" y="588068"/>
                  <a:pt x="2333033" y="586185"/>
                </a:cubicBezTo>
                <a:close/>
                <a:moveTo>
                  <a:pt x="2345827" y="577710"/>
                </a:moveTo>
                <a:cubicBezTo>
                  <a:pt x="2355403" y="571367"/>
                  <a:pt x="2361747" y="580943"/>
                  <a:pt x="2375490" y="601691"/>
                </a:cubicBezTo>
                <a:cubicBezTo>
                  <a:pt x="2356338" y="614378"/>
                  <a:pt x="2342594" y="593630"/>
                  <a:pt x="2345827" y="577710"/>
                </a:cubicBezTo>
                <a:close/>
                <a:moveTo>
                  <a:pt x="2478192" y="347658"/>
                </a:moveTo>
                <a:cubicBezTo>
                  <a:pt x="2482980" y="344486"/>
                  <a:pt x="2487224" y="345693"/>
                  <a:pt x="2489867" y="349683"/>
                </a:cubicBezTo>
                <a:lnTo>
                  <a:pt x="2490299" y="353589"/>
                </a:lnTo>
                <a:close/>
                <a:moveTo>
                  <a:pt x="1075785" y="36318"/>
                </a:moveTo>
                <a:cubicBezTo>
                  <a:pt x="1077739" y="34880"/>
                  <a:pt x="1091787" y="42654"/>
                  <a:pt x="1123979" y="64386"/>
                </a:cubicBezTo>
                <a:cubicBezTo>
                  <a:pt x="1245348" y="140140"/>
                  <a:pt x="1366055" y="259964"/>
                  <a:pt x="1477848" y="342062"/>
                </a:cubicBezTo>
                <a:cubicBezTo>
                  <a:pt x="1573720" y="420927"/>
                  <a:pt x="1688746" y="487106"/>
                  <a:pt x="1792599" y="560686"/>
                </a:cubicBezTo>
                <a:cubicBezTo>
                  <a:pt x="1822801" y="582013"/>
                  <a:pt x="1926655" y="655592"/>
                  <a:pt x="1884304" y="612459"/>
                </a:cubicBezTo>
                <a:cubicBezTo>
                  <a:pt x="1759825" y="511209"/>
                  <a:pt x="1632113" y="425878"/>
                  <a:pt x="1514516" y="331550"/>
                </a:cubicBezTo>
                <a:cubicBezTo>
                  <a:pt x="1438731" y="283009"/>
                  <a:pt x="1325881" y="199315"/>
                  <a:pt x="1431453" y="230422"/>
                </a:cubicBezTo>
                <a:cubicBezTo>
                  <a:pt x="1510472" y="263043"/>
                  <a:pt x="1584082" y="329100"/>
                  <a:pt x="1651928" y="369122"/>
                </a:cubicBezTo>
                <a:cubicBezTo>
                  <a:pt x="2084815" y="679420"/>
                  <a:pt x="2548962" y="1012641"/>
                  <a:pt x="2974448" y="1311767"/>
                </a:cubicBezTo>
                <a:cubicBezTo>
                  <a:pt x="3237273" y="1493601"/>
                  <a:pt x="3496988" y="1649939"/>
                  <a:pt x="3749302" y="1795105"/>
                </a:cubicBezTo>
                <a:cubicBezTo>
                  <a:pt x="4004270" y="1940810"/>
                  <a:pt x="4285314" y="2066946"/>
                  <a:pt x="4548922" y="2163295"/>
                </a:cubicBezTo>
                <a:cubicBezTo>
                  <a:pt x="4571186" y="2176104"/>
                  <a:pt x="4558500" y="2156951"/>
                  <a:pt x="4548922" y="2163295"/>
                </a:cubicBezTo>
                <a:cubicBezTo>
                  <a:pt x="4145576" y="1918393"/>
                  <a:pt x="3744678" y="1743056"/>
                  <a:pt x="3316415" y="1484807"/>
                </a:cubicBezTo>
                <a:cubicBezTo>
                  <a:pt x="2968228" y="1260776"/>
                  <a:pt x="2618527" y="1010191"/>
                  <a:pt x="2275749" y="752724"/>
                </a:cubicBezTo>
                <a:cubicBezTo>
                  <a:pt x="2217479" y="706359"/>
                  <a:pt x="2076024" y="600280"/>
                  <a:pt x="2148699" y="623325"/>
                </a:cubicBezTo>
                <a:cubicBezTo>
                  <a:pt x="2210202" y="653772"/>
                  <a:pt x="2326162" y="762961"/>
                  <a:pt x="2348425" y="775770"/>
                </a:cubicBezTo>
                <a:cubicBezTo>
                  <a:pt x="2690268" y="990225"/>
                  <a:pt x="2962547" y="1207131"/>
                  <a:pt x="3362660" y="1467952"/>
                </a:cubicBezTo>
                <a:cubicBezTo>
                  <a:pt x="3635061" y="1643442"/>
                  <a:pt x="3977028" y="1816482"/>
                  <a:pt x="4273412" y="1962309"/>
                </a:cubicBezTo>
                <a:cubicBezTo>
                  <a:pt x="4279754" y="1971885"/>
                  <a:pt x="4415528" y="2024319"/>
                  <a:pt x="4415528" y="2024319"/>
                </a:cubicBezTo>
                <a:cubicBezTo>
                  <a:pt x="4434682" y="2011632"/>
                  <a:pt x="4332344" y="1964606"/>
                  <a:pt x="4280416" y="1927817"/>
                </a:cubicBezTo>
                <a:cubicBezTo>
                  <a:pt x="4204630" y="1879275"/>
                  <a:pt x="4141532" y="1849886"/>
                  <a:pt x="4111868" y="1825905"/>
                </a:cubicBezTo>
                <a:lnTo>
                  <a:pt x="4121444" y="1819562"/>
                </a:lnTo>
                <a:cubicBezTo>
                  <a:pt x="4138960" y="1821738"/>
                  <a:pt x="4132616" y="1812161"/>
                  <a:pt x="4121444" y="1819562"/>
                </a:cubicBezTo>
                <a:cubicBezTo>
                  <a:pt x="4108758" y="1800410"/>
                  <a:pt x="4105524" y="1816330"/>
                  <a:pt x="4111868" y="1825905"/>
                </a:cubicBezTo>
                <a:cubicBezTo>
                  <a:pt x="4007354" y="1796394"/>
                  <a:pt x="3941682" y="1738857"/>
                  <a:pt x="3815484" y="1680079"/>
                </a:cubicBezTo>
                <a:cubicBezTo>
                  <a:pt x="3668620" y="1607435"/>
                  <a:pt x="3523931" y="1517276"/>
                  <a:pt x="3380299" y="1428712"/>
                </a:cubicBezTo>
                <a:cubicBezTo>
                  <a:pt x="3326776" y="1392979"/>
                  <a:pt x="3132732" y="1294179"/>
                  <a:pt x="3185320" y="1286900"/>
                </a:cubicBezTo>
                <a:cubicBezTo>
                  <a:pt x="3207583" y="1299709"/>
                  <a:pt x="3206069" y="1273156"/>
                  <a:pt x="3185320" y="1286900"/>
                </a:cubicBezTo>
                <a:cubicBezTo>
                  <a:pt x="3172633" y="1267748"/>
                  <a:pt x="3158890" y="1247000"/>
                  <a:pt x="3133393" y="1250111"/>
                </a:cubicBezTo>
                <a:cubicBezTo>
                  <a:pt x="2881202" y="1063529"/>
                  <a:pt x="2615144" y="897615"/>
                  <a:pt x="2345042" y="663194"/>
                </a:cubicBezTo>
                <a:cubicBezTo>
                  <a:pt x="2607867" y="845028"/>
                  <a:pt x="2924214" y="1062594"/>
                  <a:pt x="3193382" y="1254004"/>
                </a:cubicBezTo>
                <a:cubicBezTo>
                  <a:pt x="3237908" y="1279621"/>
                  <a:pt x="3468894" y="1454990"/>
                  <a:pt x="3488047" y="1442303"/>
                </a:cubicBezTo>
                <a:cubicBezTo>
                  <a:pt x="3563021" y="1406417"/>
                  <a:pt x="2762917" y="843360"/>
                  <a:pt x="3455273" y="1392827"/>
                </a:cubicBezTo>
                <a:cubicBezTo>
                  <a:pt x="3425610" y="1368846"/>
                  <a:pt x="3397003" y="1346460"/>
                  <a:pt x="3378431" y="1342690"/>
                </a:cubicBezTo>
                <a:cubicBezTo>
                  <a:pt x="3018491" y="1142517"/>
                  <a:pt x="2687943" y="879246"/>
                  <a:pt x="2388177" y="620843"/>
                </a:cubicBezTo>
                <a:cubicBezTo>
                  <a:pt x="2781947" y="872089"/>
                  <a:pt x="3162908" y="1145597"/>
                  <a:pt x="3574193" y="1399017"/>
                </a:cubicBezTo>
                <a:cubicBezTo>
                  <a:pt x="3955278" y="1631109"/>
                  <a:pt x="4329084" y="1810614"/>
                  <a:pt x="4720404" y="1992295"/>
                </a:cubicBezTo>
                <a:cubicBezTo>
                  <a:pt x="4765988" y="2019509"/>
                  <a:pt x="4838664" y="2042554"/>
                  <a:pt x="4763416" y="1991360"/>
                </a:cubicBezTo>
                <a:cubicBezTo>
                  <a:pt x="4678054" y="1949162"/>
                  <a:pt x="4531190" y="1876519"/>
                  <a:pt x="4468092" y="1847130"/>
                </a:cubicBezTo>
                <a:cubicBezTo>
                  <a:pt x="3791558" y="1512222"/>
                  <a:pt x="3126901" y="1112040"/>
                  <a:pt x="2498578" y="634973"/>
                </a:cubicBezTo>
                <a:cubicBezTo>
                  <a:pt x="2379386" y="541703"/>
                  <a:pt x="2228353" y="441967"/>
                  <a:pt x="2178725" y="346246"/>
                </a:cubicBezTo>
                <a:cubicBezTo>
                  <a:pt x="2192469" y="366995"/>
                  <a:pt x="2188301" y="339903"/>
                  <a:pt x="2178725" y="346246"/>
                </a:cubicBezTo>
                <a:cubicBezTo>
                  <a:pt x="2130032" y="293537"/>
                  <a:pt x="2118859" y="300938"/>
                  <a:pt x="2090253" y="278553"/>
                </a:cubicBezTo>
                <a:cubicBezTo>
                  <a:pt x="2015006" y="227359"/>
                  <a:pt x="1964717" y="175707"/>
                  <a:pt x="2050079" y="217905"/>
                </a:cubicBezTo>
                <a:cubicBezTo>
                  <a:pt x="2194768" y="308064"/>
                  <a:pt x="2270553" y="356605"/>
                  <a:pt x="2389746" y="449875"/>
                </a:cubicBezTo>
                <a:cubicBezTo>
                  <a:pt x="2803604" y="731445"/>
                  <a:pt x="3143728" y="988372"/>
                  <a:pt x="3577277" y="1254601"/>
                </a:cubicBezTo>
                <a:cubicBezTo>
                  <a:pt x="3821072" y="1407707"/>
                  <a:pt x="4015116" y="1506508"/>
                  <a:pt x="4277008" y="1645330"/>
                </a:cubicBezTo>
                <a:cubicBezTo>
                  <a:pt x="4407952" y="1714741"/>
                  <a:pt x="4638004" y="1847098"/>
                  <a:pt x="4797098" y="1913937"/>
                </a:cubicBezTo>
                <a:cubicBezTo>
                  <a:pt x="4803442" y="1923514"/>
                  <a:pt x="4971056" y="1982413"/>
                  <a:pt x="4980632" y="1976069"/>
                </a:cubicBezTo>
                <a:cubicBezTo>
                  <a:pt x="4990208" y="1969726"/>
                  <a:pt x="4920766" y="1930761"/>
                  <a:pt x="4914424" y="1921185"/>
                </a:cubicBezTo>
                <a:cubicBezTo>
                  <a:pt x="4480750" y="1696371"/>
                  <a:pt x="4046956" y="1512973"/>
                  <a:pt x="3637266" y="1258495"/>
                </a:cubicBezTo>
                <a:cubicBezTo>
                  <a:pt x="3260930" y="1037035"/>
                  <a:pt x="2846616" y="730509"/>
                  <a:pt x="2487918" y="469810"/>
                </a:cubicBezTo>
                <a:cubicBezTo>
                  <a:pt x="2429648" y="423444"/>
                  <a:pt x="2346462" y="363730"/>
                  <a:pt x="2317856" y="341346"/>
                </a:cubicBezTo>
                <a:cubicBezTo>
                  <a:pt x="2291426" y="301446"/>
                  <a:pt x="2329608" y="317487"/>
                  <a:pt x="2310579" y="288759"/>
                </a:cubicBezTo>
                <a:cubicBezTo>
                  <a:pt x="2310579" y="288759"/>
                  <a:pt x="2277805" y="239282"/>
                  <a:pt x="2268228" y="245626"/>
                </a:cubicBezTo>
                <a:cubicBezTo>
                  <a:pt x="2277805" y="239282"/>
                  <a:pt x="2392830" y="305460"/>
                  <a:pt x="2491936" y="368407"/>
                </a:cubicBezTo>
                <a:cubicBezTo>
                  <a:pt x="2498279" y="377982"/>
                  <a:pt x="2498279" y="377982"/>
                  <a:pt x="2488703" y="384326"/>
                </a:cubicBezTo>
                <a:cubicBezTo>
                  <a:pt x="2498279" y="377982"/>
                  <a:pt x="2359933" y="297399"/>
                  <a:pt x="2320155" y="282415"/>
                </a:cubicBezTo>
                <a:cubicBezTo>
                  <a:pt x="2799287" y="575857"/>
                  <a:pt x="2665231" y="480951"/>
                  <a:pt x="2491936" y="368407"/>
                </a:cubicBezTo>
                <a:lnTo>
                  <a:pt x="2490299" y="353589"/>
                </a:lnTo>
                <a:lnTo>
                  <a:pt x="2559090" y="387287"/>
                </a:lnTo>
                <a:cubicBezTo>
                  <a:pt x="2637524" y="435006"/>
                  <a:pt x="2710296" y="503915"/>
                  <a:pt x="2792944" y="566282"/>
                </a:cubicBezTo>
                <a:cubicBezTo>
                  <a:pt x="3329766" y="922549"/>
                  <a:pt x="3863934" y="1278276"/>
                  <a:pt x="4415866" y="1553349"/>
                </a:cubicBezTo>
                <a:cubicBezTo>
                  <a:pt x="4642806" y="1660211"/>
                  <a:pt x="4868690" y="1765476"/>
                  <a:pt x="5079712" y="1869105"/>
                </a:cubicBezTo>
                <a:cubicBezTo>
                  <a:pt x="5497464" y="2090686"/>
                  <a:pt x="5932650" y="2342053"/>
                  <a:pt x="6388708" y="2538260"/>
                </a:cubicBezTo>
                <a:cubicBezTo>
                  <a:pt x="6712184" y="2679918"/>
                  <a:pt x="7030830" y="2838554"/>
                  <a:pt x="7391948" y="2998906"/>
                </a:cubicBezTo>
                <a:cubicBezTo>
                  <a:pt x="7470968" y="3031528"/>
                  <a:pt x="7563730" y="3084898"/>
                  <a:pt x="7642750" y="3117520"/>
                </a:cubicBezTo>
                <a:cubicBezTo>
                  <a:pt x="7680932" y="3133561"/>
                  <a:pt x="7770584" y="3161435"/>
                  <a:pt x="7693742" y="3111298"/>
                </a:cubicBezTo>
                <a:cubicBezTo>
                  <a:pt x="7603632" y="3058466"/>
                  <a:pt x="7483778" y="3009265"/>
                  <a:pt x="7422274" y="2978819"/>
                </a:cubicBezTo>
                <a:cubicBezTo>
                  <a:pt x="7077074" y="2821698"/>
                  <a:pt x="6781748" y="2677468"/>
                  <a:pt x="6469446" y="2528409"/>
                </a:cubicBezTo>
                <a:cubicBezTo>
                  <a:pt x="6275402" y="2429609"/>
                  <a:pt x="6034054" y="2346068"/>
                  <a:pt x="5841606" y="2246210"/>
                </a:cubicBezTo>
                <a:cubicBezTo>
                  <a:pt x="5724984" y="2181089"/>
                  <a:pt x="5658734" y="2140009"/>
                  <a:pt x="5527788" y="2070598"/>
                </a:cubicBezTo>
                <a:cubicBezTo>
                  <a:pt x="5457290" y="2030037"/>
                  <a:pt x="5371928" y="1987840"/>
                  <a:pt x="5294504" y="1954161"/>
                </a:cubicBezTo>
                <a:cubicBezTo>
                  <a:pt x="5132300" y="1861826"/>
                  <a:pt x="5290338" y="1927069"/>
                  <a:pt x="5335920" y="1954282"/>
                </a:cubicBezTo>
                <a:cubicBezTo>
                  <a:pt x="5669948" y="2118803"/>
                  <a:pt x="5958930" y="2253458"/>
                  <a:pt x="6261658" y="2408861"/>
                </a:cubicBezTo>
                <a:cubicBezTo>
                  <a:pt x="6630716" y="2577732"/>
                  <a:pt x="6974858" y="2733257"/>
                  <a:pt x="7312658" y="2879205"/>
                </a:cubicBezTo>
                <a:cubicBezTo>
                  <a:pt x="7665796" y="3044844"/>
                  <a:pt x="8000486" y="3165296"/>
                  <a:pt x="8359968" y="3340512"/>
                </a:cubicBezTo>
                <a:cubicBezTo>
                  <a:pt x="8653698" y="3485799"/>
                  <a:pt x="8986750" y="3621114"/>
                  <a:pt x="9266430" y="3849192"/>
                </a:cubicBezTo>
                <a:cubicBezTo>
                  <a:pt x="9272772" y="3858768"/>
                  <a:pt x="9374450" y="3949863"/>
                  <a:pt x="9390370" y="3953096"/>
                </a:cubicBezTo>
                <a:cubicBezTo>
                  <a:pt x="9399946" y="3946753"/>
                  <a:pt x="9324822" y="3854143"/>
                  <a:pt x="9301502" y="3839738"/>
                </a:cubicBezTo>
                <a:cubicBezTo>
                  <a:pt x="9236888" y="3783795"/>
                  <a:pt x="9347084" y="3866951"/>
                  <a:pt x="9372000" y="3880299"/>
                </a:cubicBezTo>
                <a:cubicBezTo>
                  <a:pt x="9465220" y="3958626"/>
                  <a:pt x="9647662" y="4209781"/>
                  <a:pt x="9613442" y="4289856"/>
                </a:cubicBezTo>
                <a:cubicBezTo>
                  <a:pt x="9577434" y="4256299"/>
                  <a:pt x="9613170" y="4202776"/>
                  <a:pt x="9567586" y="4175563"/>
                </a:cubicBezTo>
                <a:cubicBezTo>
                  <a:pt x="9534150" y="4170155"/>
                  <a:pt x="9597398" y="4328039"/>
                  <a:pt x="9600632" y="4312120"/>
                </a:cubicBezTo>
                <a:cubicBezTo>
                  <a:pt x="9606976" y="4321695"/>
                  <a:pt x="9567074" y="4348127"/>
                  <a:pt x="9557498" y="4354470"/>
                </a:cubicBezTo>
                <a:cubicBezTo>
                  <a:pt x="9547258" y="4404882"/>
                  <a:pt x="9577462" y="4426210"/>
                  <a:pt x="9557646" y="4482966"/>
                </a:cubicBezTo>
                <a:cubicBezTo>
                  <a:pt x="9543118" y="4547701"/>
                  <a:pt x="9510616" y="4585305"/>
                  <a:pt x="9480168" y="4646808"/>
                </a:cubicBezTo>
                <a:cubicBezTo>
                  <a:pt x="9465184" y="4686587"/>
                  <a:pt x="9463464" y="4729059"/>
                  <a:pt x="9450654" y="4751322"/>
                </a:cubicBezTo>
                <a:cubicBezTo>
                  <a:pt x="9437306" y="4776238"/>
                  <a:pt x="9418154" y="4788925"/>
                  <a:pt x="9405344" y="4811189"/>
                </a:cubicBezTo>
                <a:cubicBezTo>
                  <a:pt x="9394048" y="4860005"/>
                  <a:pt x="9411026" y="4864833"/>
                  <a:pt x="9388640" y="4893440"/>
                </a:cubicBezTo>
                <a:cubicBezTo>
                  <a:pt x="9388640" y="4893440"/>
                  <a:pt x="9390938" y="4834509"/>
                  <a:pt x="9375018" y="4831277"/>
                </a:cubicBezTo>
                <a:cubicBezTo>
                  <a:pt x="9349522" y="4834387"/>
                  <a:pt x="9341610" y="4995780"/>
                  <a:pt x="9341610" y="4995780"/>
                </a:cubicBezTo>
                <a:cubicBezTo>
                  <a:pt x="9325566" y="5033962"/>
                  <a:pt x="9318290" y="4981374"/>
                  <a:pt x="9298474" y="5038131"/>
                </a:cubicBezTo>
                <a:cubicBezTo>
                  <a:pt x="9293066" y="5071566"/>
                  <a:pt x="9321672" y="5093950"/>
                  <a:pt x="9294456" y="5139534"/>
                </a:cubicBezTo>
                <a:cubicBezTo>
                  <a:pt x="9292280" y="5157049"/>
                  <a:pt x="9229058" y="5169076"/>
                  <a:pt x="9214654" y="5192397"/>
                </a:cubicBezTo>
                <a:cubicBezTo>
                  <a:pt x="9202900" y="5216255"/>
                  <a:pt x="9209244" y="5225831"/>
                  <a:pt x="9202778" y="5257671"/>
                </a:cubicBezTo>
                <a:cubicBezTo>
                  <a:pt x="9189306" y="5324002"/>
                  <a:pt x="9168558" y="5337746"/>
                  <a:pt x="9150338" y="5393445"/>
                </a:cubicBezTo>
                <a:cubicBezTo>
                  <a:pt x="9126356" y="5423109"/>
                  <a:pt x="9133634" y="5475696"/>
                  <a:pt x="9119228" y="5499017"/>
                </a:cubicBezTo>
                <a:cubicBezTo>
                  <a:pt x="9096842" y="5527624"/>
                  <a:pt x="9066518" y="5547711"/>
                  <a:pt x="9063284" y="5563631"/>
                </a:cubicBezTo>
                <a:cubicBezTo>
                  <a:pt x="9060052" y="5579550"/>
                  <a:pt x="9068966" y="5617276"/>
                  <a:pt x="9065732" y="5633195"/>
                </a:cubicBezTo>
                <a:cubicBezTo>
                  <a:pt x="9052924" y="5655458"/>
                  <a:pt x="9016254" y="5665970"/>
                  <a:pt x="9003444" y="5688233"/>
                </a:cubicBezTo>
                <a:cubicBezTo>
                  <a:pt x="8980520" y="5719493"/>
                  <a:pt x="8986740" y="5770485"/>
                  <a:pt x="8976502" y="5820896"/>
                </a:cubicBezTo>
                <a:cubicBezTo>
                  <a:pt x="8966926" y="5827240"/>
                  <a:pt x="8941430" y="5830351"/>
                  <a:pt x="8936600" y="5847327"/>
                </a:cubicBezTo>
                <a:cubicBezTo>
                  <a:pt x="8904638" y="5882278"/>
                  <a:pt x="8907086" y="5951842"/>
                  <a:pt x="8892100" y="5991621"/>
                </a:cubicBezTo>
                <a:cubicBezTo>
                  <a:pt x="8868118" y="6021285"/>
                  <a:pt x="8828218" y="6047716"/>
                  <a:pt x="8821750" y="6079555"/>
                </a:cubicBezTo>
                <a:cubicBezTo>
                  <a:pt x="8810578" y="6086956"/>
                  <a:pt x="8833776" y="6142777"/>
                  <a:pt x="8830542" y="6158696"/>
                </a:cubicBezTo>
                <a:cubicBezTo>
                  <a:pt x="8828366" y="6176212"/>
                  <a:pt x="8784298" y="6175551"/>
                  <a:pt x="8771488" y="6197814"/>
                </a:cubicBezTo>
                <a:cubicBezTo>
                  <a:pt x="8752336" y="6210501"/>
                  <a:pt x="8775656" y="6224906"/>
                  <a:pt x="8772422" y="6240826"/>
                </a:cubicBezTo>
                <a:cubicBezTo>
                  <a:pt x="8761250" y="6248226"/>
                  <a:pt x="8742096" y="6260913"/>
                  <a:pt x="8738864" y="6276832"/>
                </a:cubicBezTo>
                <a:cubicBezTo>
                  <a:pt x="8734034" y="6293809"/>
                  <a:pt x="8747778" y="6314558"/>
                  <a:pt x="8741312" y="6346397"/>
                </a:cubicBezTo>
                <a:cubicBezTo>
                  <a:pt x="8738078" y="6362317"/>
                  <a:pt x="8717330" y="6376061"/>
                  <a:pt x="8705578" y="6399920"/>
                </a:cubicBezTo>
                <a:cubicBezTo>
                  <a:pt x="8675130" y="6461424"/>
                  <a:pt x="8698450" y="6475828"/>
                  <a:pt x="8661658" y="6527755"/>
                </a:cubicBezTo>
                <a:cubicBezTo>
                  <a:pt x="8652082" y="6534098"/>
                  <a:pt x="8655192" y="6559594"/>
                  <a:pt x="8653016" y="6577109"/>
                </a:cubicBezTo>
                <a:cubicBezTo>
                  <a:pt x="8629034" y="6606773"/>
                  <a:pt x="8581152" y="6638491"/>
                  <a:pt x="8568342" y="6660754"/>
                </a:cubicBezTo>
                <a:cubicBezTo>
                  <a:pt x="8568342" y="6660754"/>
                  <a:pt x="8574716" y="6659976"/>
                  <a:pt x="8581494" y="6657209"/>
                </a:cubicBezTo>
                <a:lnTo>
                  <a:pt x="8587894" y="6653395"/>
                </a:lnTo>
                <a:lnTo>
                  <a:pt x="8577284" y="6666886"/>
                </a:lnTo>
                <a:cubicBezTo>
                  <a:pt x="8569498" y="6673766"/>
                  <a:pt x="8559522" y="6680374"/>
                  <a:pt x="8544360" y="6690418"/>
                </a:cubicBezTo>
                <a:cubicBezTo>
                  <a:pt x="8529374" y="6730197"/>
                  <a:pt x="8554748" y="6768501"/>
                  <a:pt x="8534932" y="6825257"/>
                </a:cubicBezTo>
                <a:cubicBezTo>
                  <a:pt x="8531700" y="6841177"/>
                  <a:pt x="8507718" y="6870840"/>
                  <a:pt x="8484794" y="6902100"/>
                </a:cubicBezTo>
                <a:cubicBezTo>
                  <a:pt x="8478326" y="6933939"/>
                  <a:pt x="8471860" y="6965779"/>
                  <a:pt x="8468088" y="6984352"/>
                </a:cubicBezTo>
                <a:cubicBezTo>
                  <a:pt x="8452046" y="7022534"/>
                  <a:pt x="8429782" y="7009726"/>
                  <a:pt x="8415378" y="7033046"/>
                </a:cubicBezTo>
                <a:cubicBezTo>
                  <a:pt x="8402568" y="7055309"/>
                  <a:pt x="8415254" y="7074461"/>
                  <a:pt x="8411482" y="7093034"/>
                </a:cubicBezTo>
                <a:cubicBezTo>
                  <a:pt x="8395440" y="7131217"/>
                  <a:pt x="8358770" y="7141728"/>
                  <a:pt x="8358770" y="7141728"/>
                </a:cubicBezTo>
                <a:cubicBezTo>
                  <a:pt x="8358770" y="7141728"/>
                  <a:pt x="8408126" y="7150369"/>
                  <a:pt x="8385202" y="7181629"/>
                </a:cubicBezTo>
                <a:cubicBezTo>
                  <a:pt x="8381968" y="7197549"/>
                  <a:pt x="8356472" y="7200659"/>
                  <a:pt x="8346896" y="7207003"/>
                </a:cubicBezTo>
                <a:cubicBezTo>
                  <a:pt x="8332490" y="7230323"/>
                  <a:pt x="8351520" y="7259052"/>
                  <a:pt x="8338710" y="7281315"/>
                </a:cubicBezTo>
                <a:cubicBezTo>
                  <a:pt x="8312552" y="7328494"/>
                  <a:pt x="8256730" y="7351693"/>
                  <a:pt x="8248668" y="7384589"/>
                </a:cubicBezTo>
                <a:cubicBezTo>
                  <a:pt x="8243260" y="7418025"/>
                  <a:pt x="8282376" y="7477078"/>
                  <a:pt x="8279144" y="7492997"/>
                </a:cubicBezTo>
                <a:cubicBezTo>
                  <a:pt x="8269566" y="7499340"/>
                  <a:pt x="8100384" y="7611409"/>
                  <a:pt x="8090806" y="7617752"/>
                </a:cubicBezTo>
                <a:cubicBezTo>
                  <a:pt x="8090806" y="7617752"/>
                  <a:pt x="8049392" y="7617631"/>
                  <a:pt x="8044562" y="7634608"/>
                </a:cubicBezTo>
                <a:cubicBezTo>
                  <a:pt x="8050906" y="7644183"/>
                  <a:pt x="8087574" y="7633672"/>
                  <a:pt x="8106726" y="7620985"/>
                </a:cubicBezTo>
                <a:cubicBezTo>
                  <a:pt x="7972036" y="7740057"/>
                  <a:pt x="7731624" y="7699528"/>
                  <a:pt x="7593428" y="7747440"/>
                </a:cubicBezTo>
                <a:cubicBezTo>
                  <a:pt x="7557420" y="7713883"/>
                  <a:pt x="7543948" y="7780214"/>
                  <a:pt x="7593428" y="7747440"/>
                </a:cubicBezTo>
                <a:cubicBezTo>
                  <a:pt x="7599770" y="7757016"/>
                  <a:pt x="7609346" y="7750672"/>
                  <a:pt x="7615690" y="7760249"/>
                </a:cubicBezTo>
                <a:cubicBezTo>
                  <a:pt x="7458464" y="7779432"/>
                  <a:pt x="7293298" y="7790097"/>
                  <a:pt x="7136072" y="7809281"/>
                </a:cubicBezTo>
                <a:cubicBezTo>
                  <a:pt x="7106408" y="7785300"/>
                  <a:pt x="7092938" y="7851632"/>
                  <a:pt x="7136072" y="7809281"/>
                </a:cubicBezTo>
                <a:cubicBezTo>
                  <a:pt x="7181656" y="7836494"/>
                  <a:pt x="7221558" y="7810063"/>
                  <a:pt x="7261336" y="7825047"/>
                </a:cubicBezTo>
                <a:cubicBezTo>
                  <a:pt x="7241522" y="7881802"/>
                  <a:pt x="7126496" y="7815624"/>
                  <a:pt x="7102514" y="7845288"/>
                </a:cubicBezTo>
                <a:cubicBezTo>
                  <a:pt x="7068956" y="7881295"/>
                  <a:pt x="7143350" y="7861868"/>
                  <a:pt x="7178300" y="7893829"/>
                </a:cubicBezTo>
                <a:lnTo>
                  <a:pt x="7147974" y="7913917"/>
                </a:lnTo>
                <a:cubicBezTo>
                  <a:pt x="7136222" y="7937776"/>
                  <a:pt x="7208896" y="7960821"/>
                  <a:pt x="7224816" y="7964054"/>
                </a:cubicBezTo>
                <a:cubicBezTo>
                  <a:pt x="7231160" y="7973630"/>
                  <a:pt x="7227926" y="7989550"/>
                  <a:pt x="7234270" y="7999126"/>
                </a:cubicBezTo>
                <a:cubicBezTo>
                  <a:pt x="7236842" y="8027275"/>
                  <a:pt x="7249528" y="8046427"/>
                  <a:pt x="7274444" y="8059775"/>
                </a:cubicBezTo>
                <a:cubicBezTo>
                  <a:pt x="7362254" y="8171536"/>
                  <a:pt x="7440612" y="8248227"/>
                  <a:pt x="7539594" y="8352588"/>
                </a:cubicBezTo>
                <a:cubicBezTo>
                  <a:pt x="7776262" y="8581601"/>
                  <a:pt x="8019148" y="8861606"/>
                  <a:pt x="8251526" y="9104943"/>
                </a:cubicBezTo>
                <a:cubicBezTo>
                  <a:pt x="8378576" y="9234342"/>
                  <a:pt x="8492816" y="9386005"/>
                  <a:pt x="8608776" y="9495195"/>
                </a:cubicBezTo>
                <a:cubicBezTo>
                  <a:pt x="8660702" y="9531985"/>
                  <a:pt x="8717458" y="9551797"/>
                  <a:pt x="8759808" y="9594931"/>
                </a:cubicBezTo>
                <a:cubicBezTo>
                  <a:pt x="8884288" y="9696181"/>
                  <a:pt x="9002696" y="9874935"/>
                  <a:pt x="9132856" y="10029830"/>
                </a:cubicBezTo>
                <a:cubicBezTo>
                  <a:pt x="9356714" y="10281107"/>
                  <a:pt x="9583682" y="10557879"/>
                  <a:pt x="9785732" y="10821304"/>
                </a:cubicBezTo>
                <a:cubicBezTo>
                  <a:pt x="9887286" y="10953814"/>
                  <a:pt x="9980984" y="11050195"/>
                  <a:pt x="9989652" y="11170751"/>
                </a:cubicBezTo>
                <a:cubicBezTo>
                  <a:pt x="9995334" y="11224396"/>
                  <a:pt x="10012972" y="11185156"/>
                  <a:pt x="9982524" y="11246659"/>
                </a:cubicBezTo>
                <a:cubicBezTo>
                  <a:pt x="9965942" y="11287495"/>
                  <a:pt x="9965820" y="11328910"/>
                  <a:pt x="9960410" y="11362346"/>
                </a:cubicBezTo>
                <a:cubicBezTo>
                  <a:pt x="9955582" y="11379322"/>
                  <a:pt x="9979440" y="11391074"/>
                  <a:pt x="9974612" y="11408051"/>
                </a:cubicBezTo>
                <a:cubicBezTo>
                  <a:pt x="9965034" y="11414394"/>
                  <a:pt x="9933196" y="11407929"/>
                  <a:pt x="9929962" y="11423849"/>
                </a:cubicBezTo>
                <a:cubicBezTo>
                  <a:pt x="9909214" y="11437593"/>
                  <a:pt x="9943706" y="11444597"/>
                  <a:pt x="9929300" y="11467917"/>
                </a:cubicBezTo>
                <a:cubicBezTo>
                  <a:pt x="9935644" y="11477493"/>
                  <a:pt x="9925406" y="11527906"/>
                  <a:pt x="9925406" y="11527906"/>
                </a:cubicBezTo>
                <a:cubicBezTo>
                  <a:pt x="9893444" y="11562856"/>
                  <a:pt x="9889398" y="11494348"/>
                  <a:pt x="9860670" y="11513379"/>
                </a:cubicBezTo>
                <a:cubicBezTo>
                  <a:pt x="9836688" y="11543043"/>
                  <a:pt x="9896554" y="11588351"/>
                  <a:pt x="9866228" y="11608439"/>
                </a:cubicBezTo>
                <a:cubicBezTo>
                  <a:pt x="9854476" y="11632298"/>
                  <a:pt x="9794486" y="11628405"/>
                  <a:pt x="9788144" y="11618829"/>
                </a:cubicBezTo>
                <a:cubicBezTo>
                  <a:pt x="9791254" y="11644325"/>
                  <a:pt x="9859100" y="11684347"/>
                  <a:pt x="9849524" y="11690691"/>
                </a:cubicBezTo>
                <a:cubicBezTo>
                  <a:pt x="9809622" y="11717122"/>
                  <a:pt x="9794486" y="11628405"/>
                  <a:pt x="9757818" y="11638917"/>
                </a:cubicBezTo>
                <a:cubicBezTo>
                  <a:pt x="9757818" y="11638917"/>
                  <a:pt x="9728304" y="11743431"/>
                  <a:pt x="9725194" y="11717935"/>
                </a:cubicBezTo>
                <a:cubicBezTo>
                  <a:pt x="9725070" y="11759351"/>
                  <a:pt x="9766486" y="11759473"/>
                  <a:pt x="9754734" y="11783332"/>
                </a:cubicBezTo>
                <a:cubicBezTo>
                  <a:pt x="9740328" y="11806652"/>
                  <a:pt x="9695680" y="11822450"/>
                  <a:pt x="9688280" y="11811278"/>
                </a:cubicBezTo>
                <a:cubicBezTo>
                  <a:pt x="9695680" y="11822450"/>
                  <a:pt x="9729968" y="11898480"/>
                  <a:pt x="9744374" y="11875159"/>
                </a:cubicBezTo>
                <a:cubicBezTo>
                  <a:pt x="9723502" y="11930319"/>
                  <a:pt x="9698128" y="11892014"/>
                  <a:pt x="9678976" y="11904701"/>
                </a:cubicBezTo>
                <a:cubicBezTo>
                  <a:pt x="9654994" y="11934365"/>
                  <a:pt x="9664446" y="11969437"/>
                  <a:pt x="9651098" y="11994353"/>
                </a:cubicBezTo>
                <a:cubicBezTo>
                  <a:pt x="9638290" y="12016616"/>
                  <a:pt x="9605392" y="12008555"/>
                  <a:pt x="9605392" y="12008555"/>
                </a:cubicBezTo>
                <a:cubicBezTo>
                  <a:pt x="9572890" y="12046159"/>
                  <a:pt x="9617418" y="12071776"/>
                  <a:pt x="9549570" y="12031754"/>
                </a:cubicBezTo>
                <a:cubicBezTo>
                  <a:pt x="9339606" y="11929721"/>
                  <a:pt x="9706162" y="12226550"/>
                  <a:pt x="9562680" y="12266481"/>
                </a:cubicBezTo>
                <a:cubicBezTo>
                  <a:pt x="9544106" y="12262710"/>
                  <a:pt x="9551506" y="12273882"/>
                  <a:pt x="9562680" y="12266481"/>
                </a:cubicBezTo>
                <a:cubicBezTo>
                  <a:pt x="9617716" y="12328767"/>
                  <a:pt x="9449980" y="12311283"/>
                  <a:pt x="9449980" y="12311283"/>
                </a:cubicBezTo>
                <a:cubicBezTo>
                  <a:pt x="9433274" y="12393534"/>
                  <a:pt x="9545974" y="12348733"/>
                  <a:pt x="9502840" y="12391084"/>
                </a:cubicBezTo>
                <a:cubicBezTo>
                  <a:pt x="9416570" y="12475785"/>
                  <a:pt x="9308796" y="12292284"/>
                  <a:pt x="9268894" y="12318715"/>
                </a:cubicBezTo>
                <a:cubicBezTo>
                  <a:pt x="9228992" y="12345146"/>
                  <a:pt x="9308010" y="12377767"/>
                  <a:pt x="9307888" y="12419183"/>
                </a:cubicBezTo>
                <a:lnTo>
                  <a:pt x="9271220" y="12429695"/>
                </a:lnTo>
                <a:cubicBezTo>
                  <a:pt x="9284962" y="12450443"/>
                  <a:pt x="9396756" y="12532541"/>
                  <a:pt x="9403098" y="12542117"/>
                </a:cubicBezTo>
                <a:cubicBezTo>
                  <a:pt x="9544554" y="12648196"/>
                  <a:pt x="9287288" y="12561422"/>
                  <a:pt x="9287288" y="12561422"/>
                </a:cubicBezTo>
                <a:cubicBezTo>
                  <a:pt x="9274478" y="12583686"/>
                  <a:pt x="9393672" y="12676956"/>
                  <a:pt x="9355284" y="12729940"/>
                </a:cubicBezTo>
                <a:cubicBezTo>
                  <a:pt x="9332898" y="12758547"/>
                  <a:pt x="9181204" y="12702880"/>
                  <a:pt x="9254814" y="12768937"/>
                </a:cubicBezTo>
                <a:cubicBezTo>
                  <a:pt x="9306740" y="12805726"/>
                  <a:pt x="9277076" y="12781745"/>
                  <a:pt x="9250918" y="12828925"/>
                </a:cubicBezTo>
                <a:cubicBezTo>
                  <a:pt x="9247686" y="12844845"/>
                  <a:pt x="9273992" y="12926160"/>
                  <a:pt x="9277226" y="12910241"/>
                </a:cubicBezTo>
                <a:lnTo>
                  <a:pt x="9262820" y="12933561"/>
                </a:lnTo>
                <a:cubicBezTo>
                  <a:pt x="9187184" y="13013515"/>
                  <a:pt x="9297314" y="12940565"/>
                  <a:pt x="9282784" y="13005301"/>
                </a:cubicBezTo>
                <a:cubicBezTo>
                  <a:pt x="9280608" y="13022817"/>
                  <a:pt x="9233430" y="12996660"/>
                  <a:pt x="9212558" y="13051820"/>
                </a:cubicBezTo>
                <a:cubicBezTo>
                  <a:pt x="9200806" y="13075679"/>
                  <a:pt x="9243818" y="13074743"/>
                  <a:pt x="9238988" y="13091720"/>
                </a:cubicBezTo>
                <a:cubicBezTo>
                  <a:pt x="9250160" y="13084320"/>
                  <a:pt x="9189510" y="13124495"/>
                  <a:pt x="9207026" y="13126671"/>
                </a:cubicBezTo>
                <a:cubicBezTo>
                  <a:pt x="9154436" y="13133950"/>
                  <a:pt x="9076080" y="13057259"/>
                  <a:pt x="9036302" y="13042275"/>
                </a:cubicBezTo>
                <a:cubicBezTo>
                  <a:pt x="8997062" y="13024638"/>
                  <a:pt x="8937072" y="13020745"/>
                  <a:pt x="8890950" y="12996184"/>
                </a:cubicBezTo>
                <a:cubicBezTo>
                  <a:pt x="8799784" y="12941757"/>
                  <a:pt x="8710378" y="12831052"/>
                  <a:pt x="8605590" y="12714462"/>
                </a:cubicBezTo>
                <a:cubicBezTo>
                  <a:pt x="8524122" y="12612276"/>
                  <a:pt x="8419336" y="12495685"/>
                  <a:pt x="8326696" y="12400900"/>
                </a:cubicBezTo>
                <a:cubicBezTo>
                  <a:pt x="7966334" y="11985152"/>
                  <a:pt x="7602740" y="11585324"/>
                  <a:pt x="7276668" y="11245606"/>
                </a:cubicBezTo>
                <a:cubicBezTo>
                  <a:pt x="6879638" y="10840370"/>
                  <a:pt x="6453606" y="10367084"/>
                  <a:pt x="6078838" y="9974657"/>
                </a:cubicBezTo>
                <a:cubicBezTo>
                  <a:pt x="6036490" y="9931524"/>
                  <a:pt x="6086240" y="9985829"/>
                  <a:pt x="6023802" y="9912371"/>
                </a:cubicBezTo>
                <a:cubicBezTo>
                  <a:pt x="5911076" y="9787262"/>
                  <a:pt x="6003054" y="9926116"/>
                  <a:pt x="6040656" y="9958615"/>
                </a:cubicBezTo>
                <a:cubicBezTo>
                  <a:pt x="6233254" y="10186968"/>
                  <a:pt x="6545584" y="10505938"/>
                  <a:pt x="6703894" y="10658261"/>
                </a:cubicBezTo>
                <a:cubicBezTo>
                  <a:pt x="7008284" y="10968712"/>
                  <a:pt x="7219912" y="11225793"/>
                  <a:pt x="7454942" y="11469669"/>
                </a:cubicBezTo>
                <a:cubicBezTo>
                  <a:pt x="7677202" y="11722003"/>
                  <a:pt x="7936010" y="12005240"/>
                  <a:pt x="8208560" y="12309226"/>
                </a:cubicBezTo>
                <a:cubicBezTo>
                  <a:pt x="8376324" y="12496621"/>
                  <a:pt x="8578374" y="12760045"/>
                  <a:pt x="8758948" y="12925177"/>
                </a:cubicBezTo>
                <a:cubicBezTo>
                  <a:pt x="8819870" y="12972082"/>
                  <a:pt x="8989934" y="13100546"/>
                  <a:pt x="8933178" y="13080733"/>
                </a:cubicBezTo>
                <a:cubicBezTo>
                  <a:pt x="8854158" y="13048111"/>
                  <a:pt x="8969184" y="13114290"/>
                  <a:pt x="8959608" y="13120633"/>
                </a:cubicBezTo>
                <a:cubicBezTo>
                  <a:pt x="9006788" y="13146790"/>
                  <a:pt x="9147310" y="13209857"/>
                  <a:pt x="9154586" y="13262445"/>
                </a:cubicBezTo>
                <a:cubicBezTo>
                  <a:pt x="9169844" y="13309746"/>
                  <a:pt x="9104174" y="13252208"/>
                  <a:pt x="9100280" y="13312196"/>
                </a:cubicBezTo>
                <a:cubicBezTo>
                  <a:pt x="9106622" y="13321773"/>
                  <a:pt x="9141114" y="13328777"/>
                  <a:pt x="9137882" y="13344696"/>
                </a:cubicBezTo>
                <a:cubicBezTo>
                  <a:pt x="9120244" y="13383936"/>
                  <a:pt x="9111452" y="13304796"/>
                  <a:pt x="9084236" y="13350379"/>
                </a:cubicBezTo>
                <a:cubicBezTo>
                  <a:pt x="9084236" y="13350379"/>
                  <a:pt x="9094748" y="13387047"/>
                  <a:pt x="9104324" y="13380704"/>
                </a:cubicBezTo>
                <a:cubicBezTo>
                  <a:pt x="9094748" y="13387047"/>
                  <a:pt x="9094748" y="13387047"/>
                  <a:pt x="9058078" y="13397559"/>
                </a:cubicBezTo>
                <a:cubicBezTo>
                  <a:pt x="8930788" y="13393467"/>
                  <a:pt x="9031112" y="13403868"/>
                  <a:pt x="9060892" y="13452426"/>
                </a:cubicBezTo>
                <a:lnTo>
                  <a:pt x="9064614" y="13463835"/>
                </a:lnTo>
                <a:lnTo>
                  <a:pt x="8544590" y="13463835"/>
                </a:lnTo>
                <a:lnTo>
                  <a:pt x="8534676" y="13439427"/>
                </a:lnTo>
                <a:cubicBezTo>
                  <a:pt x="8527706" y="13417637"/>
                  <a:pt x="8523922" y="13395458"/>
                  <a:pt x="8528710" y="13392286"/>
                </a:cubicBezTo>
                <a:cubicBezTo>
                  <a:pt x="8514966" y="13371537"/>
                  <a:pt x="8481530" y="13366129"/>
                  <a:pt x="8486360" y="13349152"/>
                </a:cubicBezTo>
                <a:cubicBezTo>
                  <a:pt x="8480016" y="13339576"/>
                  <a:pt x="8499170" y="13326889"/>
                  <a:pt x="8485426" y="13306141"/>
                </a:cubicBezTo>
                <a:cubicBezTo>
                  <a:pt x="8458996" y="13266240"/>
                  <a:pt x="8413534" y="13197612"/>
                  <a:pt x="8387104" y="13157711"/>
                </a:cubicBezTo>
                <a:cubicBezTo>
                  <a:pt x="8263288" y="13012392"/>
                  <a:pt x="8004480" y="12729154"/>
                  <a:pt x="7898096" y="12613621"/>
                </a:cubicBezTo>
                <a:cubicBezTo>
                  <a:pt x="7843060" y="12551336"/>
                  <a:pt x="7606394" y="12322322"/>
                  <a:pt x="7764042" y="12518714"/>
                </a:cubicBezTo>
                <a:cubicBezTo>
                  <a:pt x="7906888" y="12692761"/>
                  <a:pt x="7779838" y="12563362"/>
                  <a:pt x="7737488" y="12520229"/>
                </a:cubicBezTo>
                <a:cubicBezTo>
                  <a:pt x="7497710" y="12265720"/>
                  <a:pt x="7336290" y="12087901"/>
                  <a:pt x="7119834" y="11847797"/>
                </a:cubicBezTo>
                <a:cubicBezTo>
                  <a:pt x="7091228" y="11825412"/>
                  <a:pt x="6960010" y="11668921"/>
                  <a:pt x="7038244" y="11787026"/>
                </a:cubicBezTo>
                <a:cubicBezTo>
                  <a:pt x="7084762" y="11857251"/>
                  <a:pt x="7067246" y="11855076"/>
                  <a:pt x="7031238" y="11821519"/>
                </a:cubicBezTo>
                <a:cubicBezTo>
                  <a:pt x="6946538" y="11735252"/>
                  <a:pt x="6871414" y="11642642"/>
                  <a:pt x="6797804" y="11576586"/>
                </a:cubicBezTo>
                <a:cubicBezTo>
                  <a:pt x="6785118" y="11557434"/>
                  <a:pt x="6648492" y="11434378"/>
                  <a:pt x="6707696" y="11523755"/>
                </a:cubicBezTo>
                <a:cubicBezTo>
                  <a:pt x="6785930" y="11641860"/>
                  <a:pt x="6932132" y="11758573"/>
                  <a:pt x="7024772" y="11853358"/>
                </a:cubicBezTo>
                <a:cubicBezTo>
                  <a:pt x="7038516" y="11874106"/>
                  <a:pt x="7145480" y="11973181"/>
                  <a:pt x="7142246" y="11989101"/>
                </a:cubicBezTo>
                <a:cubicBezTo>
                  <a:pt x="7142246" y="11989101"/>
                  <a:pt x="7061714" y="11929926"/>
                  <a:pt x="7041626" y="11899602"/>
                </a:cubicBezTo>
                <a:cubicBezTo>
                  <a:pt x="7004024" y="11867102"/>
                  <a:pt x="6968016" y="11833545"/>
                  <a:pt x="6933068" y="11801584"/>
                </a:cubicBezTo>
                <a:cubicBezTo>
                  <a:pt x="6916214" y="11755340"/>
                  <a:pt x="6904338" y="11820614"/>
                  <a:pt x="6933068" y="11801584"/>
                </a:cubicBezTo>
                <a:cubicBezTo>
                  <a:pt x="7073738" y="11993147"/>
                  <a:pt x="7227880" y="12118379"/>
                  <a:pt x="7374896" y="12319518"/>
                </a:cubicBezTo>
                <a:cubicBezTo>
                  <a:pt x="7239782" y="12223015"/>
                  <a:pt x="7178402" y="12151153"/>
                  <a:pt x="7083192" y="12028219"/>
                </a:cubicBezTo>
                <a:cubicBezTo>
                  <a:pt x="6965718" y="11892476"/>
                  <a:pt x="6640702" y="11554354"/>
                  <a:pt x="6482392" y="11402031"/>
                </a:cubicBezTo>
                <a:cubicBezTo>
                  <a:pt x="6446384" y="11368474"/>
                  <a:pt x="6342656" y="11253479"/>
                  <a:pt x="6408202" y="11352432"/>
                </a:cubicBezTo>
                <a:cubicBezTo>
                  <a:pt x="6475926" y="11433870"/>
                  <a:pt x="6659732" y="11583082"/>
                  <a:pt x="6696672" y="11659651"/>
                </a:cubicBezTo>
                <a:cubicBezTo>
                  <a:pt x="6709360" y="11678803"/>
                  <a:pt x="6677520" y="11672338"/>
                  <a:pt x="6690206" y="11691490"/>
                </a:cubicBezTo>
                <a:cubicBezTo>
                  <a:pt x="6755754" y="11790443"/>
                  <a:pt x="6874012" y="11840702"/>
                  <a:pt x="6900320" y="11922018"/>
                </a:cubicBezTo>
                <a:cubicBezTo>
                  <a:pt x="6906664" y="11931594"/>
                  <a:pt x="6866884" y="11916610"/>
                  <a:pt x="6866884" y="11916610"/>
                </a:cubicBezTo>
                <a:cubicBezTo>
                  <a:pt x="6842902" y="11946274"/>
                  <a:pt x="6906002" y="11975663"/>
                  <a:pt x="6896424" y="11982006"/>
                </a:cubicBezTo>
                <a:cubicBezTo>
                  <a:pt x="6866100" y="12002094"/>
                  <a:pt x="6739050" y="11872695"/>
                  <a:pt x="6672840" y="11817810"/>
                </a:cubicBezTo>
                <a:cubicBezTo>
                  <a:pt x="6509784" y="11654854"/>
                  <a:pt x="6403400" y="11539320"/>
                  <a:pt x="6246146" y="11388593"/>
                </a:cubicBezTo>
                <a:cubicBezTo>
                  <a:pt x="6167790" y="11311903"/>
                  <a:pt x="6066236" y="11179393"/>
                  <a:pt x="6025400" y="11162812"/>
                </a:cubicBezTo>
                <a:cubicBezTo>
                  <a:pt x="6009480" y="11159580"/>
                  <a:pt x="5990328" y="11172267"/>
                  <a:pt x="5974408" y="11169034"/>
                </a:cubicBezTo>
                <a:cubicBezTo>
                  <a:pt x="5908198" y="11114149"/>
                  <a:pt x="5848994" y="11024772"/>
                  <a:pt x="5770636" y="10948082"/>
                </a:cubicBezTo>
                <a:cubicBezTo>
                  <a:pt x="5314404" y="10453469"/>
                  <a:pt x="4842250" y="9955623"/>
                  <a:pt x="4381848" y="9433918"/>
                </a:cubicBezTo>
                <a:cubicBezTo>
                  <a:pt x="4270718" y="9307751"/>
                  <a:pt x="4362696" y="9446605"/>
                  <a:pt x="4392360" y="9470586"/>
                </a:cubicBezTo>
                <a:cubicBezTo>
                  <a:pt x="4857384" y="10044340"/>
                  <a:pt x="5298484" y="10450236"/>
                  <a:pt x="5737202" y="10942674"/>
                </a:cubicBezTo>
                <a:cubicBezTo>
                  <a:pt x="5809754" y="11007135"/>
                  <a:pt x="5881644" y="11115664"/>
                  <a:pt x="5779428" y="11027223"/>
                </a:cubicBezTo>
                <a:cubicBezTo>
                  <a:pt x="5622176" y="10876496"/>
                  <a:pt x="5412724" y="10601899"/>
                  <a:pt x="5294588" y="10510224"/>
                </a:cubicBezTo>
                <a:cubicBezTo>
                  <a:pt x="5287188" y="10499052"/>
                  <a:pt x="5245772" y="10498930"/>
                  <a:pt x="5220856" y="10485583"/>
                </a:cubicBezTo>
                <a:cubicBezTo>
                  <a:pt x="5192250" y="10463198"/>
                  <a:pt x="5156366" y="10388226"/>
                  <a:pt x="5097038" y="10340264"/>
                </a:cubicBezTo>
                <a:cubicBezTo>
                  <a:pt x="4850918" y="10076179"/>
                  <a:pt x="4585768" y="9783365"/>
                  <a:pt x="4355568" y="9522513"/>
                </a:cubicBezTo>
                <a:cubicBezTo>
                  <a:pt x="4319560" y="9488955"/>
                  <a:pt x="4204658" y="9381362"/>
                  <a:pt x="4294064" y="9492066"/>
                </a:cubicBezTo>
                <a:cubicBezTo>
                  <a:pt x="4597670" y="9888002"/>
                  <a:pt x="4953406" y="10251701"/>
                  <a:pt x="5254564" y="10578071"/>
                </a:cubicBezTo>
                <a:cubicBezTo>
                  <a:pt x="5376866" y="10696837"/>
                  <a:pt x="5507150" y="10810317"/>
                  <a:pt x="5594962" y="10922079"/>
                </a:cubicBezTo>
                <a:cubicBezTo>
                  <a:pt x="5658994" y="10994479"/>
                  <a:pt x="5693282" y="11070509"/>
                  <a:pt x="5608582" y="10984243"/>
                </a:cubicBezTo>
                <a:cubicBezTo>
                  <a:pt x="5017236" y="10393126"/>
                  <a:pt x="4536290" y="9816140"/>
                  <a:pt x="3964758" y="9168268"/>
                </a:cubicBezTo>
                <a:cubicBezTo>
                  <a:pt x="3936152" y="9145883"/>
                  <a:pt x="3718637" y="8904183"/>
                  <a:pt x="3709061" y="8910526"/>
                </a:cubicBezTo>
                <a:cubicBezTo>
                  <a:pt x="3678736" y="8930614"/>
                  <a:pt x="3735491" y="8950427"/>
                  <a:pt x="3735491" y="8950427"/>
                </a:cubicBezTo>
                <a:cubicBezTo>
                  <a:pt x="3924856" y="9194699"/>
                  <a:pt x="4067246" y="9343790"/>
                  <a:pt x="4233414" y="9532242"/>
                </a:cubicBezTo>
                <a:cubicBezTo>
                  <a:pt x="4246100" y="9551394"/>
                  <a:pt x="4488988" y="9831399"/>
                  <a:pt x="4385258" y="9716405"/>
                </a:cubicBezTo>
                <a:cubicBezTo>
                  <a:pt x="4201574" y="9525776"/>
                  <a:pt x="4064014" y="9359709"/>
                  <a:pt x="3889906" y="9162738"/>
                </a:cubicBezTo>
                <a:cubicBezTo>
                  <a:pt x="3866586" y="9148333"/>
                  <a:pt x="3751684" y="9040740"/>
                  <a:pt x="3819408" y="9122177"/>
                </a:cubicBezTo>
                <a:cubicBezTo>
                  <a:pt x="4044198" y="9416465"/>
                  <a:pt x="4280742" y="9686894"/>
                  <a:pt x="4528376" y="9977532"/>
                </a:cubicBezTo>
                <a:cubicBezTo>
                  <a:pt x="4692908" y="10180847"/>
                  <a:pt x="4896800" y="10360383"/>
                  <a:pt x="5050820" y="10527030"/>
                </a:cubicBezTo>
                <a:cubicBezTo>
                  <a:pt x="5077250" y="10566930"/>
                  <a:pt x="5175572" y="10715360"/>
                  <a:pt x="5194724" y="10702673"/>
                </a:cubicBezTo>
                <a:cubicBezTo>
                  <a:pt x="5161166" y="10738681"/>
                  <a:pt x="4951052" y="10508152"/>
                  <a:pt x="4982312" y="10531076"/>
                </a:cubicBezTo>
                <a:cubicBezTo>
                  <a:pt x="4775308" y="10326044"/>
                  <a:pt x="4657958" y="10148885"/>
                  <a:pt x="4437210" y="9923105"/>
                </a:cubicBezTo>
                <a:cubicBezTo>
                  <a:pt x="4399608" y="9890605"/>
                  <a:pt x="4339162" y="9861755"/>
                  <a:pt x="4312732" y="9821854"/>
                </a:cubicBezTo>
                <a:cubicBezTo>
                  <a:pt x="4203114" y="9722241"/>
                  <a:pt x="4040180" y="9517869"/>
                  <a:pt x="3965056" y="9425259"/>
                </a:cubicBezTo>
                <a:cubicBezTo>
                  <a:pt x="3894680" y="9343282"/>
                  <a:pt x="3849220" y="9274653"/>
                  <a:pt x="3822790" y="9234753"/>
                </a:cubicBezTo>
                <a:cubicBezTo>
                  <a:pt x="3810104" y="9215601"/>
                  <a:pt x="3770862" y="9197963"/>
                  <a:pt x="3734856" y="9164407"/>
                </a:cubicBezTo>
                <a:cubicBezTo>
                  <a:pt x="3619953" y="9056812"/>
                  <a:pt x="3527976" y="8917959"/>
                  <a:pt x="3632640" y="9075965"/>
                </a:cubicBezTo>
                <a:cubicBezTo>
                  <a:pt x="3849370" y="9403149"/>
                  <a:pt x="4127992" y="9629630"/>
                  <a:pt x="4387732" y="9955879"/>
                </a:cubicBezTo>
                <a:cubicBezTo>
                  <a:pt x="4617270" y="10260801"/>
                  <a:pt x="4840194" y="10469066"/>
                  <a:pt x="5030220" y="10669269"/>
                </a:cubicBezTo>
                <a:cubicBezTo>
                  <a:pt x="5141352" y="10795436"/>
                  <a:pt x="5332434" y="10997236"/>
                  <a:pt x="5467424" y="11135154"/>
                </a:cubicBezTo>
                <a:cubicBezTo>
                  <a:pt x="5536206" y="11218188"/>
                  <a:pt x="5672710" y="11382659"/>
                  <a:pt x="5552002" y="11262836"/>
                </a:cubicBezTo>
                <a:cubicBezTo>
                  <a:pt x="5342822" y="11075320"/>
                  <a:pt x="5250844" y="10936465"/>
                  <a:pt x="5060818" y="10736262"/>
                </a:cubicBezTo>
                <a:cubicBezTo>
                  <a:pt x="4902508" y="10583939"/>
                  <a:pt x="4701972" y="10347067"/>
                  <a:pt x="4532572" y="10174534"/>
                </a:cubicBezTo>
                <a:cubicBezTo>
                  <a:pt x="4416612" y="10065344"/>
                  <a:pt x="4557282" y="10256908"/>
                  <a:pt x="4593288" y="10290464"/>
                </a:cubicBezTo>
                <a:cubicBezTo>
                  <a:pt x="4884870" y="10623178"/>
                  <a:pt x="5165482" y="10894268"/>
                  <a:pt x="5446552" y="11190314"/>
                </a:cubicBezTo>
                <a:cubicBezTo>
                  <a:pt x="5564026" y="11326057"/>
                  <a:pt x="5477150" y="11257306"/>
                  <a:pt x="5421056" y="11193425"/>
                </a:cubicBezTo>
                <a:cubicBezTo>
                  <a:pt x="5318840" y="11104983"/>
                  <a:pt x="5377110" y="11151349"/>
                  <a:pt x="5328418" y="11098640"/>
                </a:cubicBezTo>
                <a:cubicBezTo>
                  <a:pt x="4350280" y="10051875"/>
                  <a:pt x="3251680" y="8802457"/>
                  <a:pt x="2346879" y="7734669"/>
                </a:cubicBezTo>
                <a:cubicBezTo>
                  <a:pt x="2221465" y="7590407"/>
                  <a:pt x="2104114" y="7413249"/>
                  <a:pt x="2008904" y="7290314"/>
                </a:cubicBezTo>
                <a:cubicBezTo>
                  <a:pt x="1996217" y="7271162"/>
                  <a:pt x="1805919" y="6983879"/>
                  <a:pt x="1789998" y="6980647"/>
                </a:cubicBezTo>
                <a:cubicBezTo>
                  <a:pt x="1766678" y="6966242"/>
                  <a:pt x="1802023" y="7043867"/>
                  <a:pt x="1834797" y="7093344"/>
                </a:cubicBezTo>
                <a:cubicBezTo>
                  <a:pt x="1878743" y="7135420"/>
                  <a:pt x="1845969" y="7085943"/>
                  <a:pt x="1878743" y="7135420"/>
                </a:cubicBezTo>
                <a:cubicBezTo>
                  <a:pt x="2058531" y="7386036"/>
                  <a:pt x="2270159" y="7643117"/>
                  <a:pt x="2427684" y="7880924"/>
                </a:cubicBezTo>
                <a:cubicBezTo>
                  <a:pt x="2506975" y="8000625"/>
                  <a:pt x="2363071" y="7824982"/>
                  <a:pt x="2306977" y="7761100"/>
                </a:cubicBezTo>
                <a:cubicBezTo>
                  <a:pt x="2142447" y="7557786"/>
                  <a:pt x="2005009" y="7350303"/>
                  <a:pt x="1864337" y="7158740"/>
                </a:cubicBezTo>
                <a:cubicBezTo>
                  <a:pt x="1798790" y="7059787"/>
                  <a:pt x="1609302" y="6856930"/>
                  <a:pt x="1562908" y="6745290"/>
                </a:cubicBezTo>
                <a:cubicBezTo>
                  <a:pt x="1516513" y="6633649"/>
                  <a:pt x="1555780" y="6821197"/>
                  <a:pt x="1572757" y="6826026"/>
                </a:cubicBezTo>
                <a:cubicBezTo>
                  <a:pt x="1509535" y="6838053"/>
                  <a:pt x="1418342" y="6613714"/>
                  <a:pt x="1405655" y="6594562"/>
                </a:cubicBezTo>
                <a:cubicBezTo>
                  <a:pt x="1340769" y="6451540"/>
                  <a:pt x="1209013" y="6297703"/>
                  <a:pt x="1268730" y="6214516"/>
                </a:cubicBezTo>
                <a:cubicBezTo>
                  <a:pt x="1278306" y="6208173"/>
                  <a:pt x="1362857" y="6165943"/>
                  <a:pt x="1381429" y="6169714"/>
                </a:cubicBezTo>
                <a:cubicBezTo>
                  <a:pt x="1381429" y="6169714"/>
                  <a:pt x="1370134" y="6218531"/>
                  <a:pt x="1379711" y="6212187"/>
                </a:cubicBezTo>
                <a:cubicBezTo>
                  <a:pt x="1410036" y="6192099"/>
                  <a:pt x="1379711" y="6212187"/>
                  <a:pt x="1400583" y="6157027"/>
                </a:cubicBezTo>
                <a:cubicBezTo>
                  <a:pt x="1429973" y="6093928"/>
                  <a:pt x="1489962" y="6097821"/>
                  <a:pt x="1433207" y="6078009"/>
                </a:cubicBezTo>
                <a:cubicBezTo>
                  <a:pt x="1360531" y="6054964"/>
                  <a:pt x="1504948" y="6058043"/>
                  <a:pt x="1516121" y="6050642"/>
                </a:cubicBezTo>
                <a:cubicBezTo>
                  <a:pt x="1551193" y="6041187"/>
                  <a:pt x="1503434" y="6031490"/>
                  <a:pt x="1535396" y="5996540"/>
                </a:cubicBezTo>
                <a:cubicBezTo>
                  <a:pt x="1546569" y="5989139"/>
                  <a:pt x="1587984" y="5989260"/>
                  <a:pt x="1591218" y="5973341"/>
                </a:cubicBezTo>
                <a:cubicBezTo>
                  <a:pt x="1615200" y="5943677"/>
                  <a:pt x="1598346" y="5897433"/>
                  <a:pt x="1621271" y="5866174"/>
                </a:cubicBezTo>
                <a:cubicBezTo>
                  <a:pt x="1654829" y="5830165"/>
                  <a:pt x="1716332" y="5860612"/>
                  <a:pt x="1710651" y="5806968"/>
                </a:cubicBezTo>
                <a:cubicBezTo>
                  <a:pt x="1707541" y="5781472"/>
                  <a:pt x="1621271" y="5866174"/>
                  <a:pt x="1630970" y="5818414"/>
                </a:cubicBezTo>
                <a:cubicBezTo>
                  <a:pt x="1639032" y="5785518"/>
                  <a:pt x="1744332" y="5729545"/>
                  <a:pt x="1816196" y="5668163"/>
                </a:cubicBezTo>
                <a:cubicBezTo>
                  <a:pt x="1827369" y="5660762"/>
                  <a:pt x="1928501" y="5577698"/>
                  <a:pt x="1922158" y="5568121"/>
                </a:cubicBezTo>
                <a:cubicBezTo>
                  <a:pt x="1941311" y="5555434"/>
                  <a:pt x="1898960" y="5512301"/>
                  <a:pt x="1902194" y="5496382"/>
                </a:cubicBezTo>
                <a:cubicBezTo>
                  <a:pt x="1931585" y="5433283"/>
                  <a:pt x="2162394" y="5310245"/>
                  <a:pt x="2186376" y="5280582"/>
                </a:cubicBezTo>
                <a:cubicBezTo>
                  <a:pt x="2207125" y="5266837"/>
                  <a:pt x="2219000" y="5201562"/>
                  <a:pt x="2212657" y="5191987"/>
                </a:cubicBezTo>
                <a:cubicBezTo>
                  <a:pt x="2233406" y="5178242"/>
                  <a:pt x="2252559" y="5165555"/>
                  <a:pt x="2265907" y="5140639"/>
                </a:cubicBezTo>
                <a:cubicBezTo>
                  <a:pt x="2285060" y="5127951"/>
                  <a:pt x="2371330" y="5043250"/>
                  <a:pt x="2380906" y="5036906"/>
                </a:cubicBezTo>
                <a:cubicBezTo>
                  <a:pt x="2398545" y="4997667"/>
                  <a:pt x="2381691" y="4951423"/>
                  <a:pt x="2400844" y="4938736"/>
                </a:cubicBezTo>
                <a:cubicBezTo>
                  <a:pt x="2404077" y="4922816"/>
                  <a:pt x="2450322" y="4905961"/>
                  <a:pt x="2480648" y="4885874"/>
                </a:cubicBezTo>
                <a:cubicBezTo>
                  <a:pt x="2504629" y="4856209"/>
                  <a:pt x="2522848" y="4800511"/>
                  <a:pt x="2543597" y="4786767"/>
                </a:cubicBezTo>
                <a:cubicBezTo>
                  <a:pt x="2589965" y="4728496"/>
                  <a:pt x="2668050" y="4718106"/>
                  <a:pt x="2669769" y="4675633"/>
                </a:cubicBezTo>
                <a:cubicBezTo>
                  <a:pt x="2665601" y="4648542"/>
                  <a:pt x="2512973" y="4549864"/>
                  <a:pt x="2445127" y="4509841"/>
                </a:cubicBezTo>
                <a:cubicBezTo>
                  <a:pt x="2369341" y="4461300"/>
                  <a:pt x="2323758" y="4434086"/>
                  <a:pt x="2252801" y="4368568"/>
                </a:cubicBezTo>
                <a:cubicBezTo>
                  <a:pt x="2322823" y="4391076"/>
                  <a:pt x="2473856" y="4490810"/>
                  <a:pt x="2571447" y="4527203"/>
                </a:cubicBezTo>
                <a:cubicBezTo>
                  <a:pt x="2666386" y="4563058"/>
                  <a:pt x="2551361" y="4496880"/>
                  <a:pt x="2527501" y="4485128"/>
                </a:cubicBezTo>
                <a:cubicBezTo>
                  <a:pt x="2294217" y="4368690"/>
                  <a:pt x="2078571" y="4213013"/>
                  <a:pt x="1877250" y="4061625"/>
                </a:cubicBezTo>
                <a:cubicBezTo>
                  <a:pt x="1677524" y="3909180"/>
                  <a:pt x="1441129" y="3767247"/>
                  <a:pt x="1222831" y="3611031"/>
                </a:cubicBezTo>
                <a:cubicBezTo>
                  <a:pt x="994499" y="3436201"/>
                  <a:pt x="760280" y="3276752"/>
                  <a:pt x="570131" y="3117963"/>
                </a:cubicBezTo>
                <a:cubicBezTo>
                  <a:pt x="692557" y="3195314"/>
                  <a:pt x="825016" y="3291278"/>
                  <a:pt x="944209" y="3384548"/>
                </a:cubicBezTo>
                <a:lnTo>
                  <a:pt x="1071921" y="3469880"/>
                </a:lnTo>
                <a:cubicBezTo>
                  <a:pt x="1092670" y="3456135"/>
                  <a:pt x="996797" y="3377270"/>
                  <a:pt x="974534" y="3364461"/>
                </a:cubicBezTo>
                <a:cubicBezTo>
                  <a:pt x="707542" y="3155535"/>
                  <a:pt x="372042" y="2950656"/>
                  <a:pt x="150176" y="2743987"/>
                </a:cubicBezTo>
                <a:cubicBezTo>
                  <a:pt x="402490" y="2889154"/>
                  <a:pt x="677879" y="3131555"/>
                  <a:pt x="928017" y="3294236"/>
                </a:cubicBezTo>
                <a:cubicBezTo>
                  <a:pt x="852231" y="3245695"/>
                  <a:pt x="986286" y="3340602"/>
                  <a:pt x="991116" y="3323625"/>
                </a:cubicBezTo>
                <a:cubicBezTo>
                  <a:pt x="997582" y="3291786"/>
                  <a:pt x="937593" y="3287893"/>
                  <a:pt x="937593" y="3287893"/>
                </a:cubicBezTo>
                <a:cubicBezTo>
                  <a:pt x="648338" y="3066158"/>
                  <a:pt x="373884" y="2866768"/>
                  <a:pt x="117525" y="2653096"/>
                </a:cubicBezTo>
                <a:cubicBezTo>
                  <a:pt x="180624" y="2682485"/>
                  <a:pt x="240490" y="2727793"/>
                  <a:pt x="305103" y="2783735"/>
                </a:cubicBezTo>
                <a:cubicBezTo>
                  <a:pt x="334767" y="2807716"/>
                  <a:pt x="487852" y="2931350"/>
                  <a:pt x="497428" y="2925007"/>
                </a:cubicBezTo>
                <a:cubicBezTo>
                  <a:pt x="527754" y="2904919"/>
                  <a:pt x="365092" y="2787628"/>
                  <a:pt x="377779" y="2806780"/>
                </a:cubicBezTo>
                <a:cubicBezTo>
                  <a:pt x="341772" y="2773223"/>
                  <a:pt x="256410" y="2731025"/>
                  <a:pt x="236323" y="2700701"/>
                </a:cubicBezTo>
                <a:cubicBezTo>
                  <a:pt x="226869" y="2665629"/>
                  <a:pt x="368325" y="2771708"/>
                  <a:pt x="368325" y="2771708"/>
                </a:cubicBezTo>
                <a:cubicBezTo>
                  <a:pt x="633203" y="2977442"/>
                  <a:pt x="873765" y="3146467"/>
                  <a:pt x="1095753" y="3311720"/>
                </a:cubicBezTo>
                <a:cubicBezTo>
                  <a:pt x="1118017" y="3324529"/>
                  <a:pt x="1368032" y="3528626"/>
                  <a:pt x="1392014" y="3498962"/>
                </a:cubicBezTo>
                <a:cubicBezTo>
                  <a:pt x="1404823" y="3476699"/>
                  <a:pt x="1225185" y="3354579"/>
                  <a:pt x="1354411" y="3466462"/>
                </a:cubicBezTo>
                <a:cubicBezTo>
                  <a:pt x="1148342" y="3304441"/>
                  <a:pt x="962360" y="3172745"/>
                  <a:pt x="761038" y="3021358"/>
                </a:cubicBezTo>
                <a:cubicBezTo>
                  <a:pt x="754695" y="3011781"/>
                  <a:pt x="540563" y="2882657"/>
                  <a:pt x="536396" y="2855565"/>
                </a:cubicBezTo>
                <a:cubicBezTo>
                  <a:pt x="554035" y="2816325"/>
                  <a:pt x="676338" y="2935091"/>
                  <a:pt x="676338" y="2935091"/>
                </a:cubicBezTo>
                <a:cubicBezTo>
                  <a:pt x="945506" y="3126501"/>
                  <a:pt x="1096538" y="3226237"/>
                  <a:pt x="1349787" y="3414414"/>
                </a:cubicBezTo>
                <a:cubicBezTo>
                  <a:pt x="1372050" y="3427222"/>
                  <a:pt x="1607783" y="3613224"/>
                  <a:pt x="1622188" y="3589904"/>
                </a:cubicBezTo>
                <a:cubicBezTo>
                  <a:pt x="1618021" y="3562812"/>
                  <a:pt x="1411290" y="3444860"/>
                  <a:pt x="1433553" y="3457669"/>
                </a:cubicBezTo>
                <a:cubicBezTo>
                  <a:pt x="1368940" y="3401726"/>
                  <a:pt x="1323356" y="3374513"/>
                  <a:pt x="1249747" y="3308456"/>
                </a:cubicBezTo>
                <a:cubicBezTo>
                  <a:pt x="1374349" y="3368292"/>
                  <a:pt x="1474389" y="3474249"/>
                  <a:pt x="1589414" y="3540427"/>
                </a:cubicBezTo>
                <a:cubicBezTo>
                  <a:pt x="1618021" y="3562812"/>
                  <a:pt x="1662090" y="3563473"/>
                  <a:pt x="1707673" y="3590686"/>
                </a:cubicBezTo>
                <a:cubicBezTo>
                  <a:pt x="1831218" y="3648926"/>
                  <a:pt x="1986418" y="3775753"/>
                  <a:pt x="2101443" y="3841932"/>
                </a:cubicBezTo>
                <a:cubicBezTo>
                  <a:pt x="2062203" y="3824294"/>
                  <a:pt x="2154966" y="3877664"/>
                  <a:pt x="2164543" y="3871320"/>
                </a:cubicBezTo>
                <a:cubicBezTo>
                  <a:pt x="2194868" y="3851233"/>
                  <a:pt x="2075013" y="3802031"/>
                  <a:pt x="2068669" y="3792455"/>
                </a:cubicBezTo>
                <a:cubicBezTo>
                  <a:pt x="1782525" y="3596216"/>
                  <a:pt x="1503780" y="3411150"/>
                  <a:pt x="1253764" y="3207053"/>
                </a:cubicBezTo>
                <a:cubicBezTo>
                  <a:pt x="1523595" y="3354394"/>
                  <a:pt x="1683419" y="3533270"/>
                  <a:pt x="1947963" y="3672632"/>
                </a:cubicBezTo>
                <a:cubicBezTo>
                  <a:pt x="1936790" y="3680032"/>
                  <a:pt x="2129320" y="3752279"/>
                  <a:pt x="2046134" y="3692566"/>
                </a:cubicBezTo>
                <a:cubicBezTo>
                  <a:pt x="1753646" y="3486751"/>
                  <a:pt x="1498221" y="3316089"/>
                  <a:pt x="1238630" y="3118336"/>
                </a:cubicBezTo>
                <a:cubicBezTo>
                  <a:pt x="1177707" y="3071432"/>
                  <a:pt x="1041080" y="2948376"/>
                  <a:pt x="1185769" y="3038535"/>
                </a:cubicBezTo>
                <a:cubicBezTo>
                  <a:pt x="1359064" y="3151080"/>
                  <a:pt x="1550933" y="3267395"/>
                  <a:pt x="1736915" y="3399092"/>
                </a:cubicBezTo>
                <a:cubicBezTo>
                  <a:pt x="1790437" y="3434824"/>
                  <a:pt x="1987053" y="3561774"/>
                  <a:pt x="1839254" y="3446118"/>
                </a:cubicBezTo>
                <a:cubicBezTo>
                  <a:pt x="1556341" y="3233960"/>
                  <a:pt x="1208155" y="3009928"/>
                  <a:pt x="956503" y="2820694"/>
                </a:cubicBezTo>
                <a:cubicBezTo>
                  <a:pt x="866973" y="2751404"/>
                  <a:pt x="723341" y="2662841"/>
                  <a:pt x="637045" y="2577632"/>
                </a:cubicBezTo>
                <a:cubicBezTo>
                  <a:pt x="594695" y="2534499"/>
                  <a:pt x="571498" y="2478679"/>
                  <a:pt x="549235" y="2465870"/>
                </a:cubicBezTo>
                <a:cubicBezTo>
                  <a:pt x="494198" y="2403585"/>
                  <a:pt x="391859" y="2356558"/>
                  <a:pt x="329422" y="2283101"/>
                </a:cubicBezTo>
                <a:cubicBezTo>
                  <a:pt x="310392" y="2254373"/>
                  <a:pt x="306224" y="2227280"/>
                  <a:pt x="283961" y="2214472"/>
                </a:cubicBezTo>
                <a:cubicBezTo>
                  <a:pt x="263874" y="2184147"/>
                  <a:pt x="205605" y="2137782"/>
                  <a:pt x="152082" y="2102049"/>
                </a:cubicBezTo>
                <a:cubicBezTo>
                  <a:pt x="93812" y="2055684"/>
                  <a:pt x="-24324" y="1964009"/>
                  <a:pt x="32432" y="1983822"/>
                </a:cubicBezTo>
                <a:cubicBezTo>
                  <a:pt x="80191" y="1993520"/>
                  <a:pt x="153801" y="2059577"/>
                  <a:pt x="182407" y="2081962"/>
                </a:cubicBezTo>
                <a:cubicBezTo>
                  <a:pt x="388600" y="2202567"/>
                  <a:pt x="-37283" y="1857777"/>
                  <a:pt x="116859" y="1983008"/>
                </a:cubicBezTo>
                <a:cubicBezTo>
                  <a:pt x="215966" y="2045955"/>
                  <a:pt x="322929" y="2145029"/>
                  <a:pt x="412458" y="2214319"/>
                </a:cubicBezTo>
                <a:cubicBezTo>
                  <a:pt x="494048" y="2275089"/>
                  <a:pt x="447531" y="2204864"/>
                  <a:pt x="412581" y="2172903"/>
                </a:cubicBezTo>
                <a:cubicBezTo>
                  <a:pt x="340567" y="2105789"/>
                  <a:pt x="334224" y="2096213"/>
                  <a:pt x="283935" y="2044561"/>
                </a:cubicBezTo>
                <a:cubicBezTo>
                  <a:pt x="221498" y="1971104"/>
                  <a:pt x="51312" y="1884055"/>
                  <a:pt x="57778" y="1852215"/>
                </a:cubicBezTo>
                <a:cubicBezTo>
                  <a:pt x="61012" y="1836296"/>
                  <a:pt x="201411" y="1940779"/>
                  <a:pt x="185491" y="1937546"/>
                </a:cubicBezTo>
                <a:cubicBezTo>
                  <a:pt x="215154" y="1961527"/>
                  <a:pt x="320604" y="2034049"/>
                  <a:pt x="323837" y="2018129"/>
                </a:cubicBezTo>
                <a:cubicBezTo>
                  <a:pt x="327609" y="1999557"/>
                  <a:pt x="196786" y="1888731"/>
                  <a:pt x="165527" y="1865807"/>
                </a:cubicBezTo>
                <a:cubicBezTo>
                  <a:pt x="152840" y="1846655"/>
                  <a:pt x="-7769" y="1753262"/>
                  <a:pt x="294" y="1720366"/>
                </a:cubicBezTo>
                <a:cubicBezTo>
                  <a:pt x="9870" y="1714023"/>
                  <a:pt x="192619" y="1861638"/>
                  <a:pt x="176699" y="1858406"/>
                </a:cubicBezTo>
                <a:cubicBezTo>
                  <a:pt x="202195" y="1855295"/>
                  <a:pt x="219834" y="1816055"/>
                  <a:pt x="185342" y="1809051"/>
                </a:cubicBezTo>
                <a:cubicBezTo>
                  <a:pt x="235754" y="1819288"/>
                  <a:pt x="178998" y="1799474"/>
                  <a:pt x="239921" y="1846379"/>
                </a:cubicBezTo>
                <a:cubicBezTo>
                  <a:pt x="320454" y="1905554"/>
                  <a:pt x="281337" y="1846501"/>
                  <a:pt x="281337" y="1846501"/>
                </a:cubicBezTo>
                <a:cubicBezTo>
                  <a:pt x="254907" y="1806601"/>
                  <a:pt x="157397" y="1742598"/>
                  <a:pt x="144710" y="1723446"/>
                </a:cubicBezTo>
                <a:cubicBezTo>
                  <a:pt x="144710" y="1723446"/>
                  <a:pt x="157520" y="1701182"/>
                  <a:pt x="169272" y="1677323"/>
                </a:cubicBezTo>
                <a:cubicBezTo>
                  <a:pt x="176673" y="1688495"/>
                  <a:pt x="183016" y="1698072"/>
                  <a:pt x="183016" y="1698072"/>
                </a:cubicBezTo>
                <a:cubicBezTo>
                  <a:pt x="190021" y="1663579"/>
                  <a:pt x="180445" y="1669922"/>
                  <a:pt x="169272" y="1677323"/>
                </a:cubicBezTo>
                <a:cubicBezTo>
                  <a:pt x="140666" y="1654938"/>
                  <a:pt x="88739" y="1618149"/>
                  <a:pt x="88739" y="1618149"/>
                </a:cubicBezTo>
                <a:cubicBezTo>
                  <a:pt x="87805" y="1575137"/>
                  <a:pt x="143899" y="1639018"/>
                  <a:pt x="143899" y="1639018"/>
                </a:cubicBezTo>
                <a:cubicBezTo>
                  <a:pt x="183678" y="1654003"/>
                  <a:pt x="324199" y="1717070"/>
                  <a:pt x="314623" y="1723414"/>
                </a:cubicBezTo>
                <a:cubicBezTo>
                  <a:pt x="337009" y="1694807"/>
                  <a:pt x="259586" y="1661128"/>
                  <a:pt x="199720" y="1615820"/>
                </a:cubicBezTo>
                <a:cubicBezTo>
                  <a:pt x="163714" y="1582263"/>
                  <a:pt x="3228" y="1447456"/>
                  <a:pt x="110853" y="1502462"/>
                </a:cubicBezTo>
                <a:cubicBezTo>
                  <a:pt x="156436" y="1529675"/>
                  <a:pt x="194039" y="1562175"/>
                  <a:pt x="245965" y="1598965"/>
                </a:cubicBezTo>
                <a:cubicBezTo>
                  <a:pt x="440944" y="1740776"/>
                  <a:pt x="472784" y="1747241"/>
                  <a:pt x="643903" y="1877301"/>
                </a:cubicBezTo>
                <a:cubicBezTo>
                  <a:pt x="666166" y="1890110"/>
                  <a:pt x="843629" y="2029747"/>
                  <a:pt x="781192" y="1956289"/>
                </a:cubicBezTo>
                <a:cubicBezTo>
                  <a:pt x="732498" y="1903580"/>
                  <a:pt x="594153" y="1822997"/>
                  <a:pt x="559203" y="1791036"/>
                </a:cubicBezTo>
                <a:cubicBezTo>
                  <a:pt x="433667" y="1688189"/>
                  <a:pt x="311363" y="1569423"/>
                  <a:pt x="220320" y="1473580"/>
                </a:cubicBezTo>
                <a:cubicBezTo>
                  <a:pt x="118104" y="1385139"/>
                  <a:pt x="319426" y="1536526"/>
                  <a:pt x="332235" y="1514263"/>
                </a:cubicBezTo>
                <a:cubicBezTo>
                  <a:pt x="352984" y="1500519"/>
                  <a:pt x="26126" y="1246285"/>
                  <a:pt x="152324" y="1305063"/>
                </a:cubicBezTo>
                <a:cubicBezTo>
                  <a:pt x="181988" y="1329044"/>
                  <a:pt x="375370" y="1471912"/>
                  <a:pt x="394523" y="1459226"/>
                </a:cubicBezTo>
                <a:cubicBezTo>
                  <a:pt x="405696" y="1451825"/>
                  <a:pt x="387907" y="1362569"/>
                  <a:pt x="394251" y="1372145"/>
                </a:cubicBezTo>
                <a:lnTo>
                  <a:pt x="400594" y="1381721"/>
                </a:lnTo>
                <a:cubicBezTo>
                  <a:pt x="400594" y="1381721"/>
                  <a:pt x="400594" y="1381721"/>
                  <a:pt x="394251" y="1372145"/>
                </a:cubicBezTo>
                <a:cubicBezTo>
                  <a:pt x="387907" y="1362569"/>
                  <a:pt x="381564" y="1352993"/>
                  <a:pt x="375220" y="1343417"/>
                </a:cubicBezTo>
                <a:cubicBezTo>
                  <a:pt x="414999" y="1358401"/>
                  <a:pt x="540536" y="1461248"/>
                  <a:pt x="447896" y="1366462"/>
                </a:cubicBezTo>
                <a:cubicBezTo>
                  <a:pt x="338280" y="1266848"/>
                  <a:pt x="495076" y="1392619"/>
                  <a:pt x="553345" y="1438984"/>
                </a:cubicBezTo>
                <a:cubicBezTo>
                  <a:pt x="907214" y="1716661"/>
                  <a:pt x="1292341" y="2017260"/>
                  <a:pt x="1609808" y="2215715"/>
                </a:cubicBezTo>
                <a:cubicBezTo>
                  <a:pt x="1633128" y="2230120"/>
                  <a:pt x="1628960" y="2203028"/>
                  <a:pt x="1609808" y="2215715"/>
                </a:cubicBezTo>
                <a:cubicBezTo>
                  <a:pt x="1502306" y="2119293"/>
                  <a:pt x="1344930" y="2009981"/>
                  <a:pt x="1197131" y="1894327"/>
                </a:cubicBezTo>
                <a:cubicBezTo>
                  <a:pt x="1033412" y="1775439"/>
                  <a:pt x="895189" y="1653440"/>
                  <a:pt x="766542" y="1525097"/>
                </a:cubicBezTo>
                <a:cubicBezTo>
                  <a:pt x="736879" y="1501116"/>
                  <a:pt x="503718" y="1343264"/>
                  <a:pt x="510723" y="1308771"/>
                </a:cubicBezTo>
                <a:cubicBezTo>
                  <a:pt x="506951" y="1327344"/>
                  <a:pt x="655412" y="1398930"/>
                  <a:pt x="642725" y="1379778"/>
                </a:cubicBezTo>
                <a:cubicBezTo>
                  <a:pt x="655412" y="1398930"/>
                  <a:pt x="652302" y="1373435"/>
                  <a:pt x="642725" y="1379778"/>
                </a:cubicBezTo>
                <a:cubicBezTo>
                  <a:pt x="569777" y="1269653"/>
                  <a:pt x="438832" y="1200242"/>
                  <a:pt x="346192" y="1105457"/>
                </a:cubicBezTo>
                <a:cubicBezTo>
                  <a:pt x="201626" y="973882"/>
                  <a:pt x="376518" y="1085369"/>
                  <a:pt x="386094" y="1079026"/>
                </a:cubicBezTo>
                <a:cubicBezTo>
                  <a:pt x="395671" y="1072682"/>
                  <a:pt x="241528" y="947451"/>
                  <a:pt x="215097" y="907550"/>
                </a:cubicBezTo>
                <a:cubicBezTo>
                  <a:pt x="278197" y="936939"/>
                  <a:pt x="288708" y="973607"/>
                  <a:pt x="362897" y="1023205"/>
                </a:cubicBezTo>
                <a:cubicBezTo>
                  <a:pt x="362897" y="1023205"/>
                  <a:pt x="501120" y="1145204"/>
                  <a:pt x="510696" y="1138861"/>
                </a:cubicBezTo>
                <a:lnTo>
                  <a:pt x="442039" y="1014411"/>
                </a:lnTo>
                <a:cubicBezTo>
                  <a:pt x="451615" y="1008068"/>
                  <a:pt x="845262" y="1300728"/>
                  <a:pt x="672090" y="1146768"/>
                </a:cubicBezTo>
                <a:cubicBezTo>
                  <a:pt x="561893" y="1063613"/>
                  <a:pt x="481941" y="987980"/>
                  <a:pt x="406817" y="895370"/>
                </a:cubicBezTo>
                <a:cubicBezTo>
                  <a:pt x="350723" y="831489"/>
                  <a:pt x="284391" y="818019"/>
                  <a:pt x="232587" y="739814"/>
                </a:cubicBezTo>
                <a:cubicBezTo>
                  <a:pt x="288408" y="716616"/>
                  <a:pt x="413160" y="904947"/>
                  <a:pt x="456172" y="904011"/>
                </a:cubicBezTo>
                <a:cubicBezTo>
                  <a:pt x="463572" y="915183"/>
                  <a:pt x="505651" y="871237"/>
                  <a:pt x="499307" y="861660"/>
                </a:cubicBezTo>
                <a:cubicBezTo>
                  <a:pt x="567153" y="901682"/>
                  <a:pt x="604094" y="978251"/>
                  <a:pt x="665597" y="1008697"/>
                </a:cubicBezTo>
                <a:cubicBezTo>
                  <a:pt x="689456" y="1020449"/>
                  <a:pt x="699033" y="1014105"/>
                  <a:pt x="724529" y="1010994"/>
                </a:cubicBezTo>
                <a:cubicBezTo>
                  <a:pt x="790861" y="1024464"/>
                  <a:pt x="845897" y="1086749"/>
                  <a:pt x="906821" y="1133653"/>
                </a:cubicBezTo>
                <a:cubicBezTo>
                  <a:pt x="1040876" y="1228560"/>
                  <a:pt x="1139321" y="1335575"/>
                  <a:pt x="1276609" y="1414562"/>
                </a:cubicBezTo>
                <a:cubicBezTo>
                  <a:pt x="1351733" y="1507172"/>
                  <a:pt x="1390120" y="1454188"/>
                  <a:pt x="1276609" y="1414562"/>
                </a:cubicBezTo>
                <a:cubicBezTo>
                  <a:pt x="1149559" y="1285163"/>
                  <a:pt x="1044109" y="1212641"/>
                  <a:pt x="915463" y="1084298"/>
                </a:cubicBezTo>
                <a:cubicBezTo>
                  <a:pt x="889033" y="1044398"/>
                  <a:pt x="814843" y="994800"/>
                  <a:pt x="725314" y="925510"/>
                </a:cubicBezTo>
                <a:cubicBezTo>
                  <a:pt x="682964" y="882377"/>
                  <a:pt x="429715" y="694199"/>
                  <a:pt x="601496" y="780192"/>
                </a:cubicBezTo>
                <a:cubicBezTo>
                  <a:pt x="631160" y="804172"/>
                  <a:pt x="765215" y="899079"/>
                  <a:pt x="788535" y="913484"/>
                </a:cubicBezTo>
                <a:cubicBezTo>
                  <a:pt x="804455" y="916717"/>
                  <a:pt x="825204" y="902973"/>
                  <a:pt x="825204" y="902973"/>
                </a:cubicBezTo>
                <a:cubicBezTo>
                  <a:pt x="886707" y="933419"/>
                  <a:pt x="935401" y="986128"/>
                  <a:pt x="979347" y="1028204"/>
                </a:cubicBezTo>
                <a:cubicBezTo>
                  <a:pt x="1024930" y="1055417"/>
                  <a:pt x="1100054" y="1148027"/>
                  <a:pt x="1136722" y="1137515"/>
                </a:cubicBezTo>
                <a:cubicBezTo>
                  <a:pt x="1173391" y="1127004"/>
                  <a:pt x="1059880" y="1087378"/>
                  <a:pt x="1110292" y="1097615"/>
                </a:cubicBezTo>
                <a:cubicBezTo>
                  <a:pt x="1176624" y="1111083"/>
                  <a:pt x="1310680" y="1205991"/>
                  <a:pt x="1156537" y="1080760"/>
                </a:cubicBezTo>
                <a:cubicBezTo>
                  <a:pt x="1047978" y="982742"/>
                  <a:pt x="984879" y="953353"/>
                  <a:pt x="873748" y="827187"/>
                </a:cubicBezTo>
                <a:cubicBezTo>
                  <a:pt x="924161" y="837423"/>
                  <a:pt x="1100566" y="975463"/>
                  <a:pt x="1146149" y="1002676"/>
                </a:cubicBezTo>
                <a:cubicBezTo>
                  <a:pt x="1241088" y="1038531"/>
                  <a:pt x="1166898" y="988932"/>
                  <a:pt x="1122952" y="946856"/>
                </a:cubicBezTo>
                <a:cubicBezTo>
                  <a:pt x="1346660" y="1069637"/>
                  <a:pt x="1514423" y="1257032"/>
                  <a:pt x="1728555" y="1386157"/>
                </a:cubicBezTo>
                <a:cubicBezTo>
                  <a:pt x="2016875" y="1564879"/>
                  <a:pt x="2275411" y="1761037"/>
                  <a:pt x="2563731" y="1939760"/>
                </a:cubicBezTo>
                <a:cubicBezTo>
                  <a:pt x="2580585" y="1986004"/>
                  <a:pt x="2594057" y="1919672"/>
                  <a:pt x="2563731" y="1939760"/>
                </a:cubicBezTo>
                <a:cubicBezTo>
                  <a:pt x="2376815" y="1765052"/>
                  <a:pt x="2167909" y="1664615"/>
                  <a:pt x="1982588" y="1488850"/>
                </a:cubicBezTo>
                <a:cubicBezTo>
                  <a:pt x="2113533" y="1558261"/>
                  <a:pt x="2230073" y="1650993"/>
                  <a:pt x="2356728" y="1734727"/>
                </a:cubicBezTo>
                <a:cubicBezTo>
                  <a:pt x="2455834" y="1797673"/>
                  <a:pt x="2384878" y="1732156"/>
                  <a:pt x="2348870" y="1698598"/>
                </a:cubicBezTo>
                <a:cubicBezTo>
                  <a:pt x="1917041" y="1389897"/>
                  <a:pt x="1495244" y="1099809"/>
                  <a:pt x="1094858" y="751908"/>
                </a:cubicBezTo>
                <a:cubicBezTo>
                  <a:pt x="1058851" y="718350"/>
                  <a:pt x="861697" y="594054"/>
                  <a:pt x="860763" y="551043"/>
                </a:cubicBezTo>
                <a:cubicBezTo>
                  <a:pt x="871935" y="543642"/>
                  <a:pt x="895256" y="558047"/>
                  <a:pt x="895256" y="558047"/>
                </a:cubicBezTo>
                <a:cubicBezTo>
                  <a:pt x="999647" y="628973"/>
                  <a:pt x="1078004" y="705663"/>
                  <a:pt x="1143675" y="763201"/>
                </a:cubicBezTo>
                <a:cubicBezTo>
                  <a:pt x="1219460" y="811742"/>
                  <a:pt x="1325844" y="927276"/>
                  <a:pt x="1396923" y="951378"/>
                </a:cubicBezTo>
                <a:cubicBezTo>
                  <a:pt x="1412843" y="954611"/>
                  <a:pt x="1433591" y="940867"/>
                  <a:pt x="1439935" y="950443"/>
                </a:cubicBezTo>
                <a:cubicBezTo>
                  <a:pt x="1485518" y="977656"/>
                  <a:pt x="1600421" y="1085251"/>
                  <a:pt x="1655581" y="1106120"/>
                </a:cubicBezTo>
                <a:cubicBezTo>
                  <a:pt x="1680496" y="1119468"/>
                  <a:pt x="1709226" y="1100437"/>
                  <a:pt x="1709226" y="1100437"/>
                </a:cubicBezTo>
                <a:cubicBezTo>
                  <a:pt x="1709226" y="1100437"/>
                  <a:pt x="1715191" y="1103375"/>
                  <a:pt x="1722874" y="1108907"/>
                </a:cubicBezTo>
                <a:lnTo>
                  <a:pt x="1733308" y="1119373"/>
                </a:lnTo>
                <a:lnTo>
                  <a:pt x="1726124" y="1115330"/>
                </a:lnTo>
                <a:cubicBezTo>
                  <a:pt x="1704405" y="1103344"/>
                  <a:pt x="1723384" y="1115745"/>
                  <a:pt x="1746829" y="1132938"/>
                </a:cubicBezTo>
                <a:cubicBezTo>
                  <a:pt x="1778668" y="1139403"/>
                  <a:pt x="1816851" y="1155444"/>
                  <a:pt x="1816851" y="1155444"/>
                </a:cubicBezTo>
                <a:cubicBezTo>
                  <a:pt x="1840833" y="1125780"/>
                  <a:pt x="1663643" y="1073224"/>
                  <a:pt x="1594862" y="990191"/>
                </a:cubicBezTo>
                <a:cubicBezTo>
                  <a:pt x="1588519" y="980614"/>
                  <a:pt x="1578008" y="943946"/>
                  <a:pt x="1571665" y="934370"/>
                </a:cubicBezTo>
                <a:cubicBezTo>
                  <a:pt x="1522971" y="881661"/>
                  <a:pt x="1455705" y="825180"/>
                  <a:pt x="1384749" y="759663"/>
                </a:cubicBezTo>
                <a:cubicBezTo>
                  <a:pt x="1355085" y="735681"/>
                  <a:pt x="1101836" y="547504"/>
                  <a:pt x="1095493" y="537928"/>
                </a:cubicBezTo>
                <a:cubicBezTo>
                  <a:pt x="1098726" y="522008"/>
                  <a:pt x="1157658" y="524306"/>
                  <a:pt x="1174635" y="529134"/>
                </a:cubicBezTo>
                <a:cubicBezTo>
                  <a:pt x="1196898" y="541943"/>
                  <a:pt x="1374361" y="681578"/>
                  <a:pt x="1266340" y="580908"/>
                </a:cubicBezTo>
                <a:cubicBezTo>
                  <a:pt x="1151438" y="473314"/>
                  <a:pt x="1381366" y="647087"/>
                  <a:pt x="1411030" y="671067"/>
                </a:cubicBezTo>
                <a:cubicBezTo>
                  <a:pt x="1494216" y="730781"/>
                  <a:pt x="1568406" y="780379"/>
                  <a:pt x="1597012" y="802764"/>
                </a:cubicBezTo>
                <a:cubicBezTo>
                  <a:pt x="1936680" y="1034735"/>
                  <a:pt x="2218534" y="1245297"/>
                  <a:pt x="2526942" y="1454345"/>
                </a:cubicBezTo>
                <a:cubicBezTo>
                  <a:pt x="2557145" y="1475672"/>
                  <a:pt x="2693771" y="1598728"/>
                  <a:pt x="2714520" y="1584984"/>
                </a:cubicBezTo>
                <a:cubicBezTo>
                  <a:pt x="2733673" y="1572297"/>
                  <a:pt x="2612305" y="1496543"/>
                  <a:pt x="2604904" y="1485370"/>
                </a:cubicBezTo>
                <a:cubicBezTo>
                  <a:pt x="2372800" y="1329113"/>
                  <a:pt x="2179417" y="1186244"/>
                  <a:pt x="1979692" y="1033800"/>
                </a:cubicBezTo>
                <a:cubicBezTo>
                  <a:pt x="1919825" y="988491"/>
                  <a:pt x="1759216" y="895099"/>
                  <a:pt x="1726442" y="845622"/>
                </a:cubicBezTo>
                <a:cubicBezTo>
                  <a:pt x="1713756" y="826470"/>
                  <a:pt x="1742486" y="807439"/>
                  <a:pt x="1733571" y="769714"/>
                </a:cubicBezTo>
                <a:cubicBezTo>
                  <a:pt x="1716717" y="723470"/>
                  <a:pt x="1683282" y="718062"/>
                  <a:pt x="1625012" y="671697"/>
                </a:cubicBezTo>
                <a:cubicBezTo>
                  <a:pt x="1582661" y="628564"/>
                  <a:pt x="1556231" y="588663"/>
                  <a:pt x="1526568" y="564682"/>
                </a:cubicBezTo>
                <a:cubicBezTo>
                  <a:pt x="1402088" y="463431"/>
                  <a:pt x="1290296" y="381333"/>
                  <a:pt x="1158416" y="268911"/>
                </a:cubicBezTo>
                <a:cubicBezTo>
                  <a:pt x="1158416" y="268911"/>
                  <a:pt x="1027471" y="199499"/>
                  <a:pt x="1040281" y="177236"/>
                </a:cubicBezTo>
                <a:cubicBezTo>
                  <a:pt x="1044053" y="158664"/>
                  <a:pt x="1191852" y="274319"/>
                  <a:pt x="1131986" y="229010"/>
                </a:cubicBezTo>
                <a:cubicBezTo>
                  <a:pt x="1227859" y="307876"/>
                  <a:pt x="1367596" y="456427"/>
                  <a:pt x="1441328" y="481069"/>
                </a:cubicBezTo>
                <a:cubicBezTo>
                  <a:pt x="1463591" y="493878"/>
                  <a:pt x="1484340" y="480134"/>
                  <a:pt x="1500260" y="483366"/>
                </a:cubicBezTo>
                <a:cubicBezTo>
                  <a:pt x="1523580" y="497771"/>
                  <a:pt x="1564874" y="539308"/>
                  <a:pt x="1612053" y="565464"/>
                </a:cubicBezTo>
                <a:cubicBezTo>
                  <a:pt x="1641716" y="589445"/>
                  <a:pt x="1792749" y="689181"/>
                  <a:pt x="1708048" y="602914"/>
                </a:cubicBezTo>
                <a:cubicBezTo>
                  <a:pt x="1658298" y="548609"/>
                  <a:pt x="1572936" y="506412"/>
                  <a:pt x="1544329" y="484027"/>
                </a:cubicBezTo>
                <a:cubicBezTo>
                  <a:pt x="1513070" y="461103"/>
                  <a:pt x="1504155" y="423378"/>
                  <a:pt x="1497812" y="413802"/>
                </a:cubicBezTo>
                <a:cubicBezTo>
                  <a:pt x="1473953" y="402050"/>
                  <a:pt x="1456976" y="397222"/>
                  <a:pt x="1428369" y="374837"/>
                </a:cubicBezTo>
                <a:cubicBezTo>
                  <a:pt x="1422026" y="365261"/>
                  <a:pt x="1395595" y="325360"/>
                  <a:pt x="1382909" y="306207"/>
                </a:cubicBezTo>
                <a:cubicBezTo>
                  <a:pt x="1359589" y="291803"/>
                  <a:pt x="1285979" y="225746"/>
                  <a:pt x="1221366" y="169804"/>
                </a:cubicBezTo>
                <a:cubicBezTo>
                  <a:pt x="1172906" y="127848"/>
                  <a:pt x="1069923" y="40631"/>
                  <a:pt x="1075785" y="36318"/>
                </a:cubicBezTo>
                <a:close/>
                <a:moveTo>
                  <a:pt x="1035861" y="6002"/>
                </a:moveTo>
                <a:lnTo>
                  <a:pt x="1025997" y="8661"/>
                </a:lnTo>
                <a:cubicBezTo>
                  <a:pt x="1022709" y="9547"/>
                  <a:pt x="1030381" y="7479"/>
                  <a:pt x="1035861" y="6002"/>
                </a:cubicBezTo>
                <a:close/>
                <a:moveTo>
                  <a:pt x="1049633" y="2138"/>
                </a:moveTo>
                <a:lnTo>
                  <a:pt x="1040793" y="4673"/>
                </a:lnTo>
                <a:cubicBezTo>
                  <a:pt x="1040793" y="4673"/>
                  <a:pt x="1043085" y="4016"/>
                  <a:pt x="1045950" y="3194"/>
                </a:cubicBezTo>
                <a:close/>
                <a:moveTo>
                  <a:pt x="1056263" y="238"/>
                </a:moveTo>
                <a:cubicBezTo>
                  <a:pt x="1057981" y="-255"/>
                  <a:pt x="1056835" y="74"/>
                  <a:pt x="1054544" y="731"/>
                </a:cubicBezTo>
                <a:lnTo>
                  <a:pt x="1049633" y="2138"/>
                </a:lnTo>
                <a:close/>
              </a:path>
            </a:pathLst>
          </a:custGeom>
          <a:effectLst/>
        </p:spPr>
        <p:txBody>
          <a:bodyPr wrap="square">
            <a:no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Tree>
    <p:extLst>
      <p:ext uri="{BB962C8B-B14F-4D97-AF65-F5344CB8AC3E}">
        <p14:creationId xmlns:p14="http://schemas.microsoft.com/office/powerpoint/2010/main" val="2014263080"/>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rush Z">
    <p:bg>
      <p:bgPr>
        <a:solidFill>
          <a:schemeClr val="bg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9"/>
          </p:nvPr>
        </p:nvSpPr>
        <p:spPr>
          <a:xfrm>
            <a:off x="514406" y="1129592"/>
            <a:ext cx="5515315" cy="4323594"/>
          </a:xfrm>
          <a:custGeom>
            <a:avLst/>
            <a:gdLst>
              <a:gd name="connsiteX0" fmla="*/ 9288400 w 11027758"/>
              <a:gd name="connsiteY0" fmla="*/ 393311 h 8647188"/>
              <a:gd name="connsiteX1" fmla="*/ 9289506 w 11027758"/>
              <a:gd name="connsiteY1" fmla="*/ 393531 h 8647188"/>
              <a:gd name="connsiteX2" fmla="*/ 9282543 w 11027758"/>
              <a:gd name="connsiteY2" fmla="*/ 396290 h 8647188"/>
              <a:gd name="connsiteX3" fmla="*/ 9288400 w 11027758"/>
              <a:gd name="connsiteY3" fmla="*/ 393311 h 8647188"/>
              <a:gd name="connsiteX4" fmla="*/ 9480234 w 11027758"/>
              <a:gd name="connsiteY4" fmla="*/ 181914 h 8647188"/>
              <a:gd name="connsiteX5" fmla="*/ 9484078 w 11027758"/>
              <a:gd name="connsiteY5" fmla="*/ 182054 h 8647188"/>
              <a:gd name="connsiteX6" fmla="*/ 9466013 w 11027758"/>
              <a:gd name="connsiteY6" fmla="*/ 189722 h 8647188"/>
              <a:gd name="connsiteX7" fmla="*/ 9480234 w 11027758"/>
              <a:gd name="connsiteY7" fmla="*/ 181914 h 8647188"/>
              <a:gd name="connsiteX8" fmla="*/ 1303527 w 11027758"/>
              <a:gd name="connsiteY8" fmla="*/ 768 h 8647188"/>
              <a:gd name="connsiteX9" fmla="*/ 1322976 w 11027758"/>
              <a:gd name="connsiteY9" fmla="*/ 6231 h 8647188"/>
              <a:gd name="connsiteX10" fmla="*/ 1275701 w 11027758"/>
              <a:gd name="connsiteY10" fmla="*/ 86157 h 8647188"/>
              <a:gd name="connsiteX11" fmla="*/ 1266134 w 11027758"/>
              <a:gd name="connsiteY11" fmla="*/ 212799 h 8647188"/>
              <a:gd name="connsiteX12" fmla="*/ 1289208 w 11027758"/>
              <a:gd name="connsiteY12" fmla="*/ 179591 h 8647188"/>
              <a:gd name="connsiteX13" fmla="*/ 1359557 w 11027758"/>
              <a:gd name="connsiteY13" fmla="*/ 179591 h 8647188"/>
              <a:gd name="connsiteX14" fmla="*/ 1369125 w 11027758"/>
              <a:gd name="connsiteY14" fmla="*/ 202668 h 8647188"/>
              <a:gd name="connsiteX15" fmla="*/ 1439474 w 11027758"/>
              <a:gd name="connsiteY15" fmla="*/ 155951 h 8647188"/>
              <a:gd name="connsiteX16" fmla="*/ 1439474 w 11027758"/>
              <a:gd name="connsiteY16" fmla="*/ 236439 h 8647188"/>
              <a:gd name="connsiteX17" fmla="*/ 1486186 w 11027758"/>
              <a:gd name="connsiteY17" fmla="*/ 396290 h 8647188"/>
              <a:gd name="connsiteX18" fmla="*/ 1622944 w 11027758"/>
              <a:gd name="connsiteY18" fmla="*/ 443007 h 8647188"/>
              <a:gd name="connsiteX19" fmla="*/ 1646019 w 11027758"/>
              <a:gd name="connsiteY19" fmla="*/ 503233 h 8647188"/>
              <a:gd name="connsiteX20" fmla="*/ 1369125 w 11027758"/>
              <a:gd name="connsiteY20" fmla="*/ 456516 h 8647188"/>
              <a:gd name="connsiteX21" fmla="*/ 1425967 w 11027758"/>
              <a:gd name="connsiteY21" fmla="*/ 456516 h 8647188"/>
              <a:gd name="connsiteX22" fmla="*/ 1406269 w 11027758"/>
              <a:gd name="connsiteY22" fmla="*/ 536441 h 8647188"/>
              <a:gd name="connsiteX23" fmla="*/ 1462548 w 11027758"/>
              <a:gd name="connsiteY23" fmla="*/ 593290 h 8647188"/>
              <a:gd name="connsiteX24" fmla="*/ 1415837 w 11027758"/>
              <a:gd name="connsiteY24" fmla="*/ 606235 h 8647188"/>
              <a:gd name="connsiteX25" fmla="*/ 1392762 w 11027758"/>
              <a:gd name="connsiteY25" fmla="*/ 676592 h 8647188"/>
              <a:gd name="connsiteX26" fmla="*/ 1472679 w 11027758"/>
              <a:gd name="connsiteY26" fmla="*/ 719932 h 8647188"/>
              <a:gd name="connsiteX27" fmla="*/ 1449604 w 11027758"/>
              <a:gd name="connsiteY27" fmla="*/ 766649 h 8647188"/>
              <a:gd name="connsiteX28" fmla="*/ 1566102 w 11027758"/>
              <a:gd name="connsiteY28" fmla="*/ 779595 h 8647188"/>
              <a:gd name="connsiteX29" fmla="*/ 1543028 w 11027758"/>
              <a:gd name="connsiteY29" fmla="*/ 813366 h 8647188"/>
              <a:gd name="connsiteX30" fmla="*/ 1772647 w 11027758"/>
              <a:gd name="connsiteY30" fmla="*/ 870214 h 8647188"/>
              <a:gd name="connsiteX31" fmla="*/ 1519390 w 11027758"/>
              <a:gd name="connsiteY31" fmla="*/ 846575 h 8647188"/>
              <a:gd name="connsiteX32" fmla="*/ 1555972 w 11027758"/>
              <a:gd name="connsiteY32" fmla="*/ 883160 h 8647188"/>
              <a:gd name="connsiteX33" fmla="*/ 1635888 w 11027758"/>
              <a:gd name="connsiteY33" fmla="*/ 860083 h 8647188"/>
              <a:gd name="connsiteX34" fmla="*/ 1589739 w 11027758"/>
              <a:gd name="connsiteY34" fmla="*/ 916369 h 8647188"/>
              <a:gd name="connsiteX35" fmla="*/ 1589739 w 11027758"/>
              <a:gd name="connsiteY35" fmla="*/ 963086 h 8647188"/>
              <a:gd name="connsiteX36" fmla="*/ 1612814 w 11027758"/>
              <a:gd name="connsiteY36" fmla="*/ 976594 h 8647188"/>
              <a:gd name="connsiteX37" fmla="*/ 1692730 w 11027758"/>
              <a:gd name="connsiteY37" fmla="*/ 1009803 h 8647188"/>
              <a:gd name="connsiteX38" fmla="*/ 1659526 w 11027758"/>
              <a:gd name="connsiteY38" fmla="*/ 1056520 h 8647188"/>
              <a:gd name="connsiteX39" fmla="*/ 1796284 w 11027758"/>
              <a:gd name="connsiteY39" fmla="*/ 1090291 h 8647188"/>
              <a:gd name="connsiteX40" fmla="*/ 2109759 w 11027758"/>
              <a:gd name="connsiteY40" fmla="*/ 1103236 h 8647188"/>
              <a:gd name="connsiteX41" fmla="*/ 2283099 w 11027758"/>
              <a:gd name="connsiteY41" fmla="*/ 1066651 h 8647188"/>
              <a:gd name="connsiteX42" fmla="*/ 2189676 w 11027758"/>
              <a:gd name="connsiteY42" fmla="*/ 1160085 h 8647188"/>
              <a:gd name="connsiteX43" fmla="*/ 2466569 w 11027758"/>
              <a:gd name="connsiteY43" fmla="*/ 1113368 h 8647188"/>
              <a:gd name="connsiteX44" fmla="*/ 2733333 w 11027758"/>
              <a:gd name="connsiteY44" fmla="*/ 1043574 h 8647188"/>
              <a:gd name="connsiteX45" fmla="*/ 2653416 w 11027758"/>
              <a:gd name="connsiteY45" fmla="*/ 1080159 h 8647188"/>
              <a:gd name="connsiteX46" fmla="*/ 2813249 w 11027758"/>
              <a:gd name="connsiteY46" fmla="*/ 1066651 h 8647188"/>
              <a:gd name="connsiteX47" fmla="*/ 2766538 w 11027758"/>
              <a:gd name="connsiteY47" fmla="*/ 1113368 h 8647188"/>
              <a:gd name="connsiteX48" fmla="*/ 2780045 w 11027758"/>
              <a:gd name="connsiteY48" fmla="*/ 1149954 h 8647188"/>
              <a:gd name="connsiteX49" fmla="*/ 2859961 w 11027758"/>
              <a:gd name="connsiteY49" fmla="*/ 1126876 h 8647188"/>
              <a:gd name="connsiteX50" fmla="*/ 2883598 w 11027758"/>
              <a:gd name="connsiteY50" fmla="*/ 1149954 h 8647188"/>
              <a:gd name="connsiteX51" fmla="*/ 2826756 w 11027758"/>
              <a:gd name="connsiteY51" fmla="*/ 1229879 h 8647188"/>
              <a:gd name="connsiteX52" fmla="*/ 2930310 w 11027758"/>
              <a:gd name="connsiteY52" fmla="*/ 1286727 h 8647188"/>
              <a:gd name="connsiteX53" fmla="*/ 2950008 w 11027758"/>
              <a:gd name="connsiteY53" fmla="*/ 1286727 h 8647188"/>
              <a:gd name="connsiteX54" fmla="*/ 3427255 w 11027758"/>
              <a:gd name="connsiteY54" fmla="*/ 1170216 h 8647188"/>
              <a:gd name="connsiteX55" fmla="*/ 3183566 w 11027758"/>
              <a:gd name="connsiteY55" fmla="*/ 1286727 h 8647188"/>
              <a:gd name="connsiteX56" fmla="*/ 3216771 w 11027758"/>
              <a:gd name="connsiteY56" fmla="*/ 1300236 h 8647188"/>
              <a:gd name="connsiteX57" fmla="*/ 3206641 w 11027758"/>
              <a:gd name="connsiteY57" fmla="*/ 1333444 h 8647188"/>
              <a:gd name="connsiteX58" fmla="*/ 3333832 w 11027758"/>
              <a:gd name="connsiteY58" fmla="*/ 1310367 h 8647188"/>
              <a:gd name="connsiteX59" fmla="*/ 3587088 w 11027758"/>
              <a:gd name="connsiteY59" fmla="*/ 1253519 h 8647188"/>
              <a:gd name="connsiteX60" fmla="*/ 3817270 w 11027758"/>
              <a:gd name="connsiteY60" fmla="*/ 1240010 h 8647188"/>
              <a:gd name="connsiteX61" fmla="*/ 3713716 w 11027758"/>
              <a:gd name="connsiteY61" fmla="*/ 1310367 h 8647188"/>
              <a:gd name="connsiteX62" fmla="*/ 3623670 w 11027758"/>
              <a:gd name="connsiteY62" fmla="*/ 1403801 h 8647188"/>
              <a:gd name="connsiteX63" fmla="*/ 3367036 w 11027758"/>
              <a:gd name="connsiteY63" fmla="*/ 1506804 h 8647188"/>
              <a:gd name="connsiteX64" fmla="*/ 3323701 w 11027758"/>
              <a:gd name="connsiteY64" fmla="*/ 1577161 h 8647188"/>
              <a:gd name="connsiteX65" fmla="*/ 3287120 w 11027758"/>
              <a:gd name="connsiteY65" fmla="*/ 1633446 h 8647188"/>
              <a:gd name="connsiteX66" fmla="*/ 4037322 w 11027758"/>
              <a:gd name="connsiteY66" fmla="*/ 1680163 h 8647188"/>
              <a:gd name="connsiteX67" fmla="*/ 5630586 w 11027758"/>
              <a:gd name="connsiteY67" fmla="*/ 1690295 h 8647188"/>
              <a:gd name="connsiteX68" fmla="*/ 5931117 w 11027758"/>
              <a:gd name="connsiteY68" fmla="*/ 1690295 h 8647188"/>
              <a:gd name="connsiteX69" fmla="*/ 6164113 w 11027758"/>
              <a:gd name="connsiteY69" fmla="*/ 1667218 h 8647188"/>
              <a:gd name="connsiteX70" fmla="*/ 6187750 w 11027758"/>
              <a:gd name="connsiteY70" fmla="*/ 1623878 h 8647188"/>
              <a:gd name="connsiteX71" fmla="*/ 6394295 w 11027758"/>
              <a:gd name="connsiteY71" fmla="*/ 1623878 h 8647188"/>
              <a:gd name="connsiteX72" fmla="*/ 6451137 w 11027758"/>
              <a:gd name="connsiteY72" fmla="*/ 1587292 h 8647188"/>
              <a:gd name="connsiteX73" fmla="*/ 6497849 w 11027758"/>
              <a:gd name="connsiteY73" fmla="*/ 1577161 h 8647188"/>
              <a:gd name="connsiteX74" fmla="*/ 6451137 w 11027758"/>
              <a:gd name="connsiteY74" fmla="*/ 1563652 h 8647188"/>
              <a:gd name="connsiteX75" fmla="*/ 6511356 w 11027758"/>
              <a:gd name="connsiteY75" fmla="*/ 1553521 h 8647188"/>
              <a:gd name="connsiteX76" fmla="*/ 6291304 w 11027758"/>
              <a:gd name="connsiteY76" fmla="*/ 1506804 h 8647188"/>
              <a:gd name="connsiteX77" fmla="*/ 6357713 w 11027758"/>
              <a:gd name="connsiteY77" fmla="*/ 1506804 h 8647188"/>
              <a:gd name="connsiteX78" fmla="*/ 6728031 w 11027758"/>
              <a:gd name="connsiteY78" fmla="*/ 1473595 h 8647188"/>
              <a:gd name="connsiteX79" fmla="*/ 6704393 w 11027758"/>
              <a:gd name="connsiteY79" fmla="*/ 1449955 h 8647188"/>
              <a:gd name="connsiteX80" fmla="*/ 6877733 w 11027758"/>
              <a:gd name="connsiteY80" fmla="*/ 1426878 h 8647188"/>
              <a:gd name="connsiteX81" fmla="*/ 6924445 w 11027758"/>
              <a:gd name="connsiteY81" fmla="*/ 1390293 h 8647188"/>
              <a:gd name="connsiteX82" fmla="*/ 7248050 w 11027758"/>
              <a:gd name="connsiteY82" fmla="*/ 1390293 h 8647188"/>
              <a:gd name="connsiteX83" fmla="*/ 7585163 w 11027758"/>
              <a:gd name="connsiteY83" fmla="*/ 1390293 h 8647188"/>
              <a:gd name="connsiteX84" fmla="*/ 7491739 w 11027758"/>
              <a:gd name="connsiteY84" fmla="*/ 1380161 h 8647188"/>
              <a:gd name="connsiteX85" fmla="*/ 7284632 w 11027758"/>
              <a:gd name="connsiteY85" fmla="*/ 1366653 h 8647188"/>
              <a:gd name="connsiteX86" fmla="*/ 7144497 w 11027758"/>
              <a:gd name="connsiteY86" fmla="*/ 1357084 h 8647188"/>
              <a:gd name="connsiteX87" fmla="*/ 7711791 w 11027758"/>
              <a:gd name="connsiteY87" fmla="*/ 1357084 h 8647188"/>
              <a:gd name="connsiteX88" fmla="*/ 8035396 w 11027758"/>
              <a:gd name="connsiteY88" fmla="*/ 1357084 h 8647188"/>
              <a:gd name="connsiteX89" fmla="*/ 7885131 w 11027758"/>
              <a:gd name="connsiteY89" fmla="*/ 1343576 h 8647188"/>
              <a:gd name="connsiteX90" fmla="*/ 7388185 w 11027758"/>
              <a:gd name="connsiteY90" fmla="*/ 1343576 h 8647188"/>
              <a:gd name="connsiteX91" fmla="*/ 7201339 w 11027758"/>
              <a:gd name="connsiteY91" fmla="*/ 1333444 h 8647188"/>
              <a:gd name="connsiteX92" fmla="*/ 7111292 w 11027758"/>
              <a:gd name="connsiteY92" fmla="*/ 1310367 h 8647188"/>
              <a:gd name="connsiteX93" fmla="*/ 7214846 w 11027758"/>
              <a:gd name="connsiteY93" fmla="*/ 1310367 h 8647188"/>
              <a:gd name="connsiteX94" fmla="*/ 7168134 w 11027758"/>
              <a:gd name="connsiteY94" fmla="*/ 1300236 h 8647188"/>
              <a:gd name="connsiteX95" fmla="*/ 7965047 w 11027758"/>
              <a:gd name="connsiteY95" fmla="*/ 1286727 h 8647188"/>
              <a:gd name="connsiteX96" fmla="*/ 8058471 w 11027758"/>
              <a:gd name="connsiteY96" fmla="*/ 1263650 h 8647188"/>
              <a:gd name="connsiteX97" fmla="*/ 8035396 w 11027758"/>
              <a:gd name="connsiteY97" fmla="*/ 1240010 h 8647188"/>
              <a:gd name="connsiteX98" fmla="*/ 7237920 w 11027758"/>
              <a:gd name="connsiteY98" fmla="*/ 1240010 h 8647188"/>
              <a:gd name="connsiteX99" fmla="*/ 7201339 w 11027758"/>
              <a:gd name="connsiteY99" fmla="*/ 1229879 h 8647188"/>
              <a:gd name="connsiteX100" fmla="*/ 7318399 w 11027758"/>
              <a:gd name="connsiteY100" fmla="*/ 1229879 h 8647188"/>
              <a:gd name="connsiteX101" fmla="*/ 7318399 w 11027758"/>
              <a:gd name="connsiteY101" fmla="*/ 1193293 h 8647188"/>
              <a:gd name="connsiteX102" fmla="*/ 7815345 w 11027758"/>
              <a:gd name="connsiteY102" fmla="*/ 1183162 h 8647188"/>
              <a:gd name="connsiteX103" fmla="*/ 8082108 w 11027758"/>
              <a:gd name="connsiteY103" fmla="*/ 1183162 h 8647188"/>
              <a:gd name="connsiteX104" fmla="*/ 8728756 w 11027758"/>
              <a:gd name="connsiteY104" fmla="*/ 1160085 h 8647188"/>
              <a:gd name="connsiteX105" fmla="*/ 8912226 w 11027758"/>
              <a:gd name="connsiteY105" fmla="*/ 1126876 h 8647188"/>
              <a:gd name="connsiteX106" fmla="*/ 8531779 w 11027758"/>
              <a:gd name="connsiteY106" fmla="*/ 1113368 h 8647188"/>
              <a:gd name="connsiteX107" fmla="*/ 8448485 w 11027758"/>
              <a:gd name="connsiteY107" fmla="*/ 1080159 h 8647188"/>
              <a:gd name="connsiteX108" fmla="*/ 8068601 w 11027758"/>
              <a:gd name="connsiteY108" fmla="*/ 1080159 h 8647188"/>
              <a:gd name="connsiteX109" fmla="*/ 7214846 w 11027758"/>
              <a:gd name="connsiteY109" fmla="*/ 1066651 h 8647188"/>
              <a:gd name="connsiteX110" fmla="*/ 7051636 w 11027758"/>
              <a:gd name="connsiteY110" fmla="*/ 1056520 h 8647188"/>
              <a:gd name="connsiteX111" fmla="*/ 7388185 w 11027758"/>
              <a:gd name="connsiteY111" fmla="*/ 1056520 h 8647188"/>
              <a:gd name="connsiteX112" fmla="*/ 7434897 w 11027758"/>
              <a:gd name="connsiteY112" fmla="*/ 1019934 h 8647188"/>
              <a:gd name="connsiteX113" fmla="*/ 7675209 w 11027758"/>
              <a:gd name="connsiteY113" fmla="*/ 1033442 h 8647188"/>
              <a:gd name="connsiteX114" fmla="*/ 8241941 w 11027758"/>
              <a:gd name="connsiteY114" fmla="*/ 996857 h 8647188"/>
              <a:gd name="connsiteX115" fmla="*/ 8428788 w 11027758"/>
              <a:gd name="connsiteY115" fmla="*/ 996857 h 8647188"/>
              <a:gd name="connsiteX116" fmla="*/ 8392206 w 11027758"/>
              <a:gd name="connsiteY116" fmla="*/ 963086 h 8647188"/>
              <a:gd name="connsiteX117" fmla="*/ 8715249 w 11027758"/>
              <a:gd name="connsiteY117" fmla="*/ 963086 h 8647188"/>
              <a:gd name="connsiteX118" fmla="*/ 8969068 w 11027758"/>
              <a:gd name="connsiteY118" fmla="*/ 953517 h 8647188"/>
              <a:gd name="connsiteX119" fmla="*/ 8472123 w 11027758"/>
              <a:gd name="connsiteY119" fmla="*/ 953517 h 8647188"/>
              <a:gd name="connsiteX120" fmla="*/ 8405150 w 11027758"/>
              <a:gd name="connsiteY120" fmla="*/ 940009 h 8647188"/>
              <a:gd name="connsiteX121" fmla="*/ 8795728 w 11027758"/>
              <a:gd name="connsiteY121" fmla="*/ 940009 h 8647188"/>
              <a:gd name="connsiteX122" fmla="*/ 9202627 w 11027758"/>
              <a:gd name="connsiteY122" fmla="*/ 940009 h 8647188"/>
              <a:gd name="connsiteX123" fmla="*/ 8935863 w 11027758"/>
              <a:gd name="connsiteY123" fmla="*/ 870214 h 8647188"/>
              <a:gd name="connsiteX124" fmla="*/ 8321857 w 11027758"/>
              <a:gd name="connsiteY124" fmla="*/ 870214 h 8647188"/>
              <a:gd name="connsiteX125" fmla="*/ 8298783 w 11027758"/>
              <a:gd name="connsiteY125" fmla="*/ 836443 h 8647188"/>
              <a:gd name="connsiteX126" fmla="*/ 8409090 w 11027758"/>
              <a:gd name="connsiteY126" fmla="*/ 826171 h 8647188"/>
              <a:gd name="connsiteX127" fmla="*/ 8427509 w 11027758"/>
              <a:gd name="connsiteY127" fmla="*/ 822004 h 8647188"/>
              <a:gd name="connsiteX128" fmla="*/ 8431676 w 11027758"/>
              <a:gd name="connsiteY128" fmla="*/ 821337 h 8647188"/>
              <a:gd name="connsiteX129" fmla="*/ 8439198 w 11027758"/>
              <a:gd name="connsiteY129" fmla="*/ 819360 h 8647188"/>
              <a:gd name="connsiteX130" fmla="*/ 8443455 w 11027758"/>
              <a:gd name="connsiteY130" fmla="*/ 818396 h 8647188"/>
              <a:gd name="connsiteX131" fmla="*/ 8461992 w 11027758"/>
              <a:gd name="connsiteY131" fmla="*/ 813366 h 8647188"/>
              <a:gd name="connsiteX132" fmla="*/ 8439198 w 11027758"/>
              <a:gd name="connsiteY132" fmla="*/ 819360 h 8647188"/>
              <a:gd name="connsiteX133" fmla="*/ 8427509 w 11027758"/>
              <a:gd name="connsiteY133" fmla="*/ 822004 h 8647188"/>
              <a:gd name="connsiteX134" fmla="*/ 8416688 w 11027758"/>
              <a:gd name="connsiteY134" fmla="*/ 823735 h 8647188"/>
              <a:gd name="connsiteX135" fmla="*/ 8505327 w 11027758"/>
              <a:gd name="connsiteY135" fmla="*/ 793103 h 8647188"/>
              <a:gd name="connsiteX136" fmla="*/ 8555416 w 11027758"/>
              <a:gd name="connsiteY136" fmla="*/ 803235 h 8647188"/>
              <a:gd name="connsiteX137" fmla="*/ 8505327 w 11027758"/>
              <a:gd name="connsiteY137" fmla="*/ 793103 h 8647188"/>
              <a:gd name="connsiteX138" fmla="*/ 8358439 w 11027758"/>
              <a:gd name="connsiteY138" fmla="*/ 766649 h 8647188"/>
              <a:gd name="connsiteX139" fmla="*/ 9339385 w 11027758"/>
              <a:gd name="connsiteY139" fmla="*/ 789726 h 8647188"/>
              <a:gd name="connsiteX140" fmla="*/ 9339385 w 11027758"/>
              <a:gd name="connsiteY140" fmla="*/ 743009 h 8647188"/>
              <a:gd name="connsiteX141" fmla="*/ 9062492 w 11027758"/>
              <a:gd name="connsiteY141" fmla="*/ 733441 h 8647188"/>
              <a:gd name="connsiteX142" fmla="*/ 8969068 w 11027758"/>
              <a:gd name="connsiteY142" fmla="*/ 676592 h 8647188"/>
              <a:gd name="connsiteX143" fmla="*/ 9258906 w 11027758"/>
              <a:gd name="connsiteY143" fmla="*/ 686723 h 8647188"/>
              <a:gd name="connsiteX144" fmla="*/ 9478958 w 11027758"/>
              <a:gd name="connsiteY144" fmla="*/ 696292 h 8647188"/>
              <a:gd name="connsiteX145" fmla="*/ 9142408 w 11027758"/>
              <a:gd name="connsiteY145" fmla="*/ 606235 h 8647188"/>
              <a:gd name="connsiteX146" fmla="*/ 9095696 w 11027758"/>
              <a:gd name="connsiteY146" fmla="*/ 559518 h 8647188"/>
              <a:gd name="connsiteX147" fmla="*/ 9235832 w 11027758"/>
              <a:gd name="connsiteY147" fmla="*/ 559518 h 8647188"/>
              <a:gd name="connsiteX148" fmla="*/ 9489088 w 11027758"/>
              <a:gd name="connsiteY148" fmla="*/ 583158 h 8647188"/>
              <a:gd name="connsiteX149" fmla="*/ 9362460 w 11027758"/>
              <a:gd name="connsiteY149" fmla="*/ 546573 h 8647188"/>
              <a:gd name="connsiteX150" fmla="*/ 9478958 w 11027758"/>
              <a:gd name="connsiteY150" fmla="*/ 536441 h 8647188"/>
              <a:gd name="connsiteX151" fmla="*/ 9329255 w 11027758"/>
              <a:gd name="connsiteY151" fmla="*/ 479593 h 8647188"/>
              <a:gd name="connsiteX152" fmla="*/ 9409171 w 11027758"/>
              <a:gd name="connsiteY152" fmla="*/ 489724 h 8647188"/>
              <a:gd name="connsiteX153" fmla="*/ 9466013 w 11027758"/>
              <a:gd name="connsiteY153" fmla="*/ 479593 h 8647188"/>
              <a:gd name="connsiteX154" fmla="*/ 9652298 w 11027758"/>
              <a:gd name="connsiteY154" fmla="*/ 489724 h 8647188"/>
              <a:gd name="connsiteX155" fmla="*/ 9409171 w 11027758"/>
              <a:gd name="connsiteY155" fmla="*/ 443007 h 8647188"/>
              <a:gd name="connsiteX156" fmla="*/ 9301854 w 11027758"/>
              <a:gd name="connsiteY156" fmla="*/ 395991 h 8647188"/>
              <a:gd name="connsiteX157" fmla="*/ 9289506 w 11027758"/>
              <a:gd name="connsiteY157" fmla="*/ 393531 h 8647188"/>
              <a:gd name="connsiteX158" fmla="*/ 9295641 w 11027758"/>
              <a:gd name="connsiteY158" fmla="*/ 391100 h 8647188"/>
              <a:gd name="connsiteX159" fmla="*/ 9535800 w 11027758"/>
              <a:gd name="connsiteY159" fmla="*/ 363082 h 8647188"/>
              <a:gd name="connsiteX160" fmla="*/ 9385534 w 11027758"/>
              <a:gd name="connsiteY160" fmla="*/ 329310 h 8647188"/>
              <a:gd name="connsiteX161" fmla="*/ 9442376 w 11027758"/>
              <a:gd name="connsiteY161" fmla="*/ 316365 h 8647188"/>
              <a:gd name="connsiteX162" fmla="*/ 9442376 w 11027758"/>
              <a:gd name="connsiteY162" fmla="*/ 259516 h 8647188"/>
              <a:gd name="connsiteX163" fmla="*/ 9549307 w 11027758"/>
              <a:gd name="connsiteY163" fmla="*/ 246008 h 8647188"/>
              <a:gd name="connsiteX164" fmla="*/ 9494935 w 11027758"/>
              <a:gd name="connsiteY164" fmla="*/ 182449 h 8647188"/>
              <a:gd name="connsiteX165" fmla="*/ 9484078 w 11027758"/>
              <a:gd name="connsiteY165" fmla="*/ 182054 h 8647188"/>
              <a:gd name="connsiteX166" fmla="*/ 9490333 w 11027758"/>
              <a:gd name="connsiteY166" fmla="*/ 179398 h 8647188"/>
              <a:gd name="connsiteX167" fmla="*/ 9732777 w 11027758"/>
              <a:gd name="connsiteY167" fmla="*/ 222930 h 8647188"/>
              <a:gd name="connsiteX168" fmla="*/ 9559437 w 11027758"/>
              <a:gd name="connsiteY168" fmla="*/ 166082 h 8647188"/>
              <a:gd name="connsiteX169" fmla="*/ 9582511 w 11027758"/>
              <a:gd name="connsiteY169" fmla="*/ 143005 h 8647188"/>
              <a:gd name="connsiteX170" fmla="*/ 9502595 w 11027758"/>
              <a:gd name="connsiteY170" fmla="*/ 109234 h 8647188"/>
              <a:gd name="connsiteX171" fmla="*/ 9789619 w 11027758"/>
              <a:gd name="connsiteY171" fmla="*/ 119365 h 8647188"/>
              <a:gd name="connsiteX172" fmla="*/ 9869535 w 11027758"/>
              <a:gd name="connsiteY172" fmla="*/ 189722 h 8647188"/>
              <a:gd name="connsiteX173" fmla="*/ 10022615 w 11027758"/>
              <a:gd name="connsiteY173" fmla="*/ 202668 h 8647188"/>
              <a:gd name="connsiteX174" fmla="*/ 10112661 w 11027758"/>
              <a:gd name="connsiteY174" fmla="*/ 259516 h 8647188"/>
              <a:gd name="connsiteX175" fmla="*/ 10193141 w 11027758"/>
              <a:gd name="connsiteY175" fmla="*/ 236439 h 8647188"/>
              <a:gd name="connsiteX176" fmla="*/ 10262927 w 11027758"/>
              <a:gd name="connsiteY176" fmla="*/ 339442 h 8647188"/>
              <a:gd name="connsiteX177" fmla="*/ 10239290 w 11027758"/>
              <a:gd name="connsiteY177" fmla="*/ 363082 h 8647188"/>
              <a:gd name="connsiteX178" fmla="*/ 10239290 w 11027758"/>
              <a:gd name="connsiteY178" fmla="*/ 363082 h 8647188"/>
              <a:gd name="connsiteX179" fmla="*/ 10286001 w 11027758"/>
              <a:gd name="connsiteY179" fmla="*/ 512801 h 8647188"/>
              <a:gd name="connsiteX180" fmla="*/ 10299508 w 11027758"/>
              <a:gd name="connsiteY180" fmla="*/ 629875 h 8647188"/>
              <a:gd name="connsiteX181" fmla="*/ 10260570 w 11027758"/>
              <a:gd name="connsiteY181" fmla="*/ 657895 h 8647188"/>
              <a:gd name="connsiteX182" fmla="*/ 10255596 w 11027758"/>
              <a:gd name="connsiteY182" fmla="*/ 658771 h 8647188"/>
              <a:gd name="connsiteX183" fmla="*/ 10252797 w 11027758"/>
              <a:gd name="connsiteY183" fmla="*/ 652952 h 8647188"/>
              <a:gd name="connsiteX184" fmla="*/ 10254943 w 11027758"/>
              <a:gd name="connsiteY184" fmla="*/ 658886 h 8647188"/>
              <a:gd name="connsiteX185" fmla="*/ 10255596 w 11027758"/>
              <a:gd name="connsiteY185" fmla="*/ 658771 h 8647188"/>
              <a:gd name="connsiteX186" fmla="*/ 10259621 w 11027758"/>
              <a:gd name="connsiteY186" fmla="*/ 667138 h 8647188"/>
              <a:gd name="connsiteX187" fmla="*/ 10299508 w 11027758"/>
              <a:gd name="connsiteY187" fmla="*/ 709801 h 8647188"/>
              <a:gd name="connsiteX188" fmla="*/ 10252797 w 11027758"/>
              <a:gd name="connsiteY188" fmla="*/ 766649 h 8647188"/>
              <a:gd name="connsiteX189" fmla="*/ 10276434 w 11027758"/>
              <a:gd name="connsiteY189" fmla="*/ 826875 h 8647188"/>
              <a:gd name="connsiteX190" fmla="*/ 10229722 w 11027758"/>
              <a:gd name="connsiteY190" fmla="*/ 893292 h 8647188"/>
              <a:gd name="connsiteX191" fmla="*/ 10252797 w 11027758"/>
              <a:gd name="connsiteY191" fmla="*/ 953517 h 8647188"/>
              <a:gd name="connsiteX192" fmla="*/ 10193141 w 11027758"/>
              <a:gd name="connsiteY192" fmla="*/ 996857 h 8647188"/>
              <a:gd name="connsiteX193" fmla="*/ 10252797 w 11027758"/>
              <a:gd name="connsiteY193" fmla="*/ 1033442 h 8647188"/>
              <a:gd name="connsiteX194" fmla="*/ 10172880 w 11027758"/>
              <a:gd name="connsiteY194" fmla="*/ 1206802 h 8647188"/>
              <a:gd name="connsiteX195" fmla="*/ 10206085 w 11027758"/>
              <a:gd name="connsiteY195" fmla="*/ 1276596 h 8647188"/>
              <a:gd name="connsiteX196" fmla="*/ 10183010 w 11027758"/>
              <a:gd name="connsiteY196" fmla="*/ 1310367 h 8647188"/>
              <a:gd name="connsiteX197" fmla="*/ 10216215 w 11027758"/>
              <a:gd name="connsiteY197" fmla="*/ 1380161 h 8647188"/>
              <a:gd name="connsiteX198" fmla="*/ 10149243 w 11027758"/>
              <a:gd name="connsiteY198" fmla="*/ 1483727 h 8647188"/>
              <a:gd name="connsiteX199" fmla="*/ 10119415 w 11027758"/>
              <a:gd name="connsiteY199" fmla="*/ 1556898 h 8647188"/>
              <a:gd name="connsiteX200" fmla="*/ 10172880 w 11027758"/>
              <a:gd name="connsiteY200" fmla="*/ 1610369 h 8647188"/>
              <a:gd name="connsiteX201" fmla="*/ 10172880 w 11027758"/>
              <a:gd name="connsiteY201" fmla="*/ 1610369 h 8647188"/>
              <a:gd name="connsiteX202" fmla="*/ 10193141 w 11027758"/>
              <a:gd name="connsiteY202" fmla="*/ 1657086 h 8647188"/>
              <a:gd name="connsiteX203" fmla="*/ 10159373 w 11027758"/>
              <a:gd name="connsiteY203" fmla="*/ 1713935 h 8647188"/>
              <a:gd name="connsiteX204" fmla="*/ 10149243 w 11027758"/>
              <a:gd name="connsiteY204" fmla="*/ 1877163 h 8647188"/>
              <a:gd name="connsiteX205" fmla="*/ 10102531 w 11027758"/>
              <a:gd name="connsiteY205" fmla="*/ 1967220 h 8647188"/>
              <a:gd name="connsiteX206" fmla="*/ 10079457 w 11027758"/>
              <a:gd name="connsiteY206" fmla="*/ 2050522 h 8647188"/>
              <a:gd name="connsiteX207" fmla="*/ 10112661 w 11027758"/>
              <a:gd name="connsiteY207" fmla="*/ 2083731 h 8647188"/>
              <a:gd name="connsiteX208" fmla="*/ 10089587 w 11027758"/>
              <a:gd name="connsiteY208" fmla="*/ 2280730 h 8647188"/>
              <a:gd name="connsiteX209" fmla="*/ 10102531 w 11027758"/>
              <a:gd name="connsiteY209" fmla="*/ 2303808 h 8647188"/>
              <a:gd name="connsiteX210" fmla="*/ 10065950 w 11027758"/>
              <a:gd name="connsiteY210" fmla="*/ 2360655 h 8647188"/>
              <a:gd name="connsiteX211" fmla="*/ 10102531 w 11027758"/>
              <a:gd name="connsiteY211" fmla="*/ 2374164 h 8647188"/>
              <a:gd name="connsiteX212" fmla="*/ 10079457 w 11027758"/>
              <a:gd name="connsiteY212" fmla="*/ 2420882 h 8647188"/>
              <a:gd name="connsiteX213" fmla="*/ 10102531 w 11027758"/>
              <a:gd name="connsiteY213" fmla="*/ 2454089 h 8647188"/>
              <a:gd name="connsiteX214" fmla="*/ 10065950 w 11027758"/>
              <a:gd name="connsiteY214" fmla="*/ 2534015 h 8647188"/>
              <a:gd name="connsiteX215" fmla="*/ 10089587 w 11027758"/>
              <a:gd name="connsiteY215" fmla="*/ 2580733 h 8647188"/>
              <a:gd name="connsiteX216" fmla="*/ 10032745 w 11027758"/>
              <a:gd name="connsiteY216" fmla="*/ 2834580 h 8647188"/>
              <a:gd name="connsiteX217" fmla="*/ 10056382 w 11027758"/>
              <a:gd name="connsiteY217" fmla="*/ 2857657 h 8647188"/>
              <a:gd name="connsiteX218" fmla="*/ 10022615 w 11027758"/>
              <a:gd name="connsiteY218" fmla="*/ 2951091 h 8647188"/>
              <a:gd name="connsiteX219" fmla="*/ 10056382 w 11027758"/>
              <a:gd name="connsiteY219" fmla="*/ 2961222 h 8647188"/>
              <a:gd name="connsiteX220" fmla="*/ 10022615 w 11027758"/>
              <a:gd name="connsiteY220" fmla="*/ 3044526 h 8647188"/>
              <a:gd name="connsiteX221" fmla="*/ 10039499 w 11027758"/>
              <a:gd name="connsiteY221" fmla="*/ 3070979 h 8647188"/>
              <a:gd name="connsiteX222" fmla="*/ 9999540 w 11027758"/>
              <a:gd name="connsiteY222" fmla="*/ 3087865 h 8647188"/>
              <a:gd name="connsiteX223" fmla="*/ 9986033 w 11027758"/>
              <a:gd name="connsiteY223" fmla="*/ 3204376 h 8647188"/>
              <a:gd name="connsiteX224" fmla="*/ 9952829 w 11027758"/>
              <a:gd name="connsiteY224" fmla="*/ 3238147 h 8647188"/>
              <a:gd name="connsiteX225" fmla="*/ 9939322 w 11027758"/>
              <a:gd name="connsiteY225" fmla="*/ 3307941 h 8647188"/>
              <a:gd name="connsiteX226" fmla="*/ 9882480 w 11027758"/>
              <a:gd name="connsiteY226" fmla="*/ 3481301 h 8647188"/>
              <a:gd name="connsiteX227" fmla="*/ 9929191 w 11027758"/>
              <a:gd name="connsiteY227" fmla="*/ 3528018 h 8647188"/>
              <a:gd name="connsiteX228" fmla="*/ 9869535 w 11027758"/>
              <a:gd name="connsiteY228" fmla="*/ 3631584 h 8647188"/>
              <a:gd name="connsiteX229" fmla="*/ 9882480 w 11027758"/>
              <a:gd name="connsiteY229" fmla="*/ 3701378 h 8647188"/>
              <a:gd name="connsiteX230" fmla="*/ 9916247 w 11027758"/>
              <a:gd name="connsiteY230" fmla="*/ 3678300 h 8647188"/>
              <a:gd name="connsiteX231" fmla="*/ 9812693 w 11027758"/>
              <a:gd name="connsiteY231" fmla="*/ 3828020 h 8647188"/>
              <a:gd name="connsiteX232" fmla="*/ 9409171 w 11027758"/>
              <a:gd name="connsiteY232" fmla="*/ 4128585 h 8647188"/>
              <a:gd name="connsiteX233" fmla="*/ 8555416 w 11027758"/>
              <a:gd name="connsiteY233" fmla="*/ 4625023 h 8647188"/>
              <a:gd name="connsiteX234" fmla="*/ 8555416 w 11027758"/>
              <a:gd name="connsiteY234" fmla="*/ 4625023 h 8647188"/>
              <a:gd name="connsiteX235" fmla="*/ 8531779 w 11027758"/>
              <a:gd name="connsiteY235" fmla="*/ 4637969 h 8647188"/>
              <a:gd name="connsiteX236" fmla="*/ 8531779 w 11027758"/>
              <a:gd name="connsiteY236" fmla="*/ 4637969 h 8647188"/>
              <a:gd name="connsiteX237" fmla="*/ 8508704 w 11027758"/>
              <a:gd name="connsiteY237" fmla="*/ 4648100 h 8647188"/>
              <a:gd name="connsiteX238" fmla="*/ 8508704 w 11027758"/>
              <a:gd name="connsiteY238" fmla="*/ 4648100 h 8647188"/>
              <a:gd name="connsiteX239" fmla="*/ 8485630 w 11027758"/>
              <a:gd name="connsiteY239" fmla="*/ 4661609 h 8647188"/>
              <a:gd name="connsiteX240" fmla="*/ 8461992 w 11027758"/>
              <a:gd name="connsiteY240" fmla="*/ 4661609 h 8647188"/>
              <a:gd name="connsiteX241" fmla="*/ 8438918 w 11027758"/>
              <a:gd name="connsiteY241" fmla="*/ 4671740 h 8647188"/>
              <a:gd name="connsiteX242" fmla="*/ 8415281 w 11027758"/>
              <a:gd name="connsiteY242" fmla="*/ 4681308 h 8647188"/>
              <a:gd name="connsiteX243" fmla="*/ 8082108 w 11027758"/>
              <a:gd name="connsiteY243" fmla="*/ 4854668 h 8647188"/>
              <a:gd name="connsiteX244" fmla="*/ 7445027 w 11027758"/>
              <a:gd name="connsiteY244" fmla="*/ 5155233 h 8647188"/>
              <a:gd name="connsiteX245" fmla="*/ 7374679 w 11027758"/>
              <a:gd name="connsiteY245" fmla="*/ 5191818 h 8647188"/>
              <a:gd name="connsiteX246" fmla="*/ 4337290 w 11027758"/>
              <a:gd name="connsiteY246" fmla="*/ 6428975 h 8647188"/>
              <a:gd name="connsiteX247" fmla="*/ 3900563 w 11027758"/>
              <a:gd name="connsiteY247" fmla="*/ 6622597 h 8647188"/>
              <a:gd name="connsiteX248" fmla="*/ 3840344 w 11027758"/>
              <a:gd name="connsiteY248" fmla="*/ 6646237 h 8647188"/>
              <a:gd name="connsiteX249" fmla="*/ 3840344 w 11027758"/>
              <a:gd name="connsiteY249" fmla="*/ 6646237 h 8647188"/>
              <a:gd name="connsiteX250" fmla="*/ 3900563 w 11027758"/>
              <a:gd name="connsiteY250" fmla="*/ 6622597 h 8647188"/>
              <a:gd name="connsiteX251" fmla="*/ 4060396 w 11027758"/>
              <a:gd name="connsiteY251" fmla="*/ 6598957 h 8647188"/>
              <a:gd name="connsiteX252" fmla="*/ 4270881 w 11027758"/>
              <a:gd name="connsiteY252" fmla="*/ 6542671 h 8647188"/>
              <a:gd name="connsiteX253" fmla="*/ 4463918 w 11027758"/>
              <a:gd name="connsiteY253" fmla="*/ 6462745 h 8647188"/>
              <a:gd name="connsiteX254" fmla="*/ 4510630 w 11027758"/>
              <a:gd name="connsiteY254" fmla="*/ 6472314 h 8647188"/>
              <a:gd name="connsiteX255" fmla="*/ 4801031 w 11027758"/>
              <a:gd name="connsiteY255" fmla="*/ 6392389 h 8647188"/>
              <a:gd name="connsiteX256" fmla="*/ 4997445 w 11027758"/>
              <a:gd name="connsiteY256" fmla="*/ 6345671 h 8647188"/>
              <a:gd name="connsiteX257" fmla="*/ 4744189 w 11027758"/>
              <a:gd name="connsiteY257" fmla="*/ 6439105 h 8647188"/>
              <a:gd name="connsiteX258" fmla="*/ 4707607 w 11027758"/>
              <a:gd name="connsiteY258" fmla="*/ 6449237 h 8647188"/>
              <a:gd name="connsiteX259" fmla="*/ 4707607 w 11027758"/>
              <a:gd name="connsiteY259" fmla="*/ 6449237 h 8647188"/>
              <a:gd name="connsiteX260" fmla="*/ 4744189 w 11027758"/>
              <a:gd name="connsiteY260" fmla="*/ 6439105 h 8647188"/>
              <a:gd name="connsiteX261" fmla="*/ 6141038 w 11027758"/>
              <a:gd name="connsiteY261" fmla="*/ 5998953 h 8647188"/>
              <a:gd name="connsiteX262" fmla="*/ 6141038 w 11027758"/>
              <a:gd name="connsiteY262" fmla="*/ 5998953 h 8647188"/>
              <a:gd name="connsiteX263" fmla="*/ 7421390 w 11027758"/>
              <a:gd name="connsiteY263" fmla="*/ 5538537 h 8647188"/>
              <a:gd name="connsiteX264" fmla="*/ 7294762 w 11027758"/>
              <a:gd name="connsiteY264" fmla="*/ 5595386 h 8647188"/>
              <a:gd name="connsiteX265" fmla="*/ 7224976 w 11027758"/>
              <a:gd name="connsiteY265" fmla="*/ 5628594 h 8647188"/>
              <a:gd name="connsiteX266" fmla="*/ 8428788 w 11027758"/>
              <a:gd name="connsiteY266" fmla="*/ 5191818 h 8647188"/>
              <a:gd name="connsiteX267" fmla="*/ 8495197 w 11027758"/>
              <a:gd name="connsiteY267" fmla="*/ 5178310 h 8647188"/>
              <a:gd name="connsiteX268" fmla="*/ 7608237 w 11027758"/>
              <a:gd name="connsiteY268" fmla="*/ 5525592 h 8647188"/>
              <a:gd name="connsiteX269" fmla="*/ 7571655 w 11027758"/>
              <a:gd name="connsiteY269" fmla="*/ 5538537 h 8647188"/>
              <a:gd name="connsiteX270" fmla="*/ 7538451 w 11027758"/>
              <a:gd name="connsiteY270" fmla="*/ 5548669 h 8647188"/>
              <a:gd name="connsiteX271" fmla="*/ 7538451 w 11027758"/>
              <a:gd name="connsiteY271" fmla="*/ 5548669 h 8647188"/>
              <a:gd name="connsiteX272" fmla="*/ 7571655 w 11027758"/>
              <a:gd name="connsiteY272" fmla="*/ 5538537 h 8647188"/>
              <a:gd name="connsiteX273" fmla="*/ 7608237 w 11027758"/>
              <a:gd name="connsiteY273" fmla="*/ 5525592 h 8647188"/>
              <a:gd name="connsiteX274" fmla="*/ 7791707 w 11027758"/>
              <a:gd name="connsiteY274" fmla="*/ 5491820 h 8647188"/>
              <a:gd name="connsiteX275" fmla="*/ 7758503 w 11027758"/>
              <a:gd name="connsiteY275" fmla="*/ 5501952 h 8647188"/>
              <a:gd name="connsiteX276" fmla="*/ 7721921 w 11027758"/>
              <a:gd name="connsiteY276" fmla="*/ 5515460 h 8647188"/>
              <a:gd name="connsiteX277" fmla="*/ 7698283 w 11027758"/>
              <a:gd name="connsiteY277" fmla="*/ 5525592 h 8647188"/>
              <a:gd name="connsiteX278" fmla="*/ 7698283 w 11027758"/>
              <a:gd name="connsiteY278" fmla="*/ 5525592 h 8647188"/>
              <a:gd name="connsiteX279" fmla="*/ 7721921 w 11027758"/>
              <a:gd name="connsiteY279" fmla="*/ 5515460 h 8647188"/>
              <a:gd name="connsiteX280" fmla="*/ 7758503 w 11027758"/>
              <a:gd name="connsiteY280" fmla="*/ 5501952 h 8647188"/>
              <a:gd name="connsiteX281" fmla="*/ 7791707 w 11027758"/>
              <a:gd name="connsiteY281" fmla="*/ 5491820 h 8647188"/>
              <a:gd name="connsiteX282" fmla="*/ 7954917 w 11027758"/>
              <a:gd name="connsiteY282" fmla="*/ 5434972 h 8647188"/>
              <a:gd name="connsiteX283" fmla="*/ 8669100 w 11027758"/>
              <a:gd name="connsiteY283" fmla="*/ 5178310 h 8647188"/>
              <a:gd name="connsiteX284" fmla="*/ 8669100 w 11027758"/>
              <a:gd name="connsiteY284" fmla="*/ 5238535 h 8647188"/>
              <a:gd name="connsiteX285" fmla="*/ 9352329 w 11027758"/>
              <a:gd name="connsiteY285" fmla="*/ 4994819 h 8647188"/>
              <a:gd name="connsiteX286" fmla="*/ 9582511 w 11027758"/>
              <a:gd name="connsiteY286" fmla="*/ 4938533 h 8647188"/>
              <a:gd name="connsiteX287" fmla="*/ 9315748 w 11027758"/>
              <a:gd name="connsiteY287" fmla="*/ 5051667 h 8647188"/>
              <a:gd name="connsiteX288" fmla="*/ 9339385 w 11027758"/>
              <a:gd name="connsiteY288" fmla="*/ 5065176 h 8647188"/>
              <a:gd name="connsiteX289" fmla="*/ 9385534 w 11027758"/>
              <a:gd name="connsiteY289" fmla="*/ 5098384 h 8647188"/>
              <a:gd name="connsiteX290" fmla="*/ 9652298 w 11027758"/>
              <a:gd name="connsiteY290" fmla="*/ 5018459 h 8647188"/>
              <a:gd name="connsiteX291" fmla="*/ 9765982 w 11027758"/>
              <a:gd name="connsiteY291" fmla="*/ 5004950 h 8647188"/>
              <a:gd name="connsiteX292" fmla="*/ 9629223 w 11027758"/>
              <a:gd name="connsiteY292" fmla="*/ 5088253 h 8647188"/>
              <a:gd name="connsiteX293" fmla="*/ 9779489 w 11027758"/>
              <a:gd name="connsiteY293" fmla="*/ 5065176 h 8647188"/>
              <a:gd name="connsiteX294" fmla="*/ 9962959 w 11027758"/>
              <a:gd name="connsiteY294" fmla="*/ 5028590 h 8647188"/>
              <a:gd name="connsiteX295" fmla="*/ 9502595 w 11027758"/>
              <a:gd name="connsiteY295" fmla="*/ 5215458 h 8647188"/>
              <a:gd name="connsiteX296" fmla="*/ 9502595 w 11027758"/>
              <a:gd name="connsiteY296" fmla="*/ 5215458 h 8647188"/>
              <a:gd name="connsiteX297" fmla="*/ 9699572 w 11027758"/>
              <a:gd name="connsiteY297" fmla="*/ 5155233 h 8647188"/>
              <a:gd name="connsiteX298" fmla="*/ 9315748 w 11027758"/>
              <a:gd name="connsiteY298" fmla="*/ 5318461 h 8647188"/>
              <a:gd name="connsiteX299" fmla="*/ 9385534 w 11027758"/>
              <a:gd name="connsiteY299" fmla="*/ 5318461 h 8647188"/>
              <a:gd name="connsiteX300" fmla="*/ 9362460 w 11027758"/>
              <a:gd name="connsiteY300" fmla="*/ 5342101 h 8647188"/>
              <a:gd name="connsiteX301" fmla="*/ 9419302 w 11027758"/>
              <a:gd name="connsiteY301" fmla="*/ 5318461 h 8647188"/>
              <a:gd name="connsiteX302" fmla="*/ 9489088 w 11027758"/>
              <a:gd name="connsiteY302" fmla="*/ 5295384 h 8647188"/>
              <a:gd name="connsiteX303" fmla="*/ 9742907 w 11027758"/>
              <a:gd name="connsiteY303" fmla="*/ 5225027 h 8647188"/>
              <a:gd name="connsiteX304" fmla="*/ 9849275 w 11027758"/>
              <a:gd name="connsiteY304" fmla="*/ 5178310 h 8647188"/>
              <a:gd name="connsiteX305" fmla="*/ 9742907 w 11027758"/>
              <a:gd name="connsiteY305" fmla="*/ 5248667 h 8647188"/>
              <a:gd name="connsiteX306" fmla="*/ 9662428 w 11027758"/>
              <a:gd name="connsiteY306" fmla="*/ 5308329 h 8647188"/>
              <a:gd name="connsiteX307" fmla="*/ 9765982 w 11027758"/>
              <a:gd name="connsiteY307" fmla="*/ 5271744 h 8647188"/>
              <a:gd name="connsiteX308" fmla="*/ 9952829 w 11027758"/>
              <a:gd name="connsiteY308" fmla="*/ 5215458 h 8647188"/>
              <a:gd name="connsiteX309" fmla="*/ 10112661 w 11027758"/>
              <a:gd name="connsiteY309" fmla="*/ 5201950 h 8647188"/>
              <a:gd name="connsiteX310" fmla="*/ 10252797 w 11027758"/>
              <a:gd name="connsiteY310" fmla="*/ 5155233 h 8647188"/>
              <a:gd name="connsiteX311" fmla="*/ 10149243 w 11027758"/>
              <a:gd name="connsiteY311" fmla="*/ 5201950 h 8647188"/>
              <a:gd name="connsiteX312" fmla="*/ 10186387 w 11027758"/>
              <a:gd name="connsiteY312" fmla="*/ 5215458 h 8647188"/>
              <a:gd name="connsiteX313" fmla="*/ 10159373 w 11027758"/>
              <a:gd name="connsiteY313" fmla="*/ 5271744 h 8647188"/>
              <a:gd name="connsiteX314" fmla="*/ 10102531 w 11027758"/>
              <a:gd name="connsiteY314" fmla="*/ 5308329 h 8647188"/>
              <a:gd name="connsiteX315" fmla="*/ 10229722 w 11027758"/>
              <a:gd name="connsiteY315" fmla="*/ 5285252 h 8647188"/>
              <a:gd name="connsiteX316" fmla="*/ 10426137 w 11027758"/>
              <a:gd name="connsiteY316" fmla="*/ 5201950 h 8647188"/>
              <a:gd name="connsiteX317" fmla="*/ 10506053 w 11027758"/>
              <a:gd name="connsiteY317" fmla="*/ 5201950 h 8647188"/>
              <a:gd name="connsiteX318" fmla="*/ 10472848 w 11027758"/>
              <a:gd name="connsiteY318" fmla="*/ 5271744 h 8647188"/>
              <a:gd name="connsiteX319" fmla="*/ 10379425 w 11027758"/>
              <a:gd name="connsiteY319" fmla="*/ 5342101 h 8647188"/>
              <a:gd name="connsiteX320" fmla="*/ 10539821 w 11027758"/>
              <a:gd name="connsiteY320" fmla="*/ 5295384 h 8647188"/>
              <a:gd name="connsiteX321" fmla="*/ 10403062 w 11027758"/>
              <a:gd name="connsiteY321" fmla="*/ 5365178 h 8647188"/>
              <a:gd name="connsiteX322" fmla="*/ 10609607 w 11027758"/>
              <a:gd name="connsiteY322" fmla="*/ 5342101 h 8647188"/>
              <a:gd name="connsiteX323" fmla="*/ 9582511 w 11027758"/>
              <a:gd name="connsiteY323" fmla="*/ 5848671 h 8647188"/>
              <a:gd name="connsiteX324" fmla="*/ 9455883 w 11027758"/>
              <a:gd name="connsiteY324" fmla="*/ 5895388 h 8647188"/>
              <a:gd name="connsiteX325" fmla="*/ 9395664 w 11027758"/>
              <a:gd name="connsiteY325" fmla="*/ 5919028 h 8647188"/>
              <a:gd name="connsiteX326" fmla="*/ 9305618 w 11027758"/>
              <a:gd name="connsiteY326" fmla="*/ 5952236 h 8647188"/>
              <a:gd name="connsiteX327" fmla="*/ 9305618 w 11027758"/>
              <a:gd name="connsiteY327" fmla="*/ 5952236 h 8647188"/>
              <a:gd name="connsiteX328" fmla="*/ 9395664 w 11027758"/>
              <a:gd name="connsiteY328" fmla="*/ 5919028 h 8647188"/>
              <a:gd name="connsiteX329" fmla="*/ 9455883 w 11027758"/>
              <a:gd name="connsiteY329" fmla="*/ 5895388 h 8647188"/>
              <a:gd name="connsiteX330" fmla="*/ 9582511 w 11027758"/>
              <a:gd name="connsiteY330" fmla="*/ 5848671 h 8647188"/>
              <a:gd name="connsiteX331" fmla="*/ 10102531 w 11027758"/>
              <a:gd name="connsiteY331" fmla="*/ 5652234 h 8647188"/>
              <a:gd name="connsiteX332" fmla="*/ 10552765 w 11027758"/>
              <a:gd name="connsiteY332" fmla="*/ 5434972 h 8647188"/>
              <a:gd name="connsiteX333" fmla="*/ 10713161 w 11027758"/>
              <a:gd name="connsiteY333" fmla="*/ 5375309 h 8647188"/>
              <a:gd name="connsiteX334" fmla="*/ 10736235 w 11027758"/>
              <a:gd name="connsiteY334" fmla="*/ 5328592 h 8647188"/>
              <a:gd name="connsiteX335" fmla="*/ 10806584 w 11027758"/>
              <a:gd name="connsiteY335" fmla="*/ 5375309 h 8647188"/>
              <a:gd name="connsiteX336" fmla="*/ 10576402 w 11027758"/>
              <a:gd name="connsiteY336" fmla="*/ 5548669 h 8647188"/>
              <a:gd name="connsiteX337" fmla="*/ 10703030 w 11027758"/>
              <a:gd name="connsiteY337" fmla="*/ 5538537 h 8647188"/>
              <a:gd name="connsiteX338" fmla="*/ 10703030 w 11027758"/>
              <a:gd name="connsiteY338" fmla="*/ 5538537 h 8647188"/>
              <a:gd name="connsiteX339" fmla="*/ 10806584 w 11027758"/>
              <a:gd name="connsiteY339" fmla="*/ 5515460 h 8647188"/>
              <a:gd name="connsiteX340" fmla="*/ 10876370 w 11027758"/>
              <a:gd name="connsiteY340" fmla="*/ 5458612 h 8647188"/>
              <a:gd name="connsiteX341" fmla="*/ 10876370 w 11027758"/>
              <a:gd name="connsiteY341" fmla="*/ 5411895 h 8647188"/>
              <a:gd name="connsiteX342" fmla="*/ 10923082 w 11027758"/>
              <a:gd name="connsiteY342" fmla="*/ 5434972 h 8647188"/>
              <a:gd name="connsiteX343" fmla="*/ 10953473 w 11027758"/>
              <a:gd name="connsiteY343" fmla="*/ 5451858 h 8647188"/>
              <a:gd name="connsiteX344" fmla="*/ 10853296 w 11027758"/>
              <a:gd name="connsiteY344" fmla="*/ 5548669 h 8647188"/>
              <a:gd name="connsiteX345" fmla="*/ 10806584 w 11027758"/>
              <a:gd name="connsiteY345" fmla="*/ 5571746 h 8647188"/>
              <a:gd name="connsiteX346" fmla="*/ 10923082 w 11027758"/>
              <a:gd name="connsiteY346" fmla="*/ 5571746 h 8647188"/>
              <a:gd name="connsiteX347" fmla="*/ 10969794 w 11027758"/>
              <a:gd name="connsiteY347" fmla="*/ 5608894 h 8647188"/>
              <a:gd name="connsiteX348" fmla="*/ 11013129 w 11027758"/>
              <a:gd name="connsiteY348" fmla="*/ 5585254 h 8647188"/>
              <a:gd name="connsiteX349" fmla="*/ 10993431 w 11027758"/>
              <a:gd name="connsiteY349" fmla="*/ 5652234 h 8647188"/>
              <a:gd name="connsiteX350" fmla="*/ 11013129 w 11027758"/>
              <a:gd name="connsiteY350" fmla="*/ 5675311 h 8647188"/>
              <a:gd name="connsiteX351" fmla="*/ 11026636 w 11027758"/>
              <a:gd name="connsiteY351" fmla="*/ 5758614 h 8647188"/>
              <a:gd name="connsiteX352" fmla="*/ 10956287 w 11027758"/>
              <a:gd name="connsiteY352" fmla="*/ 5862179 h 8647188"/>
              <a:gd name="connsiteX353" fmla="*/ 11013129 w 11027758"/>
              <a:gd name="connsiteY353" fmla="*/ 5872311 h 8647188"/>
              <a:gd name="connsiteX354" fmla="*/ 10956287 w 11027758"/>
              <a:gd name="connsiteY354" fmla="*/ 5998953 h 8647188"/>
              <a:gd name="connsiteX355" fmla="*/ 10993431 w 11027758"/>
              <a:gd name="connsiteY355" fmla="*/ 6012462 h 8647188"/>
              <a:gd name="connsiteX356" fmla="*/ 10979924 w 11027758"/>
              <a:gd name="connsiteY356" fmla="*/ 6082256 h 8647188"/>
              <a:gd name="connsiteX357" fmla="*/ 10993431 w 11027758"/>
              <a:gd name="connsiteY357" fmla="*/ 6139104 h 8647188"/>
              <a:gd name="connsiteX358" fmla="*/ 10956287 w 11027758"/>
              <a:gd name="connsiteY358" fmla="*/ 6219029 h 8647188"/>
              <a:gd name="connsiteX359" fmla="*/ 10956287 w 11027758"/>
              <a:gd name="connsiteY359" fmla="*/ 6312463 h 8647188"/>
              <a:gd name="connsiteX360" fmla="*/ 10993431 w 11027758"/>
              <a:gd name="connsiteY360" fmla="*/ 6322595 h 8647188"/>
              <a:gd name="connsiteX361" fmla="*/ 10979924 w 11027758"/>
              <a:gd name="connsiteY361" fmla="*/ 6382257 h 8647188"/>
              <a:gd name="connsiteX362" fmla="*/ 11013129 w 11027758"/>
              <a:gd name="connsiteY362" fmla="*/ 6392389 h 8647188"/>
              <a:gd name="connsiteX363" fmla="*/ 11013129 w 11027758"/>
              <a:gd name="connsiteY363" fmla="*/ 6449237 h 8647188"/>
              <a:gd name="connsiteX364" fmla="*/ 10969794 w 11027758"/>
              <a:gd name="connsiteY364" fmla="*/ 6472314 h 8647188"/>
              <a:gd name="connsiteX365" fmla="*/ 11013129 w 11027758"/>
              <a:gd name="connsiteY365" fmla="*/ 6555617 h 8647188"/>
              <a:gd name="connsiteX366" fmla="*/ 10969794 w 11027758"/>
              <a:gd name="connsiteY366" fmla="*/ 6636105 h 8647188"/>
              <a:gd name="connsiteX367" fmla="*/ 10979924 w 11027758"/>
              <a:gd name="connsiteY367" fmla="*/ 7005901 h 8647188"/>
              <a:gd name="connsiteX368" fmla="*/ 10933212 w 11027758"/>
              <a:gd name="connsiteY368" fmla="*/ 7052618 h 8647188"/>
              <a:gd name="connsiteX369" fmla="*/ 10979924 w 11027758"/>
              <a:gd name="connsiteY369" fmla="*/ 7072881 h 8647188"/>
              <a:gd name="connsiteX370" fmla="*/ 10969794 w 11027758"/>
              <a:gd name="connsiteY370" fmla="*/ 7119598 h 8647188"/>
              <a:gd name="connsiteX371" fmla="*/ 10993431 w 11027758"/>
              <a:gd name="connsiteY371" fmla="*/ 7142675 h 8647188"/>
              <a:gd name="connsiteX372" fmla="*/ 10956287 w 11027758"/>
              <a:gd name="connsiteY372" fmla="*/ 7236109 h 8647188"/>
              <a:gd name="connsiteX373" fmla="*/ 10979924 w 11027758"/>
              <a:gd name="connsiteY373" fmla="*/ 7316035 h 8647188"/>
              <a:gd name="connsiteX374" fmla="*/ 10933212 w 11027758"/>
              <a:gd name="connsiteY374" fmla="*/ 7433109 h 8647188"/>
              <a:gd name="connsiteX375" fmla="*/ 10956287 w 11027758"/>
              <a:gd name="connsiteY375" fmla="*/ 7466317 h 8647188"/>
              <a:gd name="connsiteX376" fmla="*/ 10956287 w 11027758"/>
              <a:gd name="connsiteY376" fmla="*/ 7526543 h 8647188"/>
              <a:gd name="connsiteX377" fmla="*/ 10782947 w 11027758"/>
              <a:gd name="connsiteY377" fmla="*/ 7719602 h 8647188"/>
              <a:gd name="connsiteX378" fmla="*/ 9155915 w 11027758"/>
              <a:gd name="connsiteY378" fmla="*/ 8413603 h 8647188"/>
              <a:gd name="connsiteX379" fmla="*/ 8855384 w 11027758"/>
              <a:gd name="connsiteY379" fmla="*/ 8507037 h 8647188"/>
              <a:gd name="connsiteX380" fmla="*/ 8902096 w 11027758"/>
              <a:gd name="connsiteY380" fmla="*/ 8450188 h 8647188"/>
              <a:gd name="connsiteX381" fmla="*/ 8612258 w 11027758"/>
              <a:gd name="connsiteY381" fmla="*/ 8540245 h 8647188"/>
              <a:gd name="connsiteX382" fmla="*/ 8288653 w 11027758"/>
              <a:gd name="connsiteY382" fmla="*/ 8647188 h 8647188"/>
              <a:gd name="connsiteX383" fmla="*/ 8298783 w 11027758"/>
              <a:gd name="connsiteY383" fmla="*/ 8600471 h 8647188"/>
              <a:gd name="connsiteX384" fmla="*/ 8138387 w 11027758"/>
              <a:gd name="connsiteY384" fmla="*/ 8633679 h 8647188"/>
              <a:gd name="connsiteX385" fmla="*/ 8485630 w 11027758"/>
              <a:gd name="connsiteY385" fmla="*/ 8427111 h 8647188"/>
              <a:gd name="connsiteX386" fmla="*/ 8518834 w 11027758"/>
              <a:gd name="connsiteY386" fmla="*/ 8413603 h 8647188"/>
              <a:gd name="connsiteX387" fmla="*/ 8518834 w 11027758"/>
              <a:gd name="connsiteY387" fmla="*/ 8413603 h 8647188"/>
              <a:gd name="connsiteX388" fmla="*/ 8485630 w 11027758"/>
              <a:gd name="connsiteY388" fmla="*/ 8427111 h 8647188"/>
              <a:gd name="connsiteX389" fmla="*/ 8278523 w 11027758"/>
              <a:gd name="connsiteY389" fmla="*/ 8483960 h 8647188"/>
              <a:gd name="connsiteX390" fmla="*/ 8368569 w 11027758"/>
              <a:gd name="connsiteY390" fmla="*/ 8427111 h 8647188"/>
              <a:gd name="connsiteX391" fmla="*/ 8278523 w 11027758"/>
              <a:gd name="connsiteY391" fmla="*/ 8436680 h 8647188"/>
              <a:gd name="connsiteX392" fmla="*/ 8044963 w 11027758"/>
              <a:gd name="connsiteY392" fmla="*/ 8483960 h 8647188"/>
              <a:gd name="connsiteX393" fmla="*/ 8148517 w 11027758"/>
              <a:gd name="connsiteY393" fmla="*/ 8427111 h 8647188"/>
              <a:gd name="connsiteX394" fmla="*/ 8082108 w 11027758"/>
              <a:gd name="connsiteY394" fmla="*/ 8413603 h 8647188"/>
              <a:gd name="connsiteX395" fmla="*/ 7561525 w 11027758"/>
              <a:gd name="connsiteY395" fmla="*/ 8553754 h 8647188"/>
              <a:gd name="connsiteX396" fmla="*/ 8335365 w 11027758"/>
              <a:gd name="connsiteY396" fmla="*/ 8173263 h 8647188"/>
              <a:gd name="connsiteX397" fmla="*/ 8392206 w 11027758"/>
              <a:gd name="connsiteY397" fmla="*/ 8150187 h 8647188"/>
              <a:gd name="connsiteX398" fmla="*/ 8428788 w 11027758"/>
              <a:gd name="connsiteY398" fmla="*/ 8136677 h 8647188"/>
              <a:gd name="connsiteX399" fmla="*/ 8428788 w 11027758"/>
              <a:gd name="connsiteY399" fmla="*/ 8136677 h 8647188"/>
              <a:gd name="connsiteX400" fmla="*/ 8392206 w 11027758"/>
              <a:gd name="connsiteY400" fmla="*/ 8150187 h 8647188"/>
              <a:gd name="connsiteX401" fmla="*/ 8335365 w 11027758"/>
              <a:gd name="connsiteY401" fmla="*/ 8173263 h 8647188"/>
              <a:gd name="connsiteX402" fmla="*/ 7688153 w 11027758"/>
              <a:gd name="connsiteY402" fmla="*/ 8366886 h 8647188"/>
              <a:gd name="connsiteX403" fmla="*/ 7688153 w 11027758"/>
              <a:gd name="connsiteY403" fmla="*/ 8366886 h 8647188"/>
              <a:gd name="connsiteX404" fmla="*/ 7585163 w 11027758"/>
              <a:gd name="connsiteY404" fmla="*/ 8403471 h 8647188"/>
              <a:gd name="connsiteX405" fmla="*/ 7491739 w 11027758"/>
              <a:gd name="connsiteY405" fmla="*/ 8413603 h 8647188"/>
              <a:gd name="connsiteX406" fmla="*/ 8011759 w 11027758"/>
              <a:gd name="connsiteY406" fmla="*/ 8193526 h 8647188"/>
              <a:gd name="connsiteX407" fmla="*/ 8011759 w 11027758"/>
              <a:gd name="connsiteY407" fmla="*/ 8193526 h 8647188"/>
              <a:gd name="connsiteX408" fmla="*/ 7514813 w 11027758"/>
              <a:gd name="connsiteY408" fmla="*/ 8356754 h 8647188"/>
              <a:gd name="connsiteX409" fmla="*/ 7838419 w 11027758"/>
              <a:gd name="connsiteY409" fmla="*/ 8216603 h 8647188"/>
              <a:gd name="connsiteX410" fmla="*/ 7871623 w 11027758"/>
              <a:gd name="connsiteY410" fmla="*/ 8207035 h 8647188"/>
              <a:gd name="connsiteX411" fmla="*/ 7871623 w 11027758"/>
              <a:gd name="connsiteY411" fmla="*/ 8207035 h 8647188"/>
              <a:gd name="connsiteX412" fmla="*/ 7838419 w 11027758"/>
              <a:gd name="connsiteY412" fmla="*/ 8216603 h 8647188"/>
              <a:gd name="connsiteX413" fmla="*/ 7585163 w 11027758"/>
              <a:gd name="connsiteY413" fmla="*/ 8286960 h 8647188"/>
              <a:gd name="connsiteX414" fmla="*/ 7642005 w 11027758"/>
              <a:gd name="connsiteY414" fmla="*/ 8253751 h 8647188"/>
              <a:gd name="connsiteX415" fmla="*/ 7608237 w 11027758"/>
              <a:gd name="connsiteY415" fmla="*/ 8216603 h 8647188"/>
              <a:gd name="connsiteX416" fmla="*/ 7608237 w 11027758"/>
              <a:gd name="connsiteY416" fmla="*/ 8216603 h 8647188"/>
              <a:gd name="connsiteX417" fmla="*/ 7111292 w 11027758"/>
              <a:gd name="connsiteY417" fmla="*/ 8380394 h 8647188"/>
              <a:gd name="connsiteX418" fmla="*/ 7341474 w 11027758"/>
              <a:gd name="connsiteY418" fmla="*/ 8276829 h 8647188"/>
              <a:gd name="connsiteX419" fmla="*/ 7594730 w 11027758"/>
              <a:gd name="connsiteY419" fmla="*/ 8183395 h 8647188"/>
              <a:gd name="connsiteX420" fmla="*/ 7308269 w 11027758"/>
              <a:gd name="connsiteY420" fmla="*/ 8216603 h 8647188"/>
              <a:gd name="connsiteX421" fmla="*/ 7561525 w 11027758"/>
              <a:gd name="connsiteY421" fmla="*/ 8089961 h 8647188"/>
              <a:gd name="connsiteX422" fmla="*/ 7561525 w 11027758"/>
              <a:gd name="connsiteY422" fmla="*/ 8089961 h 8647188"/>
              <a:gd name="connsiteX423" fmla="*/ 7027999 w 11027758"/>
              <a:gd name="connsiteY423" fmla="*/ 8276829 h 8647188"/>
              <a:gd name="connsiteX424" fmla="*/ 6854659 w 11027758"/>
              <a:gd name="connsiteY424" fmla="*/ 8310037 h 8647188"/>
              <a:gd name="connsiteX425" fmla="*/ 7224976 w 11027758"/>
              <a:gd name="connsiteY425" fmla="*/ 8150187 h 8647188"/>
              <a:gd name="connsiteX426" fmla="*/ 7294762 w 11027758"/>
              <a:gd name="connsiteY426" fmla="*/ 8126547 h 8647188"/>
              <a:gd name="connsiteX427" fmla="*/ 7214846 w 11027758"/>
              <a:gd name="connsiteY427" fmla="*/ 8126547 h 8647188"/>
              <a:gd name="connsiteX428" fmla="*/ 7271688 w 11027758"/>
              <a:gd name="connsiteY428" fmla="*/ 8089961 h 8647188"/>
              <a:gd name="connsiteX429" fmla="*/ 7261557 w 11027758"/>
              <a:gd name="connsiteY429" fmla="*/ 8066883 h 8647188"/>
              <a:gd name="connsiteX430" fmla="*/ 6544560 w 11027758"/>
              <a:gd name="connsiteY430" fmla="*/ 8276829 h 8647188"/>
              <a:gd name="connsiteX431" fmla="*/ 6704393 w 11027758"/>
              <a:gd name="connsiteY431" fmla="*/ 8173263 h 8647188"/>
              <a:gd name="connsiteX432" fmla="*/ 6717900 w 11027758"/>
              <a:gd name="connsiteY432" fmla="*/ 8150187 h 8647188"/>
              <a:gd name="connsiteX433" fmla="*/ 6834398 w 11027758"/>
              <a:gd name="connsiteY433" fmla="*/ 8089961 h 8647188"/>
              <a:gd name="connsiteX434" fmla="*/ 6637984 w 11027758"/>
              <a:gd name="connsiteY434" fmla="*/ 8126547 h 8647188"/>
              <a:gd name="connsiteX435" fmla="*/ 6764612 w 11027758"/>
              <a:gd name="connsiteY435" fmla="*/ 8079829 h 8647188"/>
              <a:gd name="connsiteX436" fmla="*/ 6701016 w 11027758"/>
              <a:gd name="connsiteY436" fmla="*/ 8077015 h 8647188"/>
              <a:gd name="connsiteX437" fmla="*/ 6688072 w 11027758"/>
              <a:gd name="connsiteY437" fmla="*/ 8033675 h 8647188"/>
              <a:gd name="connsiteX438" fmla="*/ 6774742 w 11027758"/>
              <a:gd name="connsiteY438" fmla="*/ 7999904 h 8647188"/>
              <a:gd name="connsiteX439" fmla="*/ 6728031 w 11027758"/>
              <a:gd name="connsiteY439" fmla="*/ 7986395 h 8647188"/>
              <a:gd name="connsiteX440" fmla="*/ 6774742 w 11027758"/>
              <a:gd name="connsiteY440" fmla="*/ 7976827 h 8647188"/>
              <a:gd name="connsiteX441" fmla="*/ 6711147 w 11027758"/>
              <a:gd name="connsiteY441" fmla="*/ 7946433 h 8647188"/>
              <a:gd name="connsiteX442" fmla="*/ 6741538 w 11027758"/>
              <a:gd name="connsiteY442" fmla="*/ 7953187 h 8647188"/>
              <a:gd name="connsiteX443" fmla="*/ 6711147 w 11027758"/>
              <a:gd name="connsiteY443" fmla="*/ 7946433 h 8647188"/>
              <a:gd name="connsiteX444" fmla="*/ 6371220 w 11027758"/>
              <a:gd name="connsiteY444" fmla="*/ 8043243 h 8647188"/>
              <a:gd name="connsiteX445" fmla="*/ 5434734 w 11027758"/>
              <a:gd name="connsiteY445" fmla="*/ 8343809 h 8647188"/>
              <a:gd name="connsiteX446" fmla="*/ 5644093 w 11027758"/>
              <a:gd name="connsiteY446" fmla="*/ 8263320 h 8647188"/>
              <a:gd name="connsiteX447" fmla="*/ 5471316 w 11027758"/>
              <a:gd name="connsiteY447" fmla="*/ 8310037 h 8647188"/>
              <a:gd name="connsiteX448" fmla="*/ 5274339 w 11027758"/>
              <a:gd name="connsiteY448" fmla="*/ 8356754 h 8647188"/>
              <a:gd name="connsiteX449" fmla="*/ 5434734 w 11027758"/>
              <a:gd name="connsiteY449" fmla="*/ 8286960 h 8647188"/>
              <a:gd name="connsiteX450" fmla="*/ 5447679 w 11027758"/>
              <a:gd name="connsiteY450" fmla="*/ 8253751 h 8647188"/>
              <a:gd name="connsiteX451" fmla="*/ 5517465 w 11027758"/>
              <a:gd name="connsiteY451" fmla="*/ 8253751 h 8647188"/>
              <a:gd name="connsiteX452" fmla="*/ 5501144 w 11027758"/>
              <a:gd name="connsiteY452" fmla="*/ 8236866 h 8647188"/>
              <a:gd name="connsiteX453" fmla="*/ 5667730 w 11027758"/>
              <a:gd name="connsiteY453" fmla="*/ 8160317 h 8647188"/>
              <a:gd name="connsiteX454" fmla="*/ 5677298 w 11027758"/>
              <a:gd name="connsiteY454" fmla="*/ 8136677 h 8647188"/>
              <a:gd name="connsiteX455" fmla="*/ 5770721 w 11027758"/>
              <a:gd name="connsiteY455" fmla="*/ 8103469 h 8647188"/>
              <a:gd name="connsiteX456" fmla="*/ 5760591 w 11027758"/>
              <a:gd name="connsiteY456" fmla="*/ 8073638 h 8647188"/>
              <a:gd name="connsiteX457" fmla="*/ 5817433 w 11027758"/>
              <a:gd name="connsiteY457" fmla="*/ 8056753 h 8647188"/>
              <a:gd name="connsiteX458" fmla="*/ 5809952 w 11027758"/>
              <a:gd name="connsiteY458" fmla="*/ 8036943 h 8647188"/>
              <a:gd name="connsiteX459" fmla="*/ 5778419 w 11027758"/>
              <a:gd name="connsiteY459" fmla="*/ 8020531 h 8647188"/>
              <a:gd name="connsiteX460" fmla="*/ 5780852 w 11027758"/>
              <a:gd name="connsiteY460" fmla="*/ 8020167 h 8647188"/>
              <a:gd name="connsiteX461" fmla="*/ 5775685 w 11027758"/>
              <a:gd name="connsiteY461" fmla="*/ 8019108 h 8647188"/>
              <a:gd name="connsiteX462" fmla="*/ 5774678 w 11027758"/>
              <a:gd name="connsiteY462" fmla="*/ 8018584 h 8647188"/>
              <a:gd name="connsiteX463" fmla="*/ 5723439 w 11027758"/>
              <a:gd name="connsiteY463" fmla="*/ 8008396 h 8647188"/>
              <a:gd name="connsiteX464" fmla="*/ 5775685 w 11027758"/>
              <a:gd name="connsiteY464" fmla="*/ 8019108 h 8647188"/>
              <a:gd name="connsiteX465" fmla="*/ 5778419 w 11027758"/>
              <a:gd name="connsiteY465" fmla="*/ 8020531 h 8647188"/>
              <a:gd name="connsiteX466" fmla="*/ 5766747 w 11027758"/>
              <a:gd name="connsiteY466" fmla="*/ 8022278 h 8647188"/>
              <a:gd name="connsiteX467" fmla="*/ 5724010 w 11027758"/>
              <a:gd name="connsiteY467" fmla="*/ 8033675 h 8647188"/>
              <a:gd name="connsiteX468" fmla="*/ 5124636 w 11027758"/>
              <a:gd name="connsiteY468" fmla="*/ 8193526 h 8647188"/>
              <a:gd name="connsiteX469" fmla="*/ 5134203 w 11027758"/>
              <a:gd name="connsiteY469" fmla="*/ 8136677 h 8647188"/>
              <a:gd name="connsiteX470" fmla="*/ 5031213 w 11027758"/>
              <a:gd name="connsiteY470" fmla="*/ 8136677 h 8647188"/>
              <a:gd name="connsiteX471" fmla="*/ 4604053 w 11027758"/>
              <a:gd name="connsiteY471" fmla="*/ 8253751 h 8647188"/>
              <a:gd name="connsiteX472" fmla="*/ 4737435 w 11027758"/>
              <a:gd name="connsiteY472" fmla="*/ 8180017 h 8647188"/>
              <a:gd name="connsiteX473" fmla="*/ 4834235 w 11027758"/>
              <a:gd name="connsiteY473" fmla="*/ 8150187 h 8647188"/>
              <a:gd name="connsiteX474" fmla="*/ 4840989 w 11027758"/>
              <a:gd name="connsiteY474" fmla="*/ 8126547 h 8647188"/>
              <a:gd name="connsiteX475" fmla="*/ 4847742 w 11027758"/>
              <a:gd name="connsiteY475" fmla="*/ 8126547 h 8647188"/>
              <a:gd name="connsiteX476" fmla="*/ 4697477 w 11027758"/>
              <a:gd name="connsiteY476" fmla="*/ 8126547 h 8647188"/>
              <a:gd name="connsiteX477" fmla="*/ 3276990 w 11027758"/>
              <a:gd name="connsiteY477" fmla="*/ 8240243 h 8647188"/>
              <a:gd name="connsiteX478" fmla="*/ 2939878 w 11027758"/>
              <a:gd name="connsiteY478" fmla="*/ 8263320 h 8647188"/>
              <a:gd name="connsiteX479" fmla="*/ 1946550 w 11027758"/>
              <a:gd name="connsiteY479" fmla="*/ 8436680 h 8647188"/>
              <a:gd name="connsiteX480" fmla="*/ 2132834 w 11027758"/>
              <a:gd name="connsiteY480" fmla="*/ 8366886 h 8647188"/>
              <a:gd name="connsiteX481" fmla="*/ 2109759 w 11027758"/>
              <a:gd name="connsiteY481" fmla="*/ 8343809 h 8647188"/>
              <a:gd name="connsiteX482" fmla="*/ 2203183 w 11027758"/>
              <a:gd name="connsiteY482" fmla="*/ 8323545 h 8647188"/>
              <a:gd name="connsiteX483" fmla="*/ 2006205 w 11027758"/>
              <a:gd name="connsiteY483" fmla="*/ 8310037 h 8647188"/>
              <a:gd name="connsiteX484" fmla="*/ 1566102 w 11027758"/>
              <a:gd name="connsiteY484" fmla="*/ 8323545 h 8647188"/>
              <a:gd name="connsiteX485" fmla="*/ 1256004 w 11027758"/>
              <a:gd name="connsiteY485" fmla="*/ 8380394 h 8647188"/>
              <a:gd name="connsiteX486" fmla="*/ 1022445 w 11027758"/>
              <a:gd name="connsiteY486" fmla="*/ 8403471 h 8647188"/>
              <a:gd name="connsiteX487" fmla="*/ 989240 w 11027758"/>
              <a:gd name="connsiteY487" fmla="*/ 8390526 h 8647188"/>
              <a:gd name="connsiteX488" fmla="*/ 398871 w 11027758"/>
              <a:gd name="connsiteY488" fmla="*/ 8540245 h 8647188"/>
              <a:gd name="connsiteX489" fmla="*/ 305448 w 11027758"/>
              <a:gd name="connsiteY489" fmla="*/ 8530114 h 8647188"/>
              <a:gd name="connsiteX490" fmla="*/ 539007 w 11027758"/>
              <a:gd name="connsiteY490" fmla="*/ 8496905 h 8647188"/>
              <a:gd name="connsiteX491" fmla="*/ 398871 w 11027758"/>
              <a:gd name="connsiteY491" fmla="*/ 8450188 h 8647188"/>
              <a:gd name="connsiteX492" fmla="*/ 285750 w 11027758"/>
              <a:gd name="connsiteY492" fmla="*/ 8450188 h 8647188"/>
              <a:gd name="connsiteX493" fmla="*/ 342029 w 11027758"/>
              <a:gd name="connsiteY493" fmla="*/ 8403471 h 8647188"/>
              <a:gd name="connsiteX494" fmla="*/ 318955 w 11027758"/>
              <a:gd name="connsiteY494" fmla="*/ 8390526 h 8647188"/>
              <a:gd name="connsiteX495" fmla="*/ 285750 w 11027758"/>
              <a:gd name="connsiteY495" fmla="*/ 8380394 h 8647188"/>
              <a:gd name="connsiteX496" fmla="*/ 248606 w 11027758"/>
              <a:gd name="connsiteY496" fmla="*/ 8323545 h 8647188"/>
              <a:gd name="connsiteX497" fmla="*/ 195704 w 11027758"/>
              <a:gd name="connsiteY497" fmla="*/ 8273451 h 8647188"/>
              <a:gd name="connsiteX498" fmla="*/ 248606 w 11027758"/>
              <a:gd name="connsiteY498" fmla="*/ 8207035 h 8647188"/>
              <a:gd name="connsiteX499" fmla="*/ 155182 w 11027758"/>
              <a:gd name="connsiteY499" fmla="*/ 8193526 h 8647188"/>
              <a:gd name="connsiteX500" fmla="*/ 42061 w 11027758"/>
              <a:gd name="connsiteY500" fmla="*/ 8160317 h 8647188"/>
              <a:gd name="connsiteX501" fmla="*/ 225531 w 11027758"/>
              <a:gd name="connsiteY501" fmla="*/ 8173263 h 8647188"/>
              <a:gd name="connsiteX502" fmla="*/ 42061 w 11027758"/>
              <a:gd name="connsiteY502" fmla="*/ 8089961 h 8647188"/>
              <a:gd name="connsiteX503" fmla="*/ 98903 w 11027758"/>
              <a:gd name="connsiteY503" fmla="*/ 8033675 h 8647188"/>
              <a:gd name="connsiteX504" fmla="*/ 52192 w 11027758"/>
              <a:gd name="connsiteY504" fmla="*/ 7986395 h 8647188"/>
              <a:gd name="connsiteX505" fmla="*/ 5480 w 11027758"/>
              <a:gd name="connsiteY505" fmla="*/ 7756751 h 8647188"/>
              <a:gd name="connsiteX506" fmla="*/ 65698 w 11027758"/>
              <a:gd name="connsiteY506" fmla="*/ 7676262 h 8647188"/>
              <a:gd name="connsiteX507" fmla="*/ 88773 w 11027758"/>
              <a:gd name="connsiteY507" fmla="*/ 7653185 h 8647188"/>
              <a:gd name="connsiteX508" fmla="*/ 88773 w 11027758"/>
              <a:gd name="connsiteY508" fmla="*/ 7583391 h 8647188"/>
              <a:gd name="connsiteX509" fmla="*/ 121978 w 11027758"/>
              <a:gd name="connsiteY509" fmla="*/ 7546243 h 8647188"/>
              <a:gd name="connsiteX510" fmla="*/ 75266 w 11027758"/>
              <a:gd name="connsiteY510" fmla="*/ 7513034 h 8647188"/>
              <a:gd name="connsiteX511" fmla="*/ 192327 w 11027758"/>
              <a:gd name="connsiteY511" fmla="*/ 7513034 h 8647188"/>
              <a:gd name="connsiteX512" fmla="*/ 285750 w 11027758"/>
              <a:gd name="connsiteY512" fmla="*/ 7513034 h 8647188"/>
              <a:gd name="connsiteX513" fmla="*/ 305448 w 11027758"/>
              <a:gd name="connsiteY513" fmla="*/ 7466317 h 8647188"/>
              <a:gd name="connsiteX514" fmla="*/ 412378 w 11027758"/>
              <a:gd name="connsiteY514" fmla="*/ 7443240 h 8647188"/>
              <a:gd name="connsiteX515" fmla="*/ 435453 w 11027758"/>
              <a:gd name="connsiteY515" fmla="*/ 7386391 h 8647188"/>
              <a:gd name="connsiteX516" fmla="*/ 492295 w 11027758"/>
              <a:gd name="connsiteY516" fmla="*/ 7396523 h 8647188"/>
              <a:gd name="connsiteX517" fmla="*/ 459090 w 11027758"/>
              <a:gd name="connsiteY517" fmla="*/ 7329543 h 8647188"/>
              <a:gd name="connsiteX518" fmla="*/ 492295 w 11027758"/>
              <a:gd name="connsiteY518" fmla="*/ 7292957 h 8647188"/>
              <a:gd name="connsiteX519" fmla="*/ 492295 w 11027758"/>
              <a:gd name="connsiteY519" fmla="*/ 7225977 h 8647188"/>
              <a:gd name="connsiteX520" fmla="*/ 502425 w 11027758"/>
              <a:gd name="connsiteY520" fmla="*/ 7259749 h 8647188"/>
              <a:gd name="connsiteX521" fmla="*/ 515369 w 11027758"/>
              <a:gd name="connsiteY521" fmla="*/ 7202901 h 8647188"/>
              <a:gd name="connsiteX522" fmla="*/ 525500 w 11027758"/>
              <a:gd name="connsiteY522" fmla="*/ 7179823 h 8647188"/>
              <a:gd name="connsiteX523" fmla="*/ 478788 w 11027758"/>
              <a:gd name="connsiteY523" fmla="*/ 7109467 h 8647188"/>
              <a:gd name="connsiteX524" fmla="*/ 502425 w 11027758"/>
              <a:gd name="connsiteY524" fmla="*/ 7086389 h 8647188"/>
              <a:gd name="connsiteX525" fmla="*/ 478788 w 11027758"/>
              <a:gd name="connsiteY525" fmla="*/ 7029541 h 8647188"/>
              <a:gd name="connsiteX526" fmla="*/ 562081 w 11027758"/>
              <a:gd name="connsiteY526" fmla="*/ 6992955 h 8647188"/>
              <a:gd name="connsiteX527" fmla="*/ 575588 w 11027758"/>
              <a:gd name="connsiteY527" fmla="*/ 6986201 h 8647188"/>
              <a:gd name="connsiteX528" fmla="*/ 575588 w 11027758"/>
              <a:gd name="connsiteY528" fmla="*/ 6986201 h 8647188"/>
              <a:gd name="connsiteX529" fmla="*/ 595849 w 11027758"/>
              <a:gd name="connsiteY529" fmla="*/ 6946239 h 8647188"/>
              <a:gd name="connsiteX530" fmla="*/ 539007 w 11027758"/>
              <a:gd name="connsiteY530" fmla="*/ 6922599 h 8647188"/>
              <a:gd name="connsiteX531" fmla="*/ 562081 w 11027758"/>
              <a:gd name="connsiteY531" fmla="*/ 6819596 h 8647188"/>
              <a:gd name="connsiteX532" fmla="*/ 515369 w 11027758"/>
              <a:gd name="connsiteY532" fmla="*/ 6809465 h 8647188"/>
              <a:gd name="connsiteX533" fmla="*/ 722477 w 11027758"/>
              <a:gd name="connsiteY533" fmla="*/ 6579257 h 8647188"/>
              <a:gd name="connsiteX534" fmla="*/ 759058 w 11027758"/>
              <a:gd name="connsiteY534" fmla="*/ 6509463 h 8647188"/>
              <a:gd name="connsiteX535" fmla="*/ 712347 w 11027758"/>
              <a:gd name="connsiteY535" fmla="*/ 6468937 h 8647188"/>
              <a:gd name="connsiteX536" fmla="*/ 722477 w 11027758"/>
              <a:gd name="connsiteY536" fmla="*/ 6405897 h 8647188"/>
              <a:gd name="connsiteX537" fmla="*/ 642560 w 11027758"/>
              <a:gd name="connsiteY537" fmla="*/ 6416029 h 8647188"/>
              <a:gd name="connsiteX538" fmla="*/ 698839 w 11027758"/>
              <a:gd name="connsiteY538" fmla="*/ 6345671 h 8647188"/>
              <a:gd name="connsiteX539" fmla="*/ 652690 w 11027758"/>
              <a:gd name="connsiteY539" fmla="*/ 6345671 h 8647188"/>
              <a:gd name="connsiteX540" fmla="*/ 759058 w 11027758"/>
              <a:gd name="connsiteY540" fmla="*/ 6208898 h 8647188"/>
              <a:gd name="connsiteX541" fmla="*/ 759058 w 11027758"/>
              <a:gd name="connsiteY541" fmla="*/ 6208898 h 8647188"/>
              <a:gd name="connsiteX542" fmla="*/ 722477 w 11027758"/>
              <a:gd name="connsiteY542" fmla="*/ 6195952 h 8647188"/>
              <a:gd name="connsiteX543" fmla="*/ 919454 w 11027758"/>
              <a:gd name="connsiteY543" fmla="*/ 5965745 h 8647188"/>
              <a:gd name="connsiteX544" fmla="*/ 989240 w 11027758"/>
              <a:gd name="connsiteY544" fmla="*/ 5848671 h 8647188"/>
              <a:gd name="connsiteX545" fmla="*/ 1162580 w 11027758"/>
              <a:gd name="connsiteY545" fmla="*/ 5711897 h 8647188"/>
              <a:gd name="connsiteX546" fmla="*/ 1125999 w 11027758"/>
              <a:gd name="connsiteY546" fmla="*/ 5792385 h 8647188"/>
              <a:gd name="connsiteX547" fmla="*/ 1335920 w 11027758"/>
              <a:gd name="connsiteY547" fmla="*/ 5665180 h 8647188"/>
              <a:gd name="connsiteX548" fmla="*/ 1346050 w 11027758"/>
              <a:gd name="connsiteY548" fmla="*/ 5698951 h 8647188"/>
              <a:gd name="connsiteX549" fmla="*/ 2006205 w 11027758"/>
              <a:gd name="connsiteY549" fmla="*/ 5398386 h 8647188"/>
              <a:gd name="connsiteX550" fmla="*/ 2536356 w 11027758"/>
              <a:gd name="connsiteY550" fmla="*/ 5168178 h 8647188"/>
              <a:gd name="connsiteX551" fmla="*/ 2733333 w 11027758"/>
              <a:gd name="connsiteY551" fmla="*/ 5111893 h 8647188"/>
              <a:gd name="connsiteX552" fmla="*/ 2686621 w 11027758"/>
              <a:gd name="connsiteY552" fmla="*/ 5098384 h 8647188"/>
              <a:gd name="connsiteX553" fmla="*/ 3043431 w 11027758"/>
              <a:gd name="connsiteY553" fmla="*/ 4938533 h 8647188"/>
              <a:gd name="connsiteX554" fmla="*/ 2939878 w 11027758"/>
              <a:gd name="connsiteY554" fmla="*/ 4948102 h 8647188"/>
              <a:gd name="connsiteX555" fmla="*/ 3103650 w 11027758"/>
              <a:gd name="connsiteY555" fmla="*/ 4891816 h 8647188"/>
              <a:gd name="connsiteX556" fmla="*/ 2963515 w 11027758"/>
              <a:gd name="connsiteY556" fmla="*/ 4901385 h 8647188"/>
              <a:gd name="connsiteX557" fmla="*/ 3300064 w 11027758"/>
              <a:gd name="connsiteY557" fmla="*/ 4765174 h 8647188"/>
              <a:gd name="connsiteX558" fmla="*/ 3656874 w 11027758"/>
              <a:gd name="connsiteY558" fmla="*/ 4591252 h 8647188"/>
              <a:gd name="connsiteX559" fmla="*/ 5747647 w 11027758"/>
              <a:gd name="connsiteY559" fmla="*/ 3758225 h 8647188"/>
              <a:gd name="connsiteX560" fmla="*/ 5944061 w 11027758"/>
              <a:gd name="connsiteY560" fmla="*/ 3678300 h 8647188"/>
              <a:gd name="connsiteX561" fmla="*/ 5747647 w 11027758"/>
              <a:gd name="connsiteY561" fmla="*/ 3735148 h 8647188"/>
              <a:gd name="connsiteX562" fmla="*/ 5134203 w 11027758"/>
              <a:gd name="connsiteY562" fmla="*/ 3968171 h 8647188"/>
              <a:gd name="connsiteX563" fmla="*/ 4637258 w 11027758"/>
              <a:gd name="connsiteY563" fmla="*/ 4175301 h 8647188"/>
              <a:gd name="connsiteX564" fmla="*/ 4547774 w 11027758"/>
              <a:gd name="connsiteY564" fmla="*/ 4188247 h 8647188"/>
              <a:gd name="connsiteX565" fmla="*/ 4177457 w 11027758"/>
              <a:gd name="connsiteY565" fmla="*/ 4324458 h 8647188"/>
              <a:gd name="connsiteX566" fmla="*/ 3783503 w 11027758"/>
              <a:gd name="connsiteY566" fmla="*/ 4474741 h 8647188"/>
              <a:gd name="connsiteX567" fmla="*/ 3067069 w 11027758"/>
              <a:gd name="connsiteY567" fmla="*/ 4704948 h 8647188"/>
              <a:gd name="connsiteX568" fmla="*/ 3056938 w 11027758"/>
              <a:gd name="connsiteY568" fmla="*/ 4681308 h 8647188"/>
              <a:gd name="connsiteX569" fmla="*/ 3840344 w 11027758"/>
              <a:gd name="connsiteY569" fmla="*/ 4394816 h 8647188"/>
              <a:gd name="connsiteX570" fmla="*/ 3933768 w 11027758"/>
              <a:gd name="connsiteY570" fmla="*/ 4358230 h 8647188"/>
              <a:gd name="connsiteX571" fmla="*/ 3933768 w 11027758"/>
              <a:gd name="connsiteY571" fmla="*/ 4358230 h 8647188"/>
              <a:gd name="connsiteX572" fmla="*/ 3840344 w 11027758"/>
              <a:gd name="connsiteY572" fmla="*/ 4394816 h 8647188"/>
              <a:gd name="connsiteX573" fmla="*/ 3680512 w 11027758"/>
              <a:gd name="connsiteY573" fmla="*/ 4404946 h 8647188"/>
              <a:gd name="connsiteX574" fmla="*/ 3797010 w 11027758"/>
              <a:gd name="connsiteY574" fmla="*/ 4324458 h 8647188"/>
              <a:gd name="connsiteX575" fmla="*/ 3516739 w 11027758"/>
              <a:gd name="connsiteY575" fmla="*/ 4417892 h 8647188"/>
              <a:gd name="connsiteX576" fmla="*/ 3230278 w 11027758"/>
              <a:gd name="connsiteY576" fmla="*/ 4488249 h 8647188"/>
              <a:gd name="connsiteX577" fmla="*/ 2963515 w 11027758"/>
              <a:gd name="connsiteY577" fmla="*/ 4568175 h 8647188"/>
              <a:gd name="connsiteX578" fmla="*/ 3113780 w 11027758"/>
              <a:gd name="connsiteY578" fmla="*/ 4507949 h 8647188"/>
              <a:gd name="connsiteX579" fmla="*/ 3263483 w 11027758"/>
              <a:gd name="connsiteY579" fmla="*/ 4441532 h 8647188"/>
              <a:gd name="connsiteX580" fmla="*/ 3263483 w 11027758"/>
              <a:gd name="connsiteY580" fmla="*/ 4428024 h 8647188"/>
              <a:gd name="connsiteX581" fmla="*/ 4824105 w 11027758"/>
              <a:gd name="connsiteY581" fmla="*/ 3818452 h 8647188"/>
              <a:gd name="connsiteX582" fmla="*/ 5134203 w 11027758"/>
              <a:gd name="connsiteY582" fmla="*/ 3691246 h 8647188"/>
              <a:gd name="connsiteX583" fmla="*/ 5054287 w 11027758"/>
              <a:gd name="connsiteY583" fmla="*/ 3701378 h 8647188"/>
              <a:gd name="connsiteX584" fmla="*/ 3473404 w 11027758"/>
              <a:gd name="connsiteY584" fmla="*/ 4255227 h 8647188"/>
              <a:gd name="connsiteX585" fmla="*/ 4660895 w 11027758"/>
              <a:gd name="connsiteY585" fmla="*/ 3771734 h 8647188"/>
              <a:gd name="connsiteX586" fmla="*/ 4847742 w 11027758"/>
              <a:gd name="connsiteY586" fmla="*/ 3701378 h 8647188"/>
              <a:gd name="connsiteX587" fmla="*/ 4824105 w 11027758"/>
              <a:gd name="connsiteY587" fmla="*/ 3678300 h 8647188"/>
              <a:gd name="connsiteX588" fmla="*/ 4754319 w 11027758"/>
              <a:gd name="connsiteY588" fmla="*/ 3711508 h 8647188"/>
              <a:gd name="connsiteX589" fmla="*/ 4304085 w 11027758"/>
              <a:gd name="connsiteY589" fmla="*/ 3884868 h 8647188"/>
              <a:gd name="connsiteX590" fmla="*/ 4200532 w 11027758"/>
              <a:gd name="connsiteY590" fmla="*/ 3898376 h 8647188"/>
              <a:gd name="connsiteX591" fmla="*/ 4224169 w 11027758"/>
              <a:gd name="connsiteY591" fmla="*/ 3865168 h 8647188"/>
              <a:gd name="connsiteX592" fmla="*/ 4130745 w 11027758"/>
              <a:gd name="connsiteY592" fmla="*/ 3908508 h 8647188"/>
              <a:gd name="connsiteX593" fmla="*/ 3876926 w 11027758"/>
              <a:gd name="connsiteY593" fmla="*/ 3991811 h 8647188"/>
              <a:gd name="connsiteX594" fmla="*/ 3970349 w 11027758"/>
              <a:gd name="connsiteY594" fmla="*/ 3921454 h 8647188"/>
              <a:gd name="connsiteX595" fmla="*/ 4200532 w 11027758"/>
              <a:gd name="connsiteY595" fmla="*/ 3818452 h 8647188"/>
              <a:gd name="connsiteX596" fmla="*/ 4281011 w 11027758"/>
              <a:gd name="connsiteY596" fmla="*/ 3758225 h 8647188"/>
              <a:gd name="connsiteX597" fmla="*/ 4140875 w 11027758"/>
              <a:gd name="connsiteY597" fmla="*/ 3818452 h 8647188"/>
              <a:gd name="connsiteX598" fmla="*/ 3970349 w 11027758"/>
              <a:gd name="connsiteY598" fmla="*/ 3841528 h 8647188"/>
              <a:gd name="connsiteX599" fmla="*/ 4304085 w 11027758"/>
              <a:gd name="connsiteY599" fmla="*/ 3701378 h 8647188"/>
              <a:gd name="connsiteX600" fmla="*/ 4177457 w 11027758"/>
              <a:gd name="connsiteY600" fmla="*/ 3645092 h 8647188"/>
              <a:gd name="connsiteX601" fmla="*/ 4177457 w 11027758"/>
              <a:gd name="connsiteY601" fmla="*/ 3645092 h 8647188"/>
              <a:gd name="connsiteX602" fmla="*/ 4140875 w 11027758"/>
              <a:gd name="connsiteY602" fmla="*/ 3645092 h 8647188"/>
              <a:gd name="connsiteX603" fmla="*/ 4123992 w 11027758"/>
              <a:gd name="connsiteY603" fmla="*/ 3641714 h 8647188"/>
              <a:gd name="connsiteX604" fmla="*/ 2503151 w 11027758"/>
              <a:gd name="connsiteY604" fmla="*/ 3561226 h 8647188"/>
              <a:gd name="connsiteX605" fmla="*/ 1669656 w 11027758"/>
              <a:gd name="connsiteY605" fmla="*/ 3471169 h 8647188"/>
              <a:gd name="connsiteX606" fmla="*/ 1275701 w 11027758"/>
              <a:gd name="connsiteY606" fmla="*/ 3391244 h 8647188"/>
              <a:gd name="connsiteX607" fmla="*/ 919454 w 11027758"/>
              <a:gd name="connsiteY607" fmla="*/ 3274733 h 8647188"/>
              <a:gd name="connsiteX608" fmla="*/ 735984 w 11027758"/>
              <a:gd name="connsiteY608" fmla="*/ 3134582 h 8647188"/>
              <a:gd name="connsiteX609" fmla="*/ 675765 w 11027758"/>
              <a:gd name="connsiteY609" fmla="*/ 3007940 h 8647188"/>
              <a:gd name="connsiteX610" fmla="*/ 712347 w 11027758"/>
              <a:gd name="connsiteY610" fmla="*/ 2974731 h 8647188"/>
              <a:gd name="connsiteX611" fmla="*/ 689272 w 11027758"/>
              <a:gd name="connsiteY611" fmla="*/ 2810940 h 8647188"/>
              <a:gd name="connsiteX612" fmla="*/ 689272 w 11027758"/>
              <a:gd name="connsiteY612" fmla="*/ 2810940 h 8647188"/>
              <a:gd name="connsiteX613" fmla="*/ 712347 w 11027758"/>
              <a:gd name="connsiteY613" fmla="*/ 2777731 h 8647188"/>
              <a:gd name="connsiteX614" fmla="*/ 759058 w 11027758"/>
              <a:gd name="connsiteY614" fmla="*/ 2697807 h 8647188"/>
              <a:gd name="connsiteX615" fmla="*/ 712347 w 11027758"/>
              <a:gd name="connsiteY615" fmla="*/ 2637580 h 8647188"/>
              <a:gd name="connsiteX616" fmla="*/ 759058 w 11027758"/>
              <a:gd name="connsiteY616" fmla="*/ 2580733 h 8647188"/>
              <a:gd name="connsiteX617" fmla="*/ 665635 w 11027758"/>
              <a:gd name="connsiteY617" fmla="*/ 2477729 h 8647188"/>
              <a:gd name="connsiteX618" fmla="*/ 689272 w 11027758"/>
              <a:gd name="connsiteY618" fmla="*/ 2454089 h 8647188"/>
              <a:gd name="connsiteX619" fmla="*/ 652690 w 11027758"/>
              <a:gd name="connsiteY619" fmla="*/ 2384295 h 8647188"/>
              <a:gd name="connsiteX620" fmla="*/ 745551 w 11027758"/>
              <a:gd name="connsiteY620" fmla="*/ 2420882 h 8647188"/>
              <a:gd name="connsiteX621" fmla="*/ 769189 w 11027758"/>
              <a:gd name="connsiteY621" fmla="*/ 2337579 h 8647188"/>
              <a:gd name="connsiteX622" fmla="*/ 815900 w 11027758"/>
              <a:gd name="connsiteY622" fmla="*/ 2337579 h 8647188"/>
              <a:gd name="connsiteX623" fmla="*/ 759058 w 11027758"/>
              <a:gd name="connsiteY623" fmla="*/ 2234014 h 8647188"/>
              <a:gd name="connsiteX624" fmla="*/ 802393 w 11027758"/>
              <a:gd name="connsiteY624" fmla="*/ 2234014 h 8647188"/>
              <a:gd name="connsiteX625" fmla="*/ 826031 w 11027758"/>
              <a:gd name="connsiteY625" fmla="*/ 2140579 h 8647188"/>
              <a:gd name="connsiteX626" fmla="*/ 826031 w 11027758"/>
              <a:gd name="connsiteY626" fmla="*/ 2037014 h 8647188"/>
              <a:gd name="connsiteX627" fmla="*/ 895817 w 11027758"/>
              <a:gd name="connsiteY627" fmla="*/ 1900240 h 8647188"/>
              <a:gd name="connsiteX628" fmla="*/ 909324 w 11027758"/>
              <a:gd name="connsiteY628" fmla="*/ 1680163 h 8647188"/>
              <a:gd name="connsiteX629" fmla="*/ 989240 w 11027758"/>
              <a:gd name="connsiteY629" fmla="*/ 1493858 h 8647188"/>
              <a:gd name="connsiteX630" fmla="*/ 989240 w 11027758"/>
              <a:gd name="connsiteY630" fmla="*/ 1183162 h 8647188"/>
              <a:gd name="connsiteX631" fmla="*/ 1069157 w 11027758"/>
              <a:gd name="connsiteY631" fmla="*/ 1080159 h 8647188"/>
              <a:gd name="connsiteX632" fmla="*/ 1059026 w 11027758"/>
              <a:gd name="connsiteY632" fmla="*/ 1033442 h 8647188"/>
              <a:gd name="connsiteX633" fmla="*/ 1149073 w 11027758"/>
              <a:gd name="connsiteY633" fmla="*/ 756518 h 8647188"/>
              <a:gd name="connsiteX634" fmla="*/ 1139506 w 11027758"/>
              <a:gd name="connsiteY634" fmla="*/ 583158 h 8647188"/>
              <a:gd name="connsiteX635" fmla="*/ 1186217 w 11027758"/>
              <a:gd name="connsiteY635" fmla="*/ 466647 h 8647188"/>
              <a:gd name="connsiteX636" fmla="*/ 1162580 w 11027758"/>
              <a:gd name="connsiteY636" fmla="*/ 432876 h 8647188"/>
              <a:gd name="connsiteX637" fmla="*/ 1195785 w 11027758"/>
              <a:gd name="connsiteY637" fmla="*/ 292725 h 8647188"/>
              <a:gd name="connsiteX638" fmla="*/ 1186217 w 11027758"/>
              <a:gd name="connsiteY638" fmla="*/ 222930 h 8647188"/>
              <a:gd name="connsiteX639" fmla="*/ 1303527 w 11027758"/>
              <a:gd name="connsiteY639" fmla="*/ 768 h 8647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Lst>
            <a:rect l="l" t="t" r="r" b="b"/>
            <a:pathLst>
              <a:path w="11027758" h="8647188">
                <a:moveTo>
                  <a:pt x="9288400" y="393311"/>
                </a:moveTo>
                <a:lnTo>
                  <a:pt x="9289506" y="393531"/>
                </a:lnTo>
                <a:lnTo>
                  <a:pt x="9282543" y="396290"/>
                </a:lnTo>
                <a:cubicBezTo>
                  <a:pt x="9282965" y="394179"/>
                  <a:pt x="9285049" y="393274"/>
                  <a:pt x="9288400" y="393311"/>
                </a:cubicBezTo>
                <a:close/>
                <a:moveTo>
                  <a:pt x="9480234" y="181914"/>
                </a:moveTo>
                <a:lnTo>
                  <a:pt x="9484078" y="182054"/>
                </a:lnTo>
                <a:lnTo>
                  <a:pt x="9466013" y="189722"/>
                </a:lnTo>
                <a:cubicBezTo>
                  <a:pt x="9470586" y="185501"/>
                  <a:pt x="9475370" y="183012"/>
                  <a:pt x="9480234" y="181914"/>
                </a:cubicBezTo>
                <a:close/>
                <a:moveTo>
                  <a:pt x="1303527" y="768"/>
                </a:moveTo>
                <a:cubicBezTo>
                  <a:pt x="1310498" y="-1121"/>
                  <a:pt x="1317067" y="392"/>
                  <a:pt x="1322976" y="6231"/>
                </a:cubicBezTo>
                <a:cubicBezTo>
                  <a:pt x="1335920" y="16363"/>
                  <a:pt x="1282455" y="69271"/>
                  <a:pt x="1275701" y="86157"/>
                </a:cubicBezTo>
                <a:cubicBezTo>
                  <a:pt x="1262757" y="122742"/>
                  <a:pt x="1262757" y="206045"/>
                  <a:pt x="1266134" y="212799"/>
                </a:cubicBezTo>
                <a:cubicBezTo>
                  <a:pt x="1279641" y="233062"/>
                  <a:pt x="1289208" y="193099"/>
                  <a:pt x="1289208" y="179591"/>
                </a:cubicBezTo>
                <a:cubicBezTo>
                  <a:pt x="1302715" y="186345"/>
                  <a:pt x="1375878" y="186345"/>
                  <a:pt x="1359557" y="179591"/>
                </a:cubicBezTo>
                <a:cubicBezTo>
                  <a:pt x="1389385" y="195914"/>
                  <a:pt x="1366311" y="176214"/>
                  <a:pt x="1369125" y="202668"/>
                </a:cubicBezTo>
                <a:cubicBezTo>
                  <a:pt x="1392762" y="329310"/>
                  <a:pt x="1432720" y="149760"/>
                  <a:pt x="1439474" y="155951"/>
                </a:cubicBezTo>
                <a:cubicBezTo>
                  <a:pt x="1452981" y="166082"/>
                  <a:pt x="1442851" y="219554"/>
                  <a:pt x="1439474" y="236439"/>
                </a:cubicBezTo>
                <a:cubicBezTo>
                  <a:pt x="1415837" y="349573"/>
                  <a:pt x="1409083" y="349573"/>
                  <a:pt x="1486186" y="396290"/>
                </a:cubicBezTo>
                <a:cubicBezTo>
                  <a:pt x="1522767" y="419930"/>
                  <a:pt x="1566102" y="422744"/>
                  <a:pt x="1622944" y="443007"/>
                </a:cubicBezTo>
                <a:cubicBezTo>
                  <a:pt x="1673033" y="459893"/>
                  <a:pt x="1779400" y="519555"/>
                  <a:pt x="1646019" y="503233"/>
                </a:cubicBezTo>
                <a:cubicBezTo>
                  <a:pt x="1546404" y="489724"/>
                  <a:pt x="1346050" y="396290"/>
                  <a:pt x="1369125" y="456516"/>
                </a:cubicBezTo>
                <a:cubicBezTo>
                  <a:pt x="1389385" y="506610"/>
                  <a:pt x="1419213" y="436253"/>
                  <a:pt x="1425967" y="456516"/>
                </a:cubicBezTo>
                <a:cubicBezTo>
                  <a:pt x="1446227" y="493101"/>
                  <a:pt x="1399516" y="503233"/>
                  <a:pt x="1406269" y="536441"/>
                </a:cubicBezTo>
                <a:cubicBezTo>
                  <a:pt x="1409083" y="566273"/>
                  <a:pt x="1465925" y="566273"/>
                  <a:pt x="1462548" y="593290"/>
                </a:cubicBezTo>
                <a:cubicBezTo>
                  <a:pt x="1459172" y="619744"/>
                  <a:pt x="1429344" y="593290"/>
                  <a:pt x="1415837" y="606235"/>
                </a:cubicBezTo>
                <a:cubicBezTo>
                  <a:pt x="1429344" y="596667"/>
                  <a:pt x="1392762" y="669838"/>
                  <a:pt x="1392762" y="676592"/>
                </a:cubicBezTo>
                <a:cubicBezTo>
                  <a:pt x="1402892" y="730063"/>
                  <a:pt x="1452981" y="696292"/>
                  <a:pt x="1472679" y="719932"/>
                </a:cubicBezTo>
                <a:cubicBezTo>
                  <a:pt x="1472679" y="719932"/>
                  <a:pt x="1446227" y="763272"/>
                  <a:pt x="1449604" y="766649"/>
                </a:cubicBezTo>
                <a:cubicBezTo>
                  <a:pt x="1482809" y="786349"/>
                  <a:pt x="1502507" y="756518"/>
                  <a:pt x="1566102" y="779595"/>
                </a:cubicBezTo>
                <a:cubicBezTo>
                  <a:pt x="1569479" y="779595"/>
                  <a:pt x="1539651" y="809989"/>
                  <a:pt x="1543028" y="813366"/>
                </a:cubicBezTo>
                <a:cubicBezTo>
                  <a:pt x="1546404" y="816743"/>
                  <a:pt x="1723121" y="843197"/>
                  <a:pt x="1772647" y="870214"/>
                </a:cubicBezTo>
                <a:cubicBezTo>
                  <a:pt x="1712991" y="883160"/>
                  <a:pt x="1536274" y="796480"/>
                  <a:pt x="1519390" y="846575"/>
                </a:cubicBezTo>
                <a:cubicBezTo>
                  <a:pt x="1522767" y="839820"/>
                  <a:pt x="1546404" y="879783"/>
                  <a:pt x="1555972" y="883160"/>
                </a:cubicBezTo>
                <a:cubicBezTo>
                  <a:pt x="1606060" y="893292"/>
                  <a:pt x="1602684" y="816743"/>
                  <a:pt x="1635888" y="860083"/>
                </a:cubicBezTo>
                <a:cubicBezTo>
                  <a:pt x="1652772" y="883160"/>
                  <a:pt x="1592553" y="912991"/>
                  <a:pt x="1589739" y="916369"/>
                </a:cubicBezTo>
                <a:cubicBezTo>
                  <a:pt x="1569479" y="956331"/>
                  <a:pt x="1635888" y="926500"/>
                  <a:pt x="1589739" y="963086"/>
                </a:cubicBezTo>
                <a:cubicBezTo>
                  <a:pt x="1519390" y="1016557"/>
                  <a:pt x="1626321" y="976594"/>
                  <a:pt x="1612814" y="976594"/>
                </a:cubicBezTo>
                <a:cubicBezTo>
                  <a:pt x="1635888" y="976594"/>
                  <a:pt x="1699484" y="1016557"/>
                  <a:pt x="1692730" y="1009803"/>
                </a:cubicBezTo>
                <a:cubicBezTo>
                  <a:pt x="1696107" y="1013180"/>
                  <a:pt x="1649395" y="1030065"/>
                  <a:pt x="1659526" y="1056520"/>
                </a:cubicBezTo>
                <a:cubicBezTo>
                  <a:pt x="1662902" y="1066651"/>
                  <a:pt x="1746196" y="1093668"/>
                  <a:pt x="1796284" y="1090291"/>
                </a:cubicBezTo>
                <a:cubicBezTo>
                  <a:pt x="1872824" y="1143199"/>
                  <a:pt x="2012959" y="1120122"/>
                  <a:pt x="2109759" y="1103236"/>
                </a:cubicBezTo>
                <a:cubicBezTo>
                  <a:pt x="2136210" y="1096482"/>
                  <a:pt x="2249894" y="1036820"/>
                  <a:pt x="2283099" y="1066651"/>
                </a:cubicBezTo>
                <a:cubicBezTo>
                  <a:pt x="2276346" y="1063274"/>
                  <a:pt x="2186299" y="1153331"/>
                  <a:pt x="2189676" y="1160085"/>
                </a:cubicBezTo>
                <a:cubicBezTo>
                  <a:pt x="2209936" y="1213556"/>
                  <a:pt x="2400160" y="1133631"/>
                  <a:pt x="2466569" y="1113368"/>
                </a:cubicBezTo>
                <a:cubicBezTo>
                  <a:pt x="2586444" y="1080159"/>
                  <a:pt x="2626402" y="1040197"/>
                  <a:pt x="2733333" y="1043574"/>
                </a:cubicBezTo>
                <a:cubicBezTo>
                  <a:pt x="2716449" y="1080159"/>
                  <a:pt x="2660170" y="1059897"/>
                  <a:pt x="2653416" y="1080159"/>
                </a:cubicBezTo>
                <a:cubicBezTo>
                  <a:pt x="2653416" y="1076782"/>
                  <a:pt x="2820003" y="1080159"/>
                  <a:pt x="2813249" y="1066651"/>
                </a:cubicBezTo>
                <a:cubicBezTo>
                  <a:pt x="2833510" y="1099859"/>
                  <a:pt x="2773291" y="1109991"/>
                  <a:pt x="2766538" y="1113368"/>
                </a:cubicBezTo>
                <a:cubicBezTo>
                  <a:pt x="2686621" y="1166839"/>
                  <a:pt x="2703505" y="1173593"/>
                  <a:pt x="2780045" y="1149954"/>
                </a:cubicBezTo>
                <a:cubicBezTo>
                  <a:pt x="2840263" y="1126876"/>
                  <a:pt x="2773291" y="1139822"/>
                  <a:pt x="2859961" y="1126876"/>
                </a:cubicBezTo>
                <a:cubicBezTo>
                  <a:pt x="2769914" y="1156708"/>
                  <a:pt x="2883598" y="1137008"/>
                  <a:pt x="2883598" y="1149954"/>
                </a:cubicBezTo>
                <a:cubicBezTo>
                  <a:pt x="2883598" y="1220310"/>
                  <a:pt x="2676491" y="1229879"/>
                  <a:pt x="2826756" y="1229879"/>
                </a:cubicBezTo>
                <a:cubicBezTo>
                  <a:pt x="2983212" y="1229879"/>
                  <a:pt x="2790175" y="1300236"/>
                  <a:pt x="2930310" y="1286727"/>
                </a:cubicBezTo>
                <a:cubicBezTo>
                  <a:pt x="2930310" y="1263650"/>
                  <a:pt x="2953385" y="1279973"/>
                  <a:pt x="2950008" y="1286727"/>
                </a:cubicBezTo>
                <a:cubicBezTo>
                  <a:pt x="3100273" y="1276596"/>
                  <a:pt x="3293873" y="1227065"/>
                  <a:pt x="3427255" y="1170216"/>
                </a:cubicBezTo>
                <a:cubicBezTo>
                  <a:pt x="3333832" y="1223688"/>
                  <a:pt x="3270236" y="1250142"/>
                  <a:pt x="3183566" y="1286727"/>
                </a:cubicBezTo>
                <a:cubicBezTo>
                  <a:pt x="3016980" y="1357084"/>
                  <a:pt x="3143608" y="1303613"/>
                  <a:pt x="3216771" y="1300236"/>
                </a:cubicBezTo>
                <a:cubicBezTo>
                  <a:pt x="3220148" y="1300236"/>
                  <a:pt x="3200451" y="1330067"/>
                  <a:pt x="3206641" y="1333444"/>
                </a:cubicBezTo>
                <a:cubicBezTo>
                  <a:pt x="3216771" y="1336822"/>
                  <a:pt x="3296687" y="1320499"/>
                  <a:pt x="3333832" y="1310367"/>
                </a:cubicBezTo>
                <a:cubicBezTo>
                  <a:pt x="3410371" y="1290105"/>
                  <a:pt x="3633800" y="1196671"/>
                  <a:pt x="3587088" y="1253519"/>
                </a:cubicBezTo>
                <a:cubicBezTo>
                  <a:pt x="3507172" y="1350330"/>
                  <a:pt x="3790256" y="1183162"/>
                  <a:pt x="3817270" y="1240010"/>
                </a:cubicBezTo>
                <a:cubicBezTo>
                  <a:pt x="3820647" y="1243388"/>
                  <a:pt x="3703586" y="1320499"/>
                  <a:pt x="3713716" y="1310367"/>
                </a:cubicBezTo>
                <a:cubicBezTo>
                  <a:pt x="3680512" y="1340199"/>
                  <a:pt x="3697395" y="1357084"/>
                  <a:pt x="3623670" y="1403801"/>
                </a:cubicBezTo>
                <a:cubicBezTo>
                  <a:pt x="3560637" y="1440387"/>
                  <a:pt x="3443576" y="1447141"/>
                  <a:pt x="3367036" y="1506804"/>
                </a:cubicBezTo>
                <a:cubicBezTo>
                  <a:pt x="3350153" y="1520312"/>
                  <a:pt x="3343399" y="1560275"/>
                  <a:pt x="3323701" y="1577161"/>
                </a:cubicBezTo>
                <a:cubicBezTo>
                  <a:pt x="3283743" y="1600238"/>
                  <a:pt x="3100273" y="1620501"/>
                  <a:pt x="3287120" y="1633446"/>
                </a:cubicBezTo>
                <a:cubicBezTo>
                  <a:pt x="3533623" y="1650332"/>
                  <a:pt x="3777312" y="1667218"/>
                  <a:pt x="4037322" y="1680163"/>
                </a:cubicBezTo>
                <a:cubicBezTo>
                  <a:pt x="4530890" y="1703803"/>
                  <a:pt x="5224250" y="1710558"/>
                  <a:pt x="5630586" y="1690295"/>
                </a:cubicBezTo>
                <a:cubicBezTo>
                  <a:pt x="5744270" y="1686918"/>
                  <a:pt x="5844447" y="1697049"/>
                  <a:pt x="5931117" y="1690295"/>
                </a:cubicBezTo>
                <a:cubicBezTo>
                  <a:pt x="5994150" y="1686918"/>
                  <a:pt x="6120778" y="1690295"/>
                  <a:pt x="6164113" y="1667218"/>
                </a:cubicBezTo>
                <a:cubicBezTo>
                  <a:pt x="6177620" y="1660463"/>
                  <a:pt x="6107834" y="1633446"/>
                  <a:pt x="6187750" y="1623878"/>
                </a:cubicBezTo>
                <a:cubicBezTo>
                  <a:pt x="6254160" y="1613746"/>
                  <a:pt x="6324509" y="1630632"/>
                  <a:pt x="6394295" y="1623878"/>
                </a:cubicBezTo>
                <a:cubicBezTo>
                  <a:pt x="6441007" y="1617124"/>
                  <a:pt x="6444383" y="1593484"/>
                  <a:pt x="6451137" y="1587292"/>
                </a:cubicBezTo>
                <a:cubicBezTo>
                  <a:pt x="6451137" y="1587292"/>
                  <a:pt x="6497849" y="1570407"/>
                  <a:pt x="6497849" y="1577161"/>
                </a:cubicBezTo>
                <a:cubicBezTo>
                  <a:pt x="6504602" y="1556898"/>
                  <a:pt x="6451137" y="1567029"/>
                  <a:pt x="6451137" y="1563652"/>
                </a:cubicBezTo>
                <a:cubicBezTo>
                  <a:pt x="6451137" y="1537198"/>
                  <a:pt x="6511356" y="1560275"/>
                  <a:pt x="6511356" y="1553521"/>
                </a:cubicBezTo>
                <a:cubicBezTo>
                  <a:pt x="6507979" y="1533821"/>
                  <a:pt x="6167490" y="1550144"/>
                  <a:pt x="6291304" y="1506804"/>
                </a:cubicBezTo>
                <a:cubicBezTo>
                  <a:pt x="6260913" y="1516935"/>
                  <a:pt x="6324509" y="1513558"/>
                  <a:pt x="6357713" y="1506804"/>
                </a:cubicBezTo>
                <a:cubicBezTo>
                  <a:pt x="6451137" y="1487104"/>
                  <a:pt x="6604779" y="1476973"/>
                  <a:pt x="6728031" y="1473595"/>
                </a:cubicBezTo>
                <a:cubicBezTo>
                  <a:pt x="6877733" y="1463464"/>
                  <a:pt x="6721277" y="1426878"/>
                  <a:pt x="6704393" y="1449955"/>
                </a:cubicBezTo>
                <a:cubicBezTo>
                  <a:pt x="6728031" y="1420124"/>
                  <a:pt x="6791063" y="1449955"/>
                  <a:pt x="6877733" y="1426878"/>
                </a:cubicBezTo>
                <a:cubicBezTo>
                  <a:pt x="6894617" y="1420124"/>
                  <a:pt x="6918254" y="1393670"/>
                  <a:pt x="6924445" y="1390293"/>
                </a:cubicBezTo>
                <a:cubicBezTo>
                  <a:pt x="6981287" y="1383539"/>
                  <a:pt x="7171511" y="1390293"/>
                  <a:pt x="7248050" y="1390293"/>
                </a:cubicBezTo>
                <a:cubicBezTo>
                  <a:pt x="7358358" y="1390293"/>
                  <a:pt x="7558149" y="1416747"/>
                  <a:pt x="7585163" y="1390293"/>
                </a:cubicBezTo>
                <a:cubicBezTo>
                  <a:pt x="7588539" y="1386916"/>
                  <a:pt x="7491739" y="1380161"/>
                  <a:pt x="7491739" y="1380161"/>
                </a:cubicBezTo>
                <a:cubicBezTo>
                  <a:pt x="7448404" y="1373407"/>
                  <a:pt x="7281818" y="1366653"/>
                  <a:pt x="7284632" y="1366653"/>
                </a:cubicBezTo>
                <a:cubicBezTo>
                  <a:pt x="7211469" y="1366653"/>
                  <a:pt x="7044882" y="1363276"/>
                  <a:pt x="7144497" y="1357084"/>
                </a:cubicBezTo>
                <a:cubicBezTo>
                  <a:pt x="7338097" y="1340199"/>
                  <a:pt x="7508060" y="1357084"/>
                  <a:pt x="7711791" y="1357084"/>
                </a:cubicBezTo>
                <a:cubicBezTo>
                  <a:pt x="7795084" y="1357084"/>
                  <a:pt x="8008382" y="1380161"/>
                  <a:pt x="8035396" y="1357084"/>
                </a:cubicBezTo>
                <a:cubicBezTo>
                  <a:pt x="8028643" y="1363276"/>
                  <a:pt x="7891884" y="1343576"/>
                  <a:pt x="7885131" y="1343576"/>
                </a:cubicBezTo>
                <a:cubicBezTo>
                  <a:pt x="7715167" y="1343576"/>
                  <a:pt x="7545205" y="1353707"/>
                  <a:pt x="7388185" y="1343576"/>
                </a:cubicBezTo>
                <a:cubicBezTo>
                  <a:pt x="7284632" y="1340199"/>
                  <a:pt x="7371301" y="1333444"/>
                  <a:pt x="7201339" y="1333444"/>
                </a:cubicBezTo>
                <a:cubicBezTo>
                  <a:pt x="7074710" y="1333444"/>
                  <a:pt x="6931198" y="1313744"/>
                  <a:pt x="7111292" y="1310367"/>
                </a:cubicBezTo>
                <a:cubicBezTo>
                  <a:pt x="7185018" y="1310367"/>
                  <a:pt x="7114669" y="1350330"/>
                  <a:pt x="7214846" y="1310367"/>
                </a:cubicBezTo>
                <a:cubicBezTo>
                  <a:pt x="7221599" y="1306990"/>
                  <a:pt x="7181641" y="1296859"/>
                  <a:pt x="7168134" y="1300236"/>
                </a:cubicBezTo>
                <a:cubicBezTo>
                  <a:pt x="7291385" y="1279973"/>
                  <a:pt x="7665079" y="1316559"/>
                  <a:pt x="7965047" y="1286727"/>
                </a:cubicBezTo>
                <a:cubicBezTo>
                  <a:pt x="8015135" y="1283350"/>
                  <a:pt x="8005005" y="1263650"/>
                  <a:pt x="8058471" y="1263650"/>
                </a:cubicBezTo>
                <a:cubicBezTo>
                  <a:pt x="8165401" y="1263650"/>
                  <a:pt x="8082108" y="1243388"/>
                  <a:pt x="8035396" y="1240010"/>
                </a:cubicBezTo>
                <a:cubicBezTo>
                  <a:pt x="7755125" y="1227065"/>
                  <a:pt x="7458535" y="1260273"/>
                  <a:pt x="7237920" y="1240010"/>
                </a:cubicBezTo>
                <a:cubicBezTo>
                  <a:pt x="7248050" y="1243388"/>
                  <a:pt x="7128176" y="1240010"/>
                  <a:pt x="7201339" y="1229879"/>
                </a:cubicBezTo>
                <a:cubicBezTo>
                  <a:pt x="7224976" y="1227065"/>
                  <a:pt x="7277878" y="1240010"/>
                  <a:pt x="7318399" y="1229879"/>
                </a:cubicBezTo>
                <a:cubicBezTo>
                  <a:pt x="7334720" y="1223688"/>
                  <a:pt x="7311646" y="1196671"/>
                  <a:pt x="7318399" y="1193293"/>
                </a:cubicBezTo>
                <a:cubicBezTo>
                  <a:pt x="7471479" y="1163462"/>
                  <a:pt x="7648195" y="1189916"/>
                  <a:pt x="7815345" y="1183162"/>
                </a:cubicBezTo>
                <a:cubicBezTo>
                  <a:pt x="7904829" y="1180348"/>
                  <a:pt x="7992061" y="1196671"/>
                  <a:pt x="8082108" y="1183162"/>
                </a:cubicBezTo>
                <a:cubicBezTo>
                  <a:pt x="8305537" y="1149954"/>
                  <a:pt x="8505327" y="1160085"/>
                  <a:pt x="8728756" y="1160085"/>
                </a:cubicBezTo>
                <a:cubicBezTo>
                  <a:pt x="8802482" y="1160085"/>
                  <a:pt x="9042231" y="1160085"/>
                  <a:pt x="8912226" y="1126876"/>
                </a:cubicBezTo>
                <a:cubicBezTo>
                  <a:pt x="8808672" y="1096482"/>
                  <a:pt x="8615635" y="1130254"/>
                  <a:pt x="8531779" y="1113368"/>
                </a:cubicBezTo>
                <a:cubicBezTo>
                  <a:pt x="8491820" y="1106614"/>
                  <a:pt x="8468746" y="1083536"/>
                  <a:pt x="8448485" y="1080159"/>
                </a:cubicBezTo>
                <a:cubicBezTo>
                  <a:pt x="8305537" y="1059897"/>
                  <a:pt x="8271769" y="1070028"/>
                  <a:pt x="8068601" y="1080159"/>
                </a:cubicBezTo>
                <a:cubicBezTo>
                  <a:pt x="7761879" y="1093668"/>
                  <a:pt x="7411823" y="1086914"/>
                  <a:pt x="7214846" y="1066651"/>
                </a:cubicBezTo>
                <a:cubicBezTo>
                  <a:pt x="7244674" y="1070028"/>
                  <a:pt x="7015054" y="1066651"/>
                  <a:pt x="7051636" y="1056520"/>
                </a:cubicBezTo>
                <a:cubicBezTo>
                  <a:pt x="7154627" y="1023311"/>
                  <a:pt x="7237920" y="1093668"/>
                  <a:pt x="7388185" y="1056520"/>
                </a:cubicBezTo>
                <a:cubicBezTo>
                  <a:pt x="7398315" y="1053142"/>
                  <a:pt x="7408446" y="1026688"/>
                  <a:pt x="7434897" y="1019934"/>
                </a:cubicBezTo>
                <a:cubicBezTo>
                  <a:pt x="7508060" y="1009803"/>
                  <a:pt x="7604860" y="1033442"/>
                  <a:pt x="7675209" y="1033442"/>
                </a:cubicBezTo>
                <a:cubicBezTo>
                  <a:pt x="7828289" y="1033442"/>
                  <a:pt x="8038773" y="1006425"/>
                  <a:pt x="8241941" y="996857"/>
                </a:cubicBezTo>
                <a:cubicBezTo>
                  <a:pt x="8271769" y="996857"/>
                  <a:pt x="8408527" y="1013180"/>
                  <a:pt x="8428788" y="996857"/>
                </a:cubicBezTo>
                <a:cubicBezTo>
                  <a:pt x="8432165" y="993480"/>
                  <a:pt x="8368569" y="969840"/>
                  <a:pt x="8392206" y="963086"/>
                </a:cubicBezTo>
                <a:cubicBezTo>
                  <a:pt x="8455239" y="950140"/>
                  <a:pt x="8605504" y="963086"/>
                  <a:pt x="8715249" y="963086"/>
                </a:cubicBezTo>
                <a:cubicBezTo>
                  <a:pt x="8842440" y="963086"/>
                  <a:pt x="9185743" y="956331"/>
                  <a:pt x="8969068" y="953517"/>
                </a:cubicBezTo>
                <a:cubicBezTo>
                  <a:pt x="8795728" y="946763"/>
                  <a:pt x="8642086" y="956331"/>
                  <a:pt x="8472123" y="953517"/>
                </a:cubicBezTo>
                <a:cubicBezTo>
                  <a:pt x="8395583" y="950140"/>
                  <a:pt x="8298783" y="950140"/>
                  <a:pt x="8405150" y="940009"/>
                </a:cubicBezTo>
                <a:cubicBezTo>
                  <a:pt x="8528965" y="929877"/>
                  <a:pt x="8622388" y="940009"/>
                  <a:pt x="8795728" y="940009"/>
                </a:cubicBezTo>
                <a:cubicBezTo>
                  <a:pt x="8832310" y="940009"/>
                  <a:pt x="9178990" y="960271"/>
                  <a:pt x="9202627" y="940009"/>
                </a:cubicBezTo>
                <a:cubicBezTo>
                  <a:pt x="9206004" y="936631"/>
                  <a:pt x="9035478" y="879783"/>
                  <a:pt x="8935863" y="870214"/>
                </a:cubicBezTo>
                <a:cubicBezTo>
                  <a:pt x="8768714" y="856706"/>
                  <a:pt x="8489007" y="896669"/>
                  <a:pt x="8321857" y="870214"/>
                </a:cubicBezTo>
                <a:cubicBezTo>
                  <a:pt x="8288653" y="866837"/>
                  <a:pt x="8228434" y="836443"/>
                  <a:pt x="8298783" y="836443"/>
                </a:cubicBezTo>
                <a:cubicBezTo>
                  <a:pt x="8343807" y="836443"/>
                  <a:pt x="8381232" y="831518"/>
                  <a:pt x="8409090" y="826171"/>
                </a:cubicBezTo>
                <a:lnTo>
                  <a:pt x="8427509" y="822004"/>
                </a:lnTo>
                <a:lnTo>
                  <a:pt x="8431676" y="821337"/>
                </a:lnTo>
                <a:lnTo>
                  <a:pt x="8439198" y="819360"/>
                </a:lnTo>
                <a:lnTo>
                  <a:pt x="8443455" y="818396"/>
                </a:lnTo>
                <a:cubicBezTo>
                  <a:pt x="8452354" y="816075"/>
                  <a:pt x="8458615" y="814210"/>
                  <a:pt x="8461992" y="813366"/>
                </a:cubicBezTo>
                <a:lnTo>
                  <a:pt x="8439198" y="819360"/>
                </a:lnTo>
                <a:lnTo>
                  <a:pt x="8427509" y="822004"/>
                </a:lnTo>
                <a:lnTo>
                  <a:pt x="8416688" y="823735"/>
                </a:lnTo>
                <a:cubicBezTo>
                  <a:pt x="8400332" y="823814"/>
                  <a:pt x="8460586" y="798169"/>
                  <a:pt x="8505327" y="793103"/>
                </a:cubicBezTo>
                <a:cubicBezTo>
                  <a:pt x="8531779" y="796480"/>
                  <a:pt x="8552039" y="799858"/>
                  <a:pt x="8555416" y="803235"/>
                </a:cubicBezTo>
                <a:cubicBezTo>
                  <a:pt x="8545286" y="793103"/>
                  <a:pt x="8528965" y="789726"/>
                  <a:pt x="8505327" y="793103"/>
                </a:cubicBezTo>
                <a:cubicBezTo>
                  <a:pt x="8392206" y="779595"/>
                  <a:pt x="8125443" y="770026"/>
                  <a:pt x="8358439" y="766649"/>
                </a:cubicBezTo>
                <a:cubicBezTo>
                  <a:pt x="8695551" y="759895"/>
                  <a:pt x="9115957" y="746386"/>
                  <a:pt x="9339385" y="789726"/>
                </a:cubicBezTo>
                <a:cubicBezTo>
                  <a:pt x="9426055" y="806612"/>
                  <a:pt x="9362460" y="749763"/>
                  <a:pt x="9339385" y="743009"/>
                </a:cubicBezTo>
                <a:cubicBezTo>
                  <a:pt x="9292674" y="730063"/>
                  <a:pt x="9158729" y="743009"/>
                  <a:pt x="9062492" y="733441"/>
                </a:cubicBezTo>
                <a:cubicBezTo>
                  <a:pt x="9022533" y="726686"/>
                  <a:pt x="8868891" y="686723"/>
                  <a:pt x="8969068" y="676592"/>
                </a:cubicBezTo>
                <a:cubicBezTo>
                  <a:pt x="9062492" y="663084"/>
                  <a:pt x="9158729" y="686723"/>
                  <a:pt x="9258906" y="686723"/>
                </a:cubicBezTo>
                <a:cubicBezTo>
                  <a:pt x="9308994" y="686723"/>
                  <a:pt x="9472767" y="699669"/>
                  <a:pt x="9478958" y="696292"/>
                </a:cubicBezTo>
                <a:cubicBezTo>
                  <a:pt x="9572381" y="640007"/>
                  <a:pt x="8972445" y="616367"/>
                  <a:pt x="9142408" y="606235"/>
                </a:cubicBezTo>
                <a:cubicBezTo>
                  <a:pt x="9372590" y="593290"/>
                  <a:pt x="8932487" y="576404"/>
                  <a:pt x="9095696" y="559518"/>
                </a:cubicBezTo>
                <a:cubicBezTo>
                  <a:pt x="9192497" y="549950"/>
                  <a:pt x="9255529" y="559518"/>
                  <a:pt x="9235832" y="559518"/>
                </a:cubicBezTo>
                <a:cubicBezTo>
                  <a:pt x="9252152" y="559518"/>
                  <a:pt x="9482334" y="593290"/>
                  <a:pt x="9489088" y="583158"/>
                </a:cubicBezTo>
                <a:cubicBezTo>
                  <a:pt x="9525669" y="533064"/>
                  <a:pt x="9375967" y="579781"/>
                  <a:pt x="9362460" y="546573"/>
                </a:cubicBezTo>
                <a:cubicBezTo>
                  <a:pt x="9355706" y="529687"/>
                  <a:pt x="9469390" y="559518"/>
                  <a:pt x="9478958" y="536441"/>
                </a:cubicBezTo>
                <a:cubicBezTo>
                  <a:pt x="9495841" y="496478"/>
                  <a:pt x="9312371" y="506610"/>
                  <a:pt x="9329255" y="479593"/>
                </a:cubicBezTo>
                <a:cubicBezTo>
                  <a:pt x="9332632" y="469461"/>
                  <a:pt x="9402418" y="489724"/>
                  <a:pt x="9409171" y="489724"/>
                </a:cubicBezTo>
                <a:cubicBezTo>
                  <a:pt x="9426055" y="489724"/>
                  <a:pt x="9429432" y="479593"/>
                  <a:pt x="9466013" y="479593"/>
                </a:cubicBezTo>
                <a:cubicBezTo>
                  <a:pt x="9529046" y="476216"/>
                  <a:pt x="9742907" y="546573"/>
                  <a:pt x="9652298" y="489724"/>
                </a:cubicBezTo>
                <a:cubicBezTo>
                  <a:pt x="9585888" y="449761"/>
                  <a:pt x="9469390" y="459893"/>
                  <a:pt x="9409171" y="443007"/>
                </a:cubicBezTo>
                <a:cubicBezTo>
                  <a:pt x="9399041" y="440474"/>
                  <a:pt x="9334777" y="405964"/>
                  <a:pt x="9301854" y="395991"/>
                </a:cubicBezTo>
                <a:lnTo>
                  <a:pt x="9289506" y="393531"/>
                </a:lnTo>
                <a:lnTo>
                  <a:pt x="9295641" y="391100"/>
                </a:lnTo>
                <a:cubicBezTo>
                  <a:pt x="9348548" y="386106"/>
                  <a:pt x="9541709" y="424152"/>
                  <a:pt x="9535800" y="363082"/>
                </a:cubicBezTo>
                <a:cubicBezTo>
                  <a:pt x="9532423" y="346196"/>
                  <a:pt x="9389474" y="333250"/>
                  <a:pt x="9385534" y="329310"/>
                </a:cubicBezTo>
                <a:cubicBezTo>
                  <a:pt x="9362460" y="302856"/>
                  <a:pt x="9419302" y="333250"/>
                  <a:pt x="9442376" y="316365"/>
                </a:cubicBezTo>
                <a:cubicBezTo>
                  <a:pt x="9478958" y="289348"/>
                  <a:pt x="9415925" y="296102"/>
                  <a:pt x="9442376" y="259516"/>
                </a:cubicBezTo>
                <a:cubicBezTo>
                  <a:pt x="9475581" y="212799"/>
                  <a:pt x="9539176" y="273025"/>
                  <a:pt x="9549307" y="246008"/>
                </a:cubicBezTo>
                <a:cubicBezTo>
                  <a:pt x="9551839" y="236298"/>
                  <a:pt x="9524298" y="190496"/>
                  <a:pt x="9494935" y="182449"/>
                </a:cubicBezTo>
                <a:lnTo>
                  <a:pt x="9484078" y="182054"/>
                </a:lnTo>
                <a:lnTo>
                  <a:pt x="9490333" y="179398"/>
                </a:lnTo>
                <a:cubicBezTo>
                  <a:pt x="9561345" y="168017"/>
                  <a:pt x="9720958" y="237706"/>
                  <a:pt x="9732777" y="222930"/>
                </a:cubicBezTo>
                <a:cubicBezTo>
                  <a:pt x="9776112" y="179591"/>
                  <a:pt x="9649484" y="219554"/>
                  <a:pt x="9559437" y="166082"/>
                </a:cubicBezTo>
                <a:cubicBezTo>
                  <a:pt x="9552683" y="162705"/>
                  <a:pt x="9582511" y="146382"/>
                  <a:pt x="9582511" y="143005"/>
                </a:cubicBezTo>
                <a:cubicBezTo>
                  <a:pt x="9579135" y="122742"/>
                  <a:pt x="9502595" y="106420"/>
                  <a:pt x="9502595" y="109234"/>
                </a:cubicBezTo>
                <a:cubicBezTo>
                  <a:pt x="9545930" y="52948"/>
                  <a:pt x="9765982" y="109234"/>
                  <a:pt x="9789619" y="119365"/>
                </a:cubicBezTo>
                <a:cubicBezTo>
                  <a:pt x="9826200" y="136251"/>
                  <a:pt x="9866159" y="186345"/>
                  <a:pt x="9869535" y="189722"/>
                </a:cubicBezTo>
                <a:cubicBezTo>
                  <a:pt x="9906117" y="202668"/>
                  <a:pt x="9969150" y="186345"/>
                  <a:pt x="10022615" y="202668"/>
                </a:cubicBezTo>
                <a:cubicBezTo>
                  <a:pt x="10065950" y="216176"/>
                  <a:pt x="10102531" y="256139"/>
                  <a:pt x="10112661" y="259516"/>
                </a:cubicBezTo>
                <a:cubicBezTo>
                  <a:pt x="10149243" y="266271"/>
                  <a:pt x="10155996" y="226308"/>
                  <a:pt x="10193141" y="236439"/>
                </a:cubicBezTo>
                <a:cubicBezTo>
                  <a:pt x="10233099" y="243193"/>
                  <a:pt x="10266304" y="326496"/>
                  <a:pt x="10262927" y="339442"/>
                </a:cubicBezTo>
                <a:cubicBezTo>
                  <a:pt x="10262927" y="352950"/>
                  <a:pt x="10259550" y="366459"/>
                  <a:pt x="10239290" y="363082"/>
                </a:cubicBezTo>
                <a:cubicBezTo>
                  <a:pt x="10239290" y="329310"/>
                  <a:pt x="10193141" y="373213"/>
                  <a:pt x="10239290" y="363082"/>
                </a:cubicBezTo>
                <a:cubicBezTo>
                  <a:pt x="10252797" y="429499"/>
                  <a:pt x="10279248" y="459893"/>
                  <a:pt x="10286001" y="512801"/>
                </a:cubicBezTo>
                <a:cubicBezTo>
                  <a:pt x="10176257" y="522933"/>
                  <a:pt x="10313015" y="579781"/>
                  <a:pt x="10299508" y="629875"/>
                </a:cubicBezTo>
                <a:cubicBezTo>
                  <a:pt x="10302041" y="614678"/>
                  <a:pt x="10274499" y="650455"/>
                  <a:pt x="10260570" y="657895"/>
                </a:cubicBezTo>
                <a:lnTo>
                  <a:pt x="10255596" y="658771"/>
                </a:lnTo>
                <a:lnTo>
                  <a:pt x="10252797" y="652952"/>
                </a:lnTo>
                <a:cubicBezTo>
                  <a:pt x="10252797" y="656329"/>
                  <a:pt x="10253580" y="658185"/>
                  <a:pt x="10254943" y="658886"/>
                </a:cubicBezTo>
                <a:lnTo>
                  <a:pt x="10255596" y="658771"/>
                </a:lnTo>
                <a:lnTo>
                  <a:pt x="10259621" y="667138"/>
                </a:lnTo>
                <a:cubicBezTo>
                  <a:pt x="10271967" y="680567"/>
                  <a:pt x="10296976" y="692493"/>
                  <a:pt x="10299508" y="709801"/>
                </a:cubicBezTo>
                <a:cubicBezTo>
                  <a:pt x="10299508" y="730063"/>
                  <a:pt x="10259550" y="736255"/>
                  <a:pt x="10252797" y="766649"/>
                </a:cubicBezTo>
                <a:cubicBezTo>
                  <a:pt x="10246043" y="786349"/>
                  <a:pt x="10276434" y="803235"/>
                  <a:pt x="10276434" y="826875"/>
                </a:cubicBezTo>
                <a:cubicBezTo>
                  <a:pt x="10273057" y="843197"/>
                  <a:pt x="10229722" y="866837"/>
                  <a:pt x="10229722" y="893292"/>
                </a:cubicBezTo>
                <a:cubicBezTo>
                  <a:pt x="10226345" y="946763"/>
                  <a:pt x="10269680" y="912991"/>
                  <a:pt x="10252797" y="953517"/>
                </a:cubicBezTo>
                <a:cubicBezTo>
                  <a:pt x="10239290" y="979971"/>
                  <a:pt x="10195955" y="969840"/>
                  <a:pt x="10193141" y="996857"/>
                </a:cubicBezTo>
                <a:cubicBezTo>
                  <a:pt x="10189201" y="1049765"/>
                  <a:pt x="10233099" y="986726"/>
                  <a:pt x="10252797" y="1033442"/>
                </a:cubicBezTo>
                <a:cubicBezTo>
                  <a:pt x="10259550" y="1053142"/>
                  <a:pt x="10169503" y="1183162"/>
                  <a:pt x="10172880" y="1206802"/>
                </a:cubicBezTo>
                <a:cubicBezTo>
                  <a:pt x="10176257" y="1236633"/>
                  <a:pt x="10202708" y="1256896"/>
                  <a:pt x="10206085" y="1276596"/>
                </a:cubicBezTo>
                <a:cubicBezTo>
                  <a:pt x="10209462" y="1293482"/>
                  <a:pt x="10183010" y="1310367"/>
                  <a:pt x="10183010" y="1310367"/>
                </a:cubicBezTo>
                <a:cubicBezTo>
                  <a:pt x="10193141" y="1357084"/>
                  <a:pt x="10222969" y="1353707"/>
                  <a:pt x="10216215" y="1380161"/>
                </a:cubicBezTo>
                <a:cubicBezTo>
                  <a:pt x="10212838" y="1416747"/>
                  <a:pt x="10179634" y="1437010"/>
                  <a:pt x="10149243" y="1483727"/>
                </a:cubicBezTo>
                <a:cubicBezTo>
                  <a:pt x="10136299" y="1500050"/>
                  <a:pt x="10126169" y="1550144"/>
                  <a:pt x="10119415" y="1556898"/>
                </a:cubicBezTo>
                <a:cubicBezTo>
                  <a:pt x="10143052" y="1573784"/>
                  <a:pt x="10242666" y="1613746"/>
                  <a:pt x="10172880" y="1610369"/>
                </a:cubicBezTo>
                <a:cubicBezTo>
                  <a:pt x="10089587" y="1520312"/>
                  <a:pt x="10042875" y="1640201"/>
                  <a:pt x="10172880" y="1610369"/>
                </a:cubicBezTo>
                <a:cubicBezTo>
                  <a:pt x="10132922" y="1633446"/>
                  <a:pt x="10193141" y="1640201"/>
                  <a:pt x="10193141" y="1657086"/>
                </a:cubicBezTo>
                <a:cubicBezTo>
                  <a:pt x="10195955" y="1663841"/>
                  <a:pt x="10162750" y="1693672"/>
                  <a:pt x="10159373" y="1713935"/>
                </a:cubicBezTo>
                <a:cubicBezTo>
                  <a:pt x="10145866" y="1770220"/>
                  <a:pt x="10166127" y="1843954"/>
                  <a:pt x="10149243" y="1877163"/>
                </a:cubicBezTo>
                <a:cubicBezTo>
                  <a:pt x="10136299" y="1900240"/>
                  <a:pt x="10056382" y="1940765"/>
                  <a:pt x="10102531" y="1967220"/>
                </a:cubicBezTo>
                <a:cubicBezTo>
                  <a:pt x="10099717" y="1993674"/>
                  <a:pt x="10079457" y="2024069"/>
                  <a:pt x="10079457" y="2050522"/>
                </a:cubicBezTo>
                <a:cubicBezTo>
                  <a:pt x="10079457" y="2083731"/>
                  <a:pt x="10105908" y="2053899"/>
                  <a:pt x="10112661" y="2083731"/>
                </a:cubicBezTo>
                <a:cubicBezTo>
                  <a:pt x="10119415" y="2107370"/>
                  <a:pt x="10096341" y="2260467"/>
                  <a:pt x="10089587" y="2280730"/>
                </a:cubicBezTo>
                <a:cubicBezTo>
                  <a:pt x="10086210" y="2294238"/>
                  <a:pt x="10102531" y="2297616"/>
                  <a:pt x="10102531" y="2303808"/>
                </a:cubicBezTo>
                <a:cubicBezTo>
                  <a:pt x="10096341" y="2337579"/>
                  <a:pt x="10065950" y="2343770"/>
                  <a:pt x="10065950" y="2360655"/>
                </a:cubicBezTo>
                <a:cubicBezTo>
                  <a:pt x="10065950" y="2380918"/>
                  <a:pt x="10099717" y="2364033"/>
                  <a:pt x="10102531" y="2374164"/>
                </a:cubicBezTo>
                <a:cubicBezTo>
                  <a:pt x="10102531" y="2380918"/>
                  <a:pt x="10076080" y="2391050"/>
                  <a:pt x="10079457" y="2420882"/>
                </a:cubicBezTo>
                <a:cubicBezTo>
                  <a:pt x="10079457" y="2440582"/>
                  <a:pt x="10102531" y="2443959"/>
                  <a:pt x="10102531" y="2454089"/>
                </a:cubicBezTo>
                <a:cubicBezTo>
                  <a:pt x="10102531" y="2483921"/>
                  <a:pt x="10072703" y="2504184"/>
                  <a:pt x="10065950" y="2534015"/>
                </a:cubicBezTo>
                <a:cubicBezTo>
                  <a:pt x="10065950" y="2554278"/>
                  <a:pt x="10089587" y="2564409"/>
                  <a:pt x="10089587" y="2580733"/>
                </a:cubicBezTo>
                <a:cubicBezTo>
                  <a:pt x="10096341" y="2630827"/>
                  <a:pt x="10022615" y="2764223"/>
                  <a:pt x="10032745" y="2834580"/>
                </a:cubicBezTo>
                <a:cubicBezTo>
                  <a:pt x="10036122" y="2847525"/>
                  <a:pt x="10056382" y="2847525"/>
                  <a:pt x="10056382" y="2857657"/>
                </a:cubicBezTo>
                <a:cubicBezTo>
                  <a:pt x="10053006" y="2890866"/>
                  <a:pt x="10025992" y="2917882"/>
                  <a:pt x="10022615" y="2951091"/>
                </a:cubicBezTo>
                <a:cubicBezTo>
                  <a:pt x="10019238" y="2964599"/>
                  <a:pt x="10056382" y="2964599"/>
                  <a:pt x="10056382" y="2961222"/>
                </a:cubicBezTo>
                <a:cubicBezTo>
                  <a:pt x="10056382" y="2977546"/>
                  <a:pt x="10019238" y="3020885"/>
                  <a:pt x="10022615" y="3044526"/>
                </a:cubicBezTo>
                <a:cubicBezTo>
                  <a:pt x="10022615" y="3047902"/>
                  <a:pt x="10032745" y="3070979"/>
                  <a:pt x="10039499" y="3070979"/>
                </a:cubicBezTo>
                <a:cubicBezTo>
                  <a:pt x="10032745" y="3077733"/>
                  <a:pt x="10006294" y="3074356"/>
                  <a:pt x="9999540" y="3087865"/>
                </a:cubicBezTo>
                <a:cubicBezTo>
                  <a:pt x="9989410" y="3104750"/>
                  <a:pt x="10002917" y="3161036"/>
                  <a:pt x="9986033" y="3204376"/>
                </a:cubicBezTo>
                <a:cubicBezTo>
                  <a:pt x="9982657" y="3214507"/>
                  <a:pt x="9956205" y="3228016"/>
                  <a:pt x="9952829" y="3238147"/>
                </a:cubicBezTo>
                <a:cubicBezTo>
                  <a:pt x="9939322" y="3264601"/>
                  <a:pt x="9949452" y="3291056"/>
                  <a:pt x="9939322" y="3307941"/>
                </a:cubicBezTo>
                <a:cubicBezTo>
                  <a:pt x="9912870" y="3371545"/>
                  <a:pt x="9866159" y="3427830"/>
                  <a:pt x="9882480" y="3481301"/>
                </a:cubicBezTo>
                <a:cubicBezTo>
                  <a:pt x="9889233" y="3501563"/>
                  <a:pt x="9929191" y="3508318"/>
                  <a:pt x="9929191" y="3528018"/>
                </a:cubicBezTo>
                <a:cubicBezTo>
                  <a:pt x="9925815" y="3561226"/>
                  <a:pt x="9876289" y="3588243"/>
                  <a:pt x="9869535" y="3631584"/>
                </a:cubicBezTo>
                <a:cubicBezTo>
                  <a:pt x="9866159" y="3658037"/>
                  <a:pt x="9899363" y="3711508"/>
                  <a:pt x="9882480" y="3701378"/>
                </a:cubicBezTo>
                <a:cubicBezTo>
                  <a:pt x="9895987" y="3708131"/>
                  <a:pt x="9919624" y="3688431"/>
                  <a:pt x="9916247" y="3678300"/>
                </a:cubicBezTo>
                <a:cubicBezTo>
                  <a:pt x="9919624" y="3711508"/>
                  <a:pt x="9876289" y="3774549"/>
                  <a:pt x="9812693" y="3828020"/>
                </a:cubicBezTo>
                <a:cubicBezTo>
                  <a:pt x="9682688" y="3945093"/>
                  <a:pt x="9559437" y="4028397"/>
                  <a:pt x="9409171" y="4128585"/>
                </a:cubicBezTo>
                <a:cubicBezTo>
                  <a:pt x="9155915" y="4298567"/>
                  <a:pt x="8768714" y="4511326"/>
                  <a:pt x="8555416" y="4625023"/>
                </a:cubicBezTo>
                <a:cubicBezTo>
                  <a:pt x="8548662" y="4608137"/>
                  <a:pt x="8538532" y="4625023"/>
                  <a:pt x="8555416" y="4625023"/>
                </a:cubicBezTo>
                <a:cubicBezTo>
                  <a:pt x="8552039" y="4634591"/>
                  <a:pt x="8545286" y="4637969"/>
                  <a:pt x="8531779" y="4637969"/>
                </a:cubicBezTo>
                <a:cubicBezTo>
                  <a:pt x="8525588" y="4621646"/>
                  <a:pt x="8518834" y="4637969"/>
                  <a:pt x="8531779" y="4637969"/>
                </a:cubicBezTo>
                <a:cubicBezTo>
                  <a:pt x="8528965" y="4644723"/>
                  <a:pt x="8522211" y="4651477"/>
                  <a:pt x="8508704" y="4648100"/>
                </a:cubicBezTo>
                <a:cubicBezTo>
                  <a:pt x="8501951" y="4631214"/>
                  <a:pt x="8495197" y="4648100"/>
                  <a:pt x="8508704" y="4648100"/>
                </a:cubicBezTo>
                <a:cubicBezTo>
                  <a:pt x="8505327" y="4658231"/>
                  <a:pt x="8498574" y="4661609"/>
                  <a:pt x="8485630" y="4661609"/>
                </a:cubicBezTo>
                <a:cubicBezTo>
                  <a:pt x="8482253" y="4644723"/>
                  <a:pt x="8461992" y="4648100"/>
                  <a:pt x="8461992" y="4661609"/>
                </a:cubicBezTo>
                <a:cubicBezTo>
                  <a:pt x="8448485" y="4658231"/>
                  <a:pt x="8442295" y="4661609"/>
                  <a:pt x="8438918" y="4671740"/>
                </a:cubicBezTo>
                <a:cubicBezTo>
                  <a:pt x="8425411" y="4668363"/>
                  <a:pt x="8418658" y="4674554"/>
                  <a:pt x="8415281" y="4681308"/>
                </a:cubicBezTo>
                <a:cubicBezTo>
                  <a:pt x="8298783" y="4734780"/>
                  <a:pt x="8178345" y="4784874"/>
                  <a:pt x="8082108" y="4854668"/>
                </a:cubicBezTo>
                <a:cubicBezTo>
                  <a:pt x="7871623" y="4958233"/>
                  <a:pt x="7651572" y="5048290"/>
                  <a:pt x="7445027" y="5155233"/>
                </a:cubicBezTo>
                <a:cubicBezTo>
                  <a:pt x="7418013" y="5165364"/>
                  <a:pt x="7381432" y="5161987"/>
                  <a:pt x="7374679" y="5191818"/>
                </a:cubicBezTo>
                <a:cubicBezTo>
                  <a:pt x="6374597" y="5595386"/>
                  <a:pt x="5331181" y="6042293"/>
                  <a:pt x="4337290" y="6428975"/>
                </a:cubicBezTo>
                <a:cubicBezTo>
                  <a:pt x="4177457" y="6489200"/>
                  <a:pt x="4040698" y="6555617"/>
                  <a:pt x="3900563" y="6622597"/>
                </a:cubicBezTo>
                <a:cubicBezTo>
                  <a:pt x="3870735" y="6622597"/>
                  <a:pt x="3850475" y="6629351"/>
                  <a:pt x="3840344" y="6646237"/>
                </a:cubicBezTo>
                <a:cubicBezTo>
                  <a:pt x="3780689" y="6636105"/>
                  <a:pt x="3827401" y="6682822"/>
                  <a:pt x="3840344" y="6646237"/>
                </a:cubicBezTo>
                <a:cubicBezTo>
                  <a:pt x="3870735" y="6649051"/>
                  <a:pt x="3890433" y="6642859"/>
                  <a:pt x="3900563" y="6622597"/>
                </a:cubicBezTo>
                <a:cubicBezTo>
                  <a:pt x="3947275" y="6602897"/>
                  <a:pt x="4007494" y="6602897"/>
                  <a:pt x="4060396" y="6598957"/>
                </a:cubicBezTo>
                <a:cubicBezTo>
                  <a:pt x="4120615" y="6598957"/>
                  <a:pt x="4200532" y="6569125"/>
                  <a:pt x="4270881" y="6542671"/>
                </a:cubicBezTo>
                <a:cubicBezTo>
                  <a:pt x="4324346" y="6522409"/>
                  <a:pt x="4390755" y="6472314"/>
                  <a:pt x="4463918" y="6462745"/>
                </a:cubicBezTo>
                <a:cubicBezTo>
                  <a:pt x="4487555" y="6459369"/>
                  <a:pt x="4490932" y="6479069"/>
                  <a:pt x="4510630" y="6472314"/>
                </a:cubicBezTo>
                <a:cubicBezTo>
                  <a:pt x="4604053" y="6452615"/>
                  <a:pt x="4683970" y="6425597"/>
                  <a:pt x="4801031" y="6392389"/>
                </a:cubicBezTo>
                <a:cubicBezTo>
                  <a:pt x="4834235" y="6385635"/>
                  <a:pt x="5077924" y="6298955"/>
                  <a:pt x="4997445" y="6345671"/>
                </a:cubicBezTo>
                <a:cubicBezTo>
                  <a:pt x="4897831" y="6402520"/>
                  <a:pt x="4811161" y="6392389"/>
                  <a:pt x="4744189" y="6439105"/>
                </a:cubicBezTo>
                <a:cubicBezTo>
                  <a:pt x="4727305" y="6439105"/>
                  <a:pt x="4710984" y="6435729"/>
                  <a:pt x="4707607" y="6449237"/>
                </a:cubicBezTo>
                <a:cubicBezTo>
                  <a:pt x="4647388" y="6439105"/>
                  <a:pt x="4694100" y="6485823"/>
                  <a:pt x="4707607" y="6449237"/>
                </a:cubicBezTo>
                <a:cubicBezTo>
                  <a:pt x="4724491" y="6452615"/>
                  <a:pt x="4740812" y="6452615"/>
                  <a:pt x="4744189" y="6439105"/>
                </a:cubicBezTo>
                <a:cubicBezTo>
                  <a:pt x="5234380" y="6319217"/>
                  <a:pt x="5657600" y="6128973"/>
                  <a:pt x="6141038" y="5998953"/>
                </a:cubicBezTo>
                <a:cubicBezTo>
                  <a:pt x="6134285" y="6059179"/>
                  <a:pt x="6214201" y="5982067"/>
                  <a:pt x="6141038" y="5998953"/>
                </a:cubicBezTo>
                <a:cubicBezTo>
                  <a:pt x="6564821" y="5842479"/>
                  <a:pt x="6977910" y="5675311"/>
                  <a:pt x="7421390" y="5538537"/>
                </a:cubicBezTo>
                <a:cubicBezTo>
                  <a:pt x="7394939" y="5552046"/>
                  <a:pt x="7354981" y="5571746"/>
                  <a:pt x="7294762" y="5595386"/>
                </a:cubicBezTo>
                <a:cubicBezTo>
                  <a:pt x="7214846" y="5625217"/>
                  <a:pt x="7074710" y="5675311"/>
                  <a:pt x="7224976" y="5628594"/>
                </a:cubicBezTo>
                <a:cubicBezTo>
                  <a:pt x="7651572" y="5505329"/>
                  <a:pt x="8021889" y="5331969"/>
                  <a:pt x="8428788" y="5191818"/>
                </a:cubicBezTo>
                <a:cubicBezTo>
                  <a:pt x="8422034" y="5191818"/>
                  <a:pt x="8595374" y="5138347"/>
                  <a:pt x="8495197" y="5178310"/>
                </a:cubicBezTo>
                <a:cubicBezTo>
                  <a:pt x="8188475" y="5311707"/>
                  <a:pt x="7891884" y="5401763"/>
                  <a:pt x="7608237" y="5525592"/>
                </a:cubicBezTo>
                <a:cubicBezTo>
                  <a:pt x="7591916" y="5525592"/>
                  <a:pt x="7575033" y="5525592"/>
                  <a:pt x="7571655" y="5538537"/>
                </a:cubicBezTo>
                <a:cubicBezTo>
                  <a:pt x="7554771" y="5535160"/>
                  <a:pt x="7538451" y="5535160"/>
                  <a:pt x="7538451" y="5548669"/>
                </a:cubicBezTo>
                <a:cubicBezTo>
                  <a:pt x="7488363" y="5538537"/>
                  <a:pt x="7535074" y="5585254"/>
                  <a:pt x="7538451" y="5548669"/>
                </a:cubicBezTo>
                <a:cubicBezTo>
                  <a:pt x="7554771" y="5552046"/>
                  <a:pt x="7571655" y="5552046"/>
                  <a:pt x="7571655" y="5538537"/>
                </a:cubicBezTo>
                <a:cubicBezTo>
                  <a:pt x="7588539" y="5538537"/>
                  <a:pt x="7604860" y="5538537"/>
                  <a:pt x="7608237" y="5525592"/>
                </a:cubicBezTo>
                <a:cubicBezTo>
                  <a:pt x="7661702" y="5528406"/>
                  <a:pt x="7824912" y="5428780"/>
                  <a:pt x="7791707" y="5491820"/>
                </a:cubicBezTo>
                <a:cubicBezTo>
                  <a:pt x="7775386" y="5491820"/>
                  <a:pt x="7758503" y="5488443"/>
                  <a:pt x="7758503" y="5501952"/>
                </a:cubicBezTo>
                <a:cubicBezTo>
                  <a:pt x="7741619" y="5501952"/>
                  <a:pt x="7725297" y="5501952"/>
                  <a:pt x="7721921" y="5515460"/>
                </a:cubicBezTo>
                <a:cubicBezTo>
                  <a:pt x="7708414" y="5512083"/>
                  <a:pt x="7701661" y="5518837"/>
                  <a:pt x="7698283" y="5525592"/>
                </a:cubicBezTo>
                <a:cubicBezTo>
                  <a:pt x="7651572" y="5515460"/>
                  <a:pt x="7698283" y="5562177"/>
                  <a:pt x="7698283" y="5525592"/>
                </a:cubicBezTo>
                <a:cubicBezTo>
                  <a:pt x="7711791" y="5528406"/>
                  <a:pt x="7718544" y="5525592"/>
                  <a:pt x="7721921" y="5515460"/>
                </a:cubicBezTo>
                <a:cubicBezTo>
                  <a:pt x="7738242" y="5515460"/>
                  <a:pt x="7755125" y="5515460"/>
                  <a:pt x="7758503" y="5501952"/>
                </a:cubicBezTo>
                <a:cubicBezTo>
                  <a:pt x="7775386" y="5505329"/>
                  <a:pt x="7788331" y="5505329"/>
                  <a:pt x="7791707" y="5491820"/>
                </a:cubicBezTo>
                <a:cubicBezTo>
                  <a:pt x="7831665" y="5458612"/>
                  <a:pt x="7881754" y="5458612"/>
                  <a:pt x="7954917" y="5434972"/>
                </a:cubicBezTo>
                <a:cubicBezTo>
                  <a:pt x="8172155" y="5355046"/>
                  <a:pt x="8438918" y="5252044"/>
                  <a:pt x="8669100" y="5178310"/>
                </a:cubicBezTo>
                <a:cubicBezTo>
                  <a:pt x="8925733" y="5101761"/>
                  <a:pt x="8489007" y="5288629"/>
                  <a:pt x="8669100" y="5238535"/>
                </a:cubicBezTo>
                <a:cubicBezTo>
                  <a:pt x="8922356" y="5168178"/>
                  <a:pt x="9095696" y="5084876"/>
                  <a:pt x="9352329" y="4994819"/>
                </a:cubicBezTo>
                <a:cubicBezTo>
                  <a:pt x="9412548" y="4971742"/>
                  <a:pt x="9696195" y="4868176"/>
                  <a:pt x="9582511" y="4938533"/>
                </a:cubicBezTo>
                <a:cubicBezTo>
                  <a:pt x="9509348" y="4981873"/>
                  <a:pt x="9395664" y="5018459"/>
                  <a:pt x="9315748" y="5051667"/>
                </a:cubicBezTo>
                <a:cubicBezTo>
                  <a:pt x="9215571" y="5098384"/>
                  <a:pt x="9322501" y="5061799"/>
                  <a:pt x="9339385" y="5065176"/>
                </a:cubicBezTo>
                <a:cubicBezTo>
                  <a:pt x="9365836" y="5068553"/>
                  <a:pt x="9365836" y="5101761"/>
                  <a:pt x="9385534" y="5098384"/>
                </a:cubicBezTo>
                <a:cubicBezTo>
                  <a:pt x="9445753" y="5095007"/>
                  <a:pt x="9562814" y="5034782"/>
                  <a:pt x="9652298" y="5018459"/>
                </a:cubicBezTo>
                <a:cubicBezTo>
                  <a:pt x="9705763" y="5004950"/>
                  <a:pt x="9749098" y="4964988"/>
                  <a:pt x="9765982" y="5004950"/>
                </a:cubicBezTo>
                <a:cubicBezTo>
                  <a:pt x="9772735" y="5021836"/>
                  <a:pt x="9646107" y="5075307"/>
                  <a:pt x="9629223" y="5088253"/>
                </a:cubicBezTo>
                <a:cubicBezTo>
                  <a:pt x="9475581" y="5188441"/>
                  <a:pt x="9679312" y="5098384"/>
                  <a:pt x="9779489" y="5065176"/>
                </a:cubicBezTo>
                <a:cubicBezTo>
                  <a:pt x="9835768" y="5044913"/>
                  <a:pt x="10109285" y="4961610"/>
                  <a:pt x="9962959" y="5028590"/>
                </a:cubicBezTo>
                <a:cubicBezTo>
                  <a:pt x="9805940" y="5105139"/>
                  <a:pt x="9602772" y="5145101"/>
                  <a:pt x="9502595" y="5215458"/>
                </a:cubicBezTo>
                <a:cubicBezTo>
                  <a:pt x="9452506" y="5201950"/>
                  <a:pt x="9499218" y="5248667"/>
                  <a:pt x="9502595" y="5215458"/>
                </a:cubicBezTo>
                <a:cubicBezTo>
                  <a:pt x="9579135" y="5208704"/>
                  <a:pt x="9619093" y="5161987"/>
                  <a:pt x="9699572" y="5155233"/>
                </a:cubicBezTo>
                <a:cubicBezTo>
                  <a:pt x="9649484" y="5225027"/>
                  <a:pt x="9345576" y="5261612"/>
                  <a:pt x="9315748" y="5318461"/>
                </a:cubicBezTo>
                <a:cubicBezTo>
                  <a:pt x="9298864" y="5351669"/>
                  <a:pt x="9369213" y="5301575"/>
                  <a:pt x="9385534" y="5318461"/>
                </a:cubicBezTo>
                <a:cubicBezTo>
                  <a:pt x="9389474" y="5321838"/>
                  <a:pt x="9362460" y="5342101"/>
                  <a:pt x="9362460" y="5342101"/>
                </a:cubicBezTo>
                <a:cubicBezTo>
                  <a:pt x="9382720" y="5342101"/>
                  <a:pt x="9402418" y="5342101"/>
                  <a:pt x="9419302" y="5318461"/>
                </a:cubicBezTo>
                <a:cubicBezTo>
                  <a:pt x="9449130" y="5318461"/>
                  <a:pt x="9475581" y="5311707"/>
                  <a:pt x="9489088" y="5295384"/>
                </a:cubicBezTo>
                <a:cubicBezTo>
                  <a:pt x="9575758" y="5258235"/>
                  <a:pt x="9652298" y="5252044"/>
                  <a:pt x="9742907" y="5225027"/>
                </a:cubicBezTo>
                <a:cubicBezTo>
                  <a:pt x="9786242" y="5215458"/>
                  <a:pt x="9826200" y="5171556"/>
                  <a:pt x="9849275" y="5178310"/>
                </a:cubicBezTo>
                <a:cubicBezTo>
                  <a:pt x="9899363" y="5198573"/>
                  <a:pt x="9779489" y="5231781"/>
                  <a:pt x="9742907" y="5248667"/>
                </a:cubicBezTo>
                <a:cubicBezTo>
                  <a:pt x="9705763" y="5264990"/>
                  <a:pt x="9502595" y="5348855"/>
                  <a:pt x="9662428" y="5308329"/>
                </a:cubicBezTo>
                <a:cubicBezTo>
                  <a:pt x="9739530" y="5285252"/>
                  <a:pt x="9715893" y="5271744"/>
                  <a:pt x="9765982" y="5271744"/>
                </a:cubicBezTo>
                <a:cubicBezTo>
                  <a:pt x="9819447" y="5304952"/>
                  <a:pt x="9882480" y="5231781"/>
                  <a:pt x="9952829" y="5215458"/>
                </a:cubicBezTo>
                <a:cubicBezTo>
                  <a:pt x="10006294" y="5198573"/>
                  <a:pt x="10065950" y="5211518"/>
                  <a:pt x="10112661" y="5201950"/>
                </a:cubicBezTo>
                <a:cubicBezTo>
                  <a:pt x="10152620" y="5195195"/>
                  <a:pt x="10222969" y="5138347"/>
                  <a:pt x="10252797" y="5155233"/>
                </a:cubicBezTo>
                <a:cubicBezTo>
                  <a:pt x="10266304" y="5165364"/>
                  <a:pt x="10179634" y="5168178"/>
                  <a:pt x="10149243" y="5201950"/>
                </a:cubicBezTo>
                <a:cubicBezTo>
                  <a:pt x="10136299" y="5215458"/>
                  <a:pt x="10169503" y="5215458"/>
                  <a:pt x="10186387" y="5215458"/>
                </a:cubicBezTo>
                <a:cubicBezTo>
                  <a:pt x="10172880" y="5225027"/>
                  <a:pt x="10152620" y="5271744"/>
                  <a:pt x="10159373" y="5271744"/>
                </a:cubicBezTo>
                <a:cubicBezTo>
                  <a:pt x="10143052" y="5285252"/>
                  <a:pt x="10122792" y="5292007"/>
                  <a:pt x="10102531" y="5308329"/>
                </a:cubicBezTo>
                <a:cubicBezTo>
                  <a:pt x="9946075" y="5415272"/>
                  <a:pt x="10155996" y="5315084"/>
                  <a:pt x="10229722" y="5285252"/>
                </a:cubicBezTo>
                <a:cubicBezTo>
                  <a:pt x="10302885" y="5252044"/>
                  <a:pt x="10366481" y="5215458"/>
                  <a:pt x="10426137" y="5201950"/>
                </a:cubicBezTo>
                <a:cubicBezTo>
                  <a:pt x="10453151" y="5198573"/>
                  <a:pt x="10499862" y="5198573"/>
                  <a:pt x="10506053" y="5201950"/>
                </a:cubicBezTo>
                <a:cubicBezTo>
                  <a:pt x="10543197" y="5228404"/>
                  <a:pt x="10372671" y="5264990"/>
                  <a:pt x="10472848" y="5271744"/>
                </a:cubicBezTo>
                <a:cubicBezTo>
                  <a:pt x="10456527" y="5315084"/>
                  <a:pt x="10369857" y="5295384"/>
                  <a:pt x="10379425" y="5342101"/>
                </a:cubicBezTo>
                <a:cubicBezTo>
                  <a:pt x="10386178" y="5371932"/>
                  <a:pt x="10649565" y="5231781"/>
                  <a:pt x="10539821" y="5295384"/>
                </a:cubicBezTo>
                <a:cubicBezTo>
                  <a:pt x="10539821" y="5295384"/>
                  <a:pt x="10406439" y="5385441"/>
                  <a:pt x="10403062" y="5365178"/>
                </a:cubicBezTo>
                <a:cubicBezTo>
                  <a:pt x="10413192" y="5411895"/>
                  <a:pt x="10576402" y="5311707"/>
                  <a:pt x="10609607" y="5342101"/>
                </a:cubicBezTo>
                <a:cubicBezTo>
                  <a:pt x="10309639" y="5555423"/>
                  <a:pt x="9932568" y="5688820"/>
                  <a:pt x="9582511" y="5848671"/>
                </a:cubicBezTo>
                <a:cubicBezTo>
                  <a:pt x="9532423" y="5858802"/>
                  <a:pt x="9485711" y="5868933"/>
                  <a:pt x="9455883" y="5895388"/>
                </a:cubicBezTo>
                <a:cubicBezTo>
                  <a:pt x="9426055" y="5895388"/>
                  <a:pt x="9405795" y="5902142"/>
                  <a:pt x="9395664" y="5919028"/>
                </a:cubicBezTo>
                <a:cubicBezTo>
                  <a:pt x="9359083" y="5922405"/>
                  <a:pt x="9325878" y="5931973"/>
                  <a:pt x="9305618" y="5952236"/>
                </a:cubicBezTo>
                <a:cubicBezTo>
                  <a:pt x="9242585" y="5942105"/>
                  <a:pt x="9292674" y="5988822"/>
                  <a:pt x="9305618" y="5952236"/>
                </a:cubicBezTo>
                <a:cubicBezTo>
                  <a:pt x="9342199" y="5948859"/>
                  <a:pt x="9379343" y="5942105"/>
                  <a:pt x="9395664" y="5919028"/>
                </a:cubicBezTo>
                <a:cubicBezTo>
                  <a:pt x="9426055" y="5922405"/>
                  <a:pt x="9445753" y="5912273"/>
                  <a:pt x="9455883" y="5895388"/>
                </a:cubicBezTo>
                <a:cubicBezTo>
                  <a:pt x="9505972" y="5888633"/>
                  <a:pt x="9552683" y="5875688"/>
                  <a:pt x="9582511" y="5848671"/>
                </a:cubicBezTo>
                <a:cubicBezTo>
                  <a:pt x="9726023" y="5805331"/>
                  <a:pt x="9916247" y="5732160"/>
                  <a:pt x="10102531" y="5652234"/>
                </a:cubicBezTo>
                <a:cubicBezTo>
                  <a:pt x="10242666" y="5595386"/>
                  <a:pt x="10453151" y="5522214"/>
                  <a:pt x="10552765" y="5434972"/>
                </a:cubicBezTo>
                <a:cubicBezTo>
                  <a:pt x="10596100" y="5395009"/>
                  <a:pt x="10679956" y="5401763"/>
                  <a:pt x="10713161" y="5375309"/>
                </a:cubicBezTo>
                <a:cubicBezTo>
                  <a:pt x="10723291" y="5368555"/>
                  <a:pt x="10736235" y="5328592"/>
                  <a:pt x="10736235" y="5328592"/>
                </a:cubicBezTo>
                <a:cubicBezTo>
                  <a:pt x="10822905" y="5321838"/>
                  <a:pt x="10739612" y="5405141"/>
                  <a:pt x="10806584" y="5375309"/>
                </a:cubicBezTo>
                <a:cubicBezTo>
                  <a:pt x="10943343" y="5318461"/>
                  <a:pt x="10576402" y="5581877"/>
                  <a:pt x="10576402" y="5548669"/>
                </a:cubicBezTo>
                <a:cubicBezTo>
                  <a:pt x="10576402" y="5571746"/>
                  <a:pt x="10696277" y="5558800"/>
                  <a:pt x="10703030" y="5538537"/>
                </a:cubicBezTo>
                <a:cubicBezTo>
                  <a:pt x="10696277" y="5588631"/>
                  <a:pt x="10796454" y="5518837"/>
                  <a:pt x="10703030" y="5538537"/>
                </a:cubicBezTo>
                <a:cubicBezTo>
                  <a:pt x="10766626" y="5498575"/>
                  <a:pt x="10763249" y="5535160"/>
                  <a:pt x="10806584" y="5515460"/>
                </a:cubicBezTo>
                <a:cubicBezTo>
                  <a:pt x="10803207" y="5515460"/>
                  <a:pt x="10869617" y="5478312"/>
                  <a:pt x="10876370" y="5458612"/>
                </a:cubicBezTo>
                <a:cubicBezTo>
                  <a:pt x="10883124" y="5434972"/>
                  <a:pt x="10853296" y="5418649"/>
                  <a:pt x="10876370" y="5411895"/>
                </a:cubicBezTo>
                <a:cubicBezTo>
                  <a:pt x="10893254" y="5405141"/>
                  <a:pt x="10910138" y="5425403"/>
                  <a:pt x="10923082" y="5434972"/>
                </a:cubicBezTo>
                <a:cubicBezTo>
                  <a:pt x="10893254" y="5415272"/>
                  <a:pt x="10943343" y="5458612"/>
                  <a:pt x="10953473" y="5451858"/>
                </a:cubicBezTo>
                <a:cubicBezTo>
                  <a:pt x="10943343" y="5475497"/>
                  <a:pt x="10869617" y="5535160"/>
                  <a:pt x="10853296" y="5548669"/>
                </a:cubicBezTo>
                <a:cubicBezTo>
                  <a:pt x="11163394" y="5321838"/>
                  <a:pt x="10820091" y="5602140"/>
                  <a:pt x="10806584" y="5571746"/>
                </a:cubicBezTo>
                <a:cubicBezTo>
                  <a:pt x="10826282" y="5611709"/>
                  <a:pt x="10860049" y="5562177"/>
                  <a:pt x="10923082" y="5571746"/>
                </a:cubicBezTo>
                <a:cubicBezTo>
                  <a:pt x="10959663" y="5578500"/>
                  <a:pt x="10946719" y="5605517"/>
                  <a:pt x="10969794" y="5608894"/>
                </a:cubicBezTo>
                <a:cubicBezTo>
                  <a:pt x="10959663" y="5605517"/>
                  <a:pt x="11013129" y="5581877"/>
                  <a:pt x="11013129" y="5585254"/>
                </a:cubicBezTo>
                <a:cubicBezTo>
                  <a:pt x="11030012" y="5605517"/>
                  <a:pt x="10993431" y="5602140"/>
                  <a:pt x="10993431" y="5652234"/>
                </a:cubicBezTo>
                <a:cubicBezTo>
                  <a:pt x="10990054" y="5678688"/>
                  <a:pt x="11013129" y="5668557"/>
                  <a:pt x="11013129" y="5675311"/>
                </a:cubicBezTo>
                <a:cubicBezTo>
                  <a:pt x="11019882" y="5692197"/>
                  <a:pt x="11023259" y="5775499"/>
                  <a:pt x="11026636" y="5758614"/>
                </a:cubicBezTo>
                <a:cubicBezTo>
                  <a:pt x="11013129" y="5828971"/>
                  <a:pt x="10926459" y="5818839"/>
                  <a:pt x="10956287" y="5862179"/>
                </a:cubicBezTo>
                <a:cubicBezTo>
                  <a:pt x="10963040" y="5868933"/>
                  <a:pt x="11013129" y="5888633"/>
                  <a:pt x="11013129" y="5872311"/>
                </a:cubicBezTo>
                <a:cubicBezTo>
                  <a:pt x="11013129" y="5908896"/>
                  <a:pt x="10929836" y="5948859"/>
                  <a:pt x="10956287" y="5998953"/>
                </a:cubicBezTo>
                <a:cubicBezTo>
                  <a:pt x="10966417" y="6015839"/>
                  <a:pt x="10969794" y="6005707"/>
                  <a:pt x="10993431" y="6012462"/>
                </a:cubicBezTo>
                <a:cubicBezTo>
                  <a:pt x="11073347" y="6035539"/>
                  <a:pt x="10990054" y="6035539"/>
                  <a:pt x="10979924" y="6082256"/>
                </a:cubicBezTo>
                <a:cubicBezTo>
                  <a:pt x="10976547" y="6102518"/>
                  <a:pt x="10999622" y="6125596"/>
                  <a:pt x="10993431" y="6139104"/>
                </a:cubicBezTo>
                <a:cubicBezTo>
                  <a:pt x="10959663" y="6198767"/>
                  <a:pt x="10893254" y="6179067"/>
                  <a:pt x="10956287" y="6219029"/>
                </a:cubicBezTo>
                <a:cubicBezTo>
                  <a:pt x="11046333" y="6275877"/>
                  <a:pt x="10966417" y="6245483"/>
                  <a:pt x="10956287" y="6312463"/>
                </a:cubicBezTo>
                <a:cubicBezTo>
                  <a:pt x="10953473" y="6332163"/>
                  <a:pt x="10983301" y="6312463"/>
                  <a:pt x="10993431" y="6322595"/>
                </a:cubicBezTo>
                <a:cubicBezTo>
                  <a:pt x="10999622" y="6332163"/>
                  <a:pt x="10983301" y="6389011"/>
                  <a:pt x="10979924" y="6382257"/>
                </a:cubicBezTo>
                <a:cubicBezTo>
                  <a:pt x="10983301" y="6389011"/>
                  <a:pt x="11016505" y="6395766"/>
                  <a:pt x="11013129" y="6392389"/>
                </a:cubicBezTo>
                <a:cubicBezTo>
                  <a:pt x="11013129" y="6392389"/>
                  <a:pt x="11009752" y="6462745"/>
                  <a:pt x="11013129" y="6449237"/>
                </a:cubicBezTo>
                <a:cubicBezTo>
                  <a:pt x="11009752" y="6459369"/>
                  <a:pt x="10969794" y="6489200"/>
                  <a:pt x="10969794" y="6472314"/>
                </a:cubicBezTo>
                <a:cubicBezTo>
                  <a:pt x="10969794" y="6495954"/>
                  <a:pt x="11013129" y="6529163"/>
                  <a:pt x="11013129" y="6555617"/>
                </a:cubicBezTo>
                <a:cubicBezTo>
                  <a:pt x="11016505" y="6575879"/>
                  <a:pt x="10976547" y="6602897"/>
                  <a:pt x="10969794" y="6636105"/>
                </a:cubicBezTo>
                <a:cubicBezTo>
                  <a:pt x="10950096" y="6709277"/>
                  <a:pt x="10993431" y="6956370"/>
                  <a:pt x="10979924" y="7005901"/>
                </a:cubicBezTo>
                <a:cubicBezTo>
                  <a:pt x="10973171" y="7026164"/>
                  <a:pt x="10933212" y="7062749"/>
                  <a:pt x="10933212" y="7052618"/>
                </a:cubicBezTo>
                <a:cubicBezTo>
                  <a:pt x="10936589" y="7099335"/>
                  <a:pt x="10946719" y="7026164"/>
                  <a:pt x="10979924" y="7072881"/>
                </a:cubicBezTo>
                <a:cubicBezTo>
                  <a:pt x="10990054" y="7089767"/>
                  <a:pt x="10966417" y="7112843"/>
                  <a:pt x="10969794" y="7119598"/>
                </a:cubicBezTo>
                <a:cubicBezTo>
                  <a:pt x="10973171" y="7133107"/>
                  <a:pt x="10990054" y="7133107"/>
                  <a:pt x="10993431" y="7142675"/>
                </a:cubicBezTo>
                <a:cubicBezTo>
                  <a:pt x="10993431" y="7166315"/>
                  <a:pt x="10959663" y="7196147"/>
                  <a:pt x="10956287" y="7236109"/>
                </a:cubicBezTo>
                <a:cubicBezTo>
                  <a:pt x="10953473" y="7263126"/>
                  <a:pt x="10983301" y="7296335"/>
                  <a:pt x="10979924" y="7316035"/>
                </a:cubicBezTo>
                <a:cubicBezTo>
                  <a:pt x="10976547" y="7353183"/>
                  <a:pt x="10936589" y="7393145"/>
                  <a:pt x="10933212" y="7433109"/>
                </a:cubicBezTo>
                <a:cubicBezTo>
                  <a:pt x="10933212" y="7446617"/>
                  <a:pt x="10956287" y="7456185"/>
                  <a:pt x="10956287" y="7466317"/>
                </a:cubicBezTo>
                <a:cubicBezTo>
                  <a:pt x="10963040" y="7519788"/>
                  <a:pt x="10912952" y="7502903"/>
                  <a:pt x="10956287" y="7526543"/>
                </a:cubicBezTo>
                <a:cubicBezTo>
                  <a:pt x="11023259" y="7556374"/>
                  <a:pt x="10849919" y="7679639"/>
                  <a:pt x="10782947" y="7719602"/>
                </a:cubicBezTo>
                <a:cubicBezTo>
                  <a:pt x="10289378" y="8036489"/>
                  <a:pt x="9692819" y="8219981"/>
                  <a:pt x="9155915" y="8413603"/>
                </a:cubicBezTo>
                <a:cubicBezTo>
                  <a:pt x="9105827" y="8433865"/>
                  <a:pt x="8885775" y="8520545"/>
                  <a:pt x="8855384" y="8507037"/>
                </a:cubicBezTo>
                <a:cubicBezTo>
                  <a:pt x="8839063" y="8500282"/>
                  <a:pt x="9009026" y="8440057"/>
                  <a:pt x="8902096" y="8450188"/>
                </a:cubicBezTo>
                <a:cubicBezTo>
                  <a:pt x="8802482" y="8456942"/>
                  <a:pt x="8675291" y="8520545"/>
                  <a:pt x="8612258" y="8540245"/>
                </a:cubicBezTo>
                <a:cubicBezTo>
                  <a:pt x="8545286" y="8563885"/>
                  <a:pt x="8325234" y="8647188"/>
                  <a:pt x="8288653" y="8647188"/>
                </a:cubicBezTo>
                <a:cubicBezTo>
                  <a:pt x="8255448" y="8643810"/>
                  <a:pt x="8295406" y="8597093"/>
                  <a:pt x="8298783" y="8600471"/>
                </a:cubicBezTo>
                <a:cubicBezTo>
                  <a:pt x="8262201" y="8570076"/>
                  <a:pt x="8165401" y="8660696"/>
                  <a:pt x="8138387" y="8633679"/>
                </a:cubicBezTo>
                <a:cubicBezTo>
                  <a:pt x="8262201" y="8550376"/>
                  <a:pt x="8348871" y="8500282"/>
                  <a:pt x="8485630" y="8427111"/>
                </a:cubicBezTo>
                <a:cubicBezTo>
                  <a:pt x="8501951" y="8427111"/>
                  <a:pt x="8518834" y="8427111"/>
                  <a:pt x="8518834" y="8413603"/>
                </a:cubicBezTo>
                <a:cubicBezTo>
                  <a:pt x="8568923" y="8427111"/>
                  <a:pt x="8522211" y="8380394"/>
                  <a:pt x="8518834" y="8413603"/>
                </a:cubicBezTo>
                <a:cubicBezTo>
                  <a:pt x="8501951" y="8413603"/>
                  <a:pt x="8485630" y="8413603"/>
                  <a:pt x="8485630" y="8427111"/>
                </a:cubicBezTo>
                <a:cubicBezTo>
                  <a:pt x="8455239" y="8396717"/>
                  <a:pt x="8311727" y="8517168"/>
                  <a:pt x="8278523" y="8483960"/>
                </a:cubicBezTo>
                <a:cubicBezTo>
                  <a:pt x="8265015" y="8473828"/>
                  <a:pt x="8368569" y="8427111"/>
                  <a:pt x="8368569" y="8427111"/>
                </a:cubicBezTo>
                <a:cubicBezTo>
                  <a:pt x="8591997" y="8320169"/>
                  <a:pt x="8368569" y="8410225"/>
                  <a:pt x="8278523" y="8436680"/>
                </a:cubicBezTo>
                <a:cubicBezTo>
                  <a:pt x="8258825" y="8443434"/>
                  <a:pt x="8065224" y="8500282"/>
                  <a:pt x="8044963" y="8483960"/>
                </a:cubicBezTo>
                <a:cubicBezTo>
                  <a:pt x="8008382" y="8450188"/>
                  <a:pt x="8148517" y="8446811"/>
                  <a:pt x="8148517" y="8427111"/>
                </a:cubicBezTo>
                <a:cubicBezTo>
                  <a:pt x="8151894" y="8387148"/>
                  <a:pt x="8082108" y="8413603"/>
                  <a:pt x="8082108" y="8413603"/>
                </a:cubicBezTo>
                <a:cubicBezTo>
                  <a:pt x="7891884" y="8436680"/>
                  <a:pt x="7755125" y="8523922"/>
                  <a:pt x="7561525" y="8553754"/>
                </a:cubicBezTo>
                <a:cubicBezTo>
                  <a:pt x="7801837" y="8406848"/>
                  <a:pt x="8075355" y="8297091"/>
                  <a:pt x="8335365" y="8173263"/>
                </a:cubicBezTo>
                <a:cubicBezTo>
                  <a:pt x="8361815" y="8173263"/>
                  <a:pt x="8382076" y="8167072"/>
                  <a:pt x="8392206" y="8150187"/>
                </a:cubicBezTo>
                <a:cubicBezTo>
                  <a:pt x="8408527" y="8150187"/>
                  <a:pt x="8425411" y="8150187"/>
                  <a:pt x="8428788" y="8136677"/>
                </a:cubicBezTo>
                <a:cubicBezTo>
                  <a:pt x="8475499" y="8146809"/>
                  <a:pt x="8428788" y="8103469"/>
                  <a:pt x="8428788" y="8136677"/>
                </a:cubicBezTo>
                <a:cubicBezTo>
                  <a:pt x="8411904" y="8136677"/>
                  <a:pt x="8395583" y="8136677"/>
                  <a:pt x="8392206" y="8150187"/>
                </a:cubicBezTo>
                <a:cubicBezTo>
                  <a:pt x="8365193" y="8146809"/>
                  <a:pt x="8345495" y="8153563"/>
                  <a:pt x="8335365" y="8173263"/>
                </a:cubicBezTo>
                <a:cubicBezTo>
                  <a:pt x="8111936" y="8223357"/>
                  <a:pt x="7904829" y="8350000"/>
                  <a:pt x="7688153" y="8366886"/>
                </a:cubicBezTo>
                <a:cubicBezTo>
                  <a:pt x="7705037" y="8360131"/>
                  <a:pt x="7684777" y="8353377"/>
                  <a:pt x="7688153" y="8366886"/>
                </a:cubicBezTo>
                <a:cubicBezTo>
                  <a:pt x="7651572" y="8363508"/>
                  <a:pt x="7625121" y="8387148"/>
                  <a:pt x="7585163" y="8403471"/>
                </a:cubicBezTo>
                <a:cubicBezTo>
                  <a:pt x="7558149" y="8413603"/>
                  <a:pt x="7421390" y="8453565"/>
                  <a:pt x="7491739" y="8413603"/>
                </a:cubicBezTo>
                <a:cubicBezTo>
                  <a:pt x="7644819" y="8330300"/>
                  <a:pt x="7911582" y="8270075"/>
                  <a:pt x="8011759" y="8193526"/>
                </a:cubicBezTo>
                <a:cubicBezTo>
                  <a:pt x="8058471" y="8207035"/>
                  <a:pt x="8015135" y="8160317"/>
                  <a:pt x="8011759" y="8193526"/>
                </a:cubicBezTo>
                <a:cubicBezTo>
                  <a:pt x="7821535" y="8223357"/>
                  <a:pt x="7694907" y="8320169"/>
                  <a:pt x="7514813" y="8356754"/>
                </a:cubicBezTo>
                <a:cubicBezTo>
                  <a:pt x="7608237" y="8297091"/>
                  <a:pt x="7741619" y="8276829"/>
                  <a:pt x="7838419" y="8216603"/>
                </a:cubicBezTo>
                <a:cubicBezTo>
                  <a:pt x="7855303" y="8219981"/>
                  <a:pt x="7871623" y="8219981"/>
                  <a:pt x="7871623" y="8207035"/>
                </a:cubicBezTo>
                <a:cubicBezTo>
                  <a:pt x="7921712" y="8216603"/>
                  <a:pt x="7875001" y="8173263"/>
                  <a:pt x="7871623" y="8207035"/>
                </a:cubicBezTo>
                <a:cubicBezTo>
                  <a:pt x="7855303" y="8207035"/>
                  <a:pt x="7838419" y="8203657"/>
                  <a:pt x="7838419" y="8216603"/>
                </a:cubicBezTo>
                <a:cubicBezTo>
                  <a:pt x="7741619" y="8230111"/>
                  <a:pt x="7684777" y="8280206"/>
                  <a:pt x="7585163" y="8286960"/>
                </a:cubicBezTo>
                <a:cubicBezTo>
                  <a:pt x="7591916" y="8273451"/>
                  <a:pt x="7618367" y="8263320"/>
                  <a:pt x="7642005" y="8253751"/>
                </a:cubicBezTo>
                <a:cubicBezTo>
                  <a:pt x="7755125" y="8203657"/>
                  <a:pt x="7671833" y="8233489"/>
                  <a:pt x="7608237" y="8216603"/>
                </a:cubicBezTo>
                <a:cubicBezTo>
                  <a:pt x="7625121" y="8210412"/>
                  <a:pt x="7604860" y="8203657"/>
                  <a:pt x="7608237" y="8216603"/>
                </a:cubicBezTo>
                <a:cubicBezTo>
                  <a:pt x="7428143" y="8259943"/>
                  <a:pt x="7294762" y="8343809"/>
                  <a:pt x="7111292" y="8380394"/>
                </a:cubicBezTo>
                <a:cubicBezTo>
                  <a:pt x="7188394" y="8337055"/>
                  <a:pt x="7271688" y="8303283"/>
                  <a:pt x="7341474" y="8276829"/>
                </a:cubicBezTo>
                <a:cubicBezTo>
                  <a:pt x="7348227" y="8273451"/>
                  <a:pt x="7594730" y="8186772"/>
                  <a:pt x="7594730" y="8183395"/>
                </a:cubicBezTo>
                <a:cubicBezTo>
                  <a:pt x="7588539" y="8143432"/>
                  <a:pt x="7221599" y="8280206"/>
                  <a:pt x="7308269" y="8216603"/>
                </a:cubicBezTo>
                <a:cubicBezTo>
                  <a:pt x="7388185" y="8156941"/>
                  <a:pt x="7484985" y="8140055"/>
                  <a:pt x="7561525" y="8089961"/>
                </a:cubicBezTo>
                <a:cubicBezTo>
                  <a:pt x="7608237" y="8103469"/>
                  <a:pt x="7561525" y="8056753"/>
                  <a:pt x="7561525" y="8089961"/>
                </a:cubicBezTo>
                <a:cubicBezTo>
                  <a:pt x="7381432" y="8126547"/>
                  <a:pt x="7201339" y="8219981"/>
                  <a:pt x="7027999" y="8276829"/>
                </a:cubicBezTo>
                <a:cubicBezTo>
                  <a:pt x="6988040" y="8290337"/>
                  <a:pt x="6794440" y="8353377"/>
                  <a:pt x="6854659" y="8310037"/>
                </a:cubicBezTo>
                <a:cubicBezTo>
                  <a:pt x="6961589" y="8236866"/>
                  <a:pt x="7111292" y="8193526"/>
                  <a:pt x="7224976" y="8150187"/>
                </a:cubicBezTo>
                <a:cubicBezTo>
                  <a:pt x="6951459" y="8253751"/>
                  <a:pt x="7294762" y="8129923"/>
                  <a:pt x="7294762" y="8126547"/>
                </a:cubicBezTo>
                <a:cubicBezTo>
                  <a:pt x="7294762" y="8129923"/>
                  <a:pt x="7228353" y="8103469"/>
                  <a:pt x="7214846" y="8126547"/>
                </a:cubicBezTo>
                <a:cubicBezTo>
                  <a:pt x="7224976" y="8106847"/>
                  <a:pt x="7228353" y="8110223"/>
                  <a:pt x="7271688" y="8089961"/>
                </a:cubicBezTo>
                <a:cubicBezTo>
                  <a:pt x="7371301" y="8046621"/>
                  <a:pt x="7318399" y="8053375"/>
                  <a:pt x="7261557" y="8066883"/>
                </a:cubicBezTo>
                <a:cubicBezTo>
                  <a:pt x="7048259" y="8123732"/>
                  <a:pt x="6747728" y="8226735"/>
                  <a:pt x="6544560" y="8276829"/>
                </a:cubicBezTo>
                <a:cubicBezTo>
                  <a:pt x="6591272" y="8236866"/>
                  <a:pt x="6657682" y="8203657"/>
                  <a:pt x="6704393" y="8173263"/>
                </a:cubicBezTo>
                <a:cubicBezTo>
                  <a:pt x="6714523" y="8167072"/>
                  <a:pt x="6728031" y="8140055"/>
                  <a:pt x="6717900" y="8150187"/>
                </a:cubicBezTo>
                <a:cubicBezTo>
                  <a:pt x="6741538" y="8136677"/>
                  <a:pt x="6818077" y="8100092"/>
                  <a:pt x="6834398" y="8089961"/>
                </a:cubicBezTo>
                <a:cubicBezTo>
                  <a:pt x="6974533" y="8013413"/>
                  <a:pt x="6657682" y="8146809"/>
                  <a:pt x="6637984" y="8126547"/>
                </a:cubicBezTo>
                <a:cubicBezTo>
                  <a:pt x="6631230" y="8119792"/>
                  <a:pt x="6761235" y="8079829"/>
                  <a:pt x="6764612" y="8079829"/>
                </a:cubicBezTo>
                <a:cubicBezTo>
                  <a:pt x="6894617" y="8033675"/>
                  <a:pt x="6754482" y="8066883"/>
                  <a:pt x="6701016" y="8077015"/>
                </a:cubicBezTo>
                <a:cubicBezTo>
                  <a:pt x="6711147" y="8066883"/>
                  <a:pt x="6704393" y="8033675"/>
                  <a:pt x="6688072" y="8033675"/>
                </a:cubicBezTo>
                <a:cubicBezTo>
                  <a:pt x="6717900" y="8016789"/>
                  <a:pt x="6774742" y="8010035"/>
                  <a:pt x="6774742" y="7999904"/>
                </a:cubicBezTo>
                <a:cubicBezTo>
                  <a:pt x="6778119" y="7986395"/>
                  <a:pt x="6731407" y="7980204"/>
                  <a:pt x="6728031" y="7986395"/>
                </a:cubicBezTo>
                <a:cubicBezTo>
                  <a:pt x="6734784" y="7966695"/>
                  <a:pt x="6771365" y="7986395"/>
                  <a:pt x="6774742" y="7976827"/>
                </a:cubicBezTo>
                <a:cubicBezTo>
                  <a:pt x="6774742" y="7980204"/>
                  <a:pt x="6701016" y="7949809"/>
                  <a:pt x="6711147" y="7946433"/>
                </a:cubicBezTo>
                <a:cubicBezTo>
                  <a:pt x="6721277" y="7946433"/>
                  <a:pt x="6731407" y="7949809"/>
                  <a:pt x="6741538" y="7953187"/>
                </a:cubicBezTo>
                <a:cubicBezTo>
                  <a:pt x="6721277" y="7946433"/>
                  <a:pt x="6714523" y="7946433"/>
                  <a:pt x="6711147" y="7946433"/>
                </a:cubicBezTo>
                <a:cubicBezTo>
                  <a:pt x="6598026" y="7930110"/>
                  <a:pt x="6477588" y="8006658"/>
                  <a:pt x="6371220" y="8043243"/>
                </a:cubicBezTo>
                <a:cubicBezTo>
                  <a:pt x="6074066" y="8150187"/>
                  <a:pt x="5717256" y="8270075"/>
                  <a:pt x="5434734" y="8343809"/>
                </a:cubicBezTo>
                <a:cubicBezTo>
                  <a:pt x="5441488" y="8303283"/>
                  <a:pt x="5640716" y="8290337"/>
                  <a:pt x="5644093" y="8263320"/>
                </a:cubicBezTo>
                <a:cubicBezTo>
                  <a:pt x="5647470" y="8226735"/>
                  <a:pt x="5457809" y="8313415"/>
                  <a:pt x="5471316" y="8310037"/>
                </a:cubicBezTo>
                <a:cubicBezTo>
                  <a:pt x="5447679" y="8316791"/>
                  <a:pt x="5277715" y="8363508"/>
                  <a:pt x="5274339" y="8356754"/>
                </a:cubicBezTo>
                <a:cubicBezTo>
                  <a:pt x="5258018" y="8340431"/>
                  <a:pt x="5397590" y="8316791"/>
                  <a:pt x="5434734" y="8286960"/>
                </a:cubicBezTo>
                <a:cubicBezTo>
                  <a:pt x="5451055" y="8276829"/>
                  <a:pt x="5434734" y="8257129"/>
                  <a:pt x="5447679" y="8253751"/>
                </a:cubicBezTo>
                <a:cubicBezTo>
                  <a:pt x="5454432" y="8250375"/>
                  <a:pt x="5527595" y="8250375"/>
                  <a:pt x="5517465" y="8253751"/>
                </a:cubicBezTo>
                <a:cubicBezTo>
                  <a:pt x="5627209" y="8243621"/>
                  <a:pt x="5530409" y="8216603"/>
                  <a:pt x="5501144" y="8236866"/>
                </a:cubicBezTo>
                <a:cubicBezTo>
                  <a:pt x="5527595" y="8216603"/>
                  <a:pt x="5607512" y="8193526"/>
                  <a:pt x="5667730" y="8160317"/>
                </a:cubicBezTo>
                <a:cubicBezTo>
                  <a:pt x="5677298" y="8153563"/>
                  <a:pt x="5687428" y="8129923"/>
                  <a:pt x="5677298" y="8136677"/>
                </a:cubicBezTo>
                <a:cubicBezTo>
                  <a:pt x="5711065" y="8119792"/>
                  <a:pt x="5754400" y="8116978"/>
                  <a:pt x="5770721" y="8103469"/>
                </a:cubicBezTo>
                <a:cubicBezTo>
                  <a:pt x="5774098" y="8096715"/>
                  <a:pt x="5770721" y="8079829"/>
                  <a:pt x="5760591" y="8073638"/>
                </a:cubicBezTo>
                <a:cubicBezTo>
                  <a:pt x="5780852" y="8070261"/>
                  <a:pt x="5807303" y="8073638"/>
                  <a:pt x="5817433" y="8056753"/>
                </a:cubicBezTo>
                <a:cubicBezTo>
                  <a:pt x="5821162" y="8050069"/>
                  <a:pt x="5817873" y="8043385"/>
                  <a:pt x="5809952" y="8036943"/>
                </a:cubicBezTo>
                <a:lnTo>
                  <a:pt x="5778419" y="8020531"/>
                </a:lnTo>
                <a:lnTo>
                  <a:pt x="5780852" y="8020167"/>
                </a:lnTo>
                <a:lnTo>
                  <a:pt x="5775685" y="8019108"/>
                </a:lnTo>
                <a:lnTo>
                  <a:pt x="5774678" y="8018584"/>
                </a:lnTo>
                <a:cubicBezTo>
                  <a:pt x="5693280" y="7987143"/>
                  <a:pt x="5543917" y="7970334"/>
                  <a:pt x="5723439" y="8008396"/>
                </a:cubicBezTo>
                <a:lnTo>
                  <a:pt x="5775685" y="8019108"/>
                </a:lnTo>
                <a:lnTo>
                  <a:pt x="5778419" y="8020531"/>
                </a:lnTo>
                <a:lnTo>
                  <a:pt x="5766747" y="8022278"/>
                </a:lnTo>
                <a:cubicBezTo>
                  <a:pt x="5749652" y="8026077"/>
                  <a:pt x="5726542" y="8033675"/>
                  <a:pt x="5724010" y="8033675"/>
                </a:cubicBezTo>
                <a:cubicBezTo>
                  <a:pt x="5667730" y="8036489"/>
                  <a:pt x="5284469" y="8169886"/>
                  <a:pt x="5124636" y="8193526"/>
                </a:cubicBezTo>
                <a:cubicBezTo>
                  <a:pt x="4947919" y="8223357"/>
                  <a:pt x="5151087" y="8153563"/>
                  <a:pt x="5134203" y="8136677"/>
                </a:cubicBezTo>
                <a:cubicBezTo>
                  <a:pt x="5128013" y="8129923"/>
                  <a:pt x="5050910" y="8133301"/>
                  <a:pt x="5031213" y="8136677"/>
                </a:cubicBezTo>
                <a:cubicBezTo>
                  <a:pt x="4984501" y="8143432"/>
                  <a:pt x="4624314" y="8273451"/>
                  <a:pt x="4604053" y="8253751"/>
                </a:cubicBezTo>
                <a:cubicBezTo>
                  <a:pt x="4607430" y="8257129"/>
                  <a:pt x="4730682" y="8186772"/>
                  <a:pt x="4737435" y="8180017"/>
                </a:cubicBezTo>
                <a:cubicBezTo>
                  <a:pt x="4757696" y="8173263"/>
                  <a:pt x="4830859" y="8153563"/>
                  <a:pt x="4834235" y="8150187"/>
                </a:cubicBezTo>
                <a:cubicBezTo>
                  <a:pt x="4844366" y="8136677"/>
                  <a:pt x="4844366" y="8133301"/>
                  <a:pt x="4840989" y="8126547"/>
                </a:cubicBezTo>
                <a:cubicBezTo>
                  <a:pt x="4844366" y="8126547"/>
                  <a:pt x="4847742" y="8126547"/>
                  <a:pt x="4847742" y="8126547"/>
                </a:cubicBezTo>
                <a:cubicBezTo>
                  <a:pt x="4854496" y="8096715"/>
                  <a:pt x="4687347" y="8126547"/>
                  <a:pt x="4697477" y="8126547"/>
                </a:cubicBezTo>
                <a:cubicBezTo>
                  <a:pt x="4277071" y="8153563"/>
                  <a:pt x="3640553" y="8219981"/>
                  <a:pt x="3276990" y="8240243"/>
                </a:cubicBezTo>
                <a:cubicBezTo>
                  <a:pt x="3146985" y="8250375"/>
                  <a:pt x="3020357" y="8259943"/>
                  <a:pt x="2939878" y="8263320"/>
                </a:cubicBezTo>
                <a:cubicBezTo>
                  <a:pt x="2563369" y="8283583"/>
                  <a:pt x="2283099" y="8387148"/>
                  <a:pt x="1946550" y="8436680"/>
                </a:cubicBezTo>
                <a:cubicBezTo>
                  <a:pt x="1976377" y="8400094"/>
                  <a:pt x="2109759" y="8396717"/>
                  <a:pt x="2132834" y="8366886"/>
                </a:cubicBezTo>
                <a:cubicBezTo>
                  <a:pt x="2139587" y="8360131"/>
                  <a:pt x="2123266" y="8337055"/>
                  <a:pt x="2109759" y="8343809"/>
                </a:cubicBezTo>
                <a:lnTo>
                  <a:pt x="2203183" y="8323545"/>
                </a:lnTo>
                <a:cubicBezTo>
                  <a:pt x="2176169" y="8276829"/>
                  <a:pt x="2069801" y="8306660"/>
                  <a:pt x="2006205" y="8310037"/>
                </a:cubicBezTo>
                <a:cubicBezTo>
                  <a:pt x="1872824" y="8316791"/>
                  <a:pt x="1659526" y="8320169"/>
                  <a:pt x="1566102" y="8323545"/>
                </a:cubicBezTo>
                <a:cubicBezTo>
                  <a:pt x="1436097" y="8323545"/>
                  <a:pt x="1366311" y="8350000"/>
                  <a:pt x="1256004" y="8380394"/>
                </a:cubicBezTo>
                <a:cubicBezTo>
                  <a:pt x="1179464" y="8400094"/>
                  <a:pt x="912701" y="8446811"/>
                  <a:pt x="1022445" y="8403471"/>
                </a:cubicBezTo>
                <a:cubicBezTo>
                  <a:pt x="1119245" y="8366886"/>
                  <a:pt x="1039329" y="8380394"/>
                  <a:pt x="989240" y="8390526"/>
                </a:cubicBezTo>
                <a:cubicBezTo>
                  <a:pt x="765812" y="8433865"/>
                  <a:pt x="615546" y="8500282"/>
                  <a:pt x="398871" y="8540245"/>
                </a:cubicBezTo>
                <a:cubicBezTo>
                  <a:pt x="369043" y="8546999"/>
                  <a:pt x="225531" y="8550376"/>
                  <a:pt x="305448" y="8530114"/>
                </a:cubicBezTo>
                <a:cubicBezTo>
                  <a:pt x="372420" y="8513791"/>
                  <a:pt x="535630" y="8507037"/>
                  <a:pt x="539007" y="8496905"/>
                </a:cubicBezTo>
                <a:cubicBezTo>
                  <a:pt x="535630" y="8500282"/>
                  <a:pt x="375797" y="8446811"/>
                  <a:pt x="398871" y="8450188"/>
                </a:cubicBezTo>
                <a:cubicBezTo>
                  <a:pt x="358913" y="8443434"/>
                  <a:pt x="312201" y="8460320"/>
                  <a:pt x="285750" y="8450188"/>
                </a:cubicBezTo>
                <a:cubicBezTo>
                  <a:pt x="172066" y="8400094"/>
                  <a:pt x="318955" y="8436680"/>
                  <a:pt x="342029" y="8403471"/>
                </a:cubicBezTo>
                <a:cubicBezTo>
                  <a:pt x="345406" y="8393340"/>
                  <a:pt x="325708" y="8390526"/>
                  <a:pt x="318955" y="8390526"/>
                </a:cubicBezTo>
                <a:cubicBezTo>
                  <a:pt x="275620" y="8396717"/>
                  <a:pt x="305448" y="8400094"/>
                  <a:pt x="285750" y="8380394"/>
                </a:cubicBezTo>
                <a:cubicBezTo>
                  <a:pt x="251983" y="8350000"/>
                  <a:pt x="262113" y="8370263"/>
                  <a:pt x="248606" y="8323545"/>
                </a:cubicBezTo>
                <a:cubicBezTo>
                  <a:pt x="239039" y="8283583"/>
                  <a:pt x="205271" y="8263320"/>
                  <a:pt x="195704" y="8273451"/>
                </a:cubicBezTo>
                <a:cubicBezTo>
                  <a:pt x="205271" y="8246997"/>
                  <a:pt x="235662" y="8186772"/>
                  <a:pt x="248606" y="8207035"/>
                </a:cubicBezTo>
                <a:cubicBezTo>
                  <a:pt x="218778" y="8163132"/>
                  <a:pt x="202457" y="8203657"/>
                  <a:pt x="155182" y="8193526"/>
                </a:cubicBezTo>
                <a:cubicBezTo>
                  <a:pt x="168689" y="8196903"/>
                  <a:pt x="45438" y="8156941"/>
                  <a:pt x="42061" y="8160317"/>
                </a:cubicBezTo>
                <a:cubicBezTo>
                  <a:pt x="75266" y="8126547"/>
                  <a:pt x="212024" y="8183395"/>
                  <a:pt x="225531" y="8173263"/>
                </a:cubicBezTo>
                <a:cubicBezTo>
                  <a:pt x="251983" y="8146809"/>
                  <a:pt x="42061" y="8093338"/>
                  <a:pt x="42061" y="8089961"/>
                </a:cubicBezTo>
                <a:cubicBezTo>
                  <a:pt x="31931" y="8077015"/>
                  <a:pt x="95527" y="8063507"/>
                  <a:pt x="98903" y="8033675"/>
                </a:cubicBezTo>
                <a:cubicBezTo>
                  <a:pt x="102280" y="8010035"/>
                  <a:pt x="52192" y="7983581"/>
                  <a:pt x="52192" y="7986395"/>
                </a:cubicBezTo>
                <a:cubicBezTo>
                  <a:pt x="25740" y="7953187"/>
                  <a:pt x="-14781" y="7826545"/>
                  <a:pt x="5480" y="7756751"/>
                </a:cubicBezTo>
                <a:cubicBezTo>
                  <a:pt x="18987" y="7716787"/>
                  <a:pt x="55568" y="7716787"/>
                  <a:pt x="65698" y="7676262"/>
                </a:cubicBezTo>
                <a:cubicBezTo>
                  <a:pt x="69075" y="7663317"/>
                  <a:pt x="85396" y="7659939"/>
                  <a:pt x="88773" y="7653185"/>
                </a:cubicBezTo>
                <a:cubicBezTo>
                  <a:pt x="92150" y="7639677"/>
                  <a:pt x="78643" y="7603091"/>
                  <a:pt x="88773" y="7583391"/>
                </a:cubicBezTo>
                <a:cubicBezTo>
                  <a:pt x="102280" y="7546243"/>
                  <a:pt x="125354" y="7556374"/>
                  <a:pt x="121978" y="7546243"/>
                </a:cubicBezTo>
                <a:cubicBezTo>
                  <a:pt x="115224" y="7526543"/>
                  <a:pt x="38685" y="7540051"/>
                  <a:pt x="75266" y="7513034"/>
                </a:cubicBezTo>
                <a:cubicBezTo>
                  <a:pt x="95527" y="7499525"/>
                  <a:pt x="152369" y="7523165"/>
                  <a:pt x="192327" y="7513034"/>
                </a:cubicBezTo>
                <a:cubicBezTo>
                  <a:pt x="212024" y="7526543"/>
                  <a:pt x="255359" y="7523165"/>
                  <a:pt x="285750" y="7513034"/>
                </a:cubicBezTo>
                <a:cubicBezTo>
                  <a:pt x="308825" y="7502903"/>
                  <a:pt x="289127" y="7483203"/>
                  <a:pt x="305448" y="7466317"/>
                </a:cubicBezTo>
                <a:cubicBezTo>
                  <a:pt x="338653" y="7443240"/>
                  <a:pt x="398871" y="7452809"/>
                  <a:pt x="412378" y="7443240"/>
                </a:cubicBezTo>
                <a:cubicBezTo>
                  <a:pt x="422509" y="7433109"/>
                  <a:pt x="415755" y="7396523"/>
                  <a:pt x="435453" y="7386391"/>
                </a:cubicBezTo>
                <a:cubicBezTo>
                  <a:pt x="438830" y="7383015"/>
                  <a:pt x="492295" y="7396523"/>
                  <a:pt x="492295" y="7396523"/>
                </a:cubicBezTo>
                <a:cubicBezTo>
                  <a:pt x="509179" y="7366129"/>
                  <a:pt x="462467" y="7372883"/>
                  <a:pt x="459090" y="7329543"/>
                </a:cubicBezTo>
                <a:cubicBezTo>
                  <a:pt x="459090" y="7346429"/>
                  <a:pt x="492295" y="7292957"/>
                  <a:pt x="492295" y="7292957"/>
                </a:cubicBezTo>
                <a:cubicBezTo>
                  <a:pt x="502425" y="7242863"/>
                  <a:pt x="472034" y="7256372"/>
                  <a:pt x="492295" y="7225977"/>
                </a:cubicBezTo>
                <a:cubicBezTo>
                  <a:pt x="492295" y="7219786"/>
                  <a:pt x="495672" y="7259749"/>
                  <a:pt x="502425" y="7259749"/>
                </a:cubicBezTo>
                <a:cubicBezTo>
                  <a:pt x="572211" y="7266503"/>
                  <a:pt x="509179" y="7225977"/>
                  <a:pt x="515369" y="7202901"/>
                </a:cubicBezTo>
                <a:cubicBezTo>
                  <a:pt x="519309" y="7189392"/>
                  <a:pt x="589095" y="7186015"/>
                  <a:pt x="525500" y="7179823"/>
                </a:cubicBezTo>
                <a:cubicBezTo>
                  <a:pt x="475411" y="7173069"/>
                  <a:pt x="478788" y="7129729"/>
                  <a:pt x="478788" y="7109467"/>
                </a:cubicBezTo>
                <a:cubicBezTo>
                  <a:pt x="478788" y="7095958"/>
                  <a:pt x="502425" y="7089767"/>
                  <a:pt x="502425" y="7086389"/>
                </a:cubicBezTo>
                <a:cubicBezTo>
                  <a:pt x="502425" y="7055995"/>
                  <a:pt x="469220" y="7049241"/>
                  <a:pt x="478788" y="7029541"/>
                </a:cubicBezTo>
                <a:cubicBezTo>
                  <a:pt x="495672" y="6999710"/>
                  <a:pt x="522123" y="7022787"/>
                  <a:pt x="562081" y="6992955"/>
                </a:cubicBezTo>
                <a:cubicBezTo>
                  <a:pt x="568835" y="6986201"/>
                  <a:pt x="572211" y="6986201"/>
                  <a:pt x="575588" y="6986201"/>
                </a:cubicBezTo>
                <a:cubicBezTo>
                  <a:pt x="552514" y="7029541"/>
                  <a:pt x="585718" y="6986201"/>
                  <a:pt x="575588" y="6986201"/>
                </a:cubicBezTo>
                <a:cubicBezTo>
                  <a:pt x="578965" y="6976070"/>
                  <a:pt x="585718" y="6962561"/>
                  <a:pt x="595849" y="6946239"/>
                </a:cubicBezTo>
                <a:cubicBezTo>
                  <a:pt x="662258" y="6829165"/>
                  <a:pt x="549137" y="6939484"/>
                  <a:pt x="539007" y="6922599"/>
                </a:cubicBezTo>
                <a:cubicBezTo>
                  <a:pt x="525500" y="6906276"/>
                  <a:pt x="585718" y="6849427"/>
                  <a:pt x="562081" y="6819596"/>
                </a:cubicBezTo>
                <a:cubicBezTo>
                  <a:pt x="562081" y="6822973"/>
                  <a:pt x="515369" y="6795956"/>
                  <a:pt x="515369" y="6809465"/>
                </a:cubicBezTo>
                <a:cubicBezTo>
                  <a:pt x="519309" y="6722785"/>
                  <a:pt x="669012" y="6659182"/>
                  <a:pt x="722477" y="6579257"/>
                </a:cubicBezTo>
                <a:cubicBezTo>
                  <a:pt x="729230" y="6569125"/>
                  <a:pt x="755682" y="6512277"/>
                  <a:pt x="759058" y="6509463"/>
                </a:cubicBezTo>
                <a:cubicBezTo>
                  <a:pt x="759058" y="6482445"/>
                  <a:pt x="729230" y="6472314"/>
                  <a:pt x="712347" y="6468937"/>
                </a:cubicBezTo>
                <a:cubicBezTo>
                  <a:pt x="708970" y="6432351"/>
                  <a:pt x="705593" y="6392389"/>
                  <a:pt x="722477" y="6405897"/>
                </a:cubicBezTo>
                <a:cubicBezTo>
                  <a:pt x="692649" y="6385635"/>
                  <a:pt x="652690" y="6439105"/>
                  <a:pt x="642560" y="6416029"/>
                </a:cubicBezTo>
                <a:cubicBezTo>
                  <a:pt x="642560" y="6412651"/>
                  <a:pt x="702216" y="6352426"/>
                  <a:pt x="698839" y="6345671"/>
                </a:cubicBezTo>
                <a:lnTo>
                  <a:pt x="652690" y="6345671"/>
                </a:lnTo>
                <a:cubicBezTo>
                  <a:pt x="679142" y="6275877"/>
                  <a:pt x="742174" y="6242669"/>
                  <a:pt x="759058" y="6208898"/>
                </a:cubicBezTo>
                <a:cubicBezTo>
                  <a:pt x="802393" y="6205521"/>
                  <a:pt x="755682" y="6155427"/>
                  <a:pt x="759058" y="6208898"/>
                </a:cubicBezTo>
                <a:cubicBezTo>
                  <a:pt x="715723" y="6225783"/>
                  <a:pt x="685895" y="6242669"/>
                  <a:pt x="722477" y="6195952"/>
                </a:cubicBezTo>
                <a:cubicBezTo>
                  <a:pt x="792263" y="6109273"/>
                  <a:pt x="855859" y="6032162"/>
                  <a:pt x="919454" y="5965745"/>
                </a:cubicBezTo>
                <a:cubicBezTo>
                  <a:pt x="952659" y="5928596"/>
                  <a:pt x="965603" y="5879065"/>
                  <a:pt x="989240" y="5848671"/>
                </a:cubicBezTo>
                <a:cubicBezTo>
                  <a:pt x="1032575" y="5795199"/>
                  <a:pt x="1122622" y="5732160"/>
                  <a:pt x="1162580" y="5711897"/>
                </a:cubicBezTo>
                <a:cubicBezTo>
                  <a:pt x="1136129" y="5742291"/>
                  <a:pt x="1059026" y="5832348"/>
                  <a:pt x="1125999" y="5792385"/>
                </a:cubicBezTo>
                <a:cubicBezTo>
                  <a:pt x="1182841" y="5758614"/>
                  <a:pt x="1292585" y="5668557"/>
                  <a:pt x="1335920" y="5665180"/>
                </a:cubicBezTo>
                <a:cubicBezTo>
                  <a:pt x="1275701" y="5725405"/>
                  <a:pt x="1309469" y="5715274"/>
                  <a:pt x="1346050" y="5698951"/>
                </a:cubicBezTo>
                <a:cubicBezTo>
                  <a:pt x="1566102" y="5598763"/>
                  <a:pt x="1792907" y="5491820"/>
                  <a:pt x="2006205" y="5398386"/>
                </a:cubicBezTo>
                <a:cubicBezTo>
                  <a:pt x="2199806" y="5315084"/>
                  <a:pt x="2350071" y="5235158"/>
                  <a:pt x="2536356" y="5168178"/>
                </a:cubicBezTo>
                <a:cubicBezTo>
                  <a:pt x="2606704" y="5141724"/>
                  <a:pt x="2723203" y="5122024"/>
                  <a:pt x="2733333" y="5111893"/>
                </a:cubicBezTo>
                <a:cubicBezTo>
                  <a:pt x="2740086" y="5101761"/>
                  <a:pt x="2696751" y="5091630"/>
                  <a:pt x="2686621" y="5098384"/>
                </a:cubicBezTo>
                <a:cubicBezTo>
                  <a:pt x="2766538" y="5038159"/>
                  <a:pt x="2956761" y="4975119"/>
                  <a:pt x="3043431" y="4938533"/>
                </a:cubicBezTo>
                <a:cubicBezTo>
                  <a:pt x="3170059" y="4881685"/>
                  <a:pt x="2966892" y="4961610"/>
                  <a:pt x="2939878" y="4948102"/>
                </a:cubicBezTo>
                <a:cubicBezTo>
                  <a:pt x="2956761" y="4914893"/>
                  <a:pt x="3100273" y="4911516"/>
                  <a:pt x="3103650" y="4891816"/>
                </a:cubicBezTo>
                <a:cubicBezTo>
                  <a:pt x="3110403" y="4848477"/>
                  <a:pt x="2823380" y="4985250"/>
                  <a:pt x="2963515" y="4901385"/>
                </a:cubicBezTo>
                <a:cubicBezTo>
                  <a:pt x="3036677" y="4861422"/>
                  <a:pt x="3233655" y="4791628"/>
                  <a:pt x="3300064" y="4765174"/>
                </a:cubicBezTo>
                <a:cubicBezTo>
                  <a:pt x="3460460" y="4698194"/>
                  <a:pt x="3570204" y="4625023"/>
                  <a:pt x="3656874" y="4591252"/>
                </a:cubicBezTo>
                <a:cubicBezTo>
                  <a:pt x="4384002" y="4288436"/>
                  <a:pt x="5041343" y="4068359"/>
                  <a:pt x="5747647" y="3758225"/>
                </a:cubicBezTo>
                <a:cubicBezTo>
                  <a:pt x="5763968" y="3751472"/>
                  <a:pt x="5944061" y="3688431"/>
                  <a:pt x="5944061" y="3678300"/>
                </a:cubicBezTo>
                <a:cubicBezTo>
                  <a:pt x="5940684" y="3647906"/>
                  <a:pt x="5751024" y="3735148"/>
                  <a:pt x="5747647" y="3735148"/>
                </a:cubicBezTo>
                <a:cubicBezTo>
                  <a:pt x="5507897" y="3831397"/>
                  <a:pt x="5367762" y="3881491"/>
                  <a:pt x="5134203" y="3968171"/>
                </a:cubicBezTo>
                <a:cubicBezTo>
                  <a:pt x="4964240" y="4031773"/>
                  <a:pt x="4784147" y="4128585"/>
                  <a:pt x="4637258" y="4175301"/>
                </a:cubicBezTo>
                <a:cubicBezTo>
                  <a:pt x="4607430" y="4184870"/>
                  <a:pt x="4564095" y="4178679"/>
                  <a:pt x="4547774" y="4188247"/>
                </a:cubicBezTo>
                <a:cubicBezTo>
                  <a:pt x="4427337" y="4228773"/>
                  <a:pt x="4310839" y="4285058"/>
                  <a:pt x="4177457" y="4324458"/>
                </a:cubicBezTo>
                <a:cubicBezTo>
                  <a:pt x="4050829" y="4364421"/>
                  <a:pt x="3923638" y="4424646"/>
                  <a:pt x="3783503" y="4474741"/>
                </a:cubicBezTo>
                <a:cubicBezTo>
                  <a:pt x="3566828" y="4551289"/>
                  <a:pt x="3306818" y="4625023"/>
                  <a:pt x="3067069" y="4704948"/>
                </a:cubicBezTo>
                <a:cubicBezTo>
                  <a:pt x="2886975" y="4767988"/>
                  <a:pt x="2983212" y="4711703"/>
                  <a:pt x="3056938" y="4681308"/>
                </a:cubicBezTo>
                <a:cubicBezTo>
                  <a:pt x="3327078" y="4578306"/>
                  <a:pt x="3616916" y="4495004"/>
                  <a:pt x="3840344" y="4394816"/>
                </a:cubicBezTo>
                <a:cubicBezTo>
                  <a:pt x="3880303" y="4391438"/>
                  <a:pt x="3914070" y="4381307"/>
                  <a:pt x="3933768" y="4358230"/>
                </a:cubicBezTo>
                <a:cubicBezTo>
                  <a:pt x="3993987" y="4371175"/>
                  <a:pt x="3947275" y="4324458"/>
                  <a:pt x="3933768" y="4358230"/>
                </a:cubicBezTo>
                <a:cubicBezTo>
                  <a:pt x="3897186" y="4364421"/>
                  <a:pt x="3860605" y="4371175"/>
                  <a:pt x="3840344" y="4394816"/>
                </a:cubicBezTo>
                <a:cubicBezTo>
                  <a:pt x="3824024" y="4374552"/>
                  <a:pt x="3694019" y="4428024"/>
                  <a:pt x="3680512" y="4404946"/>
                </a:cubicBezTo>
                <a:cubicBezTo>
                  <a:pt x="3670381" y="4388061"/>
                  <a:pt x="3900563" y="4312075"/>
                  <a:pt x="3797010" y="4324458"/>
                </a:cubicBezTo>
                <a:cubicBezTo>
                  <a:pt x="3703586" y="4337967"/>
                  <a:pt x="3597218" y="4428024"/>
                  <a:pt x="3516739" y="4417892"/>
                </a:cubicBezTo>
                <a:cubicBezTo>
                  <a:pt x="3446953" y="4407761"/>
                  <a:pt x="3346776" y="4444910"/>
                  <a:pt x="3230278" y="4488249"/>
                </a:cubicBezTo>
                <a:cubicBezTo>
                  <a:pt x="3163306" y="4507949"/>
                  <a:pt x="2989966" y="4594629"/>
                  <a:pt x="2963515" y="4568175"/>
                </a:cubicBezTo>
                <a:cubicBezTo>
                  <a:pt x="2966892" y="4571552"/>
                  <a:pt x="3103650" y="4514703"/>
                  <a:pt x="3113780" y="4507949"/>
                </a:cubicBezTo>
                <a:cubicBezTo>
                  <a:pt x="3186943" y="4481495"/>
                  <a:pt x="3213394" y="4457855"/>
                  <a:pt x="3263483" y="4441532"/>
                </a:cubicBezTo>
                <a:cubicBezTo>
                  <a:pt x="3293873" y="4441532"/>
                  <a:pt x="3283743" y="4424646"/>
                  <a:pt x="3263483" y="4428024"/>
                </a:cubicBezTo>
                <a:cubicBezTo>
                  <a:pt x="3757051" y="4215265"/>
                  <a:pt x="4307462" y="4011511"/>
                  <a:pt x="4824105" y="3818452"/>
                </a:cubicBezTo>
                <a:cubicBezTo>
                  <a:pt x="4857873" y="3804943"/>
                  <a:pt x="5134203" y="3711508"/>
                  <a:pt x="5134203" y="3691246"/>
                </a:cubicBezTo>
                <a:cubicBezTo>
                  <a:pt x="5137580" y="3668169"/>
                  <a:pt x="5071171" y="3694623"/>
                  <a:pt x="5054287" y="3701378"/>
                </a:cubicBezTo>
                <a:cubicBezTo>
                  <a:pt x="4534267" y="3894999"/>
                  <a:pt x="4027191" y="4135339"/>
                  <a:pt x="3473404" y="4255227"/>
                </a:cubicBezTo>
                <a:cubicBezTo>
                  <a:pt x="3863982" y="4101568"/>
                  <a:pt x="4270881" y="3928208"/>
                  <a:pt x="4660895" y="3771734"/>
                </a:cubicBezTo>
                <a:cubicBezTo>
                  <a:pt x="4697477" y="3758225"/>
                  <a:pt x="4820729" y="3708131"/>
                  <a:pt x="4847742" y="3701378"/>
                </a:cubicBezTo>
                <a:cubicBezTo>
                  <a:pt x="4920906" y="3681678"/>
                  <a:pt x="4877570" y="3671546"/>
                  <a:pt x="4824105" y="3678300"/>
                </a:cubicBezTo>
                <a:cubicBezTo>
                  <a:pt x="4827482" y="3678300"/>
                  <a:pt x="4827482" y="3691246"/>
                  <a:pt x="4754319" y="3711508"/>
                </a:cubicBezTo>
                <a:cubicBezTo>
                  <a:pt x="4591109" y="3764980"/>
                  <a:pt x="4414392" y="3861791"/>
                  <a:pt x="4304085" y="3884868"/>
                </a:cubicBezTo>
                <a:cubicBezTo>
                  <a:pt x="4260750" y="3898376"/>
                  <a:pt x="4224169" y="3911885"/>
                  <a:pt x="4200532" y="3898376"/>
                </a:cubicBezTo>
                <a:cubicBezTo>
                  <a:pt x="4197155" y="3898376"/>
                  <a:pt x="4220792" y="3865168"/>
                  <a:pt x="4224169" y="3865168"/>
                </a:cubicBezTo>
                <a:cubicBezTo>
                  <a:pt x="4184211" y="3868546"/>
                  <a:pt x="4163950" y="3894999"/>
                  <a:pt x="4130745" y="3908508"/>
                </a:cubicBezTo>
                <a:cubicBezTo>
                  <a:pt x="4047452" y="3945093"/>
                  <a:pt x="3957405" y="3958039"/>
                  <a:pt x="3876926" y="3991811"/>
                </a:cubicBezTo>
                <a:cubicBezTo>
                  <a:pt x="3817270" y="3945093"/>
                  <a:pt x="3923638" y="3938339"/>
                  <a:pt x="3970349" y="3921454"/>
                </a:cubicBezTo>
                <a:cubicBezTo>
                  <a:pt x="4073903" y="3881491"/>
                  <a:pt x="4087410" y="3865168"/>
                  <a:pt x="4200532" y="3818452"/>
                </a:cubicBezTo>
                <a:cubicBezTo>
                  <a:pt x="4257374" y="3794811"/>
                  <a:pt x="4390755" y="3737963"/>
                  <a:pt x="4281011" y="3758225"/>
                </a:cubicBezTo>
                <a:cubicBezTo>
                  <a:pt x="4267504" y="3761603"/>
                  <a:pt x="4150443" y="3815074"/>
                  <a:pt x="4140875" y="3818452"/>
                </a:cubicBezTo>
                <a:cubicBezTo>
                  <a:pt x="4097540" y="3831397"/>
                  <a:pt x="3850475" y="3891623"/>
                  <a:pt x="3970349" y="3841528"/>
                </a:cubicBezTo>
                <a:cubicBezTo>
                  <a:pt x="4080657" y="3794811"/>
                  <a:pt x="4207285" y="3737963"/>
                  <a:pt x="4304085" y="3701378"/>
                </a:cubicBezTo>
                <a:cubicBezTo>
                  <a:pt x="4460541" y="3641714"/>
                  <a:pt x="4207285" y="3678300"/>
                  <a:pt x="4177457" y="3645092"/>
                </a:cubicBezTo>
                <a:cubicBezTo>
                  <a:pt x="4237113" y="3654660"/>
                  <a:pt x="4190964" y="3607943"/>
                  <a:pt x="4177457" y="3645092"/>
                </a:cubicBezTo>
                <a:cubicBezTo>
                  <a:pt x="4163950" y="3645092"/>
                  <a:pt x="4153820" y="3645092"/>
                  <a:pt x="4140875" y="3645092"/>
                </a:cubicBezTo>
                <a:cubicBezTo>
                  <a:pt x="4140875" y="3671546"/>
                  <a:pt x="4110485" y="3647906"/>
                  <a:pt x="4123992" y="3641714"/>
                </a:cubicBezTo>
                <a:cubicBezTo>
                  <a:pt x="3576958" y="3614698"/>
                  <a:pt x="3013603" y="3597812"/>
                  <a:pt x="2503151" y="3561226"/>
                </a:cubicBezTo>
                <a:cubicBezTo>
                  <a:pt x="2226257" y="3544904"/>
                  <a:pt x="1882954" y="3501563"/>
                  <a:pt x="1669656" y="3471169"/>
                </a:cubicBezTo>
                <a:cubicBezTo>
                  <a:pt x="1539651" y="3451469"/>
                  <a:pt x="1406269" y="3421075"/>
                  <a:pt x="1275701" y="3391244"/>
                </a:cubicBezTo>
                <a:cubicBezTo>
                  <a:pt x="1165957" y="3361412"/>
                  <a:pt x="1032575" y="3337772"/>
                  <a:pt x="919454" y="3274733"/>
                </a:cubicBezTo>
                <a:cubicBezTo>
                  <a:pt x="859235" y="3241524"/>
                  <a:pt x="795640" y="3157659"/>
                  <a:pt x="735984" y="3134582"/>
                </a:cubicBezTo>
                <a:cubicBezTo>
                  <a:pt x="769189" y="3124450"/>
                  <a:pt x="675765" y="3051279"/>
                  <a:pt x="675765" y="3007940"/>
                </a:cubicBezTo>
                <a:cubicBezTo>
                  <a:pt x="675765" y="2991053"/>
                  <a:pt x="702216" y="2987676"/>
                  <a:pt x="712347" y="2974731"/>
                </a:cubicBezTo>
                <a:cubicBezTo>
                  <a:pt x="769189" y="2890866"/>
                  <a:pt x="605416" y="2850902"/>
                  <a:pt x="689272" y="2810940"/>
                </a:cubicBezTo>
                <a:cubicBezTo>
                  <a:pt x="685895" y="2874542"/>
                  <a:pt x="765812" y="2797431"/>
                  <a:pt x="689272" y="2810940"/>
                </a:cubicBezTo>
                <a:cubicBezTo>
                  <a:pt x="669012" y="2751277"/>
                  <a:pt x="682519" y="2787863"/>
                  <a:pt x="712347" y="2777731"/>
                </a:cubicBezTo>
                <a:cubicBezTo>
                  <a:pt x="729230" y="2770978"/>
                  <a:pt x="755682" y="2691052"/>
                  <a:pt x="759058" y="2697807"/>
                </a:cubicBezTo>
                <a:cubicBezTo>
                  <a:pt x="755682" y="2674166"/>
                  <a:pt x="729230" y="2660657"/>
                  <a:pt x="712347" y="2637580"/>
                </a:cubicBezTo>
                <a:cubicBezTo>
                  <a:pt x="762435" y="2664034"/>
                  <a:pt x="759058" y="2584109"/>
                  <a:pt x="759058" y="2580733"/>
                </a:cubicBezTo>
                <a:cubicBezTo>
                  <a:pt x="752305" y="2540769"/>
                  <a:pt x="689272" y="2527261"/>
                  <a:pt x="665635" y="2477729"/>
                </a:cubicBezTo>
                <a:cubicBezTo>
                  <a:pt x="658881" y="2467598"/>
                  <a:pt x="685895" y="2460844"/>
                  <a:pt x="689272" y="2454089"/>
                </a:cubicBezTo>
                <a:cubicBezTo>
                  <a:pt x="698839" y="2403995"/>
                  <a:pt x="618923" y="2414127"/>
                  <a:pt x="652690" y="2384295"/>
                </a:cubicBezTo>
                <a:cubicBezTo>
                  <a:pt x="658881" y="2380918"/>
                  <a:pt x="752305" y="2417504"/>
                  <a:pt x="745551" y="2420882"/>
                </a:cubicBezTo>
                <a:cubicBezTo>
                  <a:pt x="779319" y="2410750"/>
                  <a:pt x="769189" y="2337579"/>
                  <a:pt x="769189" y="2337579"/>
                </a:cubicBezTo>
                <a:cubicBezTo>
                  <a:pt x="772565" y="2334202"/>
                  <a:pt x="815900" y="2340955"/>
                  <a:pt x="815900" y="2337579"/>
                </a:cubicBezTo>
                <a:cubicBezTo>
                  <a:pt x="829407" y="2267221"/>
                  <a:pt x="755682" y="2250899"/>
                  <a:pt x="759058" y="2234014"/>
                </a:cubicBezTo>
                <a:cubicBezTo>
                  <a:pt x="759058" y="2220505"/>
                  <a:pt x="799016" y="2227259"/>
                  <a:pt x="802393" y="2234014"/>
                </a:cubicBezTo>
                <a:cubicBezTo>
                  <a:pt x="809147" y="2223882"/>
                  <a:pt x="829407" y="2180542"/>
                  <a:pt x="826031" y="2140579"/>
                </a:cubicBezTo>
                <a:cubicBezTo>
                  <a:pt x="822654" y="2074163"/>
                  <a:pt x="809147" y="2097240"/>
                  <a:pt x="826031" y="2037014"/>
                </a:cubicBezTo>
                <a:cubicBezTo>
                  <a:pt x="849105" y="1970597"/>
                  <a:pt x="878933" y="1940765"/>
                  <a:pt x="895817" y="1900240"/>
                </a:cubicBezTo>
                <a:cubicBezTo>
                  <a:pt x="925645" y="1823692"/>
                  <a:pt x="895817" y="1743766"/>
                  <a:pt x="909324" y="1680163"/>
                </a:cubicBezTo>
                <a:cubicBezTo>
                  <a:pt x="919454" y="1623878"/>
                  <a:pt x="979110" y="1567029"/>
                  <a:pt x="989240" y="1493858"/>
                </a:cubicBezTo>
                <a:cubicBezTo>
                  <a:pt x="1002747" y="1393670"/>
                  <a:pt x="959412" y="1273219"/>
                  <a:pt x="989240" y="1183162"/>
                </a:cubicBezTo>
                <a:cubicBezTo>
                  <a:pt x="1002747" y="1143199"/>
                  <a:pt x="1059026" y="1116745"/>
                  <a:pt x="1069157" y="1080159"/>
                </a:cubicBezTo>
                <a:cubicBezTo>
                  <a:pt x="1075910" y="1059897"/>
                  <a:pt x="1059026" y="1049765"/>
                  <a:pt x="1059026" y="1033442"/>
                </a:cubicBezTo>
                <a:cubicBezTo>
                  <a:pt x="1059026" y="936631"/>
                  <a:pt x="1142320" y="820120"/>
                  <a:pt x="1149073" y="756518"/>
                </a:cubicBezTo>
                <a:cubicBezTo>
                  <a:pt x="1155827" y="696292"/>
                  <a:pt x="1132752" y="636629"/>
                  <a:pt x="1139506" y="583158"/>
                </a:cubicBezTo>
                <a:cubicBezTo>
                  <a:pt x="1142320" y="543195"/>
                  <a:pt x="1179464" y="506610"/>
                  <a:pt x="1186217" y="466647"/>
                </a:cubicBezTo>
                <a:cubicBezTo>
                  <a:pt x="1186217" y="456516"/>
                  <a:pt x="1165957" y="449761"/>
                  <a:pt x="1162580" y="432876"/>
                </a:cubicBezTo>
                <a:cubicBezTo>
                  <a:pt x="1146259" y="366459"/>
                  <a:pt x="1192408" y="323119"/>
                  <a:pt x="1195785" y="292725"/>
                </a:cubicBezTo>
                <a:cubicBezTo>
                  <a:pt x="1195785" y="289348"/>
                  <a:pt x="1182841" y="252762"/>
                  <a:pt x="1186217" y="222930"/>
                </a:cubicBezTo>
                <a:cubicBezTo>
                  <a:pt x="1186217" y="193873"/>
                  <a:pt x="1254728" y="13988"/>
                  <a:pt x="1303527" y="768"/>
                </a:cubicBezTo>
                <a:close/>
              </a:path>
            </a:pathLst>
          </a:custGeom>
          <a:effectLst/>
        </p:spPr>
        <p:txBody>
          <a:bodyPr wrap="square">
            <a:no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Tree>
    <p:extLst>
      <p:ext uri="{BB962C8B-B14F-4D97-AF65-F5344CB8AC3E}">
        <p14:creationId xmlns:p14="http://schemas.microsoft.com/office/powerpoint/2010/main" val="2228121114"/>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rush Left2">
    <p:bg>
      <p:bgPr>
        <a:solidFill>
          <a:schemeClr val="bg2"/>
        </a:solidFill>
        <a:effectLst/>
      </p:bgPr>
    </p:bg>
    <p:spTree>
      <p:nvGrpSpPr>
        <p:cNvPr id="1" name=""/>
        <p:cNvGrpSpPr/>
        <p:nvPr/>
      </p:nvGrpSpPr>
      <p:grpSpPr>
        <a:xfrm>
          <a:off x="0" y="0"/>
          <a:ext cx="0" cy="0"/>
          <a:chOff x="0" y="0"/>
          <a:chExt cx="0" cy="0"/>
        </a:xfrm>
      </p:grpSpPr>
      <p:sp>
        <p:nvSpPr>
          <p:cNvPr id="12" name="Picture Placeholder 11"/>
          <p:cNvSpPr>
            <a:spLocks noGrp="1"/>
          </p:cNvSpPr>
          <p:nvPr>
            <p:ph type="pic" sz="quarter" idx="19"/>
          </p:nvPr>
        </p:nvSpPr>
        <p:spPr>
          <a:xfrm>
            <a:off x="1189934" y="-921103"/>
            <a:ext cx="4404904" cy="8694707"/>
          </a:xfrm>
          <a:custGeom>
            <a:avLst/>
            <a:gdLst>
              <a:gd name="connsiteX0" fmla="*/ 5199873 w 8807514"/>
              <a:gd name="connsiteY0" fmla="*/ 17383923 h 17389414"/>
              <a:gd name="connsiteX1" fmla="*/ 5199873 w 8807514"/>
              <a:gd name="connsiteY1" fmla="*/ 17383923 h 17389414"/>
              <a:gd name="connsiteX2" fmla="*/ 5183363 w 8807514"/>
              <a:gd name="connsiteY2" fmla="*/ 17378709 h 17389414"/>
              <a:gd name="connsiteX3" fmla="*/ 5194370 w 8807514"/>
              <a:gd name="connsiteY3" fmla="*/ 17382185 h 17389414"/>
              <a:gd name="connsiteX4" fmla="*/ 5249361 w 8807514"/>
              <a:gd name="connsiteY4" fmla="*/ 17122921 h 17389414"/>
              <a:gd name="connsiteX5" fmla="*/ 5251134 w 8807514"/>
              <a:gd name="connsiteY5" fmla="*/ 17127661 h 17389414"/>
              <a:gd name="connsiteX6" fmla="*/ 5251366 w 8807514"/>
              <a:gd name="connsiteY6" fmla="*/ 17128525 h 17389414"/>
              <a:gd name="connsiteX7" fmla="*/ 5245300 w 8807514"/>
              <a:gd name="connsiteY7" fmla="*/ 17111573 h 17389414"/>
              <a:gd name="connsiteX8" fmla="*/ 5249361 w 8807514"/>
              <a:gd name="connsiteY8" fmla="*/ 17122921 h 17389414"/>
              <a:gd name="connsiteX9" fmla="*/ 5246088 w 8807514"/>
              <a:gd name="connsiteY9" fmla="*/ 17114173 h 17389414"/>
              <a:gd name="connsiteX10" fmla="*/ 5245300 w 8807514"/>
              <a:gd name="connsiteY10" fmla="*/ 17111573 h 17389414"/>
              <a:gd name="connsiteX11" fmla="*/ 6361552 w 8807514"/>
              <a:gd name="connsiteY11" fmla="*/ 16821637 h 17389414"/>
              <a:gd name="connsiteX12" fmla="*/ 6361552 w 8807514"/>
              <a:gd name="connsiteY12" fmla="*/ 16821637 h 17389414"/>
              <a:gd name="connsiteX13" fmla="*/ 4932111 w 8807514"/>
              <a:gd name="connsiteY13" fmla="*/ 16349977 h 17389414"/>
              <a:gd name="connsiteX14" fmla="*/ 4932111 w 8807514"/>
              <a:gd name="connsiteY14" fmla="*/ 16349977 h 17389414"/>
              <a:gd name="connsiteX15" fmla="*/ 4780078 w 8807514"/>
              <a:gd name="connsiteY15" fmla="*/ 16229842 h 17389414"/>
              <a:gd name="connsiteX16" fmla="*/ 4765274 w 8807514"/>
              <a:gd name="connsiteY16" fmla="*/ 16234637 h 17389414"/>
              <a:gd name="connsiteX17" fmla="*/ 4804408 w 8807514"/>
              <a:gd name="connsiteY17" fmla="*/ 16298486 h 17389414"/>
              <a:gd name="connsiteX18" fmla="*/ 4780078 w 8807514"/>
              <a:gd name="connsiteY18" fmla="*/ 16229842 h 17389414"/>
              <a:gd name="connsiteX19" fmla="*/ 4107069 w 8807514"/>
              <a:gd name="connsiteY19" fmla="*/ 16209767 h 17389414"/>
              <a:gd name="connsiteX20" fmla="*/ 4114404 w 8807514"/>
              <a:gd name="connsiteY20" fmla="*/ 16222279 h 17389414"/>
              <a:gd name="connsiteX21" fmla="*/ 4105136 w 8807514"/>
              <a:gd name="connsiteY21" fmla="*/ 16213526 h 17389414"/>
              <a:gd name="connsiteX22" fmla="*/ 4357451 w 8807514"/>
              <a:gd name="connsiteY22" fmla="*/ 16055447 h 17389414"/>
              <a:gd name="connsiteX23" fmla="*/ 4369809 w 8807514"/>
              <a:gd name="connsiteY23" fmla="*/ 16094581 h 17389414"/>
              <a:gd name="connsiteX24" fmla="*/ 4357451 w 8807514"/>
              <a:gd name="connsiteY24" fmla="*/ 16055447 h 17389414"/>
              <a:gd name="connsiteX25" fmla="*/ 4357451 w 8807514"/>
              <a:gd name="connsiteY25" fmla="*/ 16030732 h 17389414"/>
              <a:gd name="connsiteX26" fmla="*/ 4357451 w 8807514"/>
              <a:gd name="connsiteY26" fmla="*/ 16055447 h 17389414"/>
              <a:gd name="connsiteX27" fmla="*/ 4357451 w 8807514"/>
              <a:gd name="connsiteY27" fmla="*/ 16030732 h 17389414"/>
              <a:gd name="connsiteX28" fmla="*/ 5230368 w 8807514"/>
              <a:gd name="connsiteY28" fmla="*/ 15951525 h 17389414"/>
              <a:gd name="connsiteX29" fmla="*/ 5236948 w 8807514"/>
              <a:gd name="connsiteY29" fmla="*/ 15952465 h 17389414"/>
              <a:gd name="connsiteX30" fmla="*/ 5240987 w 8807514"/>
              <a:gd name="connsiteY30" fmla="*/ 15972513 h 17389414"/>
              <a:gd name="connsiteX31" fmla="*/ 5224590 w 8807514"/>
              <a:gd name="connsiteY31" fmla="*/ 15940107 h 17389414"/>
              <a:gd name="connsiteX32" fmla="*/ 5230368 w 8807514"/>
              <a:gd name="connsiteY32" fmla="*/ 15951525 h 17389414"/>
              <a:gd name="connsiteX33" fmla="*/ 5226135 w 8807514"/>
              <a:gd name="connsiteY33" fmla="*/ 15950920 h 17389414"/>
              <a:gd name="connsiteX34" fmla="*/ 5224590 w 8807514"/>
              <a:gd name="connsiteY34" fmla="*/ 15940107 h 17389414"/>
              <a:gd name="connsiteX35" fmla="*/ 5302859 w 8807514"/>
              <a:gd name="connsiteY35" fmla="*/ 15659994 h 17389414"/>
              <a:gd name="connsiteX36" fmla="*/ 5302859 w 8807514"/>
              <a:gd name="connsiteY36" fmla="*/ 15659994 h 17389414"/>
              <a:gd name="connsiteX37" fmla="*/ 5276083 w 8807514"/>
              <a:gd name="connsiteY37" fmla="*/ 15596145 h 17389414"/>
              <a:gd name="connsiteX38" fmla="*/ 5276083 w 8807514"/>
              <a:gd name="connsiteY38" fmla="*/ 15596145 h 17389414"/>
              <a:gd name="connsiteX39" fmla="*/ 7612158 w 8807514"/>
              <a:gd name="connsiteY39" fmla="*/ 15561157 h 17389414"/>
              <a:gd name="connsiteX40" fmla="*/ 7617141 w 8807514"/>
              <a:gd name="connsiteY40" fmla="*/ 15563094 h 17389414"/>
              <a:gd name="connsiteX41" fmla="*/ 7615403 w 8807514"/>
              <a:gd name="connsiteY41" fmla="*/ 15562419 h 17389414"/>
              <a:gd name="connsiteX42" fmla="*/ 7601500 w 8807514"/>
              <a:gd name="connsiteY42" fmla="*/ 15557012 h 17389414"/>
              <a:gd name="connsiteX43" fmla="*/ 7606713 w 8807514"/>
              <a:gd name="connsiteY43" fmla="*/ 15559039 h 17389414"/>
              <a:gd name="connsiteX44" fmla="*/ 7612158 w 8807514"/>
              <a:gd name="connsiteY44" fmla="*/ 15561157 h 17389414"/>
              <a:gd name="connsiteX45" fmla="*/ 5236948 w 8807514"/>
              <a:gd name="connsiteY45" fmla="*/ 15493163 h 17389414"/>
              <a:gd name="connsiteX46" fmla="*/ 5276083 w 8807514"/>
              <a:gd name="connsiteY46" fmla="*/ 15596145 h 17389414"/>
              <a:gd name="connsiteX47" fmla="*/ 5236948 w 8807514"/>
              <a:gd name="connsiteY47" fmla="*/ 15493163 h 17389414"/>
              <a:gd name="connsiteX48" fmla="*/ 7626216 w 8807514"/>
              <a:gd name="connsiteY48" fmla="*/ 15456089 h 17389414"/>
              <a:gd name="connsiteX49" fmla="*/ 7626216 w 8807514"/>
              <a:gd name="connsiteY49" fmla="*/ 15456089 h 17389414"/>
              <a:gd name="connsiteX50" fmla="*/ 4084474 w 8807514"/>
              <a:gd name="connsiteY50" fmla="*/ 15057483 h 17389414"/>
              <a:gd name="connsiteX51" fmla="*/ 4089688 w 8807514"/>
              <a:gd name="connsiteY51" fmla="*/ 15062696 h 17389414"/>
              <a:gd name="connsiteX52" fmla="*/ 4084474 w 8807514"/>
              <a:gd name="connsiteY52" fmla="*/ 15057483 h 17389414"/>
              <a:gd name="connsiteX53" fmla="*/ 7523230 w 8807514"/>
              <a:gd name="connsiteY53" fmla="*/ 15011204 h 17389414"/>
              <a:gd name="connsiteX54" fmla="*/ 7535588 w 8807514"/>
              <a:gd name="connsiteY54" fmla="*/ 15050338 h 17389414"/>
              <a:gd name="connsiteX55" fmla="*/ 7523230 w 8807514"/>
              <a:gd name="connsiteY55" fmla="*/ 15011204 h 17389414"/>
              <a:gd name="connsiteX56" fmla="*/ 7510872 w 8807514"/>
              <a:gd name="connsiteY56" fmla="*/ 14972071 h 17389414"/>
              <a:gd name="connsiteX57" fmla="*/ 7523230 w 8807514"/>
              <a:gd name="connsiteY57" fmla="*/ 15011204 h 17389414"/>
              <a:gd name="connsiteX58" fmla="*/ 7510872 w 8807514"/>
              <a:gd name="connsiteY58" fmla="*/ 14972071 h 17389414"/>
              <a:gd name="connsiteX59" fmla="*/ 4989204 w 8807514"/>
              <a:gd name="connsiteY59" fmla="*/ 14923387 h 17389414"/>
              <a:gd name="connsiteX60" fmla="*/ 4983604 w 8807514"/>
              <a:gd name="connsiteY60" fmla="*/ 14934997 h 17389414"/>
              <a:gd name="connsiteX61" fmla="*/ 4995962 w 8807514"/>
              <a:gd name="connsiteY61" fmla="*/ 14959713 h 17389414"/>
              <a:gd name="connsiteX62" fmla="*/ 4989204 w 8807514"/>
              <a:gd name="connsiteY62" fmla="*/ 14923387 h 17389414"/>
              <a:gd name="connsiteX63" fmla="*/ 7471738 w 8807514"/>
              <a:gd name="connsiteY63" fmla="*/ 14871148 h 17389414"/>
              <a:gd name="connsiteX64" fmla="*/ 7510872 w 8807514"/>
              <a:gd name="connsiteY64" fmla="*/ 14972071 h 17389414"/>
              <a:gd name="connsiteX65" fmla="*/ 7471738 w 8807514"/>
              <a:gd name="connsiteY65" fmla="*/ 14871148 h 17389414"/>
              <a:gd name="connsiteX66" fmla="*/ 7030702 w 8807514"/>
              <a:gd name="connsiteY66" fmla="*/ 14694115 h 17389414"/>
              <a:gd name="connsiteX67" fmla="*/ 7051556 w 8807514"/>
              <a:gd name="connsiteY67" fmla="*/ 14755808 h 17389414"/>
              <a:gd name="connsiteX68" fmla="*/ 7024780 w 8807514"/>
              <a:gd name="connsiteY68" fmla="*/ 14704317 h 17389414"/>
              <a:gd name="connsiteX69" fmla="*/ 7030702 w 8807514"/>
              <a:gd name="connsiteY69" fmla="*/ 14694115 h 17389414"/>
              <a:gd name="connsiteX70" fmla="*/ 7012421 w 8807514"/>
              <a:gd name="connsiteY70" fmla="*/ 14679601 h 17389414"/>
              <a:gd name="connsiteX71" fmla="*/ 7012421 w 8807514"/>
              <a:gd name="connsiteY71" fmla="*/ 14679601 h 17389414"/>
              <a:gd name="connsiteX72" fmla="*/ 7115407 w 8807514"/>
              <a:gd name="connsiteY72" fmla="*/ 14665183 h 17389414"/>
              <a:gd name="connsiteX73" fmla="*/ 7127765 w 8807514"/>
              <a:gd name="connsiteY73" fmla="*/ 14704317 h 17389414"/>
              <a:gd name="connsiteX74" fmla="*/ 7115407 w 8807514"/>
              <a:gd name="connsiteY74" fmla="*/ 14665183 h 17389414"/>
              <a:gd name="connsiteX75" fmla="*/ 4919752 w 8807514"/>
              <a:gd name="connsiteY75" fmla="*/ 14615752 h 17389414"/>
              <a:gd name="connsiteX76" fmla="*/ 4919752 w 8807514"/>
              <a:gd name="connsiteY76" fmla="*/ 14615752 h 17389414"/>
              <a:gd name="connsiteX77" fmla="*/ 7076272 w 8807514"/>
              <a:gd name="connsiteY77" fmla="*/ 14564260 h 17389414"/>
              <a:gd name="connsiteX78" fmla="*/ 7115407 w 8807514"/>
              <a:gd name="connsiteY78" fmla="*/ 14665183 h 17389414"/>
              <a:gd name="connsiteX79" fmla="*/ 7076272 w 8807514"/>
              <a:gd name="connsiteY79" fmla="*/ 14564260 h 17389414"/>
              <a:gd name="connsiteX80" fmla="*/ 4906364 w 8807514"/>
              <a:gd name="connsiteY80" fmla="*/ 14542634 h 17389414"/>
              <a:gd name="connsiteX81" fmla="*/ 4892976 w 8807514"/>
              <a:gd name="connsiteY81" fmla="*/ 14551902 h 17389414"/>
              <a:gd name="connsiteX82" fmla="*/ 4919752 w 8807514"/>
              <a:gd name="connsiteY82" fmla="*/ 14551902 h 17389414"/>
              <a:gd name="connsiteX83" fmla="*/ 4906364 w 8807514"/>
              <a:gd name="connsiteY83" fmla="*/ 14542634 h 17389414"/>
              <a:gd name="connsiteX84" fmla="*/ 6931253 w 8807514"/>
              <a:gd name="connsiteY84" fmla="*/ 14474344 h 17389414"/>
              <a:gd name="connsiteX85" fmla="*/ 6941618 w 8807514"/>
              <a:gd name="connsiteY85" fmla="*/ 14482550 h 17389414"/>
              <a:gd name="connsiteX86" fmla="*/ 6948570 w 8807514"/>
              <a:gd name="connsiteY86" fmla="*/ 14488053 h 17389414"/>
              <a:gd name="connsiteX87" fmla="*/ 6934377 w 8807514"/>
              <a:gd name="connsiteY87" fmla="*/ 14476818 h 17389414"/>
              <a:gd name="connsiteX88" fmla="*/ 6927715 w 8807514"/>
              <a:gd name="connsiteY88" fmla="*/ 14471544 h 17389414"/>
              <a:gd name="connsiteX89" fmla="*/ 6931253 w 8807514"/>
              <a:gd name="connsiteY89" fmla="*/ 14474344 h 17389414"/>
              <a:gd name="connsiteX90" fmla="*/ 6930033 w 8807514"/>
              <a:gd name="connsiteY90" fmla="*/ 14473378 h 17389414"/>
              <a:gd name="connsiteX91" fmla="*/ 6927715 w 8807514"/>
              <a:gd name="connsiteY91" fmla="*/ 14471544 h 17389414"/>
              <a:gd name="connsiteX92" fmla="*/ 7039198 w 8807514"/>
              <a:gd name="connsiteY92" fmla="*/ 14461278 h 17389414"/>
              <a:gd name="connsiteX93" fmla="*/ 7051556 w 8807514"/>
              <a:gd name="connsiteY93" fmla="*/ 14500411 h 17389414"/>
              <a:gd name="connsiteX94" fmla="*/ 7039198 w 8807514"/>
              <a:gd name="connsiteY94" fmla="*/ 14461278 h 17389414"/>
              <a:gd name="connsiteX95" fmla="*/ 7000063 w 8807514"/>
              <a:gd name="connsiteY95" fmla="*/ 14360355 h 17389414"/>
              <a:gd name="connsiteX96" fmla="*/ 7039198 w 8807514"/>
              <a:gd name="connsiteY96" fmla="*/ 14461278 h 17389414"/>
              <a:gd name="connsiteX97" fmla="*/ 7000063 w 8807514"/>
              <a:gd name="connsiteY97" fmla="*/ 14360355 h 17389414"/>
              <a:gd name="connsiteX98" fmla="*/ 3300882 w 8807514"/>
              <a:gd name="connsiteY98" fmla="*/ 14303651 h 17389414"/>
              <a:gd name="connsiteX99" fmla="*/ 3296698 w 8807514"/>
              <a:gd name="connsiteY99" fmla="*/ 14308864 h 17389414"/>
              <a:gd name="connsiteX100" fmla="*/ 3323474 w 8807514"/>
              <a:gd name="connsiteY100" fmla="*/ 14308864 h 17389414"/>
              <a:gd name="connsiteX101" fmla="*/ 3300882 w 8807514"/>
              <a:gd name="connsiteY101" fmla="*/ 14303651 h 17389414"/>
              <a:gd name="connsiteX102" fmla="*/ 6975346 w 8807514"/>
              <a:gd name="connsiteY102" fmla="*/ 14296506 h 17389414"/>
              <a:gd name="connsiteX103" fmla="*/ 7000063 w 8807514"/>
              <a:gd name="connsiteY103" fmla="*/ 14360355 h 17389414"/>
              <a:gd name="connsiteX104" fmla="*/ 6975346 w 8807514"/>
              <a:gd name="connsiteY104" fmla="*/ 14296506 h 17389414"/>
              <a:gd name="connsiteX105" fmla="*/ 7185051 w 8807514"/>
              <a:gd name="connsiteY105" fmla="*/ 14146795 h 17389414"/>
              <a:gd name="connsiteX106" fmla="*/ 7179258 w 8807514"/>
              <a:gd name="connsiteY106" fmla="*/ 14154390 h 17389414"/>
              <a:gd name="connsiteX107" fmla="*/ 7216333 w 8807514"/>
              <a:gd name="connsiteY107" fmla="*/ 14205881 h 17389414"/>
              <a:gd name="connsiteX108" fmla="*/ 7185051 w 8807514"/>
              <a:gd name="connsiteY108" fmla="*/ 14146795 h 17389414"/>
              <a:gd name="connsiteX109" fmla="*/ 3168996 w 8807514"/>
              <a:gd name="connsiteY109" fmla="*/ 14065825 h 17389414"/>
              <a:gd name="connsiteX110" fmla="*/ 3271981 w 8807514"/>
              <a:gd name="connsiteY110" fmla="*/ 14245014 h 17389414"/>
              <a:gd name="connsiteX111" fmla="*/ 3284340 w 8807514"/>
              <a:gd name="connsiteY111" fmla="*/ 14269730 h 17389414"/>
              <a:gd name="connsiteX112" fmla="*/ 3284340 w 8807514"/>
              <a:gd name="connsiteY112" fmla="*/ 14269730 h 17389414"/>
              <a:gd name="connsiteX113" fmla="*/ 3271981 w 8807514"/>
              <a:gd name="connsiteY113" fmla="*/ 14245014 h 17389414"/>
              <a:gd name="connsiteX114" fmla="*/ 3168996 w 8807514"/>
              <a:gd name="connsiteY114" fmla="*/ 14065825 h 17389414"/>
              <a:gd name="connsiteX115" fmla="*/ 4609862 w 8807514"/>
              <a:gd name="connsiteY115" fmla="*/ 14034789 h 17389414"/>
              <a:gd name="connsiteX116" fmla="*/ 4600497 w 8807514"/>
              <a:gd name="connsiteY116" fmla="*/ 14041109 h 17389414"/>
              <a:gd name="connsiteX117" fmla="*/ 4637572 w 8807514"/>
              <a:gd name="connsiteY117" fmla="*/ 14092600 h 17389414"/>
              <a:gd name="connsiteX118" fmla="*/ 4609862 w 8807514"/>
              <a:gd name="connsiteY118" fmla="*/ 14034789 h 17389414"/>
              <a:gd name="connsiteX119" fmla="*/ 4664348 w 8807514"/>
              <a:gd name="connsiteY119" fmla="*/ 14001976 h 17389414"/>
              <a:gd name="connsiteX120" fmla="*/ 4765274 w 8807514"/>
              <a:gd name="connsiteY120" fmla="*/ 14218239 h 17389414"/>
              <a:gd name="connsiteX121" fmla="*/ 4868260 w 8807514"/>
              <a:gd name="connsiteY121" fmla="*/ 14436562 h 17389414"/>
              <a:gd name="connsiteX122" fmla="*/ 4701423 w 8807514"/>
              <a:gd name="connsiteY122" fmla="*/ 14041109 h 17389414"/>
              <a:gd name="connsiteX123" fmla="*/ 4664348 w 8807514"/>
              <a:gd name="connsiteY123" fmla="*/ 14001976 h 17389414"/>
              <a:gd name="connsiteX124" fmla="*/ 3500610 w 8807514"/>
              <a:gd name="connsiteY124" fmla="*/ 14001976 h 17389414"/>
              <a:gd name="connsiteX125" fmla="*/ 3552102 w 8807514"/>
              <a:gd name="connsiteY125" fmla="*/ 14092600 h 17389414"/>
              <a:gd name="connsiteX126" fmla="*/ 3591237 w 8807514"/>
              <a:gd name="connsiteY126" fmla="*/ 14154390 h 17389414"/>
              <a:gd name="connsiteX127" fmla="*/ 3756014 w 8807514"/>
              <a:gd name="connsiteY127" fmla="*/ 14525127 h 17389414"/>
              <a:gd name="connsiteX128" fmla="*/ 3807507 w 8807514"/>
              <a:gd name="connsiteY128" fmla="*/ 14564260 h 17389414"/>
              <a:gd name="connsiteX129" fmla="*/ 3591237 w 8807514"/>
              <a:gd name="connsiteY129" fmla="*/ 14154390 h 17389414"/>
              <a:gd name="connsiteX130" fmla="*/ 3552102 w 8807514"/>
              <a:gd name="connsiteY130" fmla="*/ 14092600 h 17389414"/>
              <a:gd name="connsiteX131" fmla="*/ 3500610 w 8807514"/>
              <a:gd name="connsiteY131" fmla="*/ 14001976 h 17389414"/>
              <a:gd name="connsiteX132" fmla="*/ 4592161 w 8807514"/>
              <a:gd name="connsiteY132" fmla="*/ 13955537 h 17389414"/>
              <a:gd name="connsiteX133" fmla="*/ 4590554 w 8807514"/>
              <a:gd name="connsiteY133" fmla="*/ 13961277 h 17389414"/>
              <a:gd name="connsiteX134" fmla="*/ 4588106 w 8807514"/>
              <a:gd name="connsiteY134" fmla="*/ 13970019 h 17389414"/>
              <a:gd name="connsiteX135" fmla="*/ 4586079 w 8807514"/>
              <a:gd name="connsiteY135" fmla="*/ 13977260 h 17389414"/>
              <a:gd name="connsiteX136" fmla="*/ 4590554 w 8807514"/>
              <a:gd name="connsiteY136" fmla="*/ 13961277 h 17389414"/>
              <a:gd name="connsiteX137" fmla="*/ 4591486 w 8807514"/>
              <a:gd name="connsiteY137" fmla="*/ 13957951 h 17389414"/>
              <a:gd name="connsiteX138" fmla="*/ 4592161 w 8807514"/>
              <a:gd name="connsiteY138" fmla="*/ 13955537 h 17389414"/>
              <a:gd name="connsiteX139" fmla="*/ 4549004 w 8807514"/>
              <a:gd name="connsiteY139" fmla="*/ 13898993 h 17389414"/>
              <a:gd name="connsiteX140" fmla="*/ 4549004 w 8807514"/>
              <a:gd name="connsiteY140" fmla="*/ 13898993 h 17389414"/>
              <a:gd name="connsiteX141" fmla="*/ 4581670 w 8807514"/>
              <a:gd name="connsiteY141" fmla="*/ 13843221 h 17389414"/>
              <a:gd name="connsiteX142" fmla="*/ 4573720 w 8807514"/>
              <a:gd name="connsiteY142" fmla="*/ 13849561 h 17389414"/>
              <a:gd name="connsiteX143" fmla="*/ 4664348 w 8807514"/>
              <a:gd name="connsiteY143" fmla="*/ 13977260 h 17389414"/>
              <a:gd name="connsiteX144" fmla="*/ 4581670 w 8807514"/>
              <a:gd name="connsiteY144" fmla="*/ 13843221 h 17389414"/>
              <a:gd name="connsiteX145" fmla="*/ 4398593 w 8807514"/>
              <a:gd name="connsiteY145" fmla="*/ 13486037 h 17389414"/>
              <a:gd name="connsiteX146" fmla="*/ 4382167 w 8807514"/>
              <a:gd name="connsiteY146" fmla="*/ 13491182 h 17389414"/>
              <a:gd name="connsiteX147" fmla="*/ 4472795 w 8807514"/>
              <a:gd name="connsiteY147" fmla="*/ 13658014 h 17389414"/>
              <a:gd name="connsiteX148" fmla="*/ 4573720 w 8807514"/>
              <a:gd name="connsiteY148" fmla="*/ 13798070 h 17389414"/>
              <a:gd name="connsiteX149" fmla="*/ 4398593 w 8807514"/>
              <a:gd name="connsiteY149" fmla="*/ 13486037 h 17389414"/>
              <a:gd name="connsiteX150" fmla="*/ 4316128 w 8807514"/>
              <a:gd name="connsiteY150" fmla="*/ 13463538 h 17389414"/>
              <a:gd name="connsiteX151" fmla="*/ 4382167 w 8807514"/>
              <a:gd name="connsiteY151" fmla="*/ 13631239 h 17389414"/>
              <a:gd name="connsiteX152" fmla="*/ 4485153 w 8807514"/>
              <a:gd name="connsiteY152" fmla="*/ 13771295 h 17389414"/>
              <a:gd name="connsiteX153" fmla="*/ 4497511 w 8807514"/>
              <a:gd name="connsiteY153" fmla="*/ 13798070 h 17389414"/>
              <a:gd name="connsiteX154" fmla="*/ 4485153 w 8807514"/>
              <a:gd name="connsiteY154" fmla="*/ 13771295 h 17389414"/>
              <a:gd name="connsiteX155" fmla="*/ 4345092 w 8807514"/>
              <a:gd name="connsiteY155" fmla="*/ 13491182 h 17389414"/>
              <a:gd name="connsiteX156" fmla="*/ 4316128 w 8807514"/>
              <a:gd name="connsiteY156" fmla="*/ 13463538 h 17389414"/>
              <a:gd name="connsiteX157" fmla="*/ 3667446 w 8807514"/>
              <a:gd name="connsiteY157" fmla="*/ 13083371 h 17389414"/>
              <a:gd name="connsiteX158" fmla="*/ 3667446 w 8807514"/>
              <a:gd name="connsiteY158" fmla="*/ 13095729 h 17389414"/>
              <a:gd name="connsiteX159" fmla="*/ 3770432 w 8807514"/>
              <a:gd name="connsiteY159" fmla="*/ 13287277 h 17389414"/>
              <a:gd name="connsiteX160" fmla="*/ 4433660 w 8807514"/>
              <a:gd name="connsiteY160" fmla="*/ 14539544 h 17389414"/>
              <a:gd name="connsiteX161" fmla="*/ 4472795 w 8807514"/>
              <a:gd name="connsiteY161" fmla="*/ 14588976 h 17389414"/>
              <a:gd name="connsiteX162" fmla="*/ 3898134 w 8807514"/>
              <a:gd name="connsiteY162" fmla="*/ 13452049 h 17389414"/>
              <a:gd name="connsiteX163" fmla="*/ 3667446 w 8807514"/>
              <a:gd name="connsiteY163" fmla="*/ 13083371 h 17389414"/>
              <a:gd name="connsiteX164" fmla="*/ 7230751 w 8807514"/>
              <a:gd name="connsiteY164" fmla="*/ 12035009 h 17389414"/>
              <a:gd name="connsiteX165" fmla="*/ 7280184 w 8807514"/>
              <a:gd name="connsiteY165" fmla="*/ 12035009 h 17389414"/>
              <a:gd name="connsiteX166" fmla="*/ 7230751 w 8807514"/>
              <a:gd name="connsiteY166" fmla="*/ 12035009 h 17389414"/>
              <a:gd name="connsiteX167" fmla="*/ 8328578 w 8807514"/>
              <a:gd name="connsiteY167" fmla="*/ 11794030 h 17389414"/>
              <a:gd name="connsiteX168" fmla="*/ 8328578 w 8807514"/>
              <a:gd name="connsiteY168" fmla="*/ 11794030 h 17389414"/>
              <a:gd name="connsiteX169" fmla="*/ 8331947 w 8807514"/>
              <a:gd name="connsiteY169" fmla="*/ 11783361 h 17389414"/>
              <a:gd name="connsiteX170" fmla="*/ 8330316 w 8807514"/>
              <a:gd name="connsiteY170" fmla="*/ 11788527 h 17389414"/>
              <a:gd name="connsiteX171" fmla="*/ 8328578 w 8807514"/>
              <a:gd name="connsiteY171" fmla="*/ 11794030 h 17389414"/>
              <a:gd name="connsiteX172" fmla="*/ 8333791 w 8807514"/>
              <a:gd name="connsiteY172" fmla="*/ 11777521 h 17389414"/>
              <a:gd name="connsiteX173" fmla="*/ 8331947 w 8807514"/>
              <a:gd name="connsiteY173" fmla="*/ 11783361 h 17389414"/>
              <a:gd name="connsiteX174" fmla="*/ 8333212 w 8807514"/>
              <a:gd name="connsiteY174" fmla="*/ 11779355 h 17389414"/>
              <a:gd name="connsiteX175" fmla="*/ 8333791 w 8807514"/>
              <a:gd name="connsiteY175" fmla="*/ 11777521 h 17389414"/>
              <a:gd name="connsiteX176" fmla="*/ 2281259 w 8807514"/>
              <a:gd name="connsiteY176" fmla="*/ 11712931 h 17389414"/>
              <a:gd name="connsiteX177" fmla="*/ 2277140 w 8807514"/>
              <a:gd name="connsiteY177" fmla="*/ 11730181 h 17389414"/>
              <a:gd name="connsiteX178" fmla="*/ 2303916 w 8807514"/>
              <a:gd name="connsiteY178" fmla="*/ 11715763 h 17389414"/>
              <a:gd name="connsiteX179" fmla="*/ 2281259 w 8807514"/>
              <a:gd name="connsiteY179" fmla="*/ 11712931 h 17389414"/>
              <a:gd name="connsiteX180" fmla="*/ 8540986 w 8807514"/>
              <a:gd name="connsiteY180" fmla="*/ 11673670 h 17389414"/>
              <a:gd name="connsiteX181" fmla="*/ 8544848 w 8807514"/>
              <a:gd name="connsiteY181" fmla="*/ 11678690 h 17389414"/>
              <a:gd name="connsiteX182" fmla="*/ 8520132 w 8807514"/>
              <a:gd name="connsiteY182" fmla="*/ 11691048 h 17389414"/>
              <a:gd name="connsiteX183" fmla="*/ 8540986 w 8807514"/>
              <a:gd name="connsiteY183" fmla="*/ 11673670 h 17389414"/>
              <a:gd name="connsiteX184" fmla="*/ 8724044 w 8807514"/>
              <a:gd name="connsiteY184" fmla="*/ 11131853 h 17389414"/>
              <a:gd name="connsiteX185" fmla="*/ 8711685 w 8807514"/>
              <a:gd name="connsiteY185" fmla="*/ 11141121 h 17389414"/>
              <a:gd name="connsiteX186" fmla="*/ 8736402 w 8807514"/>
              <a:gd name="connsiteY186" fmla="*/ 11141121 h 17389414"/>
              <a:gd name="connsiteX187" fmla="*/ 8724044 w 8807514"/>
              <a:gd name="connsiteY187" fmla="*/ 11131853 h 17389414"/>
              <a:gd name="connsiteX188" fmla="*/ 989497 w 8807514"/>
              <a:gd name="connsiteY188" fmla="*/ 10456190 h 17389414"/>
              <a:gd name="connsiteX189" fmla="*/ 987759 w 8807514"/>
              <a:gd name="connsiteY189" fmla="*/ 10477913 h 17389414"/>
              <a:gd name="connsiteX190" fmla="*/ 1014535 w 8807514"/>
              <a:gd name="connsiteY190" fmla="*/ 10517047 h 17389414"/>
              <a:gd name="connsiteX191" fmla="*/ 987759 w 8807514"/>
              <a:gd name="connsiteY191" fmla="*/ 10477913 h 17389414"/>
              <a:gd name="connsiteX192" fmla="*/ 989497 w 8807514"/>
              <a:gd name="connsiteY192" fmla="*/ 10456190 h 17389414"/>
              <a:gd name="connsiteX193" fmla="*/ 790992 w 8807514"/>
              <a:gd name="connsiteY193" fmla="*/ 10148240 h 17389414"/>
              <a:gd name="connsiteX194" fmla="*/ 796205 w 8807514"/>
              <a:gd name="connsiteY194" fmla="*/ 10158667 h 17389414"/>
              <a:gd name="connsiteX195" fmla="*/ 790992 w 8807514"/>
              <a:gd name="connsiteY195" fmla="*/ 10148240 h 17389414"/>
              <a:gd name="connsiteX196" fmla="*/ 8623311 w 8807514"/>
              <a:gd name="connsiteY196" fmla="*/ 9384207 h 17389414"/>
              <a:gd name="connsiteX197" fmla="*/ 8635476 w 8807514"/>
              <a:gd name="connsiteY197" fmla="*/ 9419253 h 17389414"/>
              <a:gd name="connsiteX198" fmla="*/ 8621058 w 8807514"/>
              <a:gd name="connsiteY198" fmla="*/ 9392477 h 17389414"/>
              <a:gd name="connsiteX199" fmla="*/ 8623311 w 8807514"/>
              <a:gd name="connsiteY199" fmla="*/ 9384207 h 17389414"/>
              <a:gd name="connsiteX200" fmla="*/ 8352039 w 8807514"/>
              <a:gd name="connsiteY200" fmla="*/ 8596293 h 17389414"/>
              <a:gd name="connsiteX201" fmla="*/ 8340936 w 8807514"/>
              <a:gd name="connsiteY201" fmla="*/ 8613929 h 17389414"/>
              <a:gd name="connsiteX202" fmla="*/ 8365653 w 8807514"/>
              <a:gd name="connsiteY202" fmla="*/ 8653063 h 17389414"/>
              <a:gd name="connsiteX203" fmla="*/ 8352039 w 8807514"/>
              <a:gd name="connsiteY203" fmla="*/ 8596293 h 17389414"/>
              <a:gd name="connsiteX204" fmla="*/ 8282287 w 8807514"/>
              <a:gd name="connsiteY204" fmla="*/ 8015979 h 17389414"/>
              <a:gd name="connsiteX205" fmla="*/ 8277086 w 8807514"/>
              <a:gd name="connsiteY205" fmla="*/ 8026930 h 17389414"/>
              <a:gd name="connsiteX206" fmla="*/ 8301802 w 8807514"/>
              <a:gd name="connsiteY206" fmla="*/ 8129911 h 17389414"/>
              <a:gd name="connsiteX207" fmla="*/ 8282287 w 8807514"/>
              <a:gd name="connsiteY207" fmla="*/ 8015979 h 17389414"/>
              <a:gd name="connsiteX208" fmla="*/ 8116576 w 8807514"/>
              <a:gd name="connsiteY208" fmla="*/ 7948015 h 17389414"/>
              <a:gd name="connsiteX209" fmla="*/ 8110248 w 8807514"/>
              <a:gd name="connsiteY209" fmla="*/ 7950723 h 17389414"/>
              <a:gd name="connsiteX210" fmla="*/ 8149383 w 8807514"/>
              <a:gd name="connsiteY210" fmla="*/ 8078420 h 17389414"/>
              <a:gd name="connsiteX211" fmla="*/ 8116576 w 8807514"/>
              <a:gd name="connsiteY211" fmla="*/ 7948015 h 17389414"/>
              <a:gd name="connsiteX212" fmla="*/ 7914076 w 8807514"/>
              <a:gd name="connsiteY212" fmla="*/ 7023243 h 17389414"/>
              <a:gd name="connsiteX213" fmla="*/ 7906337 w 8807514"/>
              <a:gd name="connsiteY213" fmla="*/ 7030059 h 17389414"/>
              <a:gd name="connsiteX214" fmla="*/ 7945472 w 8807514"/>
              <a:gd name="connsiteY214" fmla="*/ 7299873 h 17389414"/>
              <a:gd name="connsiteX215" fmla="*/ 7996964 w 8807514"/>
              <a:gd name="connsiteY215" fmla="*/ 7567628 h 17389414"/>
              <a:gd name="connsiteX216" fmla="*/ 7914076 w 8807514"/>
              <a:gd name="connsiteY216" fmla="*/ 7023243 h 17389414"/>
              <a:gd name="connsiteX217" fmla="*/ 6847644 w 8807514"/>
              <a:gd name="connsiteY217" fmla="*/ 7005342 h 17389414"/>
              <a:gd name="connsiteX218" fmla="*/ 6899137 w 8807514"/>
              <a:gd name="connsiteY218" fmla="*/ 7336947 h 17389414"/>
              <a:gd name="connsiteX219" fmla="*/ 6923854 w 8807514"/>
              <a:gd name="connsiteY219" fmla="*/ 7400796 h 17389414"/>
              <a:gd name="connsiteX220" fmla="*/ 6847644 w 8807514"/>
              <a:gd name="connsiteY220" fmla="*/ 7005342 h 17389414"/>
              <a:gd name="connsiteX221" fmla="*/ 4229748 w 8807514"/>
              <a:gd name="connsiteY221" fmla="*/ 6646964 h 17389414"/>
              <a:gd name="connsiteX222" fmla="*/ 4229748 w 8807514"/>
              <a:gd name="connsiteY222" fmla="*/ 6646964 h 17389414"/>
              <a:gd name="connsiteX223" fmla="*/ 4229748 w 8807514"/>
              <a:gd name="connsiteY223" fmla="*/ 6646964 h 17389414"/>
              <a:gd name="connsiteX224" fmla="*/ 4266823 w 8807514"/>
              <a:gd name="connsiteY224" fmla="*/ 6673739 h 17389414"/>
              <a:gd name="connsiteX225" fmla="*/ 4229748 w 8807514"/>
              <a:gd name="connsiteY225" fmla="*/ 6646964 h 17389414"/>
              <a:gd name="connsiteX226" fmla="*/ 3883716 w 8807514"/>
              <a:gd name="connsiteY226" fmla="*/ 6506908 h 17389414"/>
              <a:gd name="connsiteX227" fmla="*/ 3910493 w 8807514"/>
              <a:gd name="connsiteY227" fmla="*/ 6521325 h 17389414"/>
              <a:gd name="connsiteX228" fmla="*/ 3883716 w 8807514"/>
              <a:gd name="connsiteY228" fmla="*/ 6506908 h 17389414"/>
              <a:gd name="connsiteX229" fmla="*/ 3859000 w 8807514"/>
              <a:gd name="connsiteY229" fmla="*/ 6494550 h 17389414"/>
              <a:gd name="connsiteX230" fmla="*/ 3883716 w 8807514"/>
              <a:gd name="connsiteY230" fmla="*/ 6506908 h 17389414"/>
              <a:gd name="connsiteX231" fmla="*/ 3859000 w 8807514"/>
              <a:gd name="connsiteY231" fmla="*/ 6494550 h 17389414"/>
              <a:gd name="connsiteX232" fmla="*/ 3834283 w 8807514"/>
              <a:gd name="connsiteY232" fmla="*/ 6482191 h 17389414"/>
              <a:gd name="connsiteX233" fmla="*/ 3859000 w 8807514"/>
              <a:gd name="connsiteY233" fmla="*/ 6494550 h 17389414"/>
              <a:gd name="connsiteX234" fmla="*/ 3834283 w 8807514"/>
              <a:gd name="connsiteY234" fmla="*/ 6482191 h 17389414"/>
              <a:gd name="connsiteX235" fmla="*/ 3807507 w 8807514"/>
              <a:gd name="connsiteY235" fmla="*/ 6469834 h 17389414"/>
              <a:gd name="connsiteX236" fmla="*/ 3834283 w 8807514"/>
              <a:gd name="connsiteY236" fmla="*/ 6482191 h 17389414"/>
              <a:gd name="connsiteX237" fmla="*/ 3807507 w 8807514"/>
              <a:gd name="connsiteY237" fmla="*/ 6469834 h 17389414"/>
              <a:gd name="connsiteX238" fmla="*/ 3756014 w 8807514"/>
              <a:gd name="connsiteY238" fmla="*/ 6443058 h 17389414"/>
              <a:gd name="connsiteX239" fmla="*/ 3807507 w 8807514"/>
              <a:gd name="connsiteY239" fmla="*/ 6469834 h 17389414"/>
              <a:gd name="connsiteX240" fmla="*/ 3756014 w 8807514"/>
              <a:gd name="connsiteY240" fmla="*/ 6443058 h 17389414"/>
              <a:gd name="connsiteX241" fmla="*/ 3731297 w 8807514"/>
              <a:gd name="connsiteY241" fmla="*/ 6430700 h 17389414"/>
              <a:gd name="connsiteX242" fmla="*/ 3756014 w 8807514"/>
              <a:gd name="connsiteY242" fmla="*/ 6443058 h 17389414"/>
              <a:gd name="connsiteX243" fmla="*/ 3731297 w 8807514"/>
              <a:gd name="connsiteY243" fmla="*/ 6430700 h 17389414"/>
              <a:gd name="connsiteX244" fmla="*/ 3706581 w 8807514"/>
              <a:gd name="connsiteY244" fmla="*/ 6418343 h 17389414"/>
              <a:gd name="connsiteX245" fmla="*/ 3731297 w 8807514"/>
              <a:gd name="connsiteY245" fmla="*/ 6430700 h 17389414"/>
              <a:gd name="connsiteX246" fmla="*/ 3706581 w 8807514"/>
              <a:gd name="connsiteY246" fmla="*/ 6418343 h 17389414"/>
              <a:gd name="connsiteX247" fmla="*/ 3679805 w 8807514"/>
              <a:gd name="connsiteY247" fmla="*/ 6405985 h 17389414"/>
              <a:gd name="connsiteX248" fmla="*/ 3679805 w 8807514"/>
              <a:gd name="connsiteY248" fmla="*/ 6405985 h 17389414"/>
              <a:gd name="connsiteX249" fmla="*/ 3679805 w 8807514"/>
              <a:gd name="connsiteY249" fmla="*/ 6405985 h 17389414"/>
              <a:gd name="connsiteX250" fmla="*/ 3706581 w 8807514"/>
              <a:gd name="connsiteY250" fmla="*/ 6418343 h 17389414"/>
              <a:gd name="connsiteX251" fmla="*/ 3679805 w 8807514"/>
              <a:gd name="connsiteY251" fmla="*/ 6405985 h 17389414"/>
              <a:gd name="connsiteX252" fmla="*/ 3615953 w 8807514"/>
              <a:gd name="connsiteY252" fmla="*/ 6366851 h 17389414"/>
              <a:gd name="connsiteX253" fmla="*/ 3591237 w 8807514"/>
              <a:gd name="connsiteY253" fmla="*/ 6379209 h 17389414"/>
              <a:gd name="connsiteX254" fmla="*/ 3615953 w 8807514"/>
              <a:gd name="connsiteY254" fmla="*/ 6366851 h 17389414"/>
              <a:gd name="connsiteX255" fmla="*/ 3578879 w 8807514"/>
              <a:gd name="connsiteY255" fmla="*/ 6354493 h 17389414"/>
              <a:gd name="connsiteX256" fmla="*/ 3552102 w 8807514"/>
              <a:gd name="connsiteY256" fmla="*/ 6366851 h 17389414"/>
              <a:gd name="connsiteX257" fmla="*/ 3578879 w 8807514"/>
              <a:gd name="connsiteY257" fmla="*/ 6354493 h 17389414"/>
              <a:gd name="connsiteX258" fmla="*/ 7930700 w 8807514"/>
              <a:gd name="connsiteY258" fmla="*/ 5455616 h 17389414"/>
              <a:gd name="connsiteX259" fmla="*/ 7945472 w 8807514"/>
              <a:gd name="connsiteY259" fmla="*/ 5512096 h 17389414"/>
              <a:gd name="connsiteX260" fmla="*/ 7918696 w 8807514"/>
              <a:gd name="connsiteY260" fmla="*/ 5460604 h 17389414"/>
              <a:gd name="connsiteX261" fmla="*/ 7930700 w 8807514"/>
              <a:gd name="connsiteY261" fmla="*/ 5455616 h 17389414"/>
              <a:gd name="connsiteX262" fmla="*/ 7906337 w 8807514"/>
              <a:gd name="connsiteY262" fmla="*/ 5396755 h 17389414"/>
              <a:gd name="connsiteX263" fmla="*/ 7918696 w 8807514"/>
              <a:gd name="connsiteY263" fmla="*/ 5421471 h 17389414"/>
              <a:gd name="connsiteX264" fmla="*/ 7906337 w 8807514"/>
              <a:gd name="connsiteY264" fmla="*/ 5396755 h 17389414"/>
              <a:gd name="connsiteX265" fmla="*/ 7613858 w 8807514"/>
              <a:gd name="connsiteY265" fmla="*/ 5217566 h 17389414"/>
              <a:gd name="connsiteX266" fmla="*/ 7613858 w 8807514"/>
              <a:gd name="connsiteY266" fmla="*/ 5217566 h 17389414"/>
              <a:gd name="connsiteX267" fmla="*/ 7601500 w 8807514"/>
              <a:gd name="connsiteY267" fmla="*/ 5129001 h 17389414"/>
              <a:gd name="connsiteX268" fmla="*/ 7601500 w 8807514"/>
              <a:gd name="connsiteY268" fmla="*/ 5141359 h 17389414"/>
              <a:gd name="connsiteX269" fmla="*/ 7601500 w 8807514"/>
              <a:gd name="connsiteY269" fmla="*/ 5129001 h 17389414"/>
              <a:gd name="connsiteX270" fmla="*/ 7587082 w 8807514"/>
              <a:gd name="connsiteY270" fmla="*/ 5052794 h 17389414"/>
              <a:gd name="connsiteX271" fmla="*/ 7587082 w 8807514"/>
              <a:gd name="connsiteY271" fmla="*/ 5052794 h 17389414"/>
              <a:gd name="connsiteX272" fmla="*/ 7776016 w 8807514"/>
              <a:gd name="connsiteY272" fmla="*/ 4998764 h 17389414"/>
              <a:gd name="connsiteX273" fmla="*/ 7778634 w 8807514"/>
              <a:gd name="connsiteY273" fmla="*/ 5129001 h 17389414"/>
              <a:gd name="connsiteX274" fmla="*/ 7766276 w 8807514"/>
              <a:gd name="connsiteY274" fmla="*/ 5001302 h 17389414"/>
              <a:gd name="connsiteX275" fmla="*/ 7776016 w 8807514"/>
              <a:gd name="connsiteY275" fmla="*/ 4998764 h 17389414"/>
              <a:gd name="connsiteX276" fmla="*/ 7574723 w 8807514"/>
              <a:gd name="connsiteY276" fmla="*/ 4974527 h 17389414"/>
              <a:gd name="connsiteX277" fmla="*/ 7587082 w 8807514"/>
              <a:gd name="connsiteY277" fmla="*/ 5052794 h 17389414"/>
              <a:gd name="connsiteX278" fmla="*/ 7574723 w 8807514"/>
              <a:gd name="connsiteY278" fmla="*/ 4974527 h 17389414"/>
              <a:gd name="connsiteX279" fmla="*/ 7550006 w 8807514"/>
              <a:gd name="connsiteY279" fmla="*/ 4822113 h 17389414"/>
              <a:gd name="connsiteX280" fmla="*/ 7574723 w 8807514"/>
              <a:gd name="connsiteY280" fmla="*/ 4974527 h 17389414"/>
              <a:gd name="connsiteX281" fmla="*/ 7550006 w 8807514"/>
              <a:gd name="connsiteY281" fmla="*/ 4822113 h 17389414"/>
              <a:gd name="connsiteX282" fmla="*/ 7533496 w 8807514"/>
              <a:gd name="connsiteY282" fmla="*/ 4800390 h 17389414"/>
              <a:gd name="connsiteX283" fmla="*/ 7550006 w 8807514"/>
              <a:gd name="connsiteY283" fmla="*/ 4822113 h 17389414"/>
              <a:gd name="connsiteX284" fmla="*/ 7533496 w 8807514"/>
              <a:gd name="connsiteY284" fmla="*/ 4800390 h 17389414"/>
              <a:gd name="connsiteX285" fmla="*/ 7230751 w 8807514"/>
              <a:gd name="connsiteY285" fmla="*/ 4770621 h 17389414"/>
              <a:gd name="connsiteX286" fmla="*/ 7255468 w 8807514"/>
              <a:gd name="connsiteY286" fmla="*/ 4988944 h 17389414"/>
              <a:gd name="connsiteX287" fmla="*/ 7294602 w 8807514"/>
              <a:gd name="connsiteY287" fmla="*/ 5192850 h 17389414"/>
              <a:gd name="connsiteX288" fmla="*/ 7714784 w 8807514"/>
              <a:gd name="connsiteY288" fmla="*/ 7950723 h 17389414"/>
              <a:gd name="connsiteX289" fmla="*/ 7741560 w 8807514"/>
              <a:gd name="connsiteY289" fmla="*/ 8166985 h 17389414"/>
              <a:gd name="connsiteX290" fmla="*/ 7702426 w 8807514"/>
              <a:gd name="connsiteY290" fmla="*/ 7720042 h 17389414"/>
              <a:gd name="connsiteX291" fmla="*/ 7319318 w 8807514"/>
              <a:gd name="connsiteY291" fmla="*/ 5166074 h 17389414"/>
              <a:gd name="connsiteX292" fmla="*/ 7230751 w 8807514"/>
              <a:gd name="connsiteY292" fmla="*/ 4770621 h 17389414"/>
              <a:gd name="connsiteX293" fmla="*/ 7216333 w 8807514"/>
              <a:gd name="connsiteY293" fmla="*/ 4719130 h 17389414"/>
              <a:gd name="connsiteX294" fmla="*/ 7216333 w 8807514"/>
              <a:gd name="connsiteY294" fmla="*/ 4719130 h 17389414"/>
              <a:gd name="connsiteX295" fmla="*/ 7525161 w 8807514"/>
              <a:gd name="connsiteY295" fmla="*/ 4669602 h 17389414"/>
              <a:gd name="connsiteX296" fmla="*/ 7535588 w 8807514"/>
              <a:gd name="connsiteY296" fmla="*/ 4719130 h 17389414"/>
              <a:gd name="connsiteX297" fmla="*/ 7523230 w 8807514"/>
              <a:gd name="connsiteY297" fmla="*/ 4682056 h 17389414"/>
              <a:gd name="connsiteX298" fmla="*/ 7525161 w 8807514"/>
              <a:gd name="connsiteY298" fmla="*/ 4669602 h 17389414"/>
              <a:gd name="connsiteX299" fmla="*/ 7505659 w 8807514"/>
              <a:gd name="connsiteY299" fmla="*/ 4650068 h 17389414"/>
              <a:gd name="connsiteX300" fmla="*/ 7510872 w 8807514"/>
              <a:gd name="connsiteY300" fmla="*/ 4655281 h 17389414"/>
              <a:gd name="connsiteX301" fmla="*/ 7505659 w 8807514"/>
              <a:gd name="connsiteY301" fmla="*/ 4650068 h 17389414"/>
              <a:gd name="connsiteX302" fmla="*/ 7184942 w 8807514"/>
              <a:gd name="connsiteY302" fmla="*/ 4482049 h 17389414"/>
              <a:gd name="connsiteX303" fmla="*/ 7179258 w 8807514"/>
              <a:gd name="connsiteY303" fmla="*/ 4490509 h 17389414"/>
              <a:gd name="connsiteX304" fmla="*/ 7191616 w 8807514"/>
              <a:gd name="connsiteY304" fmla="*/ 4527583 h 17389414"/>
              <a:gd name="connsiteX305" fmla="*/ 7184942 w 8807514"/>
              <a:gd name="connsiteY305" fmla="*/ 4482049 h 17389414"/>
              <a:gd name="connsiteX306" fmla="*/ 7160817 w 8807514"/>
              <a:gd name="connsiteY306" fmla="*/ 4330822 h 17389414"/>
              <a:gd name="connsiteX307" fmla="*/ 7166900 w 8807514"/>
              <a:gd name="connsiteY307" fmla="*/ 4336035 h 17389414"/>
              <a:gd name="connsiteX308" fmla="*/ 7160817 w 8807514"/>
              <a:gd name="connsiteY308" fmla="*/ 4330822 h 17389414"/>
              <a:gd name="connsiteX309" fmla="*/ 7121007 w 8807514"/>
              <a:gd name="connsiteY309" fmla="*/ 4080671 h 17389414"/>
              <a:gd name="connsiteX310" fmla="*/ 7115407 w 8807514"/>
              <a:gd name="connsiteY310" fmla="*/ 4095056 h 17389414"/>
              <a:gd name="connsiteX311" fmla="*/ 7140124 w 8807514"/>
              <a:gd name="connsiteY311" fmla="*/ 4119772 h 17389414"/>
              <a:gd name="connsiteX312" fmla="*/ 7121007 w 8807514"/>
              <a:gd name="connsiteY312" fmla="*/ 4080671 h 17389414"/>
              <a:gd name="connsiteX313" fmla="*/ 6842430 w 8807514"/>
              <a:gd name="connsiteY313" fmla="*/ 2920090 h 17389414"/>
              <a:gd name="connsiteX314" fmla="*/ 6847644 w 8807514"/>
              <a:gd name="connsiteY314" fmla="*/ 2970487 h 17389414"/>
              <a:gd name="connsiteX315" fmla="*/ 6835286 w 8807514"/>
              <a:gd name="connsiteY315" fmla="*/ 2931354 h 17389414"/>
              <a:gd name="connsiteX316" fmla="*/ 6842430 w 8807514"/>
              <a:gd name="connsiteY316" fmla="*/ 2920090 h 17389414"/>
              <a:gd name="connsiteX317" fmla="*/ 6831599 w 8807514"/>
              <a:gd name="connsiteY317" fmla="*/ 2844550 h 17389414"/>
              <a:gd name="connsiteX318" fmla="*/ 6837378 w 8807514"/>
              <a:gd name="connsiteY318" fmla="*/ 2852154 h 17389414"/>
              <a:gd name="connsiteX319" fmla="*/ 6835543 w 8807514"/>
              <a:gd name="connsiteY319" fmla="*/ 2849740 h 17389414"/>
              <a:gd name="connsiteX320" fmla="*/ 6820868 w 8807514"/>
              <a:gd name="connsiteY320" fmla="*/ 2830431 h 17389414"/>
              <a:gd name="connsiteX321" fmla="*/ 6826371 w 8807514"/>
              <a:gd name="connsiteY321" fmla="*/ 2837672 h 17389414"/>
              <a:gd name="connsiteX322" fmla="*/ 6831599 w 8807514"/>
              <a:gd name="connsiteY322" fmla="*/ 2844550 h 17389414"/>
              <a:gd name="connsiteX323" fmla="*/ 6796152 w 8807514"/>
              <a:gd name="connsiteY323" fmla="*/ 2663599 h 17389414"/>
              <a:gd name="connsiteX324" fmla="*/ 6820868 w 8807514"/>
              <a:gd name="connsiteY324" fmla="*/ 2830431 h 17389414"/>
              <a:gd name="connsiteX325" fmla="*/ 6796152 w 8807514"/>
              <a:gd name="connsiteY325" fmla="*/ 2663599 h 17389414"/>
              <a:gd name="connsiteX326" fmla="*/ 6783793 w 8807514"/>
              <a:gd name="connsiteY326" fmla="*/ 2587392 h 17389414"/>
              <a:gd name="connsiteX327" fmla="*/ 6796152 w 8807514"/>
              <a:gd name="connsiteY327" fmla="*/ 2663599 h 17389414"/>
              <a:gd name="connsiteX328" fmla="*/ 6783793 w 8807514"/>
              <a:gd name="connsiteY328" fmla="*/ 2587392 h 17389414"/>
              <a:gd name="connsiteX329" fmla="*/ 6769375 w 8807514"/>
              <a:gd name="connsiteY329" fmla="*/ 2523543 h 17389414"/>
              <a:gd name="connsiteX330" fmla="*/ 6783793 w 8807514"/>
              <a:gd name="connsiteY330" fmla="*/ 2587392 h 17389414"/>
              <a:gd name="connsiteX331" fmla="*/ 6769375 w 8807514"/>
              <a:gd name="connsiteY331" fmla="*/ 2523543 h 17389414"/>
              <a:gd name="connsiteX332" fmla="*/ 6744658 w 8807514"/>
              <a:gd name="connsiteY332" fmla="*/ 2358771 h 17389414"/>
              <a:gd name="connsiteX333" fmla="*/ 6769375 w 8807514"/>
              <a:gd name="connsiteY333" fmla="*/ 2523543 h 17389414"/>
              <a:gd name="connsiteX334" fmla="*/ 6744658 w 8807514"/>
              <a:gd name="connsiteY334" fmla="*/ 2358771 h 17389414"/>
              <a:gd name="connsiteX335" fmla="*/ 3822859 w 8807514"/>
              <a:gd name="connsiteY335" fmla="*/ 1940336 h 17389414"/>
              <a:gd name="connsiteX336" fmla="*/ 3795149 w 8807514"/>
              <a:gd name="connsiteY336" fmla="*/ 1975676 h 17389414"/>
              <a:gd name="connsiteX337" fmla="*/ 3807507 w 8807514"/>
              <a:gd name="connsiteY337" fmla="*/ 1948900 h 17389414"/>
              <a:gd name="connsiteX338" fmla="*/ 3822859 w 8807514"/>
              <a:gd name="connsiteY338" fmla="*/ 1940336 h 17389414"/>
              <a:gd name="connsiteX339" fmla="*/ 6012555 w 8807514"/>
              <a:gd name="connsiteY339" fmla="*/ 1233891 h 17389414"/>
              <a:gd name="connsiteX340" fmla="*/ 6003162 w 8807514"/>
              <a:gd name="connsiteY340" fmla="*/ 1246559 h 17389414"/>
              <a:gd name="connsiteX341" fmla="*/ 6042296 w 8807514"/>
              <a:gd name="connsiteY341" fmla="*/ 1477240 h 17389414"/>
              <a:gd name="connsiteX342" fmla="*/ 6118506 w 8807514"/>
              <a:gd name="connsiteY342" fmla="*/ 2088956 h 17389414"/>
              <a:gd name="connsiteX343" fmla="*/ 6132924 w 8807514"/>
              <a:gd name="connsiteY343" fmla="*/ 1909767 h 17389414"/>
              <a:gd name="connsiteX344" fmla="*/ 6054655 w 8807514"/>
              <a:gd name="connsiteY344" fmla="*/ 1464882 h 17389414"/>
              <a:gd name="connsiteX345" fmla="*/ 6012555 w 8807514"/>
              <a:gd name="connsiteY345" fmla="*/ 1233891 h 17389414"/>
              <a:gd name="connsiteX346" fmla="*/ 6209133 w 8807514"/>
              <a:gd name="connsiteY346" fmla="*/ 966447 h 17389414"/>
              <a:gd name="connsiteX347" fmla="*/ 6194715 w 8807514"/>
              <a:gd name="connsiteY347" fmla="*/ 978805 h 17389414"/>
              <a:gd name="connsiteX348" fmla="*/ 6221491 w 8807514"/>
              <a:gd name="connsiteY348" fmla="*/ 1118861 h 17389414"/>
              <a:gd name="connsiteX349" fmla="*/ 6194715 w 8807514"/>
              <a:gd name="connsiteY349" fmla="*/ 1106503 h 17389414"/>
              <a:gd name="connsiteX350" fmla="*/ 6182357 w 8807514"/>
              <a:gd name="connsiteY350" fmla="*/ 1145636 h 17389414"/>
              <a:gd name="connsiteX351" fmla="*/ 6209133 w 8807514"/>
              <a:gd name="connsiteY351" fmla="*/ 1401033 h 17389414"/>
              <a:gd name="connsiteX352" fmla="*/ 6233850 w 8807514"/>
              <a:gd name="connsiteY352" fmla="*/ 1693504 h 17389414"/>
              <a:gd name="connsiteX353" fmla="*/ 6373910 w 8807514"/>
              <a:gd name="connsiteY353" fmla="*/ 2280504 h 17389414"/>
              <a:gd name="connsiteX354" fmla="*/ 6489254 w 8807514"/>
              <a:gd name="connsiteY354" fmla="*/ 2918996 h 17389414"/>
              <a:gd name="connsiteX355" fmla="*/ 6744658 w 8807514"/>
              <a:gd name="connsiteY355" fmla="*/ 4055923 h 17389414"/>
              <a:gd name="connsiteX356" fmla="*/ 6744658 w 8807514"/>
              <a:gd name="connsiteY356" fmla="*/ 3940582 h 17389414"/>
              <a:gd name="connsiteX357" fmla="*/ 6656091 w 8807514"/>
              <a:gd name="connsiteY357" fmla="*/ 3378298 h 17389414"/>
              <a:gd name="connsiteX358" fmla="*/ 6540747 w 8807514"/>
              <a:gd name="connsiteY358" fmla="*/ 2612108 h 17389414"/>
              <a:gd name="connsiteX359" fmla="*/ 6528389 w 8807514"/>
              <a:gd name="connsiteY359" fmla="*/ 2459694 h 17389414"/>
              <a:gd name="connsiteX360" fmla="*/ 6553105 w 8807514"/>
              <a:gd name="connsiteY360" fmla="*/ 2420560 h 17389414"/>
              <a:gd name="connsiteX361" fmla="*/ 6476896 w 8807514"/>
              <a:gd name="connsiteY361" fmla="*/ 1885051 h 17389414"/>
              <a:gd name="connsiteX362" fmla="*/ 6425403 w 8807514"/>
              <a:gd name="connsiteY362" fmla="*/ 1501956 h 17389414"/>
              <a:gd name="connsiteX363" fmla="*/ 6349194 w 8807514"/>
              <a:gd name="connsiteY363" fmla="*/ 1145636 h 17389414"/>
              <a:gd name="connsiteX364" fmla="*/ 6310059 w 8807514"/>
              <a:gd name="connsiteY364" fmla="*/ 1106503 h 17389414"/>
              <a:gd name="connsiteX365" fmla="*/ 6297701 w 8807514"/>
              <a:gd name="connsiteY365" fmla="*/ 1042654 h 17389414"/>
              <a:gd name="connsiteX366" fmla="*/ 6209133 w 8807514"/>
              <a:gd name="connsiteY366" fmla="*/ 966447 h 17389414"/>
              <a:gd name="connsiteX367" fmla="*/ 6562630 w 8807514"/>
              <a:gd name="connsiteY367" fmla="*/ 959532 h 17389414"/>
              <a:gd name="connsiteX368" fmla="*/ 6565314 w 8807514"/>
              <a:gd name="connsiteY368" fmla="*/ 965408 h 17389414"/>
              <a:gd name="connsiteX369" fmla="*/ 6565464 w 8807514"/>
              <a:gd name="connsiteY369" fmla="*/ 966447 h 17389414"/>
              <a:gd name="connsiteX370" fmla="*/ 6557676 w 8807514"/>
              <a:gd name="connsiteY370" fmla="*/ 948682 h 17389414"/>
              <a:gd name="connsiteX371" fmla="*/ 6559035 w 8807514"/>
              <a:gd name="connsiteY371" fmla="*/ 950758 h 17389414"/>
              <a:gd name="connsiteX372" fmla="*/ 6562630 w 8807514"/>
              <a:gd name="connsiteY372" fmla="*/ 959532 h 17389414"/>
              <a:gd name="connsiteX373" fmla="*/ 5735399 w 8807514"/>
              <a:gd name="connsiteY373" fmla="*/ 787257 h 17389414"/>
              <a:gd name="connsiteX374" fmla="*/ 5813668 w 8807514"/>
              <a:gd name="connsiteY374" fmla="*/ 914956 h 17389414"/>
              <a:gd name="connsiteX375" fmla="*/ 5735399 w 8807514"/>
              <a:gd name="connsiteY375" fmla="*/ 787257 h 17389414"/>
              <a:gd name="connsiteX376" fmla="*/ 5730893 w 8807514"/>
              <a:gd name="connsiteY376" fmla="*/ 698628 h 17389414"/>
              <a:gd name="connsiteX377" fmla="*/ 5762175 w 8807514"/>
              <a:gd name="connsiteY377" fmla="*/ 750183 h 17389414"/>
              <a:gd name="connsiteX378" fmla="*/ 5723041 w 8807514"/>
              <a:gd name="connsiteY378" fmla="*/ 711050 h 17389414"/>
              <a:gd name="connsiteX379" fmla="*/ 5730893 w 8807514"/>
              <a:gd name="connsiteY379" fmla="*/ 698628 h 17389414"/>
              <a:gd name="connsiteX380" fmla="*/ 6579882 w 8807514"/>
              <a:gd name="connsiteY380" fmla="*/ 161123 h 17389414"/>
              <a:gd name="connsiteX381" fmla="*/ 6629315 w 8807514"/>
              <a:gd name="connsiteY381" fmla="*/ 187899 h 17389414"/>
              <a:gd name="connsiteX382" fmla="*/ 6705524 w 8807514"/>
              <a:gd name="connsiteY382" fmla="*/ 161123 h 17389414"/>
              <a:gd name="connsiteX383" fmla="*/ 6769375 w 8807514"/>
              <a:gd name="connsiteY383" fmla="*/ 200257 h 17389414"/>
              <a:gd name="connsiteX384" fmla="*/ 6796152 w 8807514"/>
              <a:gd name="connsiteY384" fmla="*/ 288822 h 17389414"/>
              <a:gd name="connsiteX385" fmla="*/ 6872360 w 8807514"/>
              <a:gd name="connsiteY385" fmla="*/ 468011 h 17389414"/>
              <a:gd name="connsiteX386" fmla="*/ 6820868 w 8807514"/>
              <a:gd name="connsiteY386" fmla="*/ 556576 h 17389414"/>
              <a:gd name="connsiteX387" fmla="*/ 6769375 w 8807514"/>
              <a:gd name="connsiteY387" fmla="*/ 544218 h 17389414"/>
              <a:gd name="connsiteX388" fmla="*/ 6757016 w 8807514"/>
              <a:gd name="connsiteY388" fmla="*/ 595710 h 17389414"/>
              <a:gd name="connsiteX389" fmla="*/ 6693166 w 8807514"/>
              <a:gd name="connsiteY389" fmla="*/ 583352 h 17389414"/>
              <a:gd name="connsiteX390" fmla="*/ 6744658 w 8807514"/>
              <a:gd name="connsiteY390" fmla="*/ 811973 h 17389414"/>
              <a:gd name="connsiteX391" fmla="*/ 6604598 w 8807514"/>
              <a:gd name="connsiteY391" fmla="*/ 659559 h 17389414"/>
              <a:gd name="connsiteX392" fmla="*/ 6604598 w 8807514"/>
              <a:gd name="connsiteY392" fmla="*/ 659559 h 17389414"/>
              <a:gd name="connsiteX393" fmla="*/ 6629315 w 8807514"/>
              <a:gd name="connsiteY393" fmla="*/ 787257 h 17389414"/>
              <a:gd name="connsiteX394" fmla="*/ 6629315 w 8807514"/>
              <a:gd name="connsiteY394" fmla="*/ 863464 h 17389414"/>
              <a:gd name="connsiteX395" fmla="*/ 6604598 w 8807514"/>
              <a:gd name="connsiteY395" fmla="*/ 978805 h 17389414"/>
              <a:gd name="connsiteX396" fmla="*/ 6566494 w 8807514"/>
              <a:gd name="connsiteY396" fmla="*/ 967991 h 17389414"/>
              <a:gd name="connsiteX397" fmla="*/ 6565314 w 8807514"/>
              <a:gd name="connsiteY397" fmla="*/ 965408 h 17389414"/>
              <a:gd name="connsiteX398" fmla="*/ 6557707 w 8807514"/>
              <a:gd name="connsiteY398" fmla="*/ 912671 h 17389414"/>
              <a:gd name="connsiteX399" fmla="*/ 6513971 w 8807514"/>
              <a:gd name="connsiteY399" fmla="*/ 750183 h 17389414"/>
              <a:gd name="connsiteX400" fmla="*/ 6528389 w 8807514"/>
              <a:gd name="connsiteY400" fmla="*/ 863464 h 17389414"/>
              <a:gd name="connsiteX401" fmla="*/ 6464538 w 8807514"/>
              <a:gd name="connsiteY401" fmla="*/ 826391 h 17389414"/>
              <a:gd name="connsiteX402" fmla="*/ 6437761 w 8807514"/>
              <a:gd name="connsiteY402" fmla="*/ 927313 h 17389414"/>
              <a:gd name="connsiteX403" fmla="*/ 6450120 w 8807514"/>
              <a:gd name="connsiteY403" fmla="*/ 991162 h 17389414"/>
              <a:gd name="connsiteX404" fmla="*/ 6425403 w 8807514"/>
              <a:gd name="connsiteY404" fmla="*/ 1030296 h 17389414"/>
              <a:gd name="connsiteX405" fmla="*/ 6425403 w 8807514"/>
              <a:gd name="connsiteY405" fmla="*/ 1221844 h 17389414"/>
              <a:gd name="connsiteX406" fmla="*/ 6540747 w 8807514"/>
              <a:gd name="connsiteY406" fmla="*/ 2000392 h 17389414"/>
              <a:gd name="connsiteX407" fmla="*/ 6604598 w 8807514"/>
              <a:gd name="connsiteY407" fmla="*/ 2165163 h 17389414"/>
              <a:gd name="connsiteX408" fmla="*/ 6629315 w 8807514"/>
              <a:gd name="connsiteY408" fmla="*/ 2179581 h 17389414"/>
              <a:gd name="connsiteX409" fmla="*/ 6783793 w 8807514"/>
              <a:gd name="connsiteY409" fmla="*/ 3149677 h 17389414"/>
              <a:gd name="connsiteX410" fmla="*/ 6820868 w 8807514"/>
              <a:gd name="connsiteY410" fmla="*/ 3252659 h 17389414"/>
              <a:gd name="connsiteX411" fmla="*/ 6847644 w 8807514"/>
              <a:gd name="connsiteY411" fmla="*/ 3225884 h 17389414"/>
              <a:gd name="connsiteX412" fmla="*/ 6911496 w 8807514"/>
              <a:gd name="connsiteY412" fmla="*/ 3584263 h 17389414"/>
              <a:gd name="connsiteX413" fmla="*/ 6960928 w 8807514"/>
              <a:gd name="connsiteY413" fmla="*/ 3685186 h 17389414"/>
              <a:gd name="connsiteX414" fmla="*/ 6872360 w 8807514"/>
              <a:gd name="connsiteY414" fmla="*/ 3201168 h 17389414"/>
              <a:gd name="connsiteX415" fmla="*/ 6847644 w 8807514"/>
              <a:gd name="connsiteY415" fmla="*/ 3009620 h 17389414"/>
              <a:gd name="connsiteX416" fmla="*/ 6884719 w 8807514"/>
              <a:gd name="connsiteY416" fmla="*/ 3149677 h 17389414"/>
              <a:gd name="connsiteX417" fmla="*/ 6923854 w 8807514"/>
              <a:gd name="connsiteY417" fmla="*/ 3302091 h 17389414"/>
              <a:gd name="connsiteX418" fmla="*/ 6923854 w 8807514"/>
              <a:gd name="connsiteY418" fmla="*/ 3302091 h 17389414"/>
              <a:gd name="connsiteX419" fmla="*/ 6835286 w 8807514"/>
              <a:gd name="connsiteY419" fmla="*/ 2575034 h 17389414"/>
              <a:gd name="connsiteX420" fmla="*/ 6923854 w 8807514"/>
              <a:gd name="connsiteY420" fmla="*/ 3009620 h 17389414"/>
              <a:gd name="connsiteX421" fmla="*/ 7090690 w 8807514"/>
              <a:gd name="connsiteY421" fmla="*/ 3928224 h 17389414"/>
              <a:gd name="connsiteX422" fmla="*/ 7127765 w 8807514"/>
              <a:gd name="connsiteY422" fmla="*/ 4016789 h 17389414"/>
              <a:gd name="connsiteX423" fmla="*/ 7051556 w 8807514"/>
              <a:gd name="connsiteY423" fmla="*/ 3569845 h 17389414"/>
              <a:gd name="connsiteX424" fmla="*/ 7076272 w 8807514"/>
              <a:gd name="connsiteY424" fmla="*/ 3545129 h 17389414"/>
              <a:gd name="connsiteX425" fmla="*/ 7024780 w 8807514"/>
              <a:gd name="connsiteY425" fmla="*/ 3213526 h 17389414"/>
              <a:gd name="connsiteX426" fmla="*/ 7051556 w 8807514"/>
              <a:gd name="connsiteY426" fmla="*/ 3238242 h 17389414"/>
              <a:gd name="connsiteX427" fmla="*/ 7063914 w 8807514"/>
              <a:gd name="connsiteY427" fmla="*/ 3162034 h 17389414"/>
              <a:gd name="connsiteX428" fmla="*/ 7166900 w 8807514"/>
              <a:gd name="connsiteY428" fmla="*/ 3442147 h 17389414"/>
              <a:gd name="connsiteX429" fmla="*/ 7294602 w 8807514"/>
              <a:gd name="connsiteY429" fmla="*/ 4080639 h 17389414"/>
              <a:gd name="connsiteX430" fmla="*/ 7358453 w 8807514"/>
              <a:gd name="connsiteY430" fmla="*/ 4414302 h 17389414"/>
              <a:gd name="connsiteX431" fmla="*/ 7407886 w 8807514"/>
              <a:gd name="connsiteY431" fmla="*/ 4439018 h 17389414"/>
              <a:gd name="connsiteX432" fmla="*/ 7459379 w 8807514"/>
              <a:gd name="connsiteY432" fmla="*/ 4758264 h 17389414"/>
              <a:gd name="connsiteX433" fmla="*/ 7805411 w 8807514"/>
              <a:gd name="connsiteY433" fmla="*/ 6941494 h 17389414"/>
              <a:gd name="connsiteX434" fmla="*/ 7817770 w 8807514"/>
              <a:gd name="connsiteY434" fmla="*/ 6902360 h 17389414"/>
              <a:gd name="connsiteX435" fmla="*/ 7486156 w 8807514"/>
              <a:gd name="connsiteY435" fmla="*/ 4782979 h 17389414"/>
              <a:gd name="connsiteX436" fmla="*/ 7498514 w 8807514"/>
              <a:gd name="connsiteY436" fmla="*/ 4682056 h 17389414"/>
              <a:gd name="connsiteX437" fmla="*/ 7626216 w 8807514"/>
              <a:gd name="connsiteY437" fmla="*/ 5433829 h 17389414"/>
              <a:gd name="connsiteX438" fmla="*/ 7677709 w 8807514"/>
              <a:gd name="connsiteY438" fmla="*/ 5499738 h 17389414"/>
              <a:gd name="connsiteX439" fmla="*/ 7702426 w 8807514"/>
              <a:gd name="connsiteY439" fmla="*/ 5703643 h 17389414"/>
              <a:gd name="connsiteX440" fmla="*/ 7881620 w 8807514"/>
              <a:gd name="connsiteY440" fmla="*/ 6877645 h 17389414"/>
              <a:gd name="connsiteX441" fmla="*/ 7918696 w 8807514"/>
              <a:gd name="connsiteY441" fmla="*/ 6941494 h 17389414"/>
              <a:gd name="connsiteX442" fmla="*/ 7702426 w 8807514"/>
              <a:gd name="connsiteY442" fmla="*/ 5396755 h 17389414"/>
              <a:gd name="connsiteX443" fmla="*/ 7601500 w 8807514"/>
              <a:gd name="connsiteY443" fmla="*/ 4885962 h 17389414"/>
              <a:gd name="connsiteX444" fmla="*/ 7626216 w 8807514"/>
              <a:gd name="connsiteY444" fmla="*/ 4822113 h 17389414"/>
              <a:gd name="connsiteX445" fmla="*/ 8021681 w 8807514"/>
              <a:gd name="connsiteY445" fmla="*/ 7427571 h 17389414"/>
              <a:gd name="connsiteX446" fmla="*/ 8097890 w 8807514"/>
              <a:gd name="connsiteY446" fmla="*/ 7810666 h 17389414"/>
              <a:gd name="connsiteX447" fmla="*/ 8097890 w 8807514"/>
              <a:gd name="connsiteY447" fmla="*/ 7759175 h 17389414"/>
              <a:gd name="connsiteX448" fmla="*/ 7996964 w 8807514"/>
              <a:gd name="connsiteY448" fmla="*/ 6941494 h 17389414"/>
              <a:gd name="connsiteX449" fmla="*/ 7970188 w 8807514"/>
              <a:gd name="connsiteY449" fmla="*/ 6686097 h 17389414"/>
              <a:gd name="connsiteX450" fmla="*/ 8085532 w 8807514"/>
              <a:gd name="connsiteY450" fmla="*/ 7477002 h 17389414"/>
              <a:gd name="connsiteX451" fmla="*/ 8124666 w 8807514"/>
              <a:gd name="connsiteY451" fmla="*/ 7555269 h 17389414"/>
              <a:gd name="connsiteX452" fmla="*/ 7996964 w 8807514"/>
              <a:gd name="connsiteY452" fmla="*/ 6366851 h 17389414"/>
              <a:gd name="connsiteX453" fmla="*/ 7854844 w 8807514"/>
              <a:gd name="connsiteY453" fmla="*/ 5563587 h 17389414"/>
              <a:gd name="connsiteX454" fmla="*/ 7830128 w 8807514"/>
              <a:gd name="connsiteY454" fmla="*/ 5320548 h 17389414"/>
              <a:gd name="connsiteX455" fmla="*/ 7918696 w 8807514"/>
              <a:gd name="connsiteY455" fmla="*/ 5600661 h 17389414"/>
              <a:gd name="connsiteX456" fmla="*/ 8046398 w 8807514"/>
              <a:gd name="connsiteY456" fmla="*/ 6469834 h 17389414"/>
              <a:gd name="connsiteX457" fmla="*/ 8097890 w 8807514"/>
              <a:gd name="connsiteY457" fmla="*/ 6634605 h 17389414"/>
              <a:gd name="connsiteX458" fmla="*/ 8174100 w 8807514"/>
              <a:gd name="connsiteY458" fmla="*/ 7196890 h 17389414"/>
              <a:gd name="connsiteX459" fmla="*/ 8188518 w 8807514"/>
              <a:gd name="connsiteY459" fmla="*/ 7452287 h 17389414"/>
              <a:gd name="connsiteX460" fmla="*/ 8225592 w 8807514"/>
              <a:gd name="connsiteY460" fmla="*/ 7567628 h 17389414"/>
              <a:gd name="connsiteX461" fmla="*/ 8264727 w 8807514"/>
              <a:gd name="connsiteY461" fmla="*/ 7707683 h 17389414"/>
              <a:gd name="connsiteX462" fmla="*/ 8110248 w 8807514"/>
              <a:gd name="connsiteY462" fmla="*/ 6469834 h 17389414"/>
              <a:gd name="connsiteX463" fmla="*/ 7957830 w 8807514"/>
              <a:gd name="connsiteY463" fmla="*/ 5448247 h 17389414"/>
              <a:gd name="connsiteX464" fmla="*/ 7842486 w 8807514"/>
              <a:gd name="connsiteY464" fmla="*/ 4770621 h 17389414"/>
              <a:gd name="connsiteX465" fmla="*/ 7842486 w 8807514"/>
              <a:gd name="connsiteY465" fmla="*/ 4605849 h 17389414"/>
              <a:gd name="connsiteX466" fmla="*/ 7970188 w 8807514"/>
              <a:gd name="connsiteY466" fmla="*/ 5369980 h 17389414"/>
              <a:gd name="connsiteX467" fmla="*/ 8110248 w 8807514"/>
              <a:gd name="connsiteY467" fmla="*/ 6187662 h 17389414"/>
              <a:gd name="connsiteX468" fmla="*/ 8124666 w 8807514"/>
              <a:gd name="connsiteY468" fmla="*/ 6047605 h 17389414"/>
              <a:gd name="connsiteX469" fmla="*/ 7893978 w 8807514"/>
              <a:gd name="connsiteY469" fmla="*/ 4733548 h 17389414"/>
              <a:gd name="connsiteX470" fmla="*/ 7918696 w 8807514"/>
              <a:gd name="connsiteY470" fmla="*/ 4745906 h 17389414"/>
              <a:gd name="connsiteX471" fmla="*/ 7945472 w 8807514"/>
              <a:gd name="connsiteY471" fmla="*/ 4885962 h 17389414"/>
              <a:gd name="connsiteX472" fmla="*/ 8621058 w 8807514"/>
              <a:gd name="connsiteY472" fmla="*/ 9674650 h 17389414"/>
              <a:gd name="connsiteX473" fmla="*/ 8660192 w 8807514"/>
              <a:gd name="connsiteY473" fmla="*/ 10274008 h 17389414"/>
              <a:gd name="connsiteX474" fmla="*/ 8672550 w 8807514"/>
              <a:gd name="connsiteY474" fmla="*/ 10681819 h 17389414"/>
              <a:gd name="connsiteX475" fmla="*/ 8699327 w 8807514"/>
              <a:gd name="connsiteY475" fmla="*/ 10554120 h 17389414"/>
              <a:gd name="connsiteX476" fmla="*/ 8684909 w 8807514"/>
              <a:gd name="connsiteY476" fmla="*/ 10490271 h 17389414"/>
              <a:gd name="connsiteX477" fmla="*/ 8635476 w 8807514"/>
              <a:gd name="connsiteY477" fmla="*/ 9495460 h 17389414"/>
              <a:gd name="connsiteX478" fmla="*/ 8672550 w 8807514"/>
              <a:gd name="connsiteY478" fmla="*/ 9674650 h 17389414"/>
              <a:gd name="connsiteX479" fmla="*/ 8711685 w 8807514"/>
              <a:gd name="connsiteY479" fmla="*/ 10477913 h 17389414"/>
              <a:gd name="connsiteX480" fmla="*/ 8736402 w 8807514"/>
              <a:gd name="connsiteY480" fmla="*/ 11027840 h 17389414"/>
              <a:gd name="connsiteX481" fmla="*/ 8775536 w 8807514"/>
              <a:gd name="connsiteY481" fmla="*/ 10949573 h 17389414"/>
              <a:gd name="connsiteX482" fmla="*/ 8787894 w 8807514"/>
              <a:gd name="connsiteY482" fmla="*/ 11256461 h 17389414"/>
              <a:gd name="connsiteX483" fmla="*/ 8684909 w 8807514"/>
              <a:gd name="connsiteY483" fmla="*/ 11678690 h 17389414"/>
              <a:gd name="connsiteX484" fmla="*/ 8557207 w 8807514"/>
              <a:gd name="connsiteY484" fmla="*/ 11651914 h 17389414"/>
              <a:gd name="connsiteX485" fmla="*/ 8583983 w 8807514"/>
              <a:gd name="connsiteY485" fmla="*/ 11614840 h 17389414"/>
              <a:gd name="connsiteX486" fmla="*/ 8532490 w 8807514"/>
              <a:gd name="connsiteY486" fmla="*/ 11651914 h 17389414"/>
              <a:gd name="connsiteX487" fmla="*/ 8456281 w 8807514"/>
              <a:gd name="connsiteY487" fmla="*/ 11703405 h 17389414"/>
              <a:gd name="connsiteX488" fmla="*/ 8365653 w 8807514"/>
              <a:gd name="connsiteY488" fmla="*/ 11678690 h 17389414"/>
              <a:gd name="connsiteX489" fmla="*/ 8316220 w 8807514"/>
              <a:gd name="connsiteY489" fmla="*/ 11715763 h 17389414"/>
              <a:gd name="connsiteX490" fmla="*/ 8252369 w 8807514"/>
              <a:gd name="connsiteY490" fmla="*/ 11703405 h 17389414"/>
              <a:gd name="connsiteX491" fmla="*/ 8161742 w 8807514"/>
              <a:gd name="connsiteY491" fmla="*/ 11781672 h 17389414"/>
              <a:gd name="connsiteX492" fmla="*/ 8046398 w 8807514"/>
              <a:gd name="connsiteY492" fmla="*/ 11781672 h 17389414"/>
              <a:gd name="connsiteX493" fmla="*/ 8124666 w 8807514"/>
              <a:gd name="connsiteY493" fmla="*/ 11818746 h 17389414"/>
              <a:gd name="connsiteX494" fmla="*/ 7869262 w 8807514"/>
              <a:gd name="connsiteY494" fmla="*/ 11843462 h 17389414"/>
              <a:gd name="connsiteX495" fmla="*/ 7714784 w 8807514"/>
              <a:gd name="connsiteY495" fmla="*/ 11870237 h 17389414"/>
              <a:gd name="connsiteX496" fmla="*/ 7690067 w 8807514"/>
              <a:gd name="connsiteY496" fmla="*/ 11946444 h 17389414"/>
              <a:gd name="connsiteX497" fmla="*/ 7306960 w 8807514"/>
              <a:gd name="connsiteY497" fmla="*/ 11971160 h 17389414"/>
              <a:gd name="connsiteX498" fmla="*/ 7230751 w 8807514"/>
              <a:gd name="connsiteY498" fmla="*/ 12035009 h 17389414"/>
              <a:gd name="connsiteX499" fmla="*/ 7152482 w 8807514"/>
              <a:gd name="connsiteY499" fmla="*/ 12049427 h 17389414"/>
              <a:gd name="connsiteX500" fmla="*/ 6987704 w 8807514"/>
              <a:gd name="connsiteY500" fmla="*/ 12074143 h 17389414"/>
              <a:gd name="connsiteX501" fmla="*/ 6911496 w 8807514"/>
              <a:gd name="connsiteY501" fmla="*/ 12150350 h 17389414"/>
              <a:gd name="connsiteX502" fmla="*/ 6808510 w 8807514"/>
              <a:gd name="connsiteY502" fmla="*/ 12150350 h 17389414"/>
              <a:gd name="connsiteX503" fmla="*/ 6693166 w 8807514"/>
              <a:gd name="connsiteY503" fmla="*/ 12201841 h 17389414"/>
              <a:gd name="connsiteX504" fmla="*/ 6513971 w 8807514"/>
              <a:gd name="connsiteY504" fmla="*/ 12226557 h 17389414"/>
              <a:gd name="connsiteX505" fmla="*/ 6616956 w 8807514"/>
              <a:gd name="connsiteY505" fmla="*/ 12508729 h 17389414"/>
              <a:gd name="connsiteX506" fmla="*/ 6705524 w 8807514"/>
              <a:gd name="connsiteY506" fmla="*/ 12749708 h 17389414"/>
              <a:gd name="connsiteX507" fmla="*/ 6513971 w 8807514"/>
              <a:gd name="connsiteY507" fmla="*/ 12418104 h 17389414"/>
              <a:gd name="connsiteX508" fmla="*/ 6528389 w 8807514"/>
              <a:gd name="connsiteY508" fmla="*/ 12481953 h 17389414"/>
              <a:gd name="connsiteX509" fmla="*/ 6860002 w 8807514"/>
              <a:gd name="connsiteY509" fmla="*/ 13248143 h 17389414"/>
              <a:gd name="connsiteX510" fmla="*/ 7179258 w 8807514"/>
              <a:gd name="connsiteY510" fmla="*/ 14041109 h 17389414"/>
              <a:gd name="connsiteX511" fmla="*/ 7471738 w 8807514"/>
              <a:gd name="connsiteY511" fmla="*/ 14871148 h 17389414"/>
              <a:gd name="connsiteX512" fmla="*/ 7294602 w 8807514"/>
              <a:gd name="connsiteY512" fmla="*/ 14409786 h 17389414"/>
              <a:gd name="connsiteX513" fmla="*/ 7230751 w 8807514"/>
              <a:gd name="connsiteY513" fmla="*/ 14257372 h 17389414"/>
              <a:gd name="connsiteX514" fmla="*/ 7255468 w 8807514"/>
              <a:gd name="connsiteY514" fmla="*/ 14409786 h 17389414"/>
              <a:gd name="connsiteX515" fmla="*/ 7626216 w 8807514"/>
              <a:gd name="connsiteY515" fmla="*/ 15456089 h 17389414"/>
              <a:gd name="connsiteX516" fmla="*/ 7255468 w 8807514"/>
              <a:gd name="connsiteY516" fmla="*/ 14500411 h 17389414"/>
              <a:gd name="connsiteX517" fmla="*/ 7216333 w 8807514"/>
              <a:gd name="connsiteY517" fmla="*/ 14436562 h 17389414"/>
              <a:gd name="connsiteX518" fmla="*/ 7243109 w 8807514"/>
              <a:gd name="connsiteY518" fmla="*/ 14500411 h 17389414"/>
              <a:gd name="connsiteX519" fmla="*/ 7601500 w 8807514"/>
              <a:gd name="connsiteY519" fmla="*/ 15557012 h 17389414"/>
              <a:gd name="connsiteX520" fmla="*/ 7510872 w 8807514"/>
              <a:gd name="connsiteY520" fmla="*/ 15328391 h 17389414"/>
              <a:gd name="connsiteX521" fmla="*/ 7422304 w 8807514"/>
              <a:gd name="connsiteY521" fmla="*/ 15087412 h 17389414"/>
              <a:gd name="connsiteX522" fmla="*/ 7459379 w 8807514"/>
              <a:gd name="connsiteY522" fmla="*/ 15264542 h 17389414"/>
              <a:gd name="connsiteX523" fmla="*/ 7523230 w 8807514"/>
              <a:gd name="connsiteY523" fmla="*/ 15443731 h 17389414"/>
              <a:gd name="connsiteX524" fmla="*/ 7447021 w 8807514"/>
              <a:gd name="connsiteY524" fmla="*/ 15301615 h 17389414"/>
              <a:gd name="connsiteX525" fmla="*/ 7115407 w 8807514"/>
              <a:gd name="connsiteY525" fmla="*/ 14385071 h 17389414"/>
              <a:gd name="connsiteX526" fmla="*/ 6960928 w 8807514"/>
              <a:gd name="connsiteY526" fmla="*/ 14041109 h 17389414"/>
              <a:gd name="connsiteX527" fmla="*/ 6975346 w 8807514"/>
              <a:gd name="connsiteY527" fmla="*/ 14092600 h 17389414"/>
              <a:gd name="connsiteX528" fmla="*/ 7243109 w 8807514"/>
              <a:gd name="connsiteY528" fmla="*/ 14844373 h 17389414"/>
              <a:gd name="connsiteX529" fmla="*/ 7346095 w 8807514"/>
              <a:gd name="connsiteY529" fmla="*/ 15126545 h 17389414"/>
              <a:gd name="connsiteX530" fmla="*/ 7267826 w 8807514"/>
              <a:gd name="connsiteY530" fmla="*/ 14972071 h 17389414"/>
              <a:gd name="connsiteX531" fmla="*/ 6948570 w 8807514"/>
              <a:gd name="connsiteY531" fmla="*/ 14142032 h 17389414"/>
              <a:gd name="connsiteX532" fmla="*/ 6808510 w 8807514"/>
              <a:gd name="connsiteY532" fmla="*/ 13822786 h 17389414"/>
              <a:gd name="connsiteX533" fmla="*/ 6899137 w 8807514"/>
              <a:gd name="connsiteY533" fmla="*/ 14053467 h 17389414"/>
              <a:gd name="connsiteX534" fmla="*/ 6975346 w 8807514"/>
              <a:gd name="connsiteY534" fmla="*/ 14296506 h 17389414"/>
              <a:gd name="connsiteX535" fmla="*/ 6808510 w 8807514"/>
              <a:gd name="connsiteY535" fmla="*/ 13886635 h 17389414"/>
              <a:gd name="connsiteX536" fmla="*/ 6732300 w 8807514"/>
              <a:gd name="connsiteY536" fmla="*/ 13771295 h 17389414"/>
              <a:gd name="connsiteX537" fmla="*/ 6528389 w 8807514"/>
              <a:gd name="connsiteY537" fmla="*/ 13311993 h 17389414"/>
              <a:gd name="connsiteX538" fmla="*/ 6489254 w 8807514"/>
              <a:gd name="connsiteY538" fmla="*/ 13248143 h 17389414"/>
              <a:gd name="connsiteX539" fmla="*/ 6528389 w 8807514"/>
              <a:gd name="connsiteY539" fmla="*/ 13375842 h 17389414"/>
              <a:gd name="connsiteX540" fmla="*/ 6911496 w 8807514"/>
              <a:gd name="connsiteY540" fmla="*/ 14385071 h 17389414"/>
              <a:gd name="connsiteX541" fmla="*/ 6565464 w 8807514"/>
              <a:gd name="connsiteY541" fmla="*/ 13555031 h 17389414"/>
              <a:gd name="connsiteX542" fmla="*/ 6489254 w 8807514"/>
              <a:gd name="connsiteY542" fmla="*/ 13478824 h 17389414"/>
              <a:gd name="connsiteX543" fmla="*/ 6872360 w 8807514"/>
              <a:gd name="connsiteY543" fmla="*/ 14473636 h 17389414"/>
              <a:gd name="connsiteX544" fmla="*/ 6872360 w 8807514"/>
              <a:gd name="connsiteY544" fmla="*/ 14576618 h 17389414"/>
              <a:gd name="connsiteX545" fmla="*/ 6592240 w 8807514"/>
              <a:gd name="connsiteY545" fmla="*/ 13925769 h 17389414"/>
              <a:gd name="connsiteX546" fmla="*/ 6528389 w 8807514"/>
              <a:gd name="connsiteY546" fmla="*/ 13822786 h 17389414"/>
              <a:gd name="connsiteX547" fmla="*/ 6948570 w 8807514"/>
              <a:gd name="connsiteY547" fmla="*/ 14908222 h 17389414"/>
              <a:gd name="connsiteX548" fmla="*/ 7090690 w 8807514"/>
              <a:gd name="connsiteY548" fmla="*/ 15316033 h 17389414"/>
              <a:gd name="connsiteX549" fmla="*/ 7103048 w 8807514"/>
              <a:gd name="connsiteY549" fmla="*/ 15468447 h 17389414"/>
              <a:gd name="connsiteX550" fmla="*/ 7191616 w 8807514"/>
              <a:gd name="connsiteY550" fmla="*/ 15762977 h 17389414"/>
              <a:gd name="connsiteX551" fmla="*/ 7191616 w 8807514"/>
              <a:gd name="connsiteY551" fmla="*/ 15851542 h 17389414"/>
              <a:gd name="connsiteX552" fmla="*/ 7243109 w 8807514"/>
              <a:gd name="connsiteY552" fmla="*/ 16030732 h 17389414"/>
              <a:gd name="connsiteX553" fmla="*/ 7280184 w 8807514"/>
              <a:gd name="connsiteY553" fmla="*/ 16207862 h 17389414"/>
              <a:gd name="connsiteX554" fmla="*/ 7203974 w 8807514"/>
              <a:gd name="connsiteY554" fmla="*/ 16030732 h 17389414"/>
              <a:gd name="connsiteX555" fmla="*/ 7203974 w 8807514"/>
              <a:gd name="connsiteY555" fmla="*/ 16158430 h 17389414"/>
              <a:gd name="connsiteX556" fmla="*/ 7076272 w 8807514"/>
              <a:gd name="connsiteY556" fmla="*/ 15775335 h 17389414"/>
              <a:gd name="connsiteX557" fmla="*/ 7051556 w 8807514"/>
              <a:gd name="connsiteY557" fmla="*/ 15812409 h 17389414"/>
              <a:gd name="connsiteX558" fmla="*/ 7090690 w 8807514"/>
              <a:gd name="connsiteY558" fmla="*/ 16003956 h 17389414"/>
              <a:gd name="connsiteX559" fmla="*/ 7179258 w 8807514"/>
              <a:gd name="connsiteY559" fmla="*/ 16310844 h 17389414"/>
              <a:gd name="connsiteX560" fmla="*/ 7115407 w 8807514"/>
              <a:gd name="connsiteY560" fmla="*/ 16158430 h 17389414"/>
              <a:gd name="connsiteX561" fmla="*/ 7039198 w 8807514"/>
              <a:gd name="connsiteY561" fmla="*/ 16003956 h 17389414"/>
              <a:gd name="connsiteX562" fmla="*/ 7090690 w 8807514"/>
              <a:gd name="connsiteY562" fmla="*/ 16234637 h 17389414"/>
              <a:gd name="connsiteX563" fmla="*/ 7152482 w 8807514"/>
              <a:gd name="connsiteY563" fmla="*/ 16463258 h 17389414"/>
              <a:gd name="connsiteX564" fmla="*/ 7076272 w 8807514"/>
              <a:gd name="connsiteY564" fmla="*/ 16234637 h 17389414"/>
              <a:gd name="connsiteX565" fmla="*/ 7039198 w 8807514"/>
              <a:gd name="connsiteY565" fmla="*/ 16273770 h 17389414"/>
              <a:gd name="connsiteX566" fmla="*/ 7012421 w 8807514"/>
              <a:gd name="connsiteY566" fmla="*/ 16207862 h 17389414"/>
              <a:gd name="connsiteX567" fmla="*/ 6975346 w 8807514"/>
              <a:gd name="connsiteY567" fmla="*/ 16183146 h 17389414"/>
              <a:gd name="connsiteX568" fmla="*/ 7024780 w 8807514"/>
              <a:gd name="connsiteY568" fmla="*/ 16374693 h 17389414"/>
              <a:gd name="connsiteX569" fmla="*/ 6975346 w 8807514"/>
              <a:gd name="connsiteY569" fmla="*/ 16401469 h 17389414"/>
              <a:gd name="connsiteX570" fmla="*/ 6975346 w 8807514"/>
              <a:gd name="connsiteY570" fmla="*/ 16374693 h 17389414"/>
              <a:gd name="connsiteX571" fmla="*/ 6975346 w 8807514"/>
              <a:gd name="connsiteY571" fmla="*/ 16401469 h 17389414"/>
              <a:gd name="connsiteX572" fmla="*/ 7012421 w 8807514"/>
              <a:gd name="connsiteY572" fmla="*/ 16502393 h 17389414"/>
              <a:gd name="connsiteX573" fmla="*/ 6975346 w 8807514"/>
              <a:gd name="connsiteY573" fmla="*/ 16450900 h 17389414"/>
              <a:gd name="connsiteX574" fmla="*/ 6872360 w 8807514"/>
              <a:gd name="connsiteY574" fmla="*/ 16273770 h 17389414"/>
              <a:gd name="connsiteX575" fmla="*/ 6911496 w 8807514"/>
              <a:gd name="connsiteY575" fmla="*/ 16438542 h 17389414"/>
              <a:gd name="connsiteX576" fmla="*/ 6923854 w 8807514"/>
              <a:gd name="connsiteY576" fmla="*/ 16593017 h 17389414"/>
              <a:gd name="connsiteX577" fmla="*/ 6860002 w 8807514"/>
              <a:gd name="connsiteY577" fmla="*/ 16426185 h 17389414"/>
              <a:gd name="connsiteX578" fmla="*/ 6668449 w 8807514"/>
              <a:gd name="connsiteY578" fmla="*/ 15940107 h 17389414"/>
              <a:gd name="connsiteX579" fmla="*/ 6592240 w 8807514"/>
              <a:gd name="connsiteY579" fmla="*/ 15787693 h 17389414"/>
              <a:gd name="connsiteX580" fmla="*/ 6693166 w 8807514"/>
              <a:gd name="connsiteY580" fmla="*/ 16067805 h 17389414"/>
              <a:gd name="connsiteX581" fmla="*/ 6808510 w 8807514"/>
              <a:gd name="connsiteY581" fmla="*/ 16553883 h 17389414"/>
              <a:gd name="connsiteX582" fmla="*/ 6732300 w 8807514"/>
              <a:gd name="connsiteY582" fmla="*/ 16450900 h 17389414"/>
              <a:gd name="connsiteX583" fmla="*/ 6769375 w 8807514"/>
              <a:gd name="connsiteY583" fmla="*/ 16745429 h 17389414"/>
              <a:gd name="connsiteX584" fmla="*/ 6643733 w 8807514"/>
              <a:gd name="connsiteY584" fmla="*/ 16463258 h 17389414"/>
              <a:gd name="connsiteX585" fmla="*/ 6592240 w 8807514"/>
              <a:gd name="connsiteY585" fmla="*/ 16541525 h 17389414"/>
              <a:gd name="connsiteX586" fmla="*/ 6592240 w 8807514"/>
              <a:gd name="connsiteY586" fmla="*/ 16578599 h 17389414"/>
              <a:gd name="connsiteX587" fmla="*/ 6540747 w 8807514"/>
              <a:gd name="connsiteY587" fmla="*/ 16514749 h 17389414"/>
              <a:gd name="connsiteX588" fmla="*/ 6489254 w 8807514"/>
              <a:gd name="connsiteY588" fmla="*/ 16387051 h 17389414"/>
              <a:gd name="connsiteX589" fmla="*/ 6003162 w 8807514"/>
              <a:gd name="connsiteY589" fmla="*/ 15062696 h 17389414"/>
              <a:gd name="connsiteX590" fmla="*/ 6003162 w 8807514"/>
              <a:gd name="connsiteY590" fmla="*/ 15062696 h 17389414"/>
              <a:gd name="connsiteX591" fmla="*/ 6182357 w 8807514"/>
              <a:gd name="connsiteY591" fmla="*/ 15596145 h 17389414"/>
              <a:gd name="connsiteX592" fmla="*/ 6349194 w 8807514"/>
              <a:gd name="connsiteY592" fmla="*/ 16183146 h 17389414"/>
              <a:gd name="connsiteX593" fmla="*/ 6450120 w 8807514"/>
              <a:gd name="connsiteY593" fmla="*/ 16529167 h 17389414"/>
              <a:gd name="connsiteX594" fmla="*/ 6373910 w 8807514"/>
              <a:gd name="connsiteY594" fmla="*/ 16387051 h 17389414"/>
              <a:gd name="connsiteX595" fmla="*/ 6373910 w 8807514"/>
              <a:gd name="connsiteY595" fmla="*/ 16387051 h 17389414"/>
              <a:gd name="connsiteX596" fmla="*/ 6476896 w 8807514"/>
              <a:gd name="connsiteY596" fmla="*/ 16809279 h 17389414"/>
              <a:gd name="connsiteX597" fmla="*/ 6425403 w 8807514"/>
              <a:gd name="connsiteY597" fmla="*/ 16809279 h 17389414"/>
              <a:gd name="connsiteX598" fmla="*/ 6476896 w 8807514"/>
              <a:gd name="connsiteY598" fmla="*/ 17064677 h 17389414"/>
              <a:gd name="connsiteX599" fmla="*/ 6413045 w 8807514"/>
              <a:gd name="connsiteY599" fmla="*/ 16873129 h 17389414"/>
              <a:gd name="connsiteX600" fmla="*/ 6349194 w 8807514"/>
              <a:gd name="connsiteY600" fmla="*/ 16681581 h 17389414"/>
              <a:gd name="connsiteX601" fmla="*/ 6336835 w 8807514"/>
              <a:gd name="connsiteY601" fmla="*/ 16833995 h 17389414"/>
              <a:gd name="connsiteX602" fmla="*/ 6209133 w 8807514"/>
              <a:gd name="connsiteY602" fmla="*/ 16578599 h 17389414"/>
              <a:gd name="connsiteX603" fmla="*/ 6297701 w 8807514"/>
              <a:gd name="connsiteY603" fmla="*/ 16961693 h 17389414"/>
              <a:gd name="connsiteX604" fmla="*/ 6361552 w 8807514"/>
              <a:gd name="connsiteY604" fmla="*/ 17204733 h 17389414"/>
              <a:gd name="connsiteX605" fmla="*/ 6258566 w 8807514"/>
              <a:gd name="connsiteY605" fmla="*/ 16924619 h 17389414"/>
              <a:gd name="connsiteX606" fmla="*/ 6194715 w 8807514"/>
              <a:gd name="connsiteY606" fmla="*/ 16936977 h 17389414"/>
              <a:gd name="connsiteX607" fmla="*/ 6132924 w 8807514"/>
              <a:gd name="connsiteY607" fmla="*/ 16706297 h 17389414"/>
              <a:gd name="connsiteX608" fmla="*/ 6081431 w 8807514"/>
              <a:gd name="connsiteY608" fmla="*/ 16669223 h 17389414"/>
              <a:gd name="connsiteX609" fmla="*/ 5990804 w 8807514"/>
              <a:gd name="connsiteY609" fmla="*/ 16450900 h 17389414"/>
              <a:gd name="connsiteX610" fmla="*/ 5826026 w 8807514"/>
              <a:gd name="connsiteY610" fmla="*/ 15979240 h 17389414"/>
              <a:gd name="connsiteX611" fmla="*/ 5826026 w 8807514"/>
              <a:gd name="connsiteY611" fmla="*/ 15979240 h 17389414"/>
              <a:gd name="connsiteX612" fmla="*/ 5953729 w 8807514"/>
              <a:gd name="connsiteY612" fmla="*/ 16490033 h 17389414"/>
              <a:gd name="connsiteX613" fmla="*/ 6029938 w 8807514"/>
              <a:gd name="connsiteY613" fmla="*/ 16745429 h 17389414"/>
              <a:gd name="connsiteX614" fmla="*/ 6054655 w 8807514"/>
              <a:gd name="connsiteY614" fmla="*/ 16949335 h 17389414"/>
              <a:gd name="connsiteX615" fmla="*/ 5966087 w 8807514"/>
              <a:gd name="connsiteY615" fmla="*/ 16718655 h 17389414"/>
              <a:gd name="connsiteX616" fmla="*/ 5926952 w 8807514"/>
              <a:gd name="connsiteY616" fmla="*/ 16706297 h 17389414"/>
              <a:gd name="connsiteX617" fmla="*/ 5863101 w 8807514"/>
              <a:gd name="connsiteY617" fmla="*/ 16502393 h 17389414"/>
              <a:gd name="connsiteX618" fmla="*/ 5786892 w 8807514"/>
              <a:gd name="connsiteY618" fmla="*/ 16310844 h 17389414"/>
              <a:gd name="connsiteX619" fmla="*/ 5786892 w 8807514"/>
              <a:gd name="connsiteY619" fmla="*/ 16362335 h 17389414"/>
              <a:gd name="connsiteX620" fmla="*/ 5735399 w 8807514"/>
              <a:gd name="connsiteY620" fmla="*/ 16349977 h 17389414"/>
              <a:gd name="connsiteX621" fmla="*/ 5838385 w 8807514"/>
              <a:gd name="connsiteY621" fmla="*/ 16745429 h 17389414"/>
              <a:gd name="connsiteX622" fmla="*/ 5698324 w 8807514"/>
              <a:gd name="connsiteY622" fmla="*/ 16426185 h 17389414"/>
              <a:gd name="connsiteX623" fmla="*/ 5685966 w 8807514"/>
              <a:gd name="connsiteY623" fmla="*/ 16490033 h 17389414"/>
              <a:gd name="connsiteX624" fmla="*/ 5403785 w 8807514"/>
              <a:gd name="connsiteY624" fmla="*/ 15736202 h 17389414"/>
              <a:gd name="connsiteX625" fmla="*/ 4983604 w 8807514"/>
              <a:gd name="connsiteY625" fmla="*/ 14743450 h 17389414"/>
              <a:gd name="connsiteX626" fmla="*/ 4983604 w 8807514"/>
              <a:gd name="connsiteY626" fmla="*/ 14743450 h 17389414"/>
              <a:gd name="connsiteX627" fmla="*/ 5236948 w 8807514"/>
              <a:gd name="connsiteY627" fmla="*/ 15493163 h 17389414"/>
              <a:gd name="connsiteX628" fmla="*/ 5047455 w 8807514"/>
              <a:gd name="connsiteY628" fmla="*/ 15050338 h 17389414"/>
              <a:gd name="connsiteX629" fmla="*/ 5033037 w 8807514"/>
              <a:gd name="connsiteY629" fmla="*/ 15087412 h 17389414"/>
              <a:gd name="connsiteX630" fmla="*/ 5595338 w 8807514"/>
              <a:gd name="connsiteY630" fmla="*/ 16681581 h 17389414"/>
              <a:gd name="connsiteX631" fmla="*/ 5685966 w 8807514"/>
              <a:gd name="connsiteY631" fmla="*/ 17000827 h 17389414"/>
              <a:gd name="connsiteX632" fmla="*/ 5659190 w 8807514"/>
              <a:gd name="connsiteY632" fmla="*/ 16974051 h 17389414"/>
              <a:gd name="connsiteX633" fmla="*/ 5558264 w 8807514"/>
              <a:gd name="connsiteY633" fmla="*/ 16642449 h 17389414"/>
              <a:gd name="connsiteX634" fmla="*/ 5442920 w 8807514"/>
              <a:gd name="connsiteY634" fmla="*/ 16323202 h 17389414"/>
              <a:gd name="connsiteX635" fmla="*/ 5403785 w 8807514"/>
              <a:gd name="connsiteY635" fmla="*/ 16298486 h 17389414"/>
              <a:gd name="connsiteX636" fmla="*/ 5302859 w 8807514"/>
              <a:gd name="connsiteY636" fmla="*/ 16030732 h 17389414"/>
              <a:gd name="connsiteX637" fmla="*/ 5251366 w 8807514"/>
              <a:gd name="connsiteY637" fmla="*/ 16003956 h 17389414"/>
              <a:gd name="connsiteX638" fmla="*/ 5244157 w 8807514"/>
              <a:gd name="connsiteY638" fmla="*/ 15988251 h 17389414"/>
              <a:gd name="connsiteX639" fmla="*/ 5240987 w 8807514"/>
              <a:gd name="connsiteY639" fmla="*/ 15972513 h 17389414"/>
              <a:gd name="connsiteX640" fmla="*/ 5245059 w 8807514"/>
              <a:gd name="connsiteY640" fmla="*/ 15980560 h 17389414"/>
              <a:gd name="connsiteX641" fmla="*/ 5236948 w 8807514"/>
              <a:gd name="connsiteY641" fmla="*/ 15952465 h 17389414"/>
              <a:gd name="connsiteX642" fmla="*/ 5187515 w 8807514"/>
              <a:gd name="connsiteY642" fmla="*/ 15890675 h 17389414"/>
              <a:gd name="connsiteX643" fmla="*/ 5288441 w 8807514"/>
              <a:gd name="connsiteY643" fmla="*/ 16170788 h 17389414"/>
              <a:gd name="connsiteX644" fmla="*/ 5276083 w 8807514"/>
              <a:gd name="connsiteY644" fmla="*/ 16234637 h 17389414"/>
              <a:gd name="connsiteX645" fmla="*/ 5339934 w 8807514"/>
              <a:gd name="connsiteY645" fmla="*/ 16502393 h 17389414"/>
              <a:gd name="connsiteX646" fmla="*/ 5467636 w 8807514"/>
              <a:gd name="connsiteY646" fmla="*/ 16873129 h 17389414"/>
              <a:gd name="connsiteX647" fmla="*/ 5391427 w 8807514"/>
              <a:gd name="connsiteY647" fmla="*/ 16833995 h 17389414"/>
              <a:gd name="connsiteX648" fmla="*/ 5339934 w 8807514"/>
              <a:gd name="connsiteY648" fmla="*/ 16733073 h 17389414"/>
              <a:gd name="connsiteX649" fmla="*/ 5263725 w 8807514"/>
              <a:gd name="connsiteY649" fmla="*/ 16566241 h 17389414"/>
              <a:gd name="connsiteX650" fmla="*/ 5175157 w 8807514"/>
              <a:gd name="connsiteY650" fmla="*/ 16337620 h 17389414"/>
              <a:gd name="connsiteX651" fmla="*/ 4728199 w 8807514"/>
              <a:gd name="connsiteY651" fmla="*/ 15200692 h 17389414"/>
              <a:gd name="connsiteX652" fmla="*/ 4637572 w 8807514"/>
              <a:gd name="connsiteY652" fmla="*/ 14972071 h 17389414"/>
              <a:gd name="connsiteX653" fmla="*/ 4676706 w 8807514"/>
              <a:gd name="connsiteY653" fmla="*/ 15126545 h 17389414"/>
              <a:gd name="connsiteX654" fmla="*/ 4969186 w 8807514"/>
              <a:gd name="connsiteY654" fmla="*/ 15903033 h 17389414"/>
              <a:gd name="connsiteX655" fmla="*/ 5084529 w 8807514"/>
              <a:gd name="connsiteY655" fmla="*/ 16222279 h 17389414"/>
              <a:gd name="connsiteX656" fmla="*/ 5033037 w 8807514"/>
              <a:gd name="connsiteY656" fmla="*/ 16286128 h 17389414"/>
              <a:gd name="connsiteX657" fmla="*/ 5072171 w 8807514"/>
              <a:gd name="connsiteY657" fmla="*/ 16438542 h 17389414"/>
              <a:gd name="connsiteX658" fmla="*/ 5096888 w 8807514"/>
              <a:gd name="connsiteY658" fmla="*/ 16593017 h 17389414"/>
              <a:gd name="connsiteX659" fmla="*/ 5251366 w 8807514"/>
              <a:gd name="connsiteY659" fmla="*/ 17077035 h 17389414"/>
              <a:gd name="connsiteX660" fmla="*/ 5302859 w 8807514"/>
              <a:gd name="connsiteY660" fmla="*/ 17229449 h 17389414"/>
              <a:gd name="connsiteX661" fmla="*/ 5261665 w 8807514"/>
              <a:gd name="connsiteY661" fmla="*/ 17155817 h 17389414"/>
              <a:gd name="connsiteX662" fmla="*/ 5251134 w 8807514"/>
              <a:gd name="connsiteY662" fmla="*/ 17127661 h 17389414"/>
              <a:gd name="connsiteX663" fmla="*/ 5222144 w 8807514"/>
              <a:gd name="connsiteY663" fmla="*/ 17019877 h 17389414"/>
              <a:gd name="connsiteX664" fmla="*/ 5123664 w 8807514"/>
              <a:gd name="connsiteY664" fmla="*/ 16718655 h 17389414"/>
              <a:gd name="connsiteX665" fmla="*/ 5072171 w 8807514"/>
              <a:gd name="connsiteY665" fmla="*/ 16681581 h 17389414"/>
              <a:gd name="connsiteX666" fmla="*/ 5020678 w 8807514"/>
              <a:gd name="connsiteY666" fmla="*/ 16541525 h 17389414"/>
              <a:gd name="connsiteX667" fmla="*/ 4956827 w 8807514"/>
              <a:gd name="connsiteY667" fmla="*/ 16450900 h 17389414"/>
              <a:gd name="connsiteX668" fmla="*/ 5033037 w 8807514"/>
              <a:gd name="connsiteY668" fmla="*/ 16654805 h 17389414"/>
              <a:gd name="connsiteX669" fmla="*/ 5033037 w 8807514"/>
              <a:gd name="connsiteY669" fmla="*/ 16745429 h 17389414"/>
              <a:gd name="connsiteX670" fmla="*/ 5072171 w 8807514"/>
              <a:gd name="connsiteY670" fmla="*/ 16821637 h 17389414"/>
              <a:gd name="connsiteX671" fmla="*/ 5072171 w 8807514"/>
              <a:gd name="connsiteY671" fmla="*/ 16910203 h 17389414"/>
              <a:gd name="connsiteX672" fmla="*/ 5136022 w 8807514"/>
              <a:gd name="connsiteY672" fmla="*/ 17128525 h 17389414"/>
              <a:gd name="connsiteX673" fmla="*/ 5160739 w 8807514"/>
              <a:gd name="connsiteY673" fmla="*/ 17280939 h 17389414"/>
              <a:gd name="connsiteX674" fmla="*/ 5008320 w 8807514"/>
              <a:gd name="connsiteY674" fmla="*/ 16821637 h 17389414"/>
              <a:gd name="connsiteX675" fmla="*/ 4855901 w 8807514"/>
              <a:gd name="connsiteY675" fmla="*/ 16438542 h 17389414"/>
              <a:gd name="connsiteX676" fmla="*/ 4804408 w 8807514"/>
              <a:gd name="connsiteY676" fmla="*/ 16337620 h 17389414"/>
              <a:gd name="connsiteX677" fmla="*/ 4969186 w 8807514"/>
              <a:gd name="connsiteY677" fmla="*/ 16809279 h 17389414"/>
              <a:gd name="connsiteX678" fmla="*/ 4983604 w 8807514"/>
              <a:gd name="connsiteY678" fmla="*/ 16949335 h 17389414"/>
              <a:gd name="connsiteX679" fmla="*/ 4868260 w 8807514"/>
              <a:gd name="connsiteY679" fmla="*/ 16693939 h 17389414"/>
              <a:gd name="connsiteX680" fmla="*/ 4242107 w 8807514"/>
              <a:gd name="connsiteY680" fmla="*/ 15062696 h 17389414"/>
              <a:gd name="connsiteX681" fmla="*/ 3834283 w 8807514"/>
              <a:gd name="connsiteY681" fmla="*/ 14168807 h 17389414"/>
              <a:gd name="connsiteX682" fmla="*/ 3335832 w 8807514"/>
              <a:gd name="connsiteY682" fmla="*/ 13363484 h 17389414"/>
              <a:gd name="connsiteX683" fmla="*/ 3335832 w 8807514"/>
              <a:gd name="connsiteY683" fmla="*/ 13363484 h 17389414"/>
              <a:gd name="connsiteX684" fmla="*/ 4038195 w 8807514"/>
              <a:gd name="connsiteY684" fmla="*/ 14704317 h 17389414"/>
              <a:gd name="connsiteX685" fmla="*/ 4536646 w 8807514"/>
              <a:gd name="connsiteY685" fmla="*/ 15979240 h 17389414"/>
              <a:gd name="connsiteX686" fmla="*/ 4573720 w 8807514"/>
              <a:gd name="connsiteY686" fmla="*/ 16170788 h 17389414"/>
              <a:gd name="connsiteX687" fmla="*/ 4485153 w 8807514"/>
              <a:gd name="connsiteY687" fmla="*/ 15915391 h 17389414"/>
              <a:gd name="connsiteX688" fmla="*/ 3986702 w 8807514"/>
              <a:gd name="connsiteY688" fmla="*/ 14691959 h 17389414"/>
              <a:gd name="connsiteX689" fmla="*/ 3463535 w 8807514"/>
              <a:gd name="connsiteY689" fmla="*/ 13707446 h 17389414"/>
              <a:gd name="connsiteX690" fmla="*/ 3372907 w 8807514"/>
              <a:gd name="connsiteY690" fmla="*/ 13567389 h 17389414"/>
              <a:gd name="connsiteX691" fmla="*/ 3436758 w 8807514"/>
              <a:gd name="connsiteY691" fmla="*/ 13734221 h 17389414"/>
              <a:gd name="connsiteX692" fmla="*/ 3527386 w 8807514"/>
              <a:gd name="connsiteY692" fmla="*/ 13925769 h 17389414"/>
              <a:gd name="connsiteX693" fmla="*/ 3515028 w 8807514"/>
              <a:gd name="connsiteY693" fmla="*/ 13925769 h 17389414"/>
              <a:gd name="connsiteX694" fmla="*/ 3527386 w 8807514"/>
              <a:gd name="connsiteY694" fmla="*/ 13925769 h 17389414"/>
              <a:gd name="connsiteX695" fmla="*/ 3706581 w 8807514"/>
              <a:gd name="connsiteY695" fmla="*/ 14232657 h 17389414"/>
              <a:gd name="connsiteX696" fmla="*/ 3947567 w 8807514"/>
              <a:gd name="connsiteY696" fmla="*/ 14716674 h 17389414"/>
              <a:gd name="connsiteX697" fmla="*/ 4038195 w 8807514"/>
              <a:gd name="connsiteY697" fmla="*/ 14959713 h 17389414"/>
              <a:gd name="connsiteX698" fmla="*/ 4038195 w 8807514"/>
              <a:gd name="connsiteY698" fmla="*/ 14959713 h 17389414"/>
              <a:gd name="connsiteX699" fmla="*/ 4062911 w 8807514"/>
              <a:gd name="connsiteY699" fmla="*/ 15023562 h 17389414"/>
              <a:gd name="connsiteX700" fmla="*/ 4421302 w 8807514"/>
              <a:gd name="connsiteY700" fmla="*/ 16018374 h 17389414"/>
              <a:gd name="connsiteX701" fmla="*/ 4011419 w 8807514"/>
              <a:gd name="connsiteY701" fmla="*/ 14984429 h 17389414"/>
              <a:gd name="connsiteX702" fmla="*/ 3859000 w 8807514"/>
              <a:gd name="connsiteY702" fmla="*/ 14640467 h 17389414"/>
              <a:gd name="connsiteX703" fmla="*/ 3859000 w 8807514"/>
              <a:gd name="connsiteY703" fmla="*/ 14704317 h 17389414"/>
              <a:gd name="connsiteX704" fmla="*/ 3898134 w 8807514"/>
              <a:gd name="connsiteY704" fmla="*/ 14794941 h 17389414"/>
              <a:gd name="connsiteX705" fmla="*/ 4357451 w 8807514"/>
              <a:gd name="connsiteY705" fmla="*/ 16030732 h 17389414"/>
              <a:gd name="connsiteX706" fmla="*/ 3756014 w 8807514"/>
              <a:gd name="connsiteY706" fmla="*/ 14628109 h 17389414"/>
              <a:gd name="connsiteX707" fmla="*/ 3080428 w 8807514"/>
              <a:gd name="connsiteY707" fmla="*/ 13414975 h 17389414"/>
              <a:gd name="connsiteX708" fmla="*/ 3041293 w 8807514"/>
              <a:gd name="connsiteY708" fmla="*/ 13390259 h 17389414"/>
              <a:gd name="connsiteX709" fmla="*/ 3220488 w 8807514"/>
              <a:gd name="connsiteY709" fmla="*/ 13695088 h 17389414"/>
              <a:gd name="connsiteX710" fmla="*/ 4266823 w 8807514"/>
              <a:gd name="connsiteY710" fmla="*/ 15952465 h 17389414"/>
              <a:gd name="connsiteX711" fmla="*/ 4382167 w 8807514"/>
              <a:gd name="connsiteY711" fmla="*/ 16401469 h 17389414"/>
              <a:gd name="connsiteX712" fmla="*/ 4382167 w 8807514"/>
              <a:gd name="connsiteY712" fmla="*/ 16401469 h 17389414"/>
              <a:gd name="connsiteX713" fmla="*/ 4421302 w 8807514"/>
              <a:gd name="connsiteY713" fmla="*/ 16514749 h 17389414"/>
              <a:gd name="connsiteX714" fmla="*/ 4421302 w 8807514"/>
              <a:gd name="connsiteY714" fmla="*/ 16593017 h 17389414"/>
              <a:gd name="connsiteX715" fmla="*/ 4254465 w 8807514"/>
              <a:gd name="connsiteY715" fmla="*/ 16183146 h 17389414"/>
              <a:gd name="connsiteX716" fmla="*/ 3667446 w 8807514"/>
              <a:gd name="connsiteY716" fmla="*/ 14755808 h 17389414"/>
              <a:gd name="connsiteX717" fmla="*/ 3271981 w 8807514"/>
              <a:gd name="connsiteY717" fmla="*/ 13989618 h 17389414"/>
              <a:gd name="connsiteX718" fmla="*/ 2965084 w 8807514"/>
              <a:gd name="connsiteY718" fmla="*/ 13439691 h 17389414"/>
              <a:gd name="connsiteX719" fmla="*/ 2837382 w 8807514"/>
              <a:gd name="connsiteY719" fmla="*/ 13274919 h 17389414"/>
              <a:gd name="connsiteX720" fmla="*/ 2864158 w 8807514"/>
              <a:gd name="connsiteY720" fmla="*/ 13363484 h 17389414"/>
              <a:gd name="connsiteX721" fmla="*/ 3615953 w 8807514"/>
              <a:gd name="connsiteY721" fmla="*/ 14716674 h 17389414"/>
              <a:gd name="connsiteX722" fmla="*/ 4178255 w 8807514"/>
              <a:gd name="connsiteY722" fmla="*/ 16106939 h 17389414"/>
              <a:gd name="connsiteX723" fmla="*/ 4254465 w 8807514"/>
              <a:gd name="connsiteY723" fmla="*/ 16323202 h 17389414"/>
              <a:gd name="connsiteX724" fmla="*/ 4229748 w 8807514"/>
              <a:gd name="connsiteY724" fmla="*/ 16374693 h 17389414"/>
              <a:gd name="connsiteX725" fmla="*/ 4242107 w 8807514"/>
              <a:gd name="connsiteY725" fmla="*/ 16438542 h 17389414"/>
              <a:gd name="connsiteX726" fmla="*/ 4114404 w 8807514"/>
              <a:gd name="connsiteY726" fmla="*/ 16195504 h 17389414"/>
              <a:gd name="connsiteX727" fmla="*/ 4126762 w 8807514"/>
              <a:gd name="connsiteY727" fmla="*/ 16183146 h 17389414"/>
              <a:gd name="connsiteX728" fmla="*/ 4217390 w 8807514"/>
              <a:gd name="connsiteY728" fmla="*/ 16374693 h 17389414"/>
              <a:gd name="connsiteX729" fmla="*/ 4114404 w 8807514"/>
              <a:gd name="connsiteY729" fmla="*/ 16195504 h 17389414"/>
              <a:gd name="connsiteX730" fmla="*/ 4107069 w 8807514"/>
              <a:gd name="connsiteY730" fmla="*/ 16209767 h 17389414"/>
              <a:gd name="connsiteX731" fmla="*/ 4065390 w 8807514"/>
              <a:gd name="connsiteY731" fmla="*/ 16138670 h 17389414"/>
              <a:gd name="connsiteX732" fmla="*/ 3961985 w 8807514"/>
              <a:gd name="connsiteY732" fmla="*/ 15839184 h 17389414"/>
              <a:gd name="connsiteX733" fmla="*/ 3092786 w 8807514"/>
              <a:gd name="connsiteY733" fmla="*/ 13989618 h 17389414"/>
              <a:gd name="connsiteX734" fmla="*/ 2684963 w 8807514"/>
              <a:gd name="connsiteY734" fmla="*/ 13311993 h 17389414"/>
              <a:gd name="connsiteX735" fmla="*/ 1908451 w 8807514"/>
              <a:gd name="connsiteY735" fmla="*/ 11934086 h 17389414"/>
              <a:gd name="connsiteX736" fmla="*/ 1282298 w 8807514"/>
              <a:gd name="connsiteY736" fmla="*/ 10924857 h 17389414"/>
              <a:gd name="connsiteX737" fmla="*/ 1127819 w 8807514"/>
              <a:gd name="connsiteY737" fmla="*/ 10669461 h 17389414"/>
              <a:gd name="connsiteX738" fmla="*/ 1078386 w 8807514"/>
              <a:gd name="connsiteY738" fmla="*/ 10644745 h 17389414"/>
              <a:gd name="connsiteX739" fmla="*/ 1243164 w 8807514"/>
              <a:gd name="connsiteY739" fmla="*/ 10924857 h 17389414"/>
              <a:gd name="connsiteX740" fmla="*/ 1830182 w 8807514"/>
              <a:gd name="connsiteY740" fmla="*/ 11894953 h 17389414"/>
              <a:gd name="connsiteX741" fmla="*/ 2225647 w 8807514"/>
              <a:gd name="connsiteY741" fmla="*/ 12521087 h 17389414"/>
              <a:gd name="connsiteX742" fmla="*/ 2402782 w 8807514"/>
              <a:gd name="connsiteY742" fmla="*/ 12865048 h 17389414"/>
              <a:gd name="connsiteX743" fmla="*/ 2542843 w 8807514"/>
              <a:gd name="connsiteY743" fmla="*/ 13108087 h 17389414"/>
              <a:gd name="connsiteX744" fmla="*/ 2505768 w 8807514"/>
              <a:gd name="connsiteY744" fmla="*/ 13083371 h 17389414"/>
              <a:gd name="connsiteX745" fmla="*/ 1945526 w 8807514"/>
              <a:gd name="connsiteY745" fmla="*/ 12125634 h 17389414"/>
              <a:gd name="connsiteX746" fmla="*/ 1282298 w 8807514"/>
              <a:gd name="connsiteY746" fmla="*/ 11079331 h 17389414"/>
              <a:gd name="connsiteX747" fmla="*/ 617010 w 8807514"/>
              <a:gd name="connsiteY747" fmla="*/ 10043327 h 17389414"/>
              <a:gd name="connsiteX748" fmla="*/ 106201 w 8807514"/>
              <a:gd name="connsiteY748" fmla="*/ 9048516 h 17389414"/>
              <a:gd name="connsiteX749" fmla="*/ 56768 w 8807514"/>
              <a:gd name="connsiteY749" fmla="*/ 8881684 h 17389414"/>
              <a:gd name="connsiteX750" fmla="*/ 69127 w 8807514"/>
              <a:gd name="connsiteY750" fmla="*/ 9036158 h 17389414"/>
              <a:gd name="connsiteX751" fmla="*/ 29992 w 8807514"/>
              <a:gd name="connsiteY751" fmla="*/ 8957891 h 17389414"/>
              <a:gd name="connsiteX752" fmla="*/ 56768 w 8807514"/>
              <a:gd name="connsiteY752" fmla="*/ 8447098 h 17389414"/>
              <a:gd name="connsiteX753" fmla="*/ 29992 w 8807514"/>
              <a:gd name="connsiteY753" fmla="*/ 8576856 h 17389414"/>
              <a:gd name="connsiteX754" fmla="*/ 81485 w 8807514"/>
              <a:gd name="connsiteY754" fmla="*/ 8434741 h 17389414"/>
              <a:gd name="connsiteX755" fmla="*/ 145336 w 8807514"/>
              <a:gd name="connsiteY755" fmla="*/ 8422382 h 17389414"/>
              <a:gd name="connsiteX756" fmla="*/ 221545 w 8807514"/>
              <a:gd name="connsiteY756" fmla="*/ 8307041 h 17389414"/>
              <a:gd name="connsiteX757" fmla="*/ 388382 w 8807514"/>
              <a:gd name="connsiteY757" fmla="*/ 8206119 h 17389414"/>
              <a:gd name="connsiteX758" fmla="*/ 476950 w 8807514"/>
              <a:gd name="connsiteY758" fmla="*/ 8129911 h 17389414"/>
              <a:gd name="connsiteX759" fmla="*/ 553159 w 8807514"/>
              <a:gd name="connsiteY759" fmla="*/ 8103136 h 17389414"/>
              <a:gd name="connsiteX760" fmla="*/ 617010 w 8807514"/>
              <a:gd name="connsiteY760" fmla="*/ 8039288 h 17389414"/>
              <a:gd name="connsiteX761" fmla="*/ 592294 w 8807514"/>
              <a:gd name="connsiteY761" fmla="*/ 8103136 h 17389414"/>
              <a:gd name="connsiteX762" fmla="*/ 719996 w 8807514"/>
              <a:gd name="connsiteY762" fmla="*/ 7975438 h 17389414"/>
              <a:gd name="connsiteX763" fmla="*/ 783847 w 8807514"/>
              <a:gd name="connsiteY763" fmla="*/ 7963080 h 17389414"/>
              <a:gd name="connsiteX764" fmla="*/ 847699 w 8807514"/>
              <a:gd name="connsiteY764" fmla="*/ 7874515 h 17389414"/>
              <a:gd name="connsiteX765" fmla="*/ 950684 w 8807514"/>
              <a:gd name="connsiteY765" fmla="*/ 7874515 h 17389414"/>
              <a:gd name="connsiteX766" fmla="*/ 1000117 w 8807514"/>
              <a:gd name="connsiteY766" fmla="*/ 7823024 h 17389414"/>
              <a:gd name="connsiteX767" fmla="*/ 1127819 w 8807514"/>
              <a:gd name="connsiteY767" fmla="*/ 7732399 h 17389414"/>
              <a:gd name="connsiteX768" fmla="*/ 1218447 w 8807514"/>
              <a:gd name="connsiteY768" fmla="*/ 7656193 h 17389414"/>
              <a:gd name="connsiteX769" fmla="*/ 1307015 w 8807514"/>
              <a:gd name="connsiteY769" fmla="*/ 7631477 h 17389414"/>
              <a:gd name="connsiteX770" fmla="*/ 1346149 w 8807514"/>
              <a:gd name="connsiteY770" fmla="*/ 7567628 h 17389414"/>
              <a:gd name="connsiteX771" fmla="*/ 1434717 w 8807514"/>
              <a:gd name="connsiteY771" fmla="*/ 7555269 h 17389414"/>
              <a:gd name="connsiteX772" fmla="*/ 1537702 w 8807514"/>
              <a:gd name="connsiteY772" fmla="*/ 7452287 h 17389414"/>
              <a:gd name="connsiteX773" fmla="*/ 1589195 w 8807514"/>
              <a:gd name="connsiteY773" fmla="*/ 7452287 h 17389414"/>
              <a:gd name="connsiteX774" fmla="*/ 1714838 w 8807514"/>
              <a:gd name="connsiteY774" fmla="*/ 7349304 h 17389414"/>
              <a:gd name="connsiteX775" fmla="*/ 1830182 w 8807514"/>
              <a:gd name="connsiteY775" fmla="*/ 7312231 h 17389414"/>
              <a:gd name="connsiteX776" fmla="*/ 1869316 w 8807514"/>
              <a:gd name="connsiteY776" fmla="*/ 7236023 h 17389414"/>
              <a:gd name="connsiteX777" fmla="*/ 1945526 w 8807514"/>
              <a:gd name="connsiteY777" fmla="*/ 7236023 h 17389414"/>
              <a:gd name="connsiteX778" fmla="*/ 1970242 w 8807514"/>
              <a:gd name="connsiteY778" fmla="*/ 7196890 h 17389414"/>
              <a:gd name="connsiteX779" fmla="*/ 2021735 w 8807514"/>
              <a:gd name="connsiteY779" fmla="*/ 7184532 h 17389414"/>
              <a:gd name="connsiteX780" fmla="*/ 2060870 w 8807514"/>
              <a:gd name="connsiteY780" fmla="*/ 7120683 h 17389414"/>
              <a:gd name="connsiteX781" fmla="*/ 2124721 w 8807514"/>
              <a:gd name="connsiteY781" fmla="*/ 7093907 h 17389414"/>
              <a:gd name="connsiteX782" fmla="*/ 2240065 w 8807514"/>
              <a:gd name="connsiteY782" fmla="*/ 7005342 h 17389414"/>
              <a:gd name="connsiteX783" fmla="*/ 2277140 w 8807514"/>
              <a:gd name="connsiteY783" fmla="*/ 6966210 h 17389414"/>
              <a:gd name="connsiteX784" fmla="*/ 2402782 w 8807514"/>
              <a:gd name="connsiteY784" fmla="*/ 6941494 h 17389414"/>
              <a:gd name="connsiteX785" fmla="*/ 2365708 w 8807514"/>
              <a:gd name="connsiteY785" fmla="*/ 6941494 h 17389414"/>
              <a:gd name="connsiteX786" fmla="*/ 2441917 w 8807514"/>
              <a:gd name="connsiteY786" fmla="*/ 6929136 h 17389414"/>
              <a:gd name="connsiteX787" fmla="*/ 2530484 w 8807514"/>
              <a:gd name="connsiteY787" fmla="*/ 6813795 h 17389414"/>
              <a:gd name="connsiteX788" fmla="*/ 2621112 w 8807514"/>
              <a:gd name="connsiteY788" fmla="*/ 6774662 h 17389414"/>
              <a:gd name="connsiteX789" fmla="*/ 2684963 w 8807514"/>
              <a:gd name="connsiteY789" fmla="*/ 6710813 h 17389414"/>
              <a:gd name="connsiteX790" fmla="*/ 2761172 w 8807514"/>
              <a:gd name="connsiteY790" fmla="*/ 6698455 h 17389414"/>
              <a:gd name="connsiteX791" fmla="*/ 2800307 w 8807514"/>
              <a:gd name="connsiteY791" fmla="*/ 6646964 h 17389414"/>
              <a:gd name="connsiteX792" fmla="*/ 2876516 w 8807514"/>
              <a:gd name="connsiteY792" fmla="*/ 6634605 h 17389414"/>
              <a:gd name="connsiteX793" fmla="*/ 2876516 w 8807514"/>
              <a:gd name="connsiteY793" fmla="*/ 6583115 h 17389414"/>
              <a:gd name="connsiteX794" fmla="*/ 2925949 w 8807514"/>
              <a:gd name="connsiteY794" fmla="*/ 6583115 h 17389414"/>
              <a:gd name="connsiteX795" fmla="*/ 2977442 w 8807514"/>
              <a:gd name="connsiteY795" fmla="*/ 6521325 h 17389414"/>
              <a:gd name="connsiteX796" fmla="*/ 3119562 w 8807514"/>
              <a:gd name="connsiteY796" fmla="*/ 6482191 h 17389414"/>
              <a:gd name="connsiteX797" fmla="*/ 3156637 w 8807514"/>
              <a:gd name="connsiteY797" fmla="*/ 6366851 h 17389414"/>
              <a:gd name="connsiteX798" fmla="*/ 3399684 w 8807514"/>
              <a:gd name="connsiteY798" fmla="*/ 6366851 h 17389414"/>
              <a:gd name="connsiteX799" fmla="*/ 3451176 w 8807514"/>
              <a:gd name="connsiteY799" fmla="*/ 6379209 h 17389414"/>
              <a:gd name="connsiteX800" fmla="*/ 3387325 w 8807514"/>
              <a:gd name="connsiteY800" fmla="*/ 6354493 h 17389414"/>
              <a:gd name="connsiteX801" fmla="*/ 3922851 w 8807514"/>
              <a:gd name="connsiteY801" fmla="*/ 6546040 h 17389414"/>
              <a:gd name="connsiteX802" fmla="*/ 3922851 w 8807514"/>
              <a:gd name="connsiteY802" fmla="*/ 6546040 h 17389414"/>
              <a:gd name="connsiteX803" fmla="*/ 3910493 w 8807514"/>
              <a:gd name="connsiteY803" fmla="*/ 6521325 h 17389414"/>
              <a:gd name="connsiteX804" fmla="*/ 4369809 w 8807514"/>
              <a:gd name="connsiteY804" fmla="*/ 6762304 h 17389414"/>
              <a:gd name="connsiteX805" fmla="*/ 4369809 w 8807514"/>
              <a:gd name="connsiteY805" fmla="*/ 6762304 h 17389414"/>
              <a:gd name="connsiteX806" fmla="*/ 4266823 w 8807514"/>
              <a:gd name="connsiteY806" fmla="*/ 6673739 h 17389414"/>
              <a:gd name="connsiteX807" fmla="*/ 4421302 w 8807514"/>
              <a:gd name="connsiteY807" fmla="*/ 6749946 h 17389414"/>
              <a:gd name="connsiteX808" fmla="*/ 4382167 w 8807514"/>
              <a:gd name="connsiteY808" fmla="*/ 6661381 h 17389414"/>
              <a:gd name="connsiteX809" fmla="*/ 4421302 w 8807514"/>
              <a:gd name="connsiteY809" fmla="*/ 6661381 h 17389414"/>
              <a:gd name="connsiteX810" fmla="*/ 4382167 w 8807514"/>
              <a:gd name="connsiteY810" fmla="*/ 6570756 h 17389414"/>
              <a:gd name="connsiteX811" fmla="*/ 4394525 w 8807514"/>
              <a:gd name="connsiteY811" fmla="*/ 6533683 h 17389414"/>
              <a:gd name="connsiteX812" fmla="*/ 4394525 w 8807514"/>
              <a:gd name="connsiteY812" fmla="*/ 6455416 h 17389414"/>
              <a:gd name="connsiteX813" fmla="*/ 4330674 w 8807514"/>
              <a:gd name="connsiteY813" fmla="*/ 6035247 h 17389414"/>
              <a:gd name="connsiteX814" fmla="*/ 4139121 w 8807514"/>
              <a:gd name="connsiteY814" fmla="*/ 4937453 h 17389414"/>
              <a:gd name="connsiteX815" fmla="*/ 4050553 w 8807514"/>
              <a:gd name="connsiteY815" fmla="*/ 4375169 h 17389414"/>
              <a:gd name="connsiteX816" fmla="*/ 3974344 w 8807514"/>
              <a:gd name="connsiteY816" fmla="*/ 4195979 h 17389414"/>
              <a:gd name="connsiteX817" fmla="*/ 3898134 w 8807514"/>
              <a:gd name="connsiteY817" fmla="*/ 3584263 h 17389414"/>
              <a:gd name="connsiteX818" fmla="*/ 3782790 w 8807514"/>
              <a:gd name="connsiteY818" fmla="*/ 2486469 h 17389414"/>
              <a:gd name="connsiteX819" fmla="*/ 3807507 w 8807514"/>
              <a:gd name="connsiteY819" fmla="*/ 2051883 h 17389414"/>
              <a:gd name="connsiteX820" fmla="*/ 3859000 w 8807514"/>
              <a:gd name="connsiteY820" fmla="*/ 1988033 h 17389414"/>
              <a:gd name="connsiteX821" fmla="*/ 3947567 w 8807514"/>
              <a:gd name="connsiteY821" fmla="*/ 1897409 h 17389414"/>
              <a:gd name="connsiteX822" fmla="*/ 3961985 w 8807514"/>
              <a:gd name="connsiteY822" fmla="*/ 1847977 h 17389414"/>
              <a:gd name="connsiteX823" fmla="*/ 4011419 w 8807514"/>
              <a:gd name="connsiteY823" fmla="*/ 1860335 h 17389414"/>
              <a:gd name="connsiteX824" fmla="*/ 4038195 w 8807514"/>
              <a:gd name="connsiteY824" fmla="*/ 1821202 h 17389414"/>
              <a:gd name="connsiteX825" fmla="*/ 4077329 w 8807514"/>
              <a:gd name="connsiteY825" fmla="*/ 1769710 h 17389414"/>
              <a:gd name="connsiteX826" fmla="*/ 4126762 w 8807514"/>
              <a:gd name="connsiteY826" fmla="*/ 1821202 h 17389414"/>
              <a:gd name="connsiteX827" fmla="*/ 4178255 w 8807514"/>
              <a:gd name="connsiteY827" fmla="*/ 1732637 h 17389414"/>
              <a:gd name="connsiteX828" fmla="*/ 4254465 w 8807514"/>
              <a:gd name="connsiteY828" fmla="*/ 1769710 h 17389414"/>
              <a:gd name="connsiteX829" fmla="*/ 4242107 w 8807514"/>
              <a:gd name="connsiteY829" fmla="*/ 1668788 h 17389414"/>
              <a:gd name="connsiteX830" fmla="*/ 4293599 w 8807514"/>
              <a:gd name="connsiteY830" fmla="*/ 1769710 h 17389414"/>
              <a:gd name="connsiteX831" fmla="*/ 4369809 w 8807514"/>
              <a:gd name="connsiteY831" fmla="*/ 1718219 h 17389414"/>
              <a:gd name="connsiteX832" fmla="*/ 4382167 w 8807514"/>
              <a:gd name="connsiteY832" fmla="*/ 1642012 h 17389414"/>
              <a:gd name="connsiteX833" fmla="*/ 4458377 w 8807514"/>
              <a:gd name="connsiteY833" fmla="*/ 1656430 h 17389414"/>
              <a:gd name="connsiteX834" fmla="*/ 4446018 w 8807514"/>
              <a:gd name="connsiteY834" fmla="*/ 1565805 h 17389414"/>
              <a:gd name="connsiteX835" fmla="*/ 4522228 w 8807514"/>
              <a:gd name="connsiteY835" fmla="*/ 1578163 h 17389414"/>
              <a:gd name="connsiteX836" fmla="*/ 4600497 w 8807514"/>
              <a:gd name="connsiteY836" fmla="*/ 1514314 h 17389414"/>
              <a:gd name="connsiteX837" fmla="*/ 4649930 w 8807514"/>
              <a:gd name="connsiteY837" fmla="*/ 1528731 h 17389414"/>
              <a:gd name="connsiteX838" fmla="*/ 4713781 w 8807514"/>
              <a:gd name="connsiteY838" fmla="*/ 1541089 h 17389414"/>
              <a:gd name="connsiteX839" fmla="*/ 4841483 w 8807514"/>
              <a:gd name="connsiteY839" fmla="*/ 1322766 h 17389414"/>
              <a:gd name="connsiteX840" fmla="*/ 4969186 w 8807514"/>
              <a:gd name="connsiteY840" fmla="*/ 1349542 h 17389414"/>
              <a:gd name="connsiteX841" fmla="*/ 4969186 w 8807514"/>
              <a:gd name="connsiteY841" fmla="*/ 1246559 h 17389414"/>
              <a:gd name="connsiteX842" fmla="*/ 5136022 w 8807514"/>
              <a:gd name="connsiteY842" fmla="*/ 1450465 h 17389414"/>
              <a:gd name="connsiteX843" fmla="*/ 5160739 w 8807514"/>
              <a:gd name="connsiteY843" fmla="*/ 1337184 h 17389414"/>
              <a:gd name="connsiteX844" fmla="*/ 5199873 w 8807514"/>
              <a:gd name="connsiteY844" fmla="*/ 1349542 h 17389414"/>
              <a:gd name="connsiteX845" fmla="*/ 5148381 w 8807514"/>
              <a:gd name="connsiteY845" fmla="*/ 1170352 h 17389414"/>
              <a:gd name="connsiteX846" fmla="*/ 5263725 w 8807514"/>
              <a:gd name="connsiteY846" fmla="*/ 1221844 h 17389414"/>
              <a:gd name="connsiteX847" fmla="*/ 5302859 w 8807514"/>
              <a:gd name="connsiteY847" fmla="*/ 1030296 h 17389414"/>
              <a:gd name="connsiteX848" fmla="*/ 5416143 w 8807514"/>
              <a:gd name="connsiteY848" fmla="*/ 1055012 h 17389414"/>
              <a:gd name="connsiteX849" fmla="*/ 5455278 w 8807514"/>
              <a:gd name="connsiteY849" fmla="*/ 1003521 h 17389414"/>
              <a:gd name="connsiteX850" fmla="*/ 5479995 w 8807514"/>
              <a:gd name="connsiteY850" fmla="*/ 914956 h 17389414"/>
              <a:gd name="connsiteX851" fmla="*/ 5506771 w 8807514"/>
              <a:gd name="connsiteY851" fmla="*/ 902597 h 17389414"/>
              <a:gd name="connsiteX852" fmla="*/ 5531487 w 8807514"/>
              <a:gd name="connsiteY852" fmla="*/ 826391 h 17389414"/>
              <a:gd name="connsiteX853" fmla="*/ 5622115 w 8807514"/>
              <a:gd name="connsiteY853" fmla="*/ 826391 h 17389414"/>
              <a:gd name="connsiteX854" fmla="*/ 5622115 w 8807514"/>
              <a:gd name="connsiteY854" fmla="*/ 774899 h 17389414"/>
              <a:gd name="connsiteX855" fmla="*/ 5671548 w 8807514"/>
              <a:gd name="connsiteY855" fmla="*/ 762541 h 17389414"/>
              <a:gd name="connsiteX856" fmla="*/ 5774534 w 8807514"/>
              <a:gd name="connsiteY856" fmla="*/ 939671 h 17389414"/>
              <a:gd name="connsiteX857" fmla="*/ 5877519 w 8807514"/>
              <a:gd name="connsiteY857" fmla="*/ 1067370 h 17389414"/>
              <a:gd name="connsiteX858" fmla="*/ 5966087 w 8807514"/>
              <a:gd name="connsiteY858" fmla="*/ 1489598 h 17389414"/>
              <a:gd name="connsiteX859" fmla="*/ 6029938 w 8807514"/>
              <a:gd name="connsiteY859" fmla="*/ 1936542 h 17389414"/>
              <a:gd name="connsiteX860" fmla="*/ 6285343 w 8807514"/>
              <a:gd name="connsiteY860" fmla="*/ 3596621 h 17389414"/>
              <a:gd name="connsiteX861" fmla="*/ 6604598 w 8807514"/>
              <a:gd name="connsiteY861" fmla="*/ 5448247 h 17389414"/>
              <a:gd name="connsiteX862" fmla="*/ 6616956 w 8807514"/>
              <a:gd name="connsiteY862" fmla="*/ 5536812 h 17389414"/>
              <a:gd name="connsiteX863" fmla="*/ 6629315 w 8807514"/>
              <a:gd name="connsiteY863" fmla="*/ 5485320 h 17389414"/>
              <a:gd name="connsiteX864" fmla="*/ 6450120 w 8807514"/>
              <a:gd name="connsiteY864" fmla="*/ 4463734 h 17389414"/>
              <a:gd name="connsiteX865" fmla="*/ 6258566 w 8807514"/>
              <a:gd name="connsiteY865" fmla="*/ 3289733 h 17389414"/>
              <a:gd name="connsiteX866" fmla="*/ 6081431 w 8807514"/>
              <a:gd name="connsiteY866" fmla="*/ 2088956 h 17389414"/>
              <a:gd name="connsiteX867" fmla="*/ 5953729 w 8807514"/>
              <a:gd name="connsiteY867" fmla="*/ 1209485 h 17389414"/>
              <a:gd name="connsiteX868" fmla="*/ 5889878 w 8807514"/>
              <a:gd name="connsiteY868" fmla="*/ 966447 h 17389414"/>
              <a:gd name="connsiteX869" fmla="*/ 5889878 w 8807514"/>
              <a:gd name="connsiteY869" fmla="*/ 914956 h 17389414"/>
              <a:gd name="connsiteX870" fmla="*/ 5799250 w 8807514"/>
              <a:gd name="connsiteY870" fmla="*/ 671917 h 17389414"/>
              <a:gd name="connsiteX871" fmla="*/ 5877519 w 8807514"/>
              <a:gd name="connsiteY871" fmla="*/ 659559 h 17389414"/>
              <a:gd name="connsiteX872" fmla="*/ 5863101 w 8807514"/>
              <a:gd name="connsiteY872" fmla="*/ 608068 h 17389414"/>
              <a:gd name="connsiteX873" fmla="*/ 5914594 w 8807514"/>
              <a:gd name="connsiteY873" fmla="*/ 634843 h 17389414"/>
              <a:gd name="connsiteX874" fmla="*/ 5914594 w 8807514"/>
              <a:gd name="connsiteY874" fmla="*/ 595710 h 17389414"/>
              <a:gd name="connsiteX875" fmla="*/ 5966087 w 8807514"/>
              <a:gd name="connsiteY875" fmla="*/ 608068 h 17389414"/>
              <a:gd name="connsiteX876" fmla="*/ 6003162 w 8807514"/>
              <a:gd name="connsiteY876" fmla="*/ 531860 h 17389414"/>
              <a:gd name="connsiteX877" fmla="*/ 6054655 w 8807514"/>
              <a:gd name="connsiteY877" fmla="*/ 544218 h 17389414"/>
              <a:gd name="connsiteX878" fmla="*/ 6106147 w 8807514"/>
              <a:gd name="connsiteY878" fmla="*/ 468011 h 17389414"/>
              <a:gd name="connsiteX879" fmla="*/ 6157640 w 8807514"/>
              <a:gd name="connsiteY879" fmla="*/ 443296 h 17389414"/>
              <a:gd name="connsiteX880" fmla="*/ 6246208 w 8807514"/>
              <a:gd name="connsiteY880" fmla="*/ 365029 h 17389414"/>
              <a:gd name="connsiteX881" fmla="*/ 6272984 w 8807514"/>
              <a:gd name="connsiteY881" fmla="*/ 404162 h 17389414"/>
              <a:gd name="connsiteX882" fmla="*/ 6336835 w 8807514"/>
              <a:gd name="connsiteY882" fmla="*/ 327955 h 17389414"/>
              <a:gd name="connsiteX883" fmla="*/ 6400687 w 8807514"/>
              <a:gd name="connsiteY883" fmla="*/ 327955 h 17389414"/>
              <a:gd name="connsiteX884" fmla="*/ 6388328 w 8807514"/>
              <a:gd name="connsiteY884" fmla="*/ 288822 h 17389414"/>
              <a:gd name="connsiteX885" fmla="*/ 6489254 w 8807514"/>
              <a:gd name="connsiteY885" fmla="*/ 303239 h 17389414"/>
              <a:gd name="connsiteX886" fmla="*/ 6501613 w 8807514"/>
              <a:gd name="connsiteY886" fmla="*/ 212614 h 17389414"/>
              <a:gd name="connsiteX887" fmla="*/ 6553105 w 8807514"/>
              <a:gd name="connsiteY887" fmla="*/ 200257 h 17389414"/>
              <a:gd name="connsiteX888" fmla="*/ 6579882 w 8807514"/>
              <a:gd name="connsiteY888" fmla="*/ 161123 h 17389414"/>
              <a:gd name="connsiteX889" fmla="*/ 6764406 w 8807514"/>
              <a:gd name="connsiteY889" fmla="*/ 116644 h 17389414"/>
              <a:gd name="connsiteX890" fmla="*/ 6820868 w 8807514"/>
              <a:gd name="connsiteY890" fmla="*/ 224972 h 17389414"/>
              <a:gd name="connsiteX891" fmla="*/ 6757016 w 8807514"/>
              <a:gd name="connsiteY891" fmla="*/ 124049 h 17389414"/>
              <a:gd name="connsiteX892" fmla="*/ 6764406 w 8807514"/>
              <a:gd name="connsiteY892" fmla="*/ 116644 h 17389414"/>
              <a:gd name="connsiteX893" fmla="*/ 7020209 w 8807514"/>
              <a:gd name="connsiteY893" fmla="*/ 84 h 17389414"/>
              <a:gd name="connsiteX894" fmla="*/ 7103048 w 8807514"/>
              <a:gd name="connsiteY894" fmla="*/ 124049 h 17389414"/>
              <a:gd name="connsiteX895" fmla="*/ 7090690 w 8807514"/>
              <a:gd name="connsiteY895" fmla="*/ 365029 h 17389414"/>
              <a:gd name="connsiteX896" fmla="*/ 7024780 w 8807514"/>
              <a:gd name="connsiteY896" fmla="*/ 303239 h 17389414"/>
              <a:gd name="connsiteX897" fmla="*/ 6936212 w 8807514"/>
              <a:gd name="connsiteY897" fmla="*/ 315597 h 17389414"/>
              <a:gd name="connsiteX898" fmla="*/ 6872360 w 8807514"/>
              <a:gd name="connsiteY898" fmla="*/ 239390 h 17389414"/>
              <a:gd name="connsiteX899" fmla="*/ 6860002 w 8807514"/>
              <a:gd name="connsiteY899" fmla="*/ 136407 h 17389414"/>
              <a:gd name="connsiteX900" fmla="*/ 6911496 w 8807514"/>
              <a:gd name="connsiteY900" fmla="*/ 60200 h 17389414"/>
              <a:gd name="connsiteX901" fmla="*/ 6987704 w 8807514"/>
              <a:gd name="connsiteY901" fmla="*/ 84916 h 17389414"/>
              <a:gd name="connsiteX902" fmla="*/ 6975346 w 8807514"/>
              <a:gd name="connsiteY902" fmla="*/ 8709 h 17389414"/>
              <a:gd name="connsiteX903" fmla="*/ 7020209 w 8807514"/>
              <a:gd name="connsiteY903" fmla="*/ 84 h 17389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Lst>
            <a:rect l="l" t="t" r="r" b="b"/>
            <a:pathLst>
              <a:path w="8807514" h="17389414">
                <a:moveTo>
                  <a:pt x="5199873" y="17383923"/>
                </a:moveTo>
                <a:cubicBezTo>
                  <a:pt x="5199873" y="17383923"/>
                  <a:pt x="5236948" y="17396279"/>
                  <a:pt x="5199873" y="17383923"/>
                </a:cubicBezTo>
                <a:close/>
                <a:moveTo>
                  <a:pt x="5183363" y="17378709"/>
                </a:moveTo>
                <a:cubicBezTo>
                  <a:pt x="5179694" y="17377551"/>
                  <a:pt x="5188255" y="17380253"/>
                  <a:pt x="5194370" y="17382185"/>
                </a:cubicBezTo>
                <a:close/>
                <a:moveTo>
                  <a:pt x="5249361" y="17122921"/>
                </a:moveTo>
                <a:lnTo>
                  <a:pt x="5251134" y="17127661"/>
                </a:lnTo>
                <a:lnTo>
                  <a:pt x="5251366" y="17128525"/>
                </a:lnTo>
                <a:close/>
                <a:moveTo>
                  <a:pt x="5245300" y="17111573"/>
                </a:moveTo>
                <a:lnTo>
                  <a:pt x="5249361" y="17122921"/>
                </a:lnTo>
                <a:lnTo>
                  <a:pt x="5246088" y="17114173"/>
                </a:lnTo>
                <a:cubicBezTo>
                  <a:pt x="5244865" y="17110665"/>
                  <a:pt x="5244511" y="17109489"/>
                  <a:pt x="5245300" y="17111573"/>
                </a:cubicBezTo>
                <a:close/>
                <a:moveTo>
                  <a:pt x="6361552" y="16821637"/>
                </a:moveTo>
                <a:cubicBezTo>
                  <a:pt x="6361552" y="16821637"/>
                  <a:pt x="6400687" y="16833995"/>
                  <a:pt x="6361552" y="16821637"/>
                </a:cubicBezTo>
                <a:close/>
                <a:moveTo>
                  <a:pt x="4932111" y="16349977"/>
                </a:moveTo>
                <a:cubicBezTo>
                  <a:pt x="4944469" y="16362335"/>
                  <a:pt x="4932111" y="16349977"/>
                  <a:pt x="4932111" y="16349977"/>
                </a:cubicBezTo>
                <a:close/>
                <a:moveTo>
                  <a:pt x="4780078" y="16229842"/>
                </a:moveTo>
                <a:cubicBezTo>
                  <a:pt x="4773899" y="16227042"/>
                  <a:pt x="4768363" y="16227943"/>
                  <a:pt x="4765274" y="16234637"/>
                </a:cubicBezTo>
                <a:cubicBezTo>
                  <a:pt x="4765274" y="16259353"/>
                  <a:pt x="4804408" y="16298486"/>
                  <a:pt x="4804408" y="16298486"/>
                </a:cubicBezTo>
                <a:cubicBezTo>
                  <a:pt x="4822946" y="16279949"/>
                  <a:pt x="4798615" y="16238241"/>
                  <a:pt x="4780078" y="16229842"/>
                </a:cubicBezTo>
                <a:close/>
                <a:moveTo>
                  <a:pt x="4107069" y="16209767"/>
                </a:moveTo>
                <a:lnTo>
                  <a:pt x="4114404" y="16222279"/>
                </a:lnTo>
                <a:cubicBezTo>
                  <a:pt x="4108225" y="16222279"/>
                  <a:pt x="4105136" y="16218675"/>
                  <a:pt x="4105136" y="16213526"/>
                </a:cubicBezTo>
                <a:close/>
                <a:moveTo>
                  <a:pt x="4357451" y="16055447"/>
                </a:moveTo>
                <a:cubicBezTo>
                  <a:pt x="4382167" y="16055447"/>
                  <a:pt x="4382167" y="16082223"/>
                  <a:pt x="4369809" y="16094581"/>
                </a:cubicBezTo>
                <a:cubicBezTo>
                  <a:pt x="4357451" y="16094581"/>
                  <a:pt x="4357451" y="16082223"/>
                  <a:pt x="4357451" y="16055447"/>
                </a:cubicBezTo>
                <a:close/>
                <a:moveTo>
                  <a:pt x="4357451" y="16030732"/>
                </a:moveTo>
                <a:cubicBezTo>
                  <a:pt x="4357451" y="16030732"/>
                  <a:pt x="4369809" y="16043089"/>
                  <a:pt x="4357451" y="16055447"/>
                </a:cubicBezTo>
                <a:cubicBezTo>
                  <a:pt x="4357451" y="16055447"/>
                  <a:pt x="4345092" y="16043089"/>
                  <a:pt x="4357451" y="16030732"/>
                </a:cubicBezTo>
                <a:close/>
                <a:moveTo>
                  <a:pt x="5230368" y="15951525"/>
                </a:moveTo>
                <a:lnTo>
                  <a:pt x="5236948" y="15952465"/>
                </a:lnTo>
                <a:lnTo>
                  <a:pt x="5240987" y="15972513"/>
                </a:lnTo>
                <a:close/>
                <a:moveTo>
                  <a:pt x="5224590" y="15940107"/>
                </a:moveTo>
                <a:lnTo>
                  <a:pt x="5230368" y="15951525"/>
                </a:lnTo>
                <a:lnTo>
                  <a:pt x="5226135" y="15950920"/>
                </a:lnTo>
                <a:cubicBezTo>
                  <a:pt x="5224590" y="15949375"/>
                  <a:pt x="5224590" y="15946286"/>
                  <a:pt x="5224590" y="15940107"/>
                </a:cubicBezTo>
                <a:close/>
                <a:moveTo>
                  <a:pt x="5302859" y="15659994"/>
                </a:moveTo>
                <a:cubicBezTo>
                  <a:pt x="5302859" y="15659994"/>
                  <a:pt x="5339934" y="15672352"/>
                  <a:pt x="5302859" y="15659994"/>
                </a:cubicBezTo>
                <a:close/>
                <a:moveTo>
                  <a:pt x="5276083" y="15596145"/>
                </a:moveTo>
                <a:cubicBezTo>
                  <a:pt x="5276083" y="15596145"/>
                  <a:pt x="5315217" y="15608503"/>
                  <a:pt x="5276083" y="15596145"/>
                </a:cubicBezTo>
                <a:close/>
                <a:moveTo>
                  <a:pt x="7612158" y="15561157"/>
                </a:moveTo>
                <a:lnTo>
                  <a:pt x="7617141" y="15563094"/>
                </a:lnTo>
                <a:cubicBezTo>
                  <a:pt x="7618878" y="15563770"/>
                  <a:pt x="7617720" y="15563319"/>
                  <a:pt x="7615403" y="15562419"/>
                </a:cubicBezTo>
                <a:close/>
                <a:moveTo>
                  <a:pt x="7601500" y="15557012"/>
                </a:moveTo>
                <a:cubicBezTo>
                  <a:pt x="7601500" y="15557012"/>
                  <a:pt x="7603817" y="15557913"/>
                  <a:pt x="7606713" y="15559039"/>
                </a:cubicBezTo>
                <a:lnTo>
                  <a:pt x="7612158" y="15561157"/>
                </a:lnTo>
                <a:close/>
                <a:moveTo>
                  <a:pt x="5236948" y="15493163"/>
                </a:moveTo>
                <a:cubicBezTo>
                  <a:pt x="5263725" y="15519938"/>
                  <a:pt x="5276083" y="15557012"/>
                  <a:pt x="5276083" y="15596145"/>
                </a:cubicBezTo>
                <a:cubicBezTo>
                  <a:pt x="5251366" y="15583787"/>
                  <a:pt x="5236948" y="15544654"/>
                  <a:pt x="5236948" y="15493163"/>
                </a:cubicBezTo>
                <a:close/>
                <a:moveTo>
                  <a:pt x="7626216" y="15456089"/>
                </a:moveTo>
                <a:cubicBezTo>
                  <a:pt x="7626216" y="15456089"/>
                  <a:pt x="7663291" y="15468447"/>
                  <a:pt x="7626216" y="15456089"/>
                </a:cubicBezTo>
                <a:close/>
                <a:moveTo>
                  <a:pt x="4084474" y="15057483"/>
                </a:moveTo>
                <a:cubicBezTo>
                  <a:pt x="4082736" y="15055745"/>
                  <a:pt x="4089688" y="15062696"/>
                  <a:pt x="4089688" y="15062696"/>
                </a:cubicBezTo>
                <a:cubicBezTo>
                  <a:pt x="4086598" y="15059606"/>
                  <a:pt x="4085053" y="15058062"/>
                  <a:pt x="4084474" y="15057483"/>
                </a:cubicBezTo>
                <a:close/>
                <a:moveTo>
                  <a:pt x="7523230" y="15011204"/>
                </a:moveTo>
                <a:cubicBezTo>
                  <a:pt x="7535588" y="15011204"/>
                  <a:pt x="7535588" y="15023562"/>
                  <a:pt x="7535588" y="15050338"/>
                </a:cubicBezTo>
                <a:cubicBezTo>
                  <a:pt x="7510872" y="15050338"/>
                  <a:pt x="7523230" y="15023562"/>
                  <a:pt x="7523230" y="15011204"/>
                </a:cubicBezTo>
                <a:close/>
                <a:moveTo>
                  <a:pt x="7510872" y="14972071"/>
                </a:moveTo>
                <a:cubicBezTo>
                  <a:pt x="7523230" y="14972071"/>
                  <a:pt x="7523230" y="14984429"/>
                  <a:pt x="7523230" y="15011204"/>
                </a:cubicBezTo>
                <a:cubicBezTo>
                  <a:pt x="7498514" y="15011204"/>
                  <a:pt x="7510872" y="14984429"/>
                  <a:pt x="7510872" y="14972071"/>
                </a:cubicBezTo>
                <a:close/>
                <a:moveTo>
                  <a:pt x="4989204" y="14923387"/>
                </a:moveTo>
                <a:cubicBezTo>
                  <a:pt x="4987079" y="14924924"/>
                  <a:pt x="4985148" y="14928561"/>
                  <a:pt x="4983604" y="14934997"/>
                </a:cubicBezTo>
                <a:cubicBezTo>
                  <a:pt x="4983604" y="14947355"/>
                  <a:pt x="4995962" y="14947355"/>
                  <a:pt x="4995962" y="14959713"/>
                </a:cubicBezTo>
                <a:cubicBezTo>
                  <a:pt x="5028402" y="15004768"/>
                  <a:pt x="5004072" y="14912631"/>
                  <a:pt x="4989204" y="14923387"/>
                </a:cubicBezTo>
                <a:close/>
                <a:moveTo>
                  <a:pt x="7471738" y="14871148"/>
                </a:moveTo>
                <a:cubicBezTo>
                  <a:pt x="7498514" y="14895864"/>
                  <a:pt x="7498514" y="14920580"/>
                  <a:pt x="7510872" y="14972071"/>
                </a:cubicBezTo>
                <a:cubicBezTo>
                  <a:pt x="7486156" y="14947355"/>
                  <a:pt x="7471738" y="14908222"/>
                  <a:pt x="7471738" y="14871148"/>
                </a:cubicBezTo>
                <a:close/>
                <a:moveTo>
                  <a:pt x="7030702" y="14694115"/>
                </a:moveTo>
                <a:cubicBezTo>
                  <a:pt x="7041129" y="14700197"/>
                  <a:pt x="7060824" y="14746540"/>
                  <a:pt x="7051556" y="14755808"/>
                </a:cubicBezTo>
                <a:cubicBezTo>
                  <a:pt x="7051556" y="14755808"/>
                  <a:pt x="7024780" y="14729032"/>
                  <a:pt x="7024780" y="14704317"/>
                </a:cubicBezTo>
                <a:cubicBezTo>
                  <a:pt x="7024780" y="14694533"/>
                  <a:pt x="7027226" y="14692088"/>
                  <a:pt x="7030702" y="14694115"/>
                </a:cubicBezTo>
                <a:close/>
                <a:moveTo>
                  <a:pt x="7012421" y="14679601"/>
                </a:moveTo>
                <a:cubicBezTo>
                  <a:pt x="7024780" y="14691959"/>
                  <a:pt x="7012421" y="14679601"/>
                  <a:pt x="7012421" y="14679601"/>
                </a:cubicBezTo>
                <a:close/>
                <a:moveTo>
                  <a:pt x="7115407" y="14665183"/>
                </a:moveTo>
                <a:cubicBezTo>
                  <a:pt x="7127765" y="14665183"/>
                  <a:pt x="7127765" y="14691959"/>
                  <a:pt x="7127765" y="14704317"/>
                </a:cubicBezTo>
                <a:cubicBezTo>
                  <a:pt x="7115407" y="14704317"/>
                  <a:pt x="7115407" y="14679601"/>
                  <a:pt x="7115407" y="14665183"/>
                </a:cubicBezTo>
                <a:close/>
                <a:moveTo>
                  <a:pt x="4919752" y="14615752"/>
                </a:moveTo>
                <a:cubicBezTo>
                  <a:pt x="4919752" y="14615752"/>
                  <a:pt x="4932111" y="14628109"/>
                  <a:pt x="4919752" y="14615752"/>
                </a:cubicBezTo>
                <a:close/>
                <a:moveTo>
                  <a:pt x="7076272" y="14564260"/>
                </a:moveTo>
                <a:cubicBezTo>
                  <a:pt x="7103048" y="14588976"/>
                  <a:pt x="7115407" y="14628109"/>
                  <a:pt x="7115407" y="14665183"/>
                </a:cubicBezTo>
                <a:cubicBezTo>
                  <a:pt x="7090690" y="14640467"/>
                  <a:pt x="7076272" y="14601334"/>
                  <a:pt x="7076272" y="14564260"/>
                </a:cubicBezTo>
                <a:close/>
                <a:moveTo>
                  <a:pt x="4906364" y="14542634"/>
                </a:moveTo>
                <a:cubicBezTo>
                  <a:pt x="4899670" y="14542634"/>
                  <a:pt x="4892976" y="14545723"/>
                  <a:pt x="4892976" y="14551902"/>
                </a:cubicBezTo>
                <a:cubicBezTo>
                  <a:pt x="4892976" y="14551902"/>
                  <a:pt x="4932111" y="14564260"/>
                  <a:pt x="4919752" y="14551902"/>
                </a:cubicBezTo>
                <a:cubicBezTo>
                  <a:pt x="4919752" y="14545723"/>
                  <a:pt x="4913058" y="14542634"/>
                  <a:pt x="4906364" y="14542634"/>
                </a:cubicBezTo>
                <a:close/>
                <a:moveTo>
                  <a:pt x="6931253" y="14474344"/>
                </a:moveTo>
                <a:lnTo>
                  <a:pt x="6941618" y="14482550"/>
                </a:lnTo>
                <a:cubicBezTo>
                  <a:pt x="6945480" y="14485607"/>
                  <a:pt x="6948570" y="14488053"/>
                  <a:pt x="6948570" y="14488053"/>
                </a:cubicBezTo>
                <a:cubicBezTo>
                  <a:pt x="6942391" y="14483161"/>
                  <a:pt x="6937757" y="14479493"/>
                  <a:pt x="6934377" y="14476818"/>
                </a:cubicBezTo>
                <a:close/>
                <a:moveTo>
                  <a:pt x="6927715" y="14471544"/>
                </a:moveTo>
                <a:lnTo>
                  <a:pt x="6931253" y="14474344"/>
                </a:lnTo>
                <a:lnTo>
                  <a:pt x="6930033" y="14473378"/>
                </a:lnTo>
                <a:cubicBezTo>
                  <a:pt x="6926943" y="14470932"/>
                  <a:pt x="6925398" y="14469709"/>
                  <a:pt x="6927715" y="14471544"/>
                </a:cubicBezTo>
                <a:close/>
                <a:moveTo>
                  <a:pt x="7039198" y="14461278"/>
                </a:moveTo>
                <a:cubicBezTo>
                  <a:pt x="7051556" y="14461278"/>
                  <a:pt x="7051556" y="14488053"/>
                  <a:pt x="7051556" y="14500411"/>
                </a:cubicBezTo>
                <a:cubicBezTo>
                  <a:pt x="7039198" y="14500411"/>
                  <a:pt x="7039198" y="14473636"/>
                  <a:pt x="7039198" y="14461278"/>
                </a:cubicBezTo>
                <a:close/>
                <a:moveTo>
                  <a:pt x="7000063" y="14360355"/>
                </a:moveTo>
                <a:cubicBezTo>
                  <a:pt x="7024780" y="14385071"/>
                  <a:pt x="7039198" y="14424204"/>
                  <a:pt x="7039198" y="14461278"/>
                </a:cubicBezTo>
                <a:cubicBezTo>
                  <a:pt x="7012421" y="14436562"/>
                  <a:pt x="7000063" y="14397429"/>
                  <a:pt x="7000063" y="14360355"/>
                </a:cubicBezTo>
                <a:close/>
                <a:moveTo>
                  <a:pt x="3300882" y="14303651"/>
                </a:moveTo>
                <a:cubicBezTo>
                  <a:pt x="3298372" y="14304230"/>
                  <a:pt x="3296698" y="14305775"/>
                  <a:pt x="3296698" y="14308864"/>
                </a:cubicBezTo>
                <a:cubicBezTo>
                  <a:pt x="3296698" y="14321221"/>
                  <a:pt x="3323474" y="14333579"/>
                  <a:pt x="3323474" y="14308864"/>
                </a:cubicBezTo>
                <a:cubicBezTo>
                  <a:pt x="3323474" y="14308864"/>
                  <a:pt x="3308413" y="14301913"/>
                  <a:pt x="3300882" y="14303651"/>
                </a:cubicBezTo>
                <a:close/>
                <a:moveTo>
                  <a:pt x="6975346" y="14296506"/>
                </a:moveTo>
                <a:cubicBezTo>
                  <a:pt x="6987704" y="14308864"/>
                  <a:pt x="7000063" y="14333579"/>
                  <a:pt x="7000063" y="14360355"/>
                </a:cubicBezTo>
                <a:cubicBezTo>
                  <a:pt x="6975346" y="14347997"/>
                  <a:pt x="6975346" y="14333579"/>
                  <a:pt x="6975346" y="14296506"/>
                </a:cubicBezTo>
                <a:close/>
                <a:moveTo>
                  <a:pt x="7185051" y="14146795"/>
                </a:moveTo>
                <a:cubicBezTo>
                  <a:pt x="7181575" y="14143705"/>
                  <a:pt x="7179258" y="14145121"/>
                  <a:pt x="7179258" y="14154390"/>
                </a:cubicBezTo>
                <a:cubicBezTo>
                  <a:pt x="7179258" y="14205881"/>
                  <a:pt x="7216333" y="14232657"/>
                  <a:pt x="7216333" y="14205881"/>
                </a:cubicBezTo>
                <a:cubicBezTo>
                  <a:pt x="7216333" y="14205881"/>
                  <a:pt x="7195478" y="14156063"/>
                  <a:pt x="7185051" y="14146795"/>
                </a:cubicBezTo>
                <a:close/>
                <a:moveTo>
                  <a:pt x="3168996" y="14065825"/>
                </a:moveTo>
                <a:cubicBezTo>
                  <a:pt x="3195772" y="14129674"/>
                  <a:pt x="3232847" y="14193523"/>
                  <a:pt x="3271981" y="14245014"/>
                </a:cubicBezTo>
                <a:cubicBezTo>
                  <a:pt x="3271981" y="14257372"/>
                  <a:pt x="3271981" y="14269730"/>
                  <a:pt x="3284340" y="14269730"/>
                </a:cubicBezTo>
                <a:cubicBezTo>
                  <a:pt x="3296698" y="14296506"/>
                  <a:pt x="3296698" y="14269730"/>
                  <a:pt x="3284340" y="14269730"/>
                </a:cubicBezTo>
                <a:cubicBezTo>
                  <a:pt x="3284340" y="14257372"/>
                  <a:pt x="3284340" y="14245014"/>
                  <a:pt x="3271981" y="14245014"/>
                </a:cubicBezTo>
                <a:cubicBezTo>
                  <a:pt x="3245205" y="14181165"/>
                  <a:pt x="3220488" y="14104958"/>
                  <a:pt x="3168996" y="14065825"/>
                </a:cubicBezTo>
                <a:close/>
                <a:moveTo>
                  <a:pt x="4609862" y="14034789"/>
                </a:moveTo>
                <a:cubicBezTo>
                  <a:pt x="4605389" y="14033031"/>
                  <a:pt x="4602042" y="14034673"/>
                  <a:pt x="4600497" y="14041109"/>
                </a:cubicBezTo>
                <a:cubicBezTo>
                  <a:pt x="4600497" y="14053467"/>
                  <a:pt x="4637572" y="14092600"/>
                  <a:pt x="4637572" y="14092600"/>
                </a:cubicBezTo>
                <a:cubicBezTo>
                  <a:pt x="4727684" y="14225962"/>
                  <a:pt x="4641176" y="14047095"/>
                  <a:pt x="4609862" y="14034789"/>
                </a:cubicBezTo>
                <a:close/>
                <a:moveTo>
                  <a:pt x="4664348" y="14001976"/>
                </a:moveTo>
                <a:cubicBezTo>
                  <a:pt x="4637572" y="14041109"/>
                  <a:pt x="4752916" y="14193523"/>
                  <a:pt x="4765274" y="14218239"/>
                </a:cubicBezTo>
                <a:cubicBezTo>
                  <a:pt x="4816767" y="14321221"/>
                  <a:pt x="4816767" y="14385071"/>
                  <a:pt x="4868260" y="14436562"/>
                </a:cubicBezTo>
                <a:cubicBezTo>
                  <a:pt x="4829125" y="14321221"/>
                  <a:pt x="4777632" y="14168807"/>
                  <a:pt x="4701423" y="14041109"/>
                </a:cubicBezTo>
                <a:cubicBezTo>
                  <a:pt x="4701423" y="14041109"/>
                  <a:pt x="4676706" y="14001976"/>
                  <a:pt x="4664348" y="14001976"/>
                </a:cubicBezTo>
                <a:close/>
                <a:moveTo>
                  <a:pt x="3500610" y="14001976"/>
                </a:moveTo>
                <a:cubicBezTo>
                  <a:pt x="3500610" y="14053467"/>
                  <a:pt x="3527386" y="14065825"/>
                  <a:pt x="3552102" y="14092600"/>
                </a:cubicBezTo>
                <a:cubicBezTo>
                  <a:pt x="3552102" y="14129674"/>
                  <a:pt x="3566520" y="14142032"/>
                  <a:pt x="3591237" y="14154390"/>
                </a:cubicBezTo>
                <a:cubicBezTo>
                  <a:pt x="3628312" y="14284148"/>
                  <a:pt x="3692163" y="14385071"/>
                  <a:pt x="3756014" y="14525127"/>
                </a:cubicBezTo>
                <a:cubicBezTo>
                  <a:pt x="3782790" y="14588976"/>
                  <a:pt x="3859000" y="14679601"/>
                  <a:pt x="3807507" y="14564260"/>
                </a:cubicBezTo>
                <a:cubicBezTo>
                  <a:pt x="3756014" y="14448920"/>
                  <a:pt x="3667446" y="14269730"/>
                  <a:pt x="3591237" y="14154390"/>
                </a:cubicBezTo>
                <a:cubicBezTo>
                  <a:pt x="3591237" y="14117316"/>
                  <a:pt x="3578879" y="14104958"/>
                  <a:pt x="3552102" y="14092600"/>
                </a:cubicBezTo>
                <a:cubicBezTo>
                  <a:pt x="3552102" y="14053467"/>
                  <a:pt x="3527386" y="14028751"/>
                  <a:pt x="3500610" y="14001976"/>
                </a:cubicBezTo>
                <a:close/>
                <a:moveTo>
                  <a:pt x="4592161" y="13955537"/>
                </a:moveTo>
                <a:lnTo>
                  <a:pt x="4590554" y="13961277"/>
                </a:lnTo>
                <a:lnTo>
                  <a:pt x="4588106" y="13970019"/>
                </a:lnTo>
                <a:cubicBezTo>
                  <a:pt x="4586980" y="13974042"/>
                  <a:pt x="4586079" y="13977260"/>
                  <a:pt x="4586079" y="13977260"/>
                </a:cubicBezTo>
                <a:lnTo>
                  <a:pt x="4590554" y="13961277"/>
                </a:lnTo>
                <a:lnTo>
                  <a:pt x="4591486" y="13957951"/>
                </a:lnTo>
                <a:cubicBezTo>
                  <a:pt x="4592387" y="13954733"/>
                  <a:pt x="4592837" y="13953124"/>
                  <a:pt x="4592161" y="13955537"/>
                </a:cubicBezTo>
                <a:close/>
                <a:moveTo>
                  <a:pt x="4549004" y="13898993"/>
                </a:moveTo>
                <a:cubicBezTo>
                  <a:pt x="4549004" y="13898993"/>
                  <a:pt x="4561362" y="13913411"/>
                  <a:pt x="4549004" y="13898993"/>
                </a:cubicBezTo>
                <a:close/>
                <a:moveTo>
                  <a:pt x="4581670" y="13843221"/>
                </a:moveTo>
                <a:cubicBezTo>
                  <a:pt x="4578033" y="13842771"/>
                  <a:pt x="4575265" y="13844669"/>
                  <a:pt x="4573720" y="13849561"/>
                </a:cubicBezTo>
                <a:cubicBezTo>
                  <a:pt x="4573720" y="13861919"/>
                  <a:pt x="4649930" y="13989618"/>
                  <a:pt x="4664348" y="13977260"/>
                </a:cubicBezTo>
                <a:cubicBezTo>
                  <a:pt x="4675161" y="13964644"/>
                  <a:pt x="4607126" y="13846375"/>
                  <a:pt x="4581670" y="13843221"/>
                </a:cubicBezTo>
                <a:close/>
                <a:moveTo>
                  <a:pt x="4398593" y="13486037"/>
                </a:moveTo>
                <a:cubicBezTo>
                  <a:pt x="4391211" y="13482010"/>
                  <a:pt x="4385514" y="13483201"/>
                  <a:pt x="4382167" y="13491182"/>
                </a:cubicBezTo>
                <a:cubicBezTo>
                  <a:pt x="4382167" y="13517958"/>
                  <a:pt x="4446018" y="13606523"/>
                  <a:pt x="4472795" y="13658014"/>
                </a:cubicBezTo>
                <a:cubicBezTo>
                  <a:pt x="4485153" y="13670372"/>
                  <a:pt x="4561362" y="13822786"/>
                  <a:pt x="4573720" y="13798070"/>
                </a:cubicBezTo>
                <a:cubicBezTo>
                  <a:pt x="4584534" y="13798070"/>
                  <a:pt x="4450266" y="13514224"/>
                  <a:pt x="4398593" y="13486037"/>
                </a:cubicBezTo>
                <a:close/>
                <a:moveTo>
                  <a:pt x="4316128" y="13463538"/>
                </a:moveTo>
                <a:cubicBezTo>
                  <a:pt x="4312652" y="13477151"/>
                  <a:pt x="4372898" y="13594165"/>
                  <a:pt x="4382167" y="13631239"/>
                </a:cubicBezTo>
                <a:cubicBezTo>
                  <a:pt x="4421302" y="13695088"/>
                  <a:pt x="4458377" y="13734221"/>
                  <a:pt x="4485153" y="13771295"/>
                </a:cubicBezTo>
                <a:cubicBezTo>
                  <a:pt x="4485153" y="13798070"/>
                  <a:pt x="4497511" y="13798070"/>
                  <a:pt x="4497511" y="13798070"/>
                </a:cubicBezTo>
                <a:cubicBezTo>
                  <a:pt x="4509869" y="13785712"/>
                  <a:pt x="4497511" y="13785712"/>
                  <a:pt x="4485153" y="13771295"/>
                </a:cubicBezTo>
                <a:cubicBezTo>
                  <a:pt x="4458377" y="13682730"/>
                  <a:pt x="4394525" y="13581807"/>
                  <a:pt x="4345092" y="13491182"/>
                </a:cubicBezTo>
                <a:cubicBezTo>
                  <a:pt x="4325525" y="13465951"/>
                  <a:pt x="4317286" y="13459000"/>
                  <a:pt x="4316128" y="13463538"/>
                </a:cubicBezTo>
                <a:close/>
                <a:moveTo>
                  <a:pt x="3667446" y="13083371"/>
                </a:moveTo>
                <a:lnTo>
                  <a:pt x="3667446" y="13095729"/>
                </a:lnTo>
                <a:cubicBezTo>
                  <a:pt x="3667446" y="13108087"/>
                  <a:pt x="3743656" y="13235786"/>
                  <a:pt x="3770432" y="13287277"/>
                </a:cubicBezTo>
                <a:cubicBezTo>
                  <a:pt x="3999060" y="13707446"/>
                  <a:pt x="4242107" y="14092600"/>
                  <a:pt x="4433660" y="14539544"/>
                </a:cubicBezTo>
                <a:cubicBezTo>
                  <a:pt x="4458377" y="14576618"/>
                  <a:pt x="4522228" y="14691959"/>
                  <a:pt x="4472795" y="14588976"/>
                </a:cubicBezTo>
                <a:cubicBezTo>
                  <a:pt x="4305958" y="14168807"/>
                  <a:pt x="4089688" y="13798070"/>
                  <a:pt x="3898134" y="13452049"/>
                </a:cubicBezTo>
                <a:cubicBezTo>
                  <a:pt x="3821925" y="13326410"/>
                  <a:pt x="3756014" y="13159579"/>
                  <a:pt x="3667446" y="13083371"/>
                </a:cubicBezTo>
                <a:close/>
                <a:moveTo>
                  <a:pt x="7230751" y="12035009"/>
                </a:moveTo>
                <a:cubicBezTo>
                  <a:pt x="7243109" y="12035009"/>
                  <a:pt x="7267826" y="12035009"/>
                  <a:pt x="7280184" y="12035009"/>
                </a:cubicBezTo>
                <a:cubicBezTo>
                  <a:pt x="7243109" y="12049427"/>
                  <a:pt x="7230751" y="12049427"/>
                  <a:pt x="7230751" y="12035009"/>
                </a:cubicBezTo>
                <a:close/>
                <a:moveTo>
                  <a:pt x="8328578" y="11794030"/>
                </a:moveTo>
                <a:cubicBezTo>
                  <a:pt x="8316220" y="11831104"/>
                  <a:pt x="8328578" y="11794030"/>
                  <a:pt x="8328578" y="11794030"/>
                </a:cubicBezTo>
                <a:close/>
                <a:moveTo>
                  <a:pt x="8331947" y="11783361"/>
                </a:moveTo>
                <a:lnTo>
                  <a:pt x="8330316" y="11788527"/>
                </a:lnTo>
                <a:cubicBezTo>
                  <a:pt x="8329350" y="11791584"/>
                  <a:pt x="8328578" y="11794030"/>
                  <a:pt x="8328578" y="11794030"/>
                </a:cubicBezTo>
                <a:close/>
                <a:moveTo>
                  <a:pt x="8333791" y="11777521"/>
                </a:moveTo>
                <a:lnTo>
                  <a:pt x="8331947" y="11783361"/>
                </a:lnTo>
                <a:lnTo>
                  <a:pt x="8333212" y="11779355"/>
                </a:lnTo>
                <a:cubicBezTo>
                  <a:pt x="8333985" y="11776909"/>
                  <a:pt x="8334371" y="11775686"/>
                  <a:pt x="8333791" y="11777521"/>
                </a:cubicBezTo>
                <a:close/>
                <a:moveTo>
                  <a:pt x="2281259" y="11712931"/>
                </a:moveTo>
                <a:cubicBezTo>
                  <a:pt x="2274565" y="11716278"/>
                  <a:pt x="2270961" y="11722972"/>
                  <a:pt x="2277140" y="11730181"/>
                </a:cubicBezTo>
                <a:lnTo>
                  <a:pt x="2303916" y="11715763"/>
                </a:lnTo>
                <a:cubicBezTo>
                  <a:pt x="2297737" y="11709584"/>
                  <a:pt x="2287953" y="11709584"/>
                  <a:pt x="2281259" y="11712931"/>
                </a:cubicBezTo>
                <a:close/>
                <a:moveTo>
                  <a:pt x="8540986" y="11673670"/>
                </a:moveTo>
                <a:cubicBezTo>
                  <a:pt x="8543303" y="11674056"/>
                  <a:pt x="8544848" y="11675601"/>
                  <a:pt x="8544848" y="11678690"/>
                </a:cubicBezTo>
                <a:cubicBezTo>
                  <a:pt x="8557207" y="11678690"/>
                  <a:pt x="8520132" y="11691048"/>
                  <a:pt x="8520132" y="11691048"/>
                </a:cubicBezTo>
                <a:cubicBezTo>
                  <a:pt x="8520132" y="11681780"/>
                  <a:pt x="8534035" y="11672511"/>
                  <a:pt x="8540986" y="11673670"/>
                </a:cubicBezTo>
                <a:close/>
                <a:moveTo>
                  <a:pt x="8724044" y="11131853"/>
                </a:moveTo>
                <a:cubicBezTo>
                  <a:pt x="8717864" y="11131853"/>
                  <a:pt x="8711685" y="11134942"/>
                  <a:pt x="8711685" y="11141121"/>
                </a:cubicBezTo>
                <a:cubicBezTo>
                  <a:pt x="8711685" y="11155538"/>
                  <a:pt x="8736402" y="11155538"/>
                  <a:pt x="8736402" y="11141121"/>
                </a:cubicBezTo>
                <a:cubicBezTo>
                  <a:pt x="8736402" y="11134942"/>
                  <a:pt x="8730223" y="11131853"/>
                  <a:pt x="8724044" y="11131853"/>
                </a:cubicBezTo>
                <a:close/>
                <a:moveTo>
                  <a:pt x="989497" y="10456190"/>
                </a:moveTo>
                <a:cubicBezTo>
                  <a:pt x="985442" y="10448949"/>
                  <a:pt x="969221" y="10477913"/>
                  <a:pt x="987759" y="10477913"/>
                </a:cubicBezTo>
                <a:cubicBezTo>
                  <a:pt x="987759" y="10504689"/>
                  <a:pt x="1000117" y="10517047"/>
                  <a:pt x="1014535" y="10517047"/>
                </a:cubicBezTo>
                <a:cubicBezTo>
                  <a:pt x="1026894" y="10504689"/>
                  <a:pt x="1014535" y="10490271"/>
                  <a:pt x="987759" y="10477913"/>
                </a:cubicBezTo>
                <a:cubicBezTo>
                  <a:pt x="990849" y="10465040"/>
                  <a:pt x="990849" y="10458604"/>
                  <a:pt x="989497" y="10456190"/>
                </a:cubicBezTo>
                <a:close/>
                <a:moveTo>
                  <a:pt x="790992" y="10148240"/>
                </a:moveTo>
                <a:cubicBezTo>
                  <a:pt x="791571" y="10149399"/>
                  <a:pt x="793116" y="10152488"/>
                  <a:pt x="796205" y="10158667"/>
                </a:cubicBezTo>
                <a:cubicBezTo>
                  <a:pt x="796205" y="10158667"/>
                  <a:pt x="789254" y="10144765"/>
                  <a:pt x="790992" y="10148240"/>
                </a:cubicBezTo>
                <a:close/>
                <a:moveTo>
                  <a:pt x="8623311" y="9384207"/>
                </a:moveTo>
                <a:cubicBezTo>
                  <a:pt x="8627366" y="9384883"/>
                  <a:pt x="8635476" y="9408439"/>
                  <a:pt x="8635476" y="9419253"/>
                </a:cubicBezTo>
                <a:cubicBezTo>
                  <a:pt x="8635476" y="9443969"/>
                  <a:pt x="8621058" y="9404835"/>
                  <a:pt x="8621058" y="9392477"/>
                </a:cubicBezTo>
                <a:cubicBezTo>
                  <a:pt x="8621058" y="9386299"/>
                  <a:pt x="8621959" y="9383981"/>
                  <a:pt x="8623311" y="9384207"/>
                </a:cubicBezTo>
                <a:close/>
                <a:moveTo>
                  <a:pt x="8352039" y="8596293"/>
                </a:moveTo>
                <a:cubicBezTo>
                  <a:pt x="8348017" y="8596165"/>
                  <a:pt x="8344026" y="8601057"/>
                  <a:pt x="8340936" y="8613929"/>
                </a:cubicBezTo>
                <a:cubicBezTo>
                  <a:pt x="8340936" y="8638645"/>
                  <a:pt x="8353295" y="8665421"/>
                  <a:pt x="8365653" y="8653063"/>
                </a:cubicBezTo>
                <a:cubicBezTo>
                  <a:pt x="8376466" y="8642249"/>
                  <a:pt x="8364108" y="8596680"/>
                  <a:pt x="8352039" y="8596293"/>
                </a:cubicBezTo>
                <a:close/>
                <a:moveTo>
                  <a:pt x="8282287" y="8015979"/>
                </a:moveTo>
                <a:cubicBezTo>
                  <a:pt x="8280401" y="8017050"/>
                  <a:pt x="8278631" y="8020493"/>
                  <a:pt x="8277086" y="8026930"/>
                </a:cubicBezTo>
                <a:cubicBezTo>
                  <a:pt x="8264727" y="8090779"/>
                  <a:pt x="8316220" y="8115495"/>
                  <a:pt x="8301802" y="8129911"/>
                </a:cubicBezTo>
                <a:cubicBezTo>
                  <a:pt x="8314418" y="8117297"/>
                  <a:pt x="8295494" y="8008489"/>
                  <a:pt x="8282287" y="8015979"/>
                </a:cubicBezTo>
                <a:close/>
                <a:moveTo>
                  <a:pt x="8116576" y="7948015"/>
                </a:moveTo>
                <a:cubicBezTo>
                  <a:pt x="8114206" y="7946668"/>
                  <a:pt x="8112050" y="7947376"/>
                  <a:pt x="8110248" y="7950723"/>
                </a:cubicBezTo>
                <a:cubicBezTo>
                  <a:pt x="8097890" y="7987796"/>
                  <a:pt x="8149383" y="8078420"/>
                  <a:pt x="8149383" y="8078420"/>
                </a:cubicBezTo>
                <a:cubicBezTo>
                  <a:pt x="8160197" y="8067608"/>
                  <a:pt x="8133163" y="7957449"/>
                  <a:pt x="8116576" y="7948015"/>
                </a:cubicBezTo>
                <a:close/>
                <a:moveTo>
                  <a:pt x="7914076" y="7023243"/>
                </a:moveTo>
                <a:cubicBezTo>
                  <a:pt x="7911374" y="7023123"/>
                  <a:pt x="7908783" y="7025296"/>
                  <a:pt x="7906337" y="7030059"/>
                </a:cubicBezTo>
                <a:cubicBezTo>
                  <a:pt x="7893978" y="7093907"/>
                  <a:pt x="7933114" y="7209248"/>
                  <a:pt x="7945472" y="7299873"/>
                </a:cubicBezTo>
                <a:cubicBezTo>
                  <a:pt x="7957830" y="7336947"/>
                  <a:pt x="7996964" y="7567628"/>
                  <a:pt x="7996964" y="7567628"/>
                </a:cubicBezTo>
                <a:cubicBezTo>
                  <a:pt x="8020136" y="7542526"/>
                  <a:pt x="7954604" y="7025038"/>
                  <a:pt x="7914076" y="7023243"/>
                </a:cubicBezTo>
                <a:close/>
                <a:moveTo>
                  <a:pt x="6847644" y="7005342"/>
                </a:moveTo>
                <a:cubicBezTo>
                  <a:pt x="6820868" y="7030059"/>
                  <a:pt x="6899137" y="7312231"/>
                  <a:pt x="6899137" y="7336947"/>
                </a:cubicBezTo>
                <a:cubicBezTo>
                  <a:pt x="6899137" y="7363722"/>
                  <a:pt x="6936212" y="7528494"/>
                  <a:pt x="6923854" y="7400796"/>
                </a:cubicBezTo>
                <a:cubicBezTo>
                  <a:pt x="6911496" y="7312231"/>
                  <a:pt x="6872360" y="6980627"/>
                  <a:pt x="6847644" y="7005342"/>
                </a:cubicBezTo>
                <a:close/>
                <a:moveTo>
                  <a:pt x="4229748" y="6646964"/>
                </a:moveTo>
                <a:cubicBezTo>
                  <a:pt x="4165897" y="6661381"/>
                  <a:pt x="4229748" y="6646964"/>
                  <a:pt x="4229748" y="6646964"/>
                </a:cubicBezTo>
                <a:close/>
                <a:moveTo>
                  <a:pt x="4229748" y="6646964"/>
                </a:moveTo>
                <a:cubicBezTo>
                  <a:pt x="4242107" y="6646964"/>
                  <a:pt x="4254465" y="6646964"/>
                  <a:pt x="4266823" y="6673739"/>
                </a:cubicBezTo>
                <a:cubicBezTo>
                  <a:pt x="4242107" y="6673739"/>
                  <a:pt x="4229748" y="6661381"/>
                  <a:pt x="4229748" y="6646964"/>
                </a:cubicBezTo>
                <a:close/>
                <a:moveTo>
                  <a:pt x="3883716" y="6506908"/>
                </a:moveTo>
                <a:cubicBezTo>
                  <a:pt x="3898134" y="6506908"/>
                  <a:pt x="3910493" y="6506908"/>
                  <a:pt x="3910493" y="6521325"/>
                </a:cubicBezTo>
                <a:cubicBezTo>
                  <a:pt x="3898134" y="6521325"/>
                  <a:pt x="3883716" y="6521325"/>
                  <a:pt x="3883716" y="6506908"/>
                </a:cubicBezTo>
                <a:close/>
                <a:moveTo>
                  <a:pt x="3859000" y="6494550"/>
                </a:moveTo>
                <a:cubicBezTo>
                  <a:pt x="3871358" y="6494550"/>
                  <a:pt x="3883716" y="6494550"/>
                  <a:pt x="3883716" y="6506908"/>
                </a:cubicBezTo>
                <a:cubicBezTo>
                  <a:pt x="3871358" y="6506908"/>
                  <a:pt x="3859000" y="6506908"/>
                  <a:pt x="3859000" y="6494550"/>
                </a:cubicBezTo>
                <a:close/>
                <a:moveTo>
                  <a:pt x="3834283" y="6482191"/>
                </a:moveTo>
                <a:cubicBezTo>
                  <a:pt x="3846641" y="6482191"/>
                  <a:pt x="3859000" y="6482191"/>
                  <a:pt x="3859000" y="6494550"/>
                </a:cubicBezTo>
                <a:cubicBezTo>
                  <a:pt x="3846641" y="6494550"/>
                  <a:pt x="3834283" y="6494550"/>
                  <a:pt x="3834283" y="6482191"/>
                </a:cubicBezTo>
                <a:close/>
                <a:moveTo>
                  <a:pt x="3807507" y="6469834"/>
                </a:moveTo>
                <a:cubicBezTo>
                  <a:pt x="3821925" y="6469834"/>
                  <a:pt x="3834283" y="6469834"/>
                  <a:pt x="3834283" y="6482191"/>
                </a:cubicBezTo>
                <a:cubicBezTo>
                  <a:pt x="3821925" y="6482191"/>
                  <a:pt x="3807507" y="6482191"/>
                  <a:pt x="3807507" y="6469834"/>
                </a:cubicBezTo>
                <a:close/>
                <a:moveTo>
                  <a:pt x="3756014" y="6443058"/>
                </a:moveTo>
                <a:cubicBezTo>
                  <a:pt x="3782790" y="6443058"/>
                  <a:pt x="3807507" y="6443058"/>
                  <a:pt x="3807507" y="6469834"/>
                </a:cubicBezTo>
                <a:cubicBezTo>
                  <a:pt x="3782790" y="6469834"/>
                  <a:pt x="3770432" y="6455416"/>
                  <a:pt x="3756014" y="6443058"/>
                </a:cubicBezTo>
                <a:close/>
                <a:moveTo>
                  <a:pt x="3731297" y="6430700"/>
                </a:moveTo>
                <a:cubicBezTo>
                  <a:pt x="3743656" y="6430700"/>
                  <a:pt x="3756014" y="6430700"/>
                  <a:pt x="3756014" y="6443058"/>
                </a:cubicBezTo>
                <a:cubicBezTo>
                  <a:pt x="3743656" y="6443058"/>
                  <a:pt x="3731297" y="6443058"/>
                  <a:pt x="3731297" y="6430700"/>
                </a:cubicBezTo>
                <a:close/>
                <a:moveTo>
                  <a:pt x="3706581" y="6418343"/>
                </a:moveTo>
                <a:cubicBezTo>
                  <a:pt x="3718939" y="6418343"/>
                  <a:pt x="3731297" y="6418343"/>
                  <a:pt x="3731297" y="6430700"/>
                </a:cubicBezTo>
                <a:cubicBezTo>
                  <a:pt x="3718939" y="6430700"/>
                  <a:pt x="3706581" y="6430700"/>
                  <a:pt x="3706581" y="6418343"/>
                </a:cubicBezTo>
                <a:close/>
                <a:moveTo>
                  <a:pt x="3679805" y="6405985"/>
                </a:moveTo>
                <a:cubicBezTo>
                  <a:pt x="3628312" y="6418343"/>
                  <a:pt x="3679805" y="6405985"/>
                  <a:pt x="3679805" y="6405985"/>
                </a:cubicBezTo>
                <a:close/>
                <a:moveTo>
                  <a:pt x="3679805" y="6405985"/>
                </a:moveTo>
                <a:cubicBezTo>
                  <a:pt x="3692163" y="6405985"/>
                  <a:pt x="3706581" y="6405985"/>
                  <a:pt x="3706581" y="6418343"/>
                </a:cubicBezTo>
                <a:cubicBezTo>
                  <a:pt x="3692163" y="6418343"/>
                  <a:pt x="3679805" y="6418343"/>
                  <a:pt x="3679805" y="6405985"/>
                </a:cubicBezTo>
                <a:close/>
                <a:moveTo>
                  <a:pt x="3615953" y="6366851"/>
                </a:moveTo>
                <a:lnTo>
                  <a:pt x="3591237" y="6379209"/>
                </a:lnTo>
                <a:cubicBezTo>
                  <a:pt x="3578879" y="6366851"/>
                  <a:pt x="3615953" y="6366851"/>
                  <a:pt x="3615953" y="6366851"/>
                </a:cubicBezTo>
                <a:close/>
                <a:moveTo>
                  <a:pt x="3578879" y="6354493"/>
                </a:moveTo>
                <a:lnTo>
                  <a:pt x="3552102" y="6366851"/>
                </a:lnTo>
                <a:cubicBezTo>
                  <a:pt x="3552102" y="6354493"/>
                  <a:pt x="3578879" y="6354493"/>
                  <a:pt x="3578879" y="6354493"/>
                </a:cubicBezTo>
                <a:close/>
                <a:moveTo>
                  <a:pt x="7930700" y="5455616"/>
                </a:moveTo>
                <a:cubicBezTo>
                  <a:pt x="7943155" y="5463436"/>
                  <a:pt x="7954741" y="5502827"/>
                  <a:pt x="7945472" y="5512096"/>
                </a:cubicBezTo>
                <a:cubicBezTo>
                  <a:pt x="7945472" y="5549169"/>
                  <a:pt x="7918696" y="5536812"/>
                  <a:pt x="7918696" y="5460604"/>
                </a:cubicBezTo>
                <a:cubicBezTo>
                  <a:pt x="7922300" y="5453911"/>
                  <a:pt x="7926549" y="5453009"/>
                  <a:pt x="7930700" y="5455616"/>
                </a:cubicBezTo>
                <a:close/>
                <a:moveTo>
                  <a:pt x="7906337" y="5396755"/>
                </a:moveTo>
                <a:cubicBezTo>
                  <a:pt x="7918696" y="5384397"/>
                  <a:pt x="7933114" y="5409113"/>
                  <a:pt x="7918696" y="5421471"/>
                </a:cubicBezTo>
                <a:cubicBezTo>
                  <a:pt x="7918696" y="5448247"/>
                  <a:pt x="7906337" y="5421471"/>
                  <a:pt x="7906337" y="5396755"/>
                </a:cubicBezTo>
                <a:close/>
                <a:moveTo>
                  <a:pt x="7613858" y="5217566"/>
                </a:moveTo>
                <a:cubicBezTo>
                  <a:pt x="7601500" y="5281415"/>
                  <a:pt x="7613858" y="5217566"/>
                  <a:pt x="7613858" y="5217566"/>
                </a:cubicBezTo>
                <a:close/>
                <a:moveTo>
                  <a:pt x="7601500" y="5129001"/>
                </a:moveTo>
                <a:cubicBezTo>
                  <a:pt x="7601500" y="5129001"/>
                  <a:pt x="7601500" y="5129001"/>
                  <a:pt x="7601500" y="5141359"/>
                </a:cubicBezTo>
                <a:cubicBezTo>
                  <a:pt x="7587082" y="5192850"/>
                  <a:pt x="7601500" y="5141359"/>
                  <a:pt x="7601500" y="5129001"/>
                </a:cubicBezTo>
                <a:close/>
                <a:moveTo>
                  <a:pt x="7587082" y="5052794"/>
                </a:moveTo>
                <a:cubicBezTo>
                  <a:pt x="7587082" y="5052794"/>
                  <a:pt x="7626216" y="5089867"/>
                  <a:pt x="7587082" y="5052794"/>
                </a:cubicBezTo>
                <a:close/>
                <a:moveTo>
                  <a:pt x="7776016" y="4998764"/>
                </a:moveTo>
                <a:cubicBezTo>
                  <a:pt x="7799361" y="5027853"/>
                  <a:pt x="7823691" y="5273176"/>
                  <a:pt x="7778634" y="5129001"/>
                </a:cubicBezTo>
                <a:cubicBezTo>
                  <a:pt x="7778634" y="5077509"/>
                  <a:pt x="7753918" y="5052794"/>
                  <a:pt x="7766276" y="5001302"/>
                </a:cubicBezTo>
                <a:cubicBezTo>
                  <a:pt x="7769366" y="4994866"/>
                  <a:pt x="7772681" y="4994609"/>
                  <a:pt x="7776016" y="4998764"/>
                </a:cubicBezTo>
                <a:close/>
                <a:moveTo>
                  <a:pt x="7574723" y="4974527"/>
                </a:moveTo>
                <a:cubicBezTo>
                  <a:pt x="7601500" y="4974527"/>
                  <a:pt x="7574723" y="5026018"/>
                  <a:pt x="7587082" y="5052794"/>
                </a:cubicBezTo>
                <a:cubicBezTo>
                  <a:pt x="7550006" y="5038376"/>
                  <a:pt x="7574723" y="4988944"/>
                  <a:pt x="7574723" y="4974527"/>
                </a:cubicBezTo>
                <a:close/>
                <a:moveTo>
                  <a:pt x="7550006" y="4822113"/>
                </a:moveTo>
                <a:cubicBezTo>
                  <a:pt x="7562365" y="4861246"/>
                  <a:pt x="7574723" y="4910678"/>
                  <a:pt x="7574723" y="4974527"/>
                </a:cubicBezTo>
                <a:cubicBezTo>
                  <a:pt x="7550006" y="4937453"/>
                  <a:pt x="7550006" y="4873604"/>
                  <a:pt x="7550006" y="4822113"/>
                </a:cubicBezTo>
                <a:close/>
                <a:moveTo>
                  <a:pt x="7533496" y="4800390"/>
                </a:moveTo>
                <a:cubicBezTo>
                  <a:pt x="7535331" y="4802804"/>
                  <a:pt x="7540223" y="4809240"/>
                  <a:pt x="7550006" y="4822113"/>
                </a:cubicBezTo>
                <a:cubicBezTo>
                  <a:pt x="7550006" y="4822113"/>
                  <a:pt x="7527993" y="4793149"/>
                  <a:pt x="7533496" y="4800390"/>
                </a:cubicBezTo>
                <a:close/>
                <a:moveTo>
                  <a:pt x="7230751" y="4770621"/>
                </a:moveTo>
                <a:cubicBezTo>
                  <a:pt x="7216333" y="4797397"/>
                  <a:pt x="7243109" y="4910678"/>
                  <a:pt x="7255468" y="4988944"/>
                </a:cubicBezTo>
                <a:cubicBezTo>
                  <a:pt x="7267826" y="5065152"/>
                  <a:pt x="7280184" y="5129001"/>
                  <a:pt x="7294602" y="5192850"/>
                </a:cubicBezTo>
                <a:cubicBezTo>
                  <a:pt x="7447021" y="6111454"/>
                  <a:pt x="7574723" y="7005342"/>
                  <a:pt x="7714784" y="7950723"/>
                </a:cubicBezTo>
                <a:cubicBezTo>
                  <a:pt x="7714784" y="8002214"/>
                  <a:pt x="7741560" y="8166985"/>
                  <a:pt x="7741560" y="8166985"/>
                </a:cubicBezTo>
                <a:cubicBezTo>
                  <a:pt x="7778634" y="8129911"/>
                  <a:pt x="7702426" y="7810666"/>
                  <a:pt x="7702426" y="7720042"/>
                </a:cubicBezTo>
                <a:cubicBezTo>
                  <a:pt x="7574723" y="6789080"/>
                  <a:pt x="7471738" y="6010531"/>
                  <a:pt x="7319318" y="5166074"/>
                </a:cubicBezTo>
                <a:cubicBezTo>
                  <a:pt x="7306960" y="5102225"/>
                  <a:pt x="7230751" y="4745906"/>
                  <a:pt x="7230751" y="4770621"/>
                </a:cubicBezTo>
                <a:close/>
                <a:moveTo>
                  <a:pt x="7216333" y="4719130"/>
                </a:moveTo>
                <a:cubicBezTo>
                  <a:pt x="7216333" y="4719130"/>
                  <a:pt x="7203974" y="4797397"/>
                  <a:pt x="7216333" y="4719130"/>
                </a:cubicBezTo>
                <a:close/>
                <a:moveTo>
                  <a:pt x="7525161" y="4669602"/>
                </a:moveTo>
                <a:cubicBezTo>
                  <a:pt x="7528637" y="4671630"/>
                  <a:pt x="7535588" y="4709862"/>
                  <a:pt x="7535588" y="4719130"/>
                </a:cubicBezTo>
                <a:cubicBezTo>
                  <a:pt x="7523230" y="4745906"/>
                  <a:pt x="7510872" y="4733548"/>
                  <a:pt x="7523230" y="4682056"/>
                </a:cubicBezTo>
                <a:cubicBezTo>
                  <a:pt x="7523230" y="4672273"/>
                  <a:pt x="7524002" y="4668926"/>
                  <a:pt x="7525161" y="4669602"/>
                </a:cubicBezTo>
                <a:close/>
                <a:moveTo>
                  <a:pt x="7505659" y="4650068"/>
                </a:moveTo>
                <a:cubicBezTo>
                  <a:pt x="7506238" y="4650647"/>
                  <a:pt x="7507783" y="4652192"/>
                  <a:pt x="7510872" y="4655281"/>
                </a:cubicBezTo>
                <a:cubicBezTo>
                  <a:pt x="7510872" y="4655281"/>
                  <a:pt x="7503921" y="4648330"/>
                  <a:pt x="7505659" y="4650068"/>
                </a:cubicBezTo>
                <a:close/>
                <a:moveTo>
                  <a:pt x="7184942" y="4482049"/>
                </a:moveTo>
                <a:cubicBezTo>
                  <a:pt x="7182766" y="4481627"/>
                  <a:pt x="7180803" y="4484072"/>
                  <a:pt x="7179258" y="4490509"/>
                </a:cubicBezTo>
                <a:cubicBezTo>
                  <a:pt x="7166900" y="4515225"/>
                  <a:pt x="7191616" y="4515225"/>
                  <a:pt x="7191616" y="4527583"/>
                </a:cubicBezTo>
                <a:cubicBezTo>
                  <a:pt x="7225859" y="4628506"/>
                  <a:pt x="7200177" y="4485006"/>
                  <a:pt x="7184942" y="4482049"/>
                </a:cubicBezTo>
                <a:close/>
                <a:moveTo>
                  <a:pt x="7160817" y="4330822"/>
                </a:moveTo>
                <a:cubicBezTo>
                  <a:pt x="7158790" y="4329084"/>
                  <a:pt x="7166900" y="4336035"/>
                  <a:pt x="7166900" y="4336035"/>
                </a:cubicBezTo>
                <a:cubicBezTo>
                  <a:pt x="7163296" y="4332946"/>
                  <a:pt x="7161493" y="4331401"/>
                  <a:pt x="7160817" y="4330822"/>
                </a:cubicBezTo>
                <a:close/>
                <a:moveTo>
                  <a:pt x="7121007" y="4080671"/>
                </a:moveTo>
                <a:cubicBezTo>
                  <a:pt x="7117724" y="4081154"/>
                  <a:pt x="7115407" y="4085273"/>
                  <a:pt x="7115407" y="4095056"/>
                </a:cubicBezTo>
                <a:cubicBezTo>
                  <a:pt x="7115407" y="4107414"/>
                  <a:pt x="7140124" y="4119772"/>
                  <a:pt x="7140124" y="4119772"/>
                </a:cubicBezTo>
                <a:cubicBezTo>
                  <a:pt x="7149393" y="4110504"/>
                  <a:pt x="7130855" y="4079223"/>
                  <a:pt x="7121007" y="4080671"/>
                </a:cubicBezTo>
                <a:close/>
                <a:moveTo>
                  <a:pt x="6842430" y="2920090"/>
                </a:moveTo>
                <a:cubicBezTo>
                  <a:pt x="6847644" y="2922986"/>
                  <a:pt x="6847644" y="2961218"/>
                  <a:pt x="6847644" y="2970487"/>
                </a:cubicBezTo>
                <a:cubicBezTo>
                  <a:pt x="6847644" y="2997262"/>
                  <a:pt x="6820868" y="2982845"/>
                  <a:pt x="6835286" y="2931354"/>
                </a:cubicBezTo>
                <a:cubicBezTo>
                  <a:pt x="6838376" y="2922085"/>
                  <a:pt x="6840693" y="2919124"/>
                  <a:pt x="6842430" y="2920090"/>
                </a:cubicBezTo>
                <a:close/>
                <a:moveTo>
                  <a:pt x="6831599" y="2844550"/>
                </a:moveTo>
                <a:lnTo>
                  <a:pt x="6837378" y="2852154"/>
                </a:lnTo>
                <a:cubicBezTo>
                  <a:pt x="6839212" y="2854567"/>
                  <a:pt x="6837989" y="2852958"/>
                  <a:pt x="6835543" y="2849740"/>
                </a:cubicBezTo>
                <a:close/>
                <a:moveTo>
                  <a:pt x="6820868" y="2830431"/>
                </a:moveTo>
                <a:cubicBezTo>
                  <a:pt x="6820868" y="2830431"/>
                  <a:pt x="6823314" y="2833649"/>
                  <a:pt x="6826371" y="2837672"/>
                </a:cubicBezTo>
                <a:lnTo>
                  <a:pt x="6831599" y="2844550"/>
                </a:lnTo>
                <a:close/>
                <a:moveTo>
                  <a:pt x="6796152" y="2663599"/>
                </a:moveTo>
                <a:cubicBezTo>
                  <a:pt x="6820868" y="2702732"/>
                  <a:pt x="6820868" y="2766581"/>
                  <a:pt x="6820868" y="2830431"/>
                </a:cubicBezTo>
                <a:cubicBezTo>
                  <a:pt x="6796152" y="2791297"/>
                  <a:pt x="6796152" y="2727448"/>
                  <a:pt x="6796152" y="2663599"/>
                </a:cubicBezTo>
                <a:close/>
                <a:moveTo>
                  <a:pt x="6783793" y="2587392"/>
                </a:moveTo>
                <a:cubicBezTo>
                  <a:pt x="6808510" y="2587392"/>
                  <a:pt x="6783793" y="2638883"/>
                  <a:pt x="6796152" y="2663599"/>
                </a:cubicBezTo>
                <a:cubicBezTo>
                  <a:pt x="6769375" y="2663599"/>
                  <a:pt x="6796152" y="2612108"/>
                  <a:pt x="6783793" y="2587392"/>
                </a:cubicBezTo>
                <a:close/>
                <a:moveTo>
                  <a:pt x="6769375" y="2523543"/>
                </a:moveTo>
                <a:cubicBezTo>
                  <a:pt x="6796152" y="2523543"/>
                  <a:pt x="6783793" y="2575034"/>
                  <a:pt x="6783793" y="2587392"/>
                </a:cubicBezTo>
                <a:cubicBezTo>
                  <a:pt x="6757016" y="2587392"/>
                  <a:pt x="6783793" y="2550318"/>
                  <a:pt x="6769375" y="2523543"/>
                </a:cubicBezTo>
                <a:close/>
                <a:moveTo>
                  <a:pt x="6744658" y="2358771"/>
                </a:moveTo>
                <a:cubicBezTo>
                  <a:pt x="6769375" y="2395844"/>
                  <a:pt x="6769375" y="2459694"/>
                  <a:pt x="6769375" y="2523543"/>
                </a:cubicBezTo>
                <a:cubicBezTo>
                  <a:pt x="6744658" y="2486469"/>
                  <a:pt x="6744658" y="2420560"/>
                  <a:pt x="6744658" y="2358771"/>
                </a:cubicBezTo>
                <a:close/>
                <a:moveTo>
                  <a:pt x="3822859" y="1940336"/>
                </a:moveTo>
                <a:cubicBezTo>
                  <a:pt x="3849892" y="1933324"/>
                  <a:pt x="3818578" y="2008115"/>
                  <a:pt x="3795149" y="1975676"/>
                </a:cubicBezTo>
                <a:cubicBezTo>
                  <a:pt x="3782790" y="1975676"/>
                  <a:pt x="3807507" y="1961258"/>
                  <a:pt x="3807507" y="1948900"/>
                </a:cubicBezTo>
                <a:cubicBezTo>
                  <a:pt x="3813944" y="1944008"/>
                  <a:pt x="3818997" y="1941337"/>
                  <a:pt x="3822859" y="1940336"/>
                </a:cubicBezTo>
                <a:close/>
                <a:moveTo>
                  <a:pt x="6012555" y="1233891"/>
                </a:moveTo>
                <a:cubicBezTo>
                  <a:pt x="6009631" y="1234588"/>
                  <a:pt x="6006509" y="1238578"/>
                  <a:pt x="6003162" y="1246559"/>
                </a:cubicBezTo>
                <a:cubicBezTo>
                  <a:pt x="5978445" y="1273335"/>
                  <a:pt x="6029938" y="1413391"/>
                  <a:pt x="6042296" y="1477240"/>
                </a:cubicBezTo>
                <a:cubicBezTo>
                  <a:pt x="6054655" y="1617296"/>
                  <a:pt x="6081431" y="1936542"/>
                  <a:pt x="6118506" y="2088956"/>
                </a:cubicBezTo>
                <a:cubicBezTo>
                  <a:pt x="6182357" y="2280504"/>
                  <a:pt x="6157640" y="2039525"/>
                  <a:pt x="6132924" y="1909767"/>
                </a:cubicBezTo>
                <a:cubicBezTo>
                  <a:pt x="6118506" y="1757353"/>
                  <a:pt x="6081431" y="1578163"/>
                  <a:pt x="6054655" y="1464882"/>
                </a:cubicBezTo>
                <a:cubicBezTo>
                  <a:pt x="6043841" y="1385586"/>
                  <a:pt x="6033028" y="1229020"/>
                  <a:pt x="6012555" y="1233891"/>
                </a:cubicBezTo>
                <a:close/>
                <a:moveTo>
                  <a:pt x="6209133" y="966447"/>
                </a:moveTo>
                <a:cubicBezTo>
                  <a:pt x="6209133" y="954089"/>
                  <a:pt x="6194715" y="978805"/>
                  <a:pt x="6194715" y="978805"/>
                </a:cubicBezTo>
                <a:cubicBezTo>
                  <a:pt x="6182357" y="1003521"/>
                  <a:pt x="6233850" y="1094145"/>
                  <a:pt x="6221491" y="1118861"/>
                </a:cubicBezTo>
                <a:lnTo>
                  <a:pt x="6194715" y="1106503"/>
                </a:lnTo>
                <a:cubicBezTo>
                  <a:pt x="6182357" y="1106503"/>
                  <a:pt x="6194715" y="1118861"/>
                  <a:pt x="6182357" y="1145636"/>
                </a:cubicBezTo>
                <a:cubicBezTo>
                  <a:pt x="6182357" y="1182710"/>
                  <a:pt x="6194715" y="1298050"/>
                  <a:pt x="6209133" y="1401033"/>
                </a:cubicBezTo>
                <a:cubicBezTo>
                  <a:pt x="6221491" y="1489598"/>
                  <a:pt x="6221491" y="1604939"/>
                  <a:pt x="6233850" y="1693504"/>
                </a:cubicBezTo>
                <a:cubicBezTo>
                  <a:pt x="6258566" y="1847977"/>
                  <a:pt x="6336835" y="2051883"/>
                  <a:pt x="6373910" y="2280504"/>
                </a:cubicBezTo>
                <a:cubicBezTo>
                  <a:pt x="6425403" y="2511185"/>
                  <a:pt x="6464538" y="2715090"/>
                  <a:pt x="6489254" y="2918996"/>
                </a:cubicBezTo>
                <a:cubicBezTo>
                  <a:pt x="6553105" y="3289733"/>
                  <a:pt x="6629315" y="3711961"/>
                  <a:pt x="6744658" y="4055923"/>
                </a:cubicBezTo>
                <a:cubicBezTo>
                  <a:pt x="6796152" y="4208337"/>
                  <a:pt x="6769375" y="4068281"/>
                  <a:pt x="6744658" y="3940582"/>
                </a:cubicBezTo>
                <a:cubicBezTo>
                  <a:pt x="6705524" y="3736677"/>
                  <a:pt x="6680808" y="3532772"/>
                  <a:pt x="6656091" y="3378298"/>
                </a:cubicBezTo>
                <a:cubicBezTo>
                  <a:pt x="6616956" y="3098185"/>
                  <a:pt x="6565464" y="2830431"/>
                  <a:pt x="6540747" y="2612108"/>
                </a:cubicBezTo>
                <a:cubicBezTo>
                  <a:pt x="6540747" y="2575034"/>
                  <a:pt x="6528389" y="2459694"/>
                  <a:pt x="6528389" y="2459694"/>
                </a:cubicBezTo>
                <a:cubicBezTo>
                  <a:pt x="6528389" y="2434978"/>
                  <a:pt x="6553105" y="2447336"/>
                  <a:pt x="6553105" y="2420560"/>
                </a:cubicBezTo>
                <a:cubicBezTo>
                  <a:pt x="6553105" y="2268146"/>
                  <a:pt x="6501613" y="2076598"/>
                  <a:pt x="6476896" y="1885051"/>
                </a:cubicBezTo>
                <a:cubicBezTo>
                  <a:pt x="6464538" y="1744995"/>
                  <a:pt x="6450120" y="1592581"/>
                  <a:pt x="6425403" y="1501956"/>
                </a:cubicBezTo>
                <a:cubicBezTo>
                  <a:pt x="6413045" y="1401033"/>
                  <a:pt x="6388328" y="1234201"/>
                  <a:pt x="6349194" y="1145636"/>
                </a:cubicBezTo>
                <a:cubicBezTo>
                  <a:pt x="6349194" y="1145636"/>
                  <a:pt x="6324477" y="1118861"/>
                  <a:pt x="6310059" y="1106503"/>
                </a:cubicBezTo>
                <a:cubicBezTo>
                  <a:pt x="6310059" y="1094145"/>
                  <a:pt x="6310059" y="1042654"/>
                  <a:pt x="6297701" y="1042654"/>
                </a:cubicBezTo>
                <a:cubicBezTo>
                  <a:pt x="6272984" y="1003521"/>
                  <a:pt x="6233850" y="1030296"/>
                  <a:pt x="6209133" y="966447"/>
                </a:cubicBezTo>
                <a:close/>
                <a:moveTo>
                  <a:pt x="6562630" y="959532"/>
                </a:moveTo>
                <a:lnTo>
                  <a:pt x="6565314" y="965408"/>
                </a:lnTo>
                <a:lnTo>
                  <a:pt x="6565464" y="966447"/>
                </a:lnTo>
                <a:close/>
                <a:moveTo>
                  <a:pt x="6557676" y="948682"/>
                </a:moveTo>
                <a:cubicBezTo>
                  <a:pt x="6557386" y="947588"/>
                  <a:pt x="6557788" y="948039"/>
                  <a:pt x="6559035" y="950758"/>
                </a:cubicBezTo>
                <a:lnTo>
                  <a:pt x="6562630" y="959532"/>
                </a:lnTo>
                <a:close/>
                <a:moveTo>
                  <a:pt x="5735399" y="787257"/>
                </a:moveTo>
                <a:cubicBezTo>
                  <a:pt x="5735399" y="774899"/>
                  <a:pt x="5838385" y="875822"/>
                  <a:pt x="5813668" y="914956"/>
                </a:cubicBezTo>
                <a:cubicBezTo>
                  <a:pt x="5813668" y="914956"/>
                  <a:pt x="5723041" y="799615"/>
                  <a:pt x="5735399" y="787257"/>
                </a:cubicBezTo>
                <a:close/>
                <a:moveTo>
                  <a:pt x="5730893" y="698628"/>
                </a:moveTo>
                <a:cubicBezTo>
                  <a:pt x="5744797" y="700752"/>
                  <a:pt x="5771444" y="739370"/>
                  <a:pt x="5762175" y="750183"/>
                </a:cubicBezTo>
                <a:cubicBezTo>
                  <a:pt x="5747757" y="762541"/>
                  <a:pt x="5723041" y="711050"/>
                  <a:pt x="5723041" y="711050"/>
                </a:cubicBezTo>
                <a:cubicBezTo>
                  <a:pt x="5723041" y="701267"/>
                  <a:pt x="5726259" y="697920"/>
                  <a:pt x="5730893" y="698628"/>
                </a:cubicBezTo>
                <a:close/>
                <a:moveTo>
                  <a:pt x="6579882" y="161123"/>
                </a:moveTo>
                <a:cubicBezTo>
                  <a:pt x="6616956" y="161123"/>
                  <a:pt x="6579882" y="187899"/>
                  <a:pt x="6629315" y="187899"/>
                </a:cubicBezTo>
                <a:cubicBezTo>
                  <a:pt x="6656091" y="200257"/>
                  <a:pt x="6693166" y="161123"/>
                  <a:pt x="6705524" y="161123"/>
                </a:cubicBezTo>
                <a:lnTo>
                  <a:pt x="6769375" y="200257"/>
                </a:lnTo>
                <a:cubicBezTo>
                  <a:pt x="6796152" y="212614"/>
                  <a:pt x="6783793" y="276464"/>
                  <a:pt x="6796152" y="288822"/>
                </a:cubicBezTo>
                <a:cubicBezTo>
                  <a:pt x="6808510" y="315597"/>
                  <a:pt x="6872360" y="443296"/>
                  <a:pt x="6872360" y="468011"/>
                </a:cubicBezTo>
                <a:cubicBezTo>
                  <a:pt x="6872360" y="468011"/>
                  <a:pt x="6808510" y="570994"/>
                  <a:pt x="6820868" y="556576"/>
                </a:cubicBezTo>
                <a:cubicBezTo>
                  <a:pt x="6808510" y="570994"/>
                  <a:pt x="6783793" y="531860"/>
                  <a:pt x="6769375" y="544218"/>
                </a:cubicBezTo>
                <a:cubicBezTo>
                  <a:pt x="6757016" y="556576"/>
                  <a:pt x="6757016" y="583352"/>
                  <a:pt x="6757016" y="595710"/>
                </a:cubicBezTo>
                <a:cubicBezTo>
                  <a:pt x="6744658" y="595710"/>
                  <a:pt x="6693166" y="595710"/>
                  <a:pt x="6693166" y="583352"/>
                </a:cubicBezTo>
                <a:cubicBezTo>
                  <a:pt x="6680808" y="620425"/>
                  <a:pt x="6769375" y="787257"/>
                  <a:pt x="6744658" y="811973"/>
                </a:cubicBezTo>
                <a:cubicBezTo>
                  <a:pt x="6719942" y="851106"/>
                  <a:pt x="6604598" y="647201"/>
                  <a:pt x="6604598" y="659559"/>
                </a:cubicBezTo>
                <a:cubicBezTo>
                  <a:pt x="6616956" y="608068"/>
                  <a:pt x="6565464" y="659559"/>
                  <a:pt x="6604598" y="659559"/>
                </a:cubicBezTo>
                <a:cubicBezTo>
                  <a:pt x="6629315" y="774899"/>
                  <a:pt x="6604598" y="684275"/>
                  <a:pt x="6629315" y="787257"/>
                </a:cubicBezTo>
                <a:cubicBezTo>
                  <a:pt x="6656091" y="863464"/>
                  <a:pt x="6680808" y="966447"/>
                  <a:pt x="6629315" y="863464"/>
                </a:cubicBezTo>
                <a:cubicBezTo>
                  <a:pt x="6553105" y="684275"/>
                  <a:pt x="6616956" y="954089"/>
                  <a:pt x="6604598" y="978805"/>
                </a:cubicBezTo>
                <a:cubicBezTo>
                  <a:pt x="6592240" y="1004550"/>
                  <a:pt x="6576277" y="985498"/>
                  <a:pt x="6566494" y="967991"/>
                </a:cubicBezTo>
                <a:lnTo>
                  <a:pt x="6565314" y="965408"/>
                </a:lnTo>
                <a:lnTo>
                  <a:pt x="6557707" y="912671"/>
                </a:lnTo>
                <a:cubicBezTo>
                  <a:pt x="6550659" y="847502"/>
                  <a:pt x="6543322" y="759452"/>
                  <a:pt x="6513971" y="750183"/>
                </a:cubicBezTo>
                <a:cubicBezTo>
                  <a:pt x="6450120" y="735766"/>
                  <a:pt x="6540747" y="851106"/>
                  <a:pt x="6528389" y="863464"/>
                </a:cubicBezTo>
                <a:cubicBezTo>
                  <a:pt x="6513971" y="890240"/>
                  <a:pt x="6489254" y="826391"/>
                  <a:pt x="6464538" y="826391"/>
                </a:cubicBezTo>
                <a:cubicBezTo>
                  <a:pt x="6476896" y="838748"/>
                  <a:pt x="6450120" y="927313"/>
                  <a:pt x="6437761" y="927313"/>
                </a:cubicBezTo>
                <a:cubicBezTo>
                  <a:pt x="6437761" y="954089"/>
                  <a:pt x="6464538" y="978805"/>
                  <a:pt x="6450120" y="991162"/>
                </a:cubicBezTo>
                <a:cubicBezTo>
                  <a:pt x="6450120" y="1003521"/>
                  <a:pt x="6425403" y="1003521"/>
                  <a:pt x="6425403" y="1030296"/>
                </a:cubicBezTo>
                <a:cubicBezTo>
                  <a:pt x="6425403" y="1081787"/>
                  <a:pt x="6425403" y="1170352"/>
                  <a:pt x="6425403" y="1221844"/>
                </a:cubicBezTo>
                <a:cubicBezTo>
                  <a:pt x="6450120" y="1425749"/>
                  <a:pt x="6513971" y="1833560"/>
                  <a:pt x="6540747" y="2000392"/>
                </a:cubicBezTo>
                <a:cubicBezTo>
                  <a:pt x="6553105" y="2088956"/>
                  <a:pt x="6629315" y="2434978"/>
                  <a:pt x="6604598" y="2165163"/>
                </a:cubicBezTo>
                <a:cubicBezTo>
                  <a:pt x="6579882" y="1924184"/>
                  <a:pt x="6616956" y="2115732"/>
                  <a:pt x="6629315" y="2179581"/>
                </a:cubicBezTo>
                <a:cubicBezTo>
                  <a:pt x="6693166" y="2550318"/>
                  <a:pt x="6732300" y="2805715"/>
                  <a:pt x="6783793" y="3149677"/>
                </a:cubicBezTo>
                <a:cubicBezTo>
                  <a:pt x="6796152" y="3186750"/>
                  <a:pt x="6820868" y="3405073"/>
                  <a:pt x="6820868" y="3252659"/>
                </a:cubicBezTo>
                <a:cubicBezTo>
                  <a:pt x="6820868" y="3162034"/>
                  <a:pt x="6835286" y="3174392"/>
                  <a:pt x="6847644" y="3225884"/>
                </a:cubicBezTo>
                <a:cubicBezTo>
                  <a:pt x="6872360" y="3353582"/>
                  <a:pt x="6884719" y="3481280"/>
                  <a:pt x="6911496" y="3584263"/>
                </a:cubicBezTo>
                <a:cubicBezTo>
                  <a:pt x="6911496" y="3608979"/>
                  <a:pt x="6960928" y="3800526"/>
                  <a:pt x="6960928" y="3685186"/>
                </a:cubicBezTo>
                <a:cubicBezTo>
                  <a:pt x="6960928" y="3532772"/>
                  <a:pt x="6899137" y="3341224"/>
                  <a:pt x="6872360" y="3201168"/>
                </a:cubicBezTo>
                <a:cubicBezTo>
                  <a:pt x="6872360" y="3174392"/>
                  <a:pt x="6835286" y="3021978"/>
                  <a:pt x="6847644" y="3009620"/>
                </a:cubicBezTo>
                <a:cubicBezTo>
                  <a:pt x="6847644" y="3009620"/>
                  <a:pt x="6884719" y="3110543"/>
                  <a:pt x="6884719" y="3149677"/>
                </a:cubicBezTo>
                <a:cubicBezTo>
                  <a:pt x="6899137" y="3201168"/>
                  <a:pt x="6911496" y="3252659"/>
                  <a:pt x="6923854" y="3302091"/>
                </a:cubicBezTo>
                <a:cubicBezTo>
                  <a:pt x="6911496" y="3353582"/>
                  <a:pt x="6960928" y="3302091"/>
                  <a:pt x="6923854" y="3302091"/>
                </a:cubicBezTo>
                <a:cubicBezTo>
                  <a:pt x="6911496" y="3046694"/>
                  <a:pt x="6847644" y="2842789"/>
                  <a:pt x="6835286" y="2575034"/>
                </a:cubicBezTo>
                <a:cubicBezTo>
                  <a:pt x="6899137" y="2741866"/>
                  <a:pt x="6911496" y="2842789"/>
                  <a:pt x="6923854" y="3009620"/>
                </a:cubicBezTo>
                <a:cubicBezTo>
                  <a:pt x="6948570" y="3201168"/>
                  <a:pt x="7039198" y="3697544"/>
                  <a:pt x="7090690" y="3928224"/>
                </a:cubicBezTo>
                <a:cubicBezTo>
                  <a:pt x="7103048" y="3979716"/>
                  <a:pt x="7127765" y="4144488"/>
                  <a:pt x="7127765" y="4016789"/>
                </a:cubicBezTo>
                <a:cubicBezTo>
                  <a:pt x="7115407" y="3903509"/>
                  <a:pt x="7039198" y="3660470"/>
                  <a:pt x="7051556" y="3569845"/>
                </a:cubicBezTo>
                <a:cubicBezTo>
                  <a:pt x="7051556" y="3545129"/>
                  <a:pt x="7076272" y="3569845"/>
                  <a:pt x="7076272" y="3545129"/>
                </a:cubicBezTo>
                <a:cubicBezTo>
                  <a:pt x="7076272" y="3417431"/>
                  <a:pt x="7000063" y="3302091"/>
                  <a:pt x="7024780" y="3213526"/>
                </a:cubicBezTo>
                <a:cubicBezTo>
                  <a:pt x="7024780" y="3201168"/>
                  <a:pt x="7051556" y="3238242"/>
                  <a:pt x="7051556" y="3238242"/>
                </a:cubicBezTo>
                <a:cubicBezTo>
                  <a:pt x="7090690" y="3225884"/>
                  <a:pt x="7051556" y="3162034"/>
                  <a:pt x="7063914" y="3162034"/>
                </a:cubicBezTo>
                <a:cubicBezTo>
                  <a:pt x="7103048" y="3162034"/>
                  <a:pt x="7140124" y="3353582"/>
                  <a:pt x="7166900" y="3442147"/>
                </a:cubicBezTo>
                <a:cubicBezTo>
                  <a:pt x="7216333" y="3685186"/>
                  <a:pt x="7243109" y="3852017"/>
                  <a:pt x="7294602" y="4080639"/>
                </a:cubicBezTo>
                <a:cubicBezTo>
                  <a:pt x="7319318" y="4195979"/>
                  <a:pt x="7331677" y="4375169"/>
                  <a:pt x="7358453" y="4414302"/>
                </a:cubicBezTo>
                <a:cubicBezTo>
                  <a:pt x="7370812" y="4426660"/>
                  <a:pt x="7395528" y="4426660"/>
                  <a:pt x="7407886" y="4439018"/>
                </a:cubicBezTo>
                <a:cubicBezTo>
                  <a:pt x="7434662" y="4527583"/>
                  <a:pt x="7434662" y="4642923"/>
                  <a:pt x="7459379" y="4758264"/>
                </a:cubicBezTo>
                <a:cubicBezTo>
                  <a:pt x="7574723" y="5472962"/>
                  <a:pt x="7702426" y="6200019"/>
                  <a:pt x="7805411" y="6941494"/>
                </a:cubicBezTo>
                <a:cubicBezTo>
                  <a:pt x="7830128" y="7120683"/>
                  <a:pt x="7830128" y="6941494"/>
                  <a:pt x="7817770" y="6902360"/>
                </a:cubicBezTo>
                <a:cubicBezTo>
                  <a:pt x="7741560" y="6111454"/>
                  <a:pt x="7587082" y="5485320"/>
                  <a:pt x="7486156" y="4782979"/>
                </a:cubicBezTo>
                <a:cubicBezTo>
                  <a:pt x="7459379" y="4682056"/>
                  <a:pt x="7459379" y="4542001"/>
                  <a:pt x="7498514" y="4682056"/>
                </a:cubicBezTo>
                <a:cubicBezTo>
                  <a:pt x="7550006" y="4910678"/>
                  <a:pt x="7574723" y="5281415"/>
                  <a:pt x="7626216" y="5433829"/>
                </a:cubicBezTo>
                <a:cubicBezTo>
                  <a:pt x="7626216" y="5448247"/>
                  <a:pt x="7663291" y="5472962"/>
                  <a:pt x="7677709" y="5499738"/>
                </a:cubicBezTo>
                <a:cubicBezTo>
                  <a:pt x="7690067" y="5536812"/>
                  <a:pt x="7677709" y="5625377"/>
                  <a:pt x="7702426" y="5703643"/>
                </a:cubicBezTo>
                <a:cubicBezTo>
                  <a:pt x="7766276" y="6086738"/>
                  <a:pt x="7830128" y="6506908"/>
                  <a:pt x="7881620" y="6877645"/>
                </a:cubicBezTo>
                <a:cubicBezTo>
                  <a:pt x="7893978" y="6929136"/>
                  <a:pt x="7933114" y="7093907"/>
                  <a:pt x="7918696" y="6941494"/>
                </a:cubicBezTo>
                <a:cubicBezTo>
                  <a:pt x="7881620" y="6405985"/>
                  <a:pt x="7778634" y="5868415"/>
                  <a:pt x="7702426" y="5396755"/>
                </a:cubicBezTo>
                <a:cubicBezTo>
                  <a:pt x="7663291" y="5217566"/>
                  <a:pt x="7613858" y="5038376"/>
                  <a:pt x="7601500" y="4885962"/>
                </a:cubicBezTo>
                <a:cubicBezTo>
                  <a:pt x="7587082" y="4782979"/>
                  <a:pt x="7601500" y="4694414"/>
                  <a:pt x="7626216" y="4822113"/>
                </a:cubicBezTo>
                <a:cubicBezTo>
                  <a:pt x="7805411" y="5703643"/>
                  <a:pt x="7893978" y="6506908"/>
                  <a:pt x="8021681" y="7427571"/>
                </a:cubicBezTo>
                <a:cubicBezTo>
                  <a:pt x="8034039" y="7464645"/>
                  <a:pt x="8085532" y="7810666"/>
                  <a:pt x="8097890" y="7810666"/>
                </a:cubicBezTo>
                <a:cubicBezTo>
                  <a:pt x="8137025" y="7810666"/>
                  <a:pt x="8097890" y="7759175"/>
                  <a:pt x="8097890" y="7759175"/>
                </a:cubicBezTo>
                <a:cubicBezTo>
                  <a:pt x="8073174" y="7427571"/>
                  <a:pt x="8034039" y="7209248"/>
                  <a:pt x="7996964" y="6941494"/>
                </a:cubicBezTo>
                <a:cubicBezTo>
                  <a:pt x="7996964" y="6916777"/>
                  <a:pt x="7945472" y="6521325"/>
                  <a:pt x="7970188" y="6686097"/>
                </a:cubicBezTo>
                <a:cubicBezTo>
                  <a:pt x="8021681" y="6966210"/>
                  <a:pt x="8046398" y="7196890"/>
                  <a:pt x="8085532" y="7477002"/>
                </a:cubicBezTo>
                <a:cubicBezTo>
                  <a:pt x="8097890" y="7503778"/>
                  <a:pt x="8137025" y="7668550"/>
                  <a:pt x="8124666" y="7555269"/>
                </a:cubicBezTo>
                <a:cubicBezTo>
                  <a:pt x="8097890" y="7157757"/>
                  <a:pt x="8046398" y="6774662"/>
                  <a:pt x="7996964" y="6366851"/>
                </a:cubicBezTo>
                <a:cubicBezTo>
                  <a:pt x="7970188" y="6086738"/>
                  <a:pt x="7893978" y="5804566"/>
                  <a:pt x="7854844" y="5563587"/>
                </a:cubicBezTo>
                <a:cubicBezTo>
                  <a:pt x="7854844" y="5512096"/>
                  <a:pt x="7854844" y="5320548"/>
                  <a:pt x="7830128" y="5320548"/>
                </a:cubicBezTo>
                <a:cubicBezTo>
                  <a:pt x="7881620" y="5308190"/>
                  <a:pt x="7933114" y="5639795"/>
                  <a:pt x="7918696" y="5600661"/>
                </a:cubicBezTo>
                <a:cubicBezTo>
                  <a:pt x="7982546" y="5907549"/>
                  <a:pt x="7982546" y="6136170"/>
                  <a:pt x="8046398" y="6469834"/>
                </a:cubicBezTo>
                <a:cubicBezTo>
                  <a:pt x="8060816" y="6521325"/>
                  <a:pt x="8097890" y="6583115"/>
                  <a:pt x="8097890" y="6634605"/>
                </a:cubicBezTo>
                <a:cubicBezTo>
                  <a:pt x="8137025" y="6789080"/>
                  <a:pt x="8161742" y="7069192"/>
                  <a:pt x="8174100" y="7196890"/>
                </a:cubicBezTo>
                <a:cubicBezTo>
                  <a:pt x="8188518" y="7312231"/>
                  <a:pt x="8188518" y="7400796"/>
                  <a:pt x="8188518" y="7452287"/>
                </a:cubicBezTo>
                <a:cubicBezTo>
                  <a:pt x="8188518" y="7477002"/>
                  <a:pt x="8213234" y="7516136"/>
                  <a:pt x="8225592" y="7567628"/>
                </a:cubicBezTo>
                <a:cubicBezTo>
                  <a:pt x="8264727" y="7732399"/>
                  <a:pt x="8264727" y="7911589"/>
                  <a:pt x="8264727" y="7707683"/>
                </a:cubicBezTo>
                <a:cubicBezTo>
                  <a:pt x="8264727" y="7285455"/>
                  <a:pt x="8149383" y="6916777"/>
                  <a:pt x="8110248" y="6469834"/>
                </a:cubicBezTo>
                <a:cubicBezTo>
                  <a:pt x="8085532" y="6059963"/>
                  <a:pt x="8009322" y="5740717"/>
                  <a:pt x="7957830" y="5448247"/>
                </a:cubicBezTo>
                <a:cubicBezTo>
                  <a:pt x="7933114" y="5269057"/>
                  <a:pt x="7881620" y="4974527"/>
                  <a:pt x="7842486" y="4770621"/>
                </a:cubicBezTo>
                <a:cubicBezTo>
                  <a:pt x="7830128" y="4655281"/>
                  <a:pt x="7805411" y="4426660"/>
                  <a:pt x="7842486" y="4605849"/>
                </a:cubicBezTo>
                <a:cubicBezTo>
                  <a:pt x="7918696" y="4898320"/>
                  <a:pt x="7918696" y="5077509"/>
                  <a:pt x="7970188" y="5369980"/>
                </a:cubicBezTo>
                <a:cubicBezTo>
                  <a:pt x="8021681" y="5600661"/>
                  <a:pt x="8060816" y="5932265"/>
                  <a:pt x="8110248" y="6187662"/>
                </a:cubicBezTo>
                <a:cubicBezTo>
                  <a:pt x="8149383" y="6354493"/>
                  <a:pt x="8137025" y="6099097"/>
                  <a:pt x="8124666" y="6047605"/>
                </a:cubicBezTo>
                <a:cubicBezTo>
                  <a:pt x="8060816" y="5575945"/>
                  <a:pt x="7970188" y="5166074"/>
                  <a:pt x="7893978" y="4733548"/>
                </a:cubicBezTo>
                <a:cubicBezTo>
                  <a:pt x="7869262" y="4542001"/>
                  <a:pt x="7906337" y="4655281"/>
                  <a:pt x="7918696" y="4745906"/>
                </a:cubicBezTo>
                <a:cubicBezTo>
                  <a:pt x="7957830" y="4885962"/>
                  <a:pt x="7933114" y="4809755"/>
                  <a:pt x="7945472" y="4885962"/>
                </a:cubicBezTo>
                <a:cubicBezTo>
                  <a:pt x="8200876" y="6405985"/>
                  <a:pt x="8443922" y="8179343"/>
                  <a:pt x="8621058" y="9674650"/>
                </a:cubicBezTo>
                <a:cubicBezTo>
                  <a:pt x="8647834" y="9878555"/>
                  <a:pt x="8647834" y="10107176"/>
                  <a:pt x="8660192" y="10274008"/>
                </a:cubicBezTo>
                <a:cubicBezTo>
                  <a:pt x="8660192" y="10298724"/>
                  <a:pt x="8660192" y="10669461"/>
                  <a:pt x="8672550" y="10681819"/>
                </a:cubicBezTo>
                <a:cubicBezTo>
                  <a:pt x="8684909" y="10708594"/>
                  <a:pt x="8699327" y="10617970"/>
                  <a:pt x="8699327" y="10554120"/>
                </a:cubicBezTo>
                <a:cubicBezTo>
                  <a:pt x="8684909" y="10490271"/>
                  <a:pt x="8684909" y="10554120"/>
                  <a:pt x="8684909" y="10490271"/>
                </a:cubicBezTo>
                <a:cubicBezTo>
                  <a:pt x="8672550" y="10158667"/>
                  <a:pt x="8635476" y="9802348"/>
                  <a:pt x="8635476" y="9495460"/>
                </a:cubicBezTo>
                <a:cubicBezTo>
                  <a:pt x="8635476" y="9340986"/>
                  <a:pt x="8660192" y="9584025"/>
                  <a:pt x="8672550" y="9674650"/>
                </a:cubicBezTo>
                <a:cubicBezTo>
                  <a:pt x="8699327" y="9954762"/>
                  <a:pt x="8699327" y="10222517"/>
                  <a:pt x="8711685" y="10477913"/>
                </a:cubicBezTo>
                <a:cubicBezTo>
                  <a:pt x="8711685" y="10605612"/>
                  <a:pt x="8761118" y="10900142"/>
                  <a:pt x="8736402" y="11027840"/>
                </a:cubicBezTo>
                <a:cubicBezTo>
                  <a:pt x="8711685" y="11155538"/>
                  <a:pt x="8787894" y="10963991"/>
                  <a:pt x="8775536" y="10949573"/>
                </a:cubicBezTo>
                <a:cubicBezTo>
                  <a:pt x="8839387" y="10976349"/>
                  <a:pt x="8787894" y="11231745"/>
                  <a:pt x="8787894" y="11256461"/>
                </a:cubicBezTo>
                <a:cubicBezTo>
                  <a:pt x="8761118" y="11423293"/>
                  <a:pt x="8787894" y="11639556"/>
                  <a:pt x="8684909" y="11678690"/>
                </a:cubicBezTo>
                <a:cubicBezTo>
                  <a:pt x="8672550" y="11678690"/>
                  <a:pt x="8571625" y="11666332"/>
                  <a:pt x="8557207" y="11651914"/>
                </a:cubicBezTo>
                <a:cubicBezTo>
                  <a:pt x="8557207" y="11651914"/>
                  <a:pt x="8596341" y="11614840"/>
                  <a:pt x="8583983" y="11614840"/>
                </a:cubicBezTo>
                <a:cubicBezTo>
                  <a:pt x="8544848" y="11614840"/>
                  <a:pt x="8583983" y="11614840"/>
                  <a:pt x="8532490" y="11651914"/>
                </a:cubicBezTo>
                <a:cubicBezTo>
                  <a:pt x="8468639" y="11691048"/>
                  <a:pt x="8417146" y="11651914"/>
                  <a:pt x="8456281" y="11703405"/>
                </a:cubicBezTo>
                <a:cubicBezTo>
                  <a:pt x="8507773" y="11767255"/>
                  <a:pt x="8380071" y="11678690"/>
                  <a:pt x="8365653" y="11678690"/>
                </a:cubicBezTo>
                <a:cubicBezTo>
                  <a:pt x="8328578" y="11666332"/>
                  <a:pt x="8365653" y="11703405"/>
                  <a:pt x="8316220" y="11715763"/>
                </a:cubicBezTo>
                <a:cubicBezTo>
                  <a:pt x="8301802" y="11715763"/>
                  <a:pt x="8264727" y="11691048"/>
                  <a:pt x="8252369" y="11703405"/>
                </a:cubicBezTo>
                <a:cubicBezTo>
                  <a:pt x="8213234" y="11715763"/>
                  <a:pt x="8200876" y="11767255"/>
                  <a:pt x="8161742" y="11781672"/>
                </a:cubicBezTo>
                <a:cubicBezTo>
                  <a:pt x="8110248" y="11794030"/>
                  <a:pt x="8073174" y="11730181"/>
                  <a:pt x="8046398" y="11781672"/>
                </a:cubicBezTo>
                <a:cubicBezTo>
                  <a:pt x="8034039" y="11806388"/>
                  <a:pt x="8161742" y="11781672"/>
                  <a:pt x="8124666" y="11818746"/>
                </a:cubicBezTo>
                <a:cubicBezTo>
                  <a:pt x="8097890" y="11843462"/>
                  <a:pt x="7970188" y="11831104"/>
                  <a:pt x="7869262" y="11843462"/>
                </a:cubicBezTo>
                <a:cubicBezTo>
                  <a:pt x="7854844" y="11843462"/>
                  <a:pt x="7714784" y="11857879"/>
                  <a:pt x="7714784" y="11870237"/>
                </a:cubicBezTo>
                <a:cubicBezTo>
                  <a:pt x="7690067" y="11870237"/>
                  <a:pt x="7702426" y="11934086"/>
                  <a:pt x="7690067" y="11946444"/>
                </a:cubicBezTo>
                <a:cubicBezTo>
                  <a:pt x="7626216" y="11985578"/>
                  <a:pt x="7346095" y="11958802"/>
                  <a:pt x="7306960" y="11971160"/>
                </a:cubicBezTo>
                <a:cubicBezTo>
                  <a:pt x="7280184" y="11971160"/>
                  <a:pt x="7230751" y="12022651"/>
                  <a:pt x="7230751" y="12035009"/>
                </a:cubicBezTo>
                <a:cubicBezTo>
                  <a:pt x="7203974" y="12035009"/>
                  <a:pt x="7179258" y="12035009"/>
                  <a:pt x="7152482" y="12049427"/>
                </a:cubicBezTo>
                <a:cubicBezTo>
                  <a:pt x="7127765" y="12049427"/>
                  <a:pt x="7000063" y="12074143"/>
                  <a:pt x="6987704" y="12074143"/>
                </a:cubicBezTo>
                <a:cubicBezTo>
                  <a:pt x="6948570" y="12098858"/>
                  <a:pt x="6936212" y="12150350"/>
                  <a:pt x="6911496" y="12150350"/>
                </a:cubicBezTo>
                <a:cubicBezTo>
                  <a:pt x="6899137" y="12162708"/>
                  <a:pt x="6847644" y="12150350"/>
                  <a:pt x="6808510" y="12150350"/>
                </a:cubicBezTo>
                <a:cubicBezTo>
                  <a:pt x="6769375" y="12162708"/>
                  <a:pt x="6719942" y="12201841"/>
                  <a:pt x="6693166" y="12201841"/>
                </a:cubicBezTo>
                <a:cubicBezTo>
                  <a:pt x="6616956" y="12226557"/>
                  <a:pt x="6540747" y="12189483"/>
                  <a:pt x="6513971" y="12226557"/>
                </a:cubicBezTo>
                <a:cubicBezTo>
                  <a:pt x="6501613" y="12253332"/>
                  <a:pt x="6579882" y="12432522"/>
                  <a:pt x="6616956" y="12508729"/>
                </a:cubicBezTo>
                <a:cubicBezTo>
                  <a:pt x="6656091" y="12597294"/>
                  <a:pt x="6680808" y="12648785"/>
                  <a:pt x="6705524" y="12749708"/>
                </a:cubicBezTo>
                <a:cubicBezTo>
                  <a:pt x="6656091" y="12687918"/>
                  <a:pt x="6579882" y="12508729"/>
                  <a:pt x="6513971" y="12418104"/>
                </a:cubicBezTo>
                <a:cubicBezTo>
                  <a:pt x="6450120" y="12329539"/>
                  <a:pt x="6513971" y="12457238"/>
                  <a:pt x="6528389" y="12481953"/>
                </a:cubicBezTo>
                <a:cubicBezTo>
                  <a:pt x="6668449" y="12724992"/>
                  <a:pt x="6769375" y="12992747"/>
                  <a:pt x="6860002" y="13248143"/>
                </a:cubicBezTo>
                <a:cubicBezTo>
                  <a:pt x="6948570" y="13503540"/>
                  <a:pt x="7076272" y="13771295"/>
                  <a:pt x="7179258" y="14041109"/>
                </a:cubicBezTo>
                <a:cubicBezTo>
                  <a:pt x="7280184" y="14333579"/>
                  <a:pt x="7395528" y="14615752"/>
                  <a:pt x="7471738" y="14871148"/>
                </a:cubicBezTo>
                <a:cubicBezTo>
                  <a:pt x="7407886" y="14729032"/>
                  <a:pt x="7346095" y="14564260"/>
                  <a:pt x="7294602" y="14409786"/>
                </a:cubicBezTo>
                <a:lnTo>
                  <a:pt x="7230751" y="14257372"/>
                </a:lnTo>
                <a:cubicBezTo>
                  <a:pt x="7203974" y="14257372"/>
                  <a:pt x="7243109" y="14385071"/>
                  <a:pt x="7255468" y="14409786"/>
                </a:cubicBezTo>
                <a:cubicBezTo>
                  <a:pt x="7370812" y="14755808"/>
                  <a:pt x="7550006" y="15138903"/>
                  <a:pt x="7626216" y="15456089"/>
                </a:cubicBezTo>
                <a:cubicBezTo>
                  <a:pt x="7486156" y="15175977"/>
                  <a:pt x="7383170" y="14794941"/>
                  <a:pt x="7255468" y="14500411"/>
                </a:cubicBezTo>
                <a:cubicBezTo>
                  <a:pt x="7294602" y="14588976"/>
                  <a:pt x="7230751" y="14424204"/>
                  <a:pt x="7216333" y="14436562"/>
                </a:cubicBezTo>
                <a:cubicBezTo>
                  <a:pt x="7191616" y="14461278"/>
                  <a:pt x="7243109" y="14500411"/>
                  <a:pt x="7243109" y="14500411"/>
                </a:cubicBezTo>
                <a:cubicBezTo>
                  <a:pt x="7370812" y="14871148"/>
                  <a:pt x="7498514" y="15213050"/>
                  <a:pt x="7601500" y="15557012"/>
                </a:cubicBezTo>
                <a:cubicBezTo>
                  <a:pt x="7562365" y="15493163"/>
                  <a:pt x="7535588" y="15416956"/>
                  <a:pt x="7510872" y="15328391"/>
                </a:cubicBezTo>
                <a:cubicBezTo>
                  <a:pt x="7498514" y="15289257"/>
                  <a:pt x="7434662" y="15087412"/>
                  <a:pt x="7422304" y="15087412"/>
                </a:cubicBezTo>
                <a:cubicBezTo>
                  <a:pt x="7383170" y="15087412"/>
                  <a:pt x="7459379" y="15289257"/>
                  <a:pt x="7459379" y="15264542"/>
                </a:cubicBezTo>
                <a:cubicBezTo>
                  <a:pt x="7471738" y="15316033"/>
                  <a:pt x="7523230" y="15404598"/>
                  <a:pt x="7523230" y="15443731"/>
                </a:cubicBezTo>
                <a:cubicBezTo>
                  <a:pt x="7510872" y="15480805"/>
                  <a:pt x="7447021" y="15301615"/>
                  <a:pt x="7447021" y="15301615"/>
                </a:cubicBezTo>
                <a:cubicBezTo>
                  <a:pt x="7331677" y="14959713"/>
                  <a:pt x="7216333" y="14665183"/>
                  <a:pt x="7115407" y="14385071"/>
                </a:cubicBezTo>
                <a:cubicBezTo>
                  <a:pt x="7103048" y="14360355"/>
                  <a:pt x="7000063" y="14028751"/>
                  <a:pt x="6960928" y="14041109"/>
                </a:cubicBezTo>
                <a:cubicBezTo>
                  <a:pt x="6936212" y="14053467"/>
                  <a:pt x="7024780" y="14269730"/>
                  <a:pt x="6975346" y="14092600"/>
                </a:cubicBezTo>
                <a:cubicBezTo>
                  <a:pt x="7063914" y="14360355"/>
                  <a:pt x="7152482" y="14588976"/>
                  <a:pt x="7243109" y="14844373"/>
                </a:cubicBezTo>
                <a:cubicBezTo>
                  <a:pt x="7243109" y="14856731"/>
                  <a:pt x="7358453" y="15099769"/>
                  <a:pt x="7346095" y="15126545"/>
                </a:cubicBezTo>
                <a:cubicBezTo>
                  <a:pt x="7306960" y="15151261"/>
                  <a:pt x="7267826" y="14972071"/>
                  <a:pt x="7267826" y="14972071"/>
                </a:cubicBezTo>
                <a:cubicBezTo>
                  <a:pt x="7140124" y="14640467"/>
                  <a:pt x="7063914" y="14461278"/>
                  <a:pt x="6948570" y="14142032"/>
                </a:cubicBezTo>
                <a:cubicBezTo>
                  <a:pt x="6936212" y="14117316"/>
                  <a:pt x="6835286" y="13810428"/>
                  <a:pt x="6808510" y="13822786"/>
                </a:cubicBezTo>
                <a:cubicBezTo>
                  <a:pt x="6796152" y="13849561"/>
                  <a:pt x="6911496" y="14078183"/>
                  <a:pt x="6899137" y="14053467"/>
                </a:cubicBezTo>
                <a:cubicBezTo>
                  <a:pt x="6923854" y="14142032"/>
                  <a:pt x="6948570" y="14193523"/>
                  <a:pt x="6975346" y="14296506"/>
                </a:cubicBezTo>
                <a:cubicBezTo>
                  <a:pt x="6899137" y="14168807"/>
                  <a:pt x="6872360" y="14014334"/>
                  <a:pt x="6808510" y="13886635"/>
                </a:cubicBezTo>
                <a:cubicBezTo>
                  <a:pt x="6796152" y="13849561"/>
                  <a:pt x="6757016" y="13822786"/>
                  <a:pt x="6732300" y="13771295"/>
                </a:cubicBezTo>
                <a:cubicBezTo>
                  <a:pt x="6656091" y="13645656"/>
                  <a:pt x="6592240" y="13439691"/>
                  <a:pt x="6528389" y="13311993"/>
                </a:cubicBezTo>
                <a:cubicBezTo>
                  <a:pt x="6553105" y="13351126"/>
                  <a:pt x="6501613" y="13248143"/>
                  <a:pt x="6489254" y="13248143"/>
                </a:cubicBezTo>
                <a:cubicBezTo>
                  <a:pt x="6450120" y="13248143"/>
                  <a:pt x="6528389" y="13363484"/>
                  <a:pt x="6528389" y="13375842"/>
                </a:cubicBezTo>
                <a:cubicBezTo>
                  <a:pt x="6668449" y="13721863"/>
                  <a:pt x="6808510" y="14053467"/>
                  <a:pt x="6911496" y="14385071"/>
                </a:cubicBezTo>
                <a:cubicBezTo>
                  <a:pt x="6757016" y="14092600"/>
                  <a:pt x="6719942" y="13837204"/>
                  <a:pt x="6565464" y="13555031"/>
                </a:cubicBezTo>
                <a:cubicBezTo>
                  <a:pt x="6579882" y="13555031"/>
                  <a:pt x="6450120" y="13375842"/>
                  <a:pt x="6489254" y="13478824"/>
                </a:cubicBezTo>
                <a:cubicBezTo>
                  <a:pt x="6629315" y="13837204"/>
                  <a:pt x="6757016" y="14142032"/>
                  <a:pt x="6872360" y="14473636"/>
                </a:cubicBezTo>
                <a:cubicBezTo>
                  <a:pt x="6899137" y="14551902"/>
                  <a:pt x="6948570" y="14743450"/>
                  <a:pt x="6872360" y="14576618"/>
                </a:cubicBezTo>
                <a:cubicBezTo>
                  <a:pt x="6783793" y="14372713"/>
                  <a:pt x="6680808" y="14154390"/>
                  <a:pt x="6592240" y="13925769"/>
                </a:cubicBezTo>
                <a:cubicBezTo>
                  <a:pt x="6565464" y="13861919"/>
                  <a:pt x="6464538" y="13631239"/>
                  <a:pt x="6528389" y="13822786"/>
                </a:cubicBezTo>
                <a:cubicBezTo>
                  <a:pt x="6656091" y="14181165"/>
                  <a:pt x="6835286" y="14588976"/>
                  <a:pt x="6948570" y="14908222"/>
                </a:cubicBezTo>
                <a:cubicBezTo>
                  <a:pt x="6987704" y="15023562"/>
                  <a:pt x="7063914" y="15188334"/>
                  <a:pt x="7090690" y="15316033"/>
                </a:cubicBezTo>
                <a:cubicBezTo>
                  <a:pt x="7103048" y="15379882"/>
                  <a:pt x="7090690" y="15443731"/>
                  <a:pt x="7103048" y="15468447"/>
                </a:cubicBezTo>
                <a:cubicBezTo>
                  <a:pt x="7115407" y="15557012"/>
                  <a:pt x="7179258" y="15659994"/>
                  <a:pt x="7191616" y="15762977"/>
                </a:cubicBezTo>
                <a:cubicBezTo>
                  <a:pt x="7191616" y="15800051"/>
                  <a:pt x="7179258" y="15826826"/>
                  <a:pt x="7191616" y="15851542"/>
                </a:cubicBezTo>
                <a:cubicBezTo>
                  <a:pt x="7191616" y="15890675"/>
                  <a:pt x="7216333" y="15966882"/>
                  <a:pt x="7243109" y="16030732"/>
                </a:cubicBezTo>
                <a:cubicBezTo>
                  <a:pt x="7267826" y="16106939"/>
                  <a:pt x="7319318" y="16259353"/>
                  <a:pt x="7280184" y="16207862"/>
                </a:cubicBezTo>
                <a:cubicBezTo>
                  <a:pt x="7243109" y="16170788"/>
                  <a:pt x="7216333" y="16067805"/>
                  <a:pt x="7203974" y="16030732"/>
                </a:cubicBezTo>
                <a:cubicBezTo>
                  <a:pt x="7090690" y="15800051"/>
                  <a:pt x="7267826" y="16362335"/>
                  <a:pt x="7203974" y="16158430"/>
                </a:cubicBezTo>
                <a:cubicBezTo>
                  <a:pt x="7152482" y="16043089"/>
                  <a:pt x="7115407" y="15890675"/>
                  <a:pt x="7076272" y="15775335"/>
                </a:cubicBezTo>
                <a:cubicBezTo>
                  <a:pt x="7039198" y="15672352"/>
                  <a:pt x="7039198" y="15762977"/>
                  <a:pt x="7051556" y="15812409"/>
                </a:cubicBezTo>
                <a:cubicBezTo>
                  <a:pt x="7076272" y="15915391"/>
                  <a:pt x="7076272" y="15927749"/>
                  <a:pt x="7090690" y="16003956"/>
                </a:cubicBezTo>
                <a:cubicBezTo>
                  <a:pt x="7103048" y="16106939"/>
                  <a:pt x="7203974" y="16286128"/>
                  <a:pt x="7179258" y="16310844"/>
                </a:cubicBezTo>
                <a:cubicBezTo>
                  <a:pt x="7166900" y="16323202"/>
                  <a:pt x="7103048" y="16146072"/>
                  <a:pt x="7115407" y="16158430"/>
                </a:cubicBezTo>
                <a:cubicBezTo>
                  <a:pt x="7103048" y="16119297"/>
                  <a:pt x="7051556" y="15991598"/>
                  <a:pt x="7039198" y="16003956"/>
                </a:cubicBezTo>
                <a:cubicBezTo>
                  <a:pt x="7024780" y="16018374"/>
                  <a:pt x="7076272" y="16195504"/>
                  <a:pt x="7090690" y="16234637"/>
                </a:cubicBezTo>
                <a:cubicBezTo>
                  <a:pt x="7090690" y="16259353"/>
                  <a:pt x="7179258" y="16438542"/>
                  <a:pt x="7152482" y="16463258"/>
                </a:cubicBezTo>
                <a:cubicBezTo>
                  <a:pt x="7140124" y="16463258"/>
                  <a:pt x="7063914" y="16222279"/>
                  <a:pt x="7076272" y="16234637"/>
                </a:cubicBezTo>
                <a:cubicBezTo>
                  <a:pt x="7051556" y="16222279"/>
                  <a:pt x="7012421" y="16246995"/>
                  <a:pt x="7039198" y="16273770"/>
                </a:cubicBezTo>
                <a:cubicBezTo>
                  <a:pt x="7000063" y="16234637"/>
                  <a:pt x="7039198" y="16286128"/>
                  <a:pt x="7012421" y="16207862"/>
                </a:cubicBezTo>
                <a:cubicBezTo>
                  <a:pt x="6975346" y="16106939"/>
                  <a:pt x="6975346" y="16183146"/>
                  <a:pt x="6975346" y="16183146"/>
                </a:cubicBezTo>
                <a:cubicBezTo>
                  <a:pt x="6975346" y="16234637"/>
                  <a:pt x="7024780" y="16349977"/>
                  <a:pt x="7024780" y="16374693"/>
                </a:cubicBezTo>
                <a:cubicBezTo>
                  <a:pt x="7024780" y="16374693"/>
                  <a:pt x="7000063" y="16387051"/>
                  <a:pt x="6975346" y="16401469"/>
                </a:cubicBezTo>
                <a:cubicBezTo>
                  <a:pt x="6975346" y="16387051"/>
                  <a:pt x="6975346" y="16374693"/>
                  <a:pt x="6975346" y="16374693"/>
                </a:cubicBezTo>
                <a:cubicBezTo>
                  <a:pt x="6948570" y="16401469"/>
                  <a:pt x="6960928" y="16401469"/>
                  <a:pt x="6975346" y="16401469"/>
                </a:cubicBezTo>
                <a:cubicBezTo>
                  <a:pt x="6987704" y="16438542"/>
                  <a:pt x="7012421" y="16502393"/>
                  <a:pt x="7012421" y="16502393"/>
                </a:cubicBezTo>
                <a:cubicBezTo>
                  <a:pt x="6987704" y="16541525"/>
                  <a:pt x="6975346" y="16450900"/>
                  <a:pt x="6975346" y="16450900"/>
                </a:cubicBezTo>
                <a:cubicBezTo>
                  <a:pt x="6948570" y="16413827"/>
                  <a:pt x="6860002" y="16273770"/>
                  <a:pt x="6872360" y="16273770"/>
                </a:cubicBezTo>
                <a:cubicBezTo>
                  <a:pt x="6835286" y="16286128"/>
                  <a:pt x="6884719" y="16362335"/>
                  <a:pt x="6911496" y="16438542"/>
                </a:cubicBezTo>
                <a:cubicBezTo>
                  <a:pt x="6923854" y="16490033"/>
                  <a:pt x="6987704" y="16706297"/>
                  <a:pt x="6923854" y="16593017"/>
                </a:cubicBezTo>
                <a:cubicBezTo>
                  <a:pt x="6899137" y="16541525"/>
                  <a:pt x="6884719" y="16490033"/>
                  <a:pt x="6860002" y="16426185"/>
                </a:cubicBezTo>
                <a:cubicBezTo>
                  <a:pt x="6769375" y="16183146"/>
                  <a:pt x="6744658" y="16158430"/>
                  <a:pt x="6668449" y="15940107"/>
                </a:cubicBezTo>
                <a:cubicBezTo>
                  <a:pt x="6656091" y="15915391"/>
                  <a:pt x="6579882" y="15684710"/>
                  <a:pt x="6592240" y="15787693"/>
                </a:cubicBezTo>
                <a:cubicBezTo>
                  <a:pt x="6604598" y="15863900"/>
                  <a:pt x="6680808" y="16018374"/>
                  <a:pt x="6693166" y="16067805"/>
                </a:cubicBezTo>
                <a:cubicBezTo>
                  <a:pt x="6744658" y="16234637"/>
                  <a:pt x="6783793" y="16413827"/>
                  <a:pt x="6808510" y="16553883"/>
                </a:cubicBezTo>
                <a:cubicBezTo>
                  <a:pt x="6847644" y="16693939"/>
                  <a:pt x="6757016" y="16438542"/>
                  <a:pt x="6732300" y="16450900"/>
                </a:cubicBezTo>
                <a:cubicBezTo>
                  <a:pt x="6705524" y="16450900"/>
                  <a:pt x="6847644" y="16873129"/>
                  <a:pt x="6769375" y="16745429"/>
                </a:cubicBezTo>
                <a:cubicBezTo>
                  <a:pt x="6757016" y="16706297"/>
                  <a:pt x="6668449" y="16463258"/>
                  <a:pt x="6643733" y="16463258"/>
                </a:cubicBezTo>
                <a:cubicBezTo>
                  <a:pt x="6629315" y="16463258"/>
                  <a:pt x="6592240" y="16553883"/>
                  <a:pt x="6592240" y="16541525"/>
                </a:cubicBezTo>
                <a:cubicBezTo>
                  <a:pt x="6592240" y="16553883"/>
                  <a:pt x="6592240" y="16566241"/>
                  <a:pt x="6592240" y="16578599"/>
                </a:cubicBezTo>
                <a:cubicBezTo>
                  <a:pt x="6565464" y="16541525"/>
                  <a:pt x="6513971" y="16374693"/>
                  <a:pt x="6540747" y="16514749"/>
                </a:cubicBezTo>
                <a:cubicBezTo>
                  <a:pt x="6579882" y="16669223"/>
                  <a:pt x="6513971" y="16463258"/>
                  <a:pt x="6489254" y="16387051"/>
                </a:cubicBezTo>
                <a:cubicBezTo>
                  <a:pt x="6336835" y="15927749"/>
                  <a:pt x="6169999" y="15429314"/>
                  <a:pt x="6003162" y="15062696"/>
                </a:cubicBezTo>
                <a:cubicBezTo>
                  <a:pt x="5990804" y="15035920"/>
                  <a:pt x="5978445" y="15062696"/>
                  <a:pt x="6003162" y="15062696"/>
                </a:cubicBezTo>
                <a:cubicBezTo>
                  <a:pt x="6042296" y="15213050"/>
                  <a:pt x="6118506" y="15404598"/>
                  <a:pt x="6182357" y="15596145"/>
                </a:cubicBezTo>
                <a:cubicBezTo>
                  <a:pt x="6258566" y="15800051"/>
                  <a:pt x="6310059" y="15991598"/>
                  <a:pt x="6349194" y="16183146"/>
                </a:cubicBezTo>
                <a:cubicBezTo>
                  <a:pt x="6361552" y="16222279"/>
                  <a:pt x="6476896" y="16502393"/>
                  <a:pt x="6450120" y="16529167"/>
                </a:cubicBezTo>
                <a:cubicBezTo>
                  <a:pt x="6464538" y="16514749"/>
                  <a:pt x="6373910" y="16362335"/>
                  <a:pt x="6373910" y="16387051"/>
                </a:cubicBezTo>
                <a:cubicBezTo>
                  <a:pt x="6373910" y="16362335"/>
                  <a:pt x="6361552" y="16387051"/>
                  <a:pt x="6373910" y="16387051"/>
                </a:cubicBezTo>
                <a:cubicBezTo>
                  <a:pt x="6373910" y="16529167"/>
                  <a:pt x="6450120" y="16669223"/>
                  <a:pt x="6476896" y="16809279"/>
                </a:cubicBezTo>
                <a:cubicBezTo>
                  <a:pt x="6528389" y="17013185"/>
                  <a:pt x="6437761" y="16809279"/>
                  <a:pt x="6425403" y="16809279"/>
                </a:cubicBezTo>
                <a:cubicBezTo>
                  <a:pt x="6413045" y="16809279"/>
                  <a:pt x="6476896" y="17013185"/>
                  <a:pt x="6476896" y="17064677"/>
                </a:cubicBezTo>
                <a:cubicBezTo>
                  <a:pt x="6437761" y="17000827"/>
                  <a:pt x="6450120" y="16961693"/>
                  <a:pt x="6413045" y="16873129"/>
                </a:cubicBezTo>
                <a:cubicBezTo>
                  <a:pt x="6413045" y="16873129"/>
                  <a:pt x="6361552" y="16681581"/>
                  <a:pt x="6349194" y="16681581"/>
                </a:cubicBezTo>
                <a:lnTo>
                  <a:pt x="6336835" y="16833995"/>
                </a:lnTo>
                <a:cubicBezTo>
                  <a:pt x="6324477" y="16833995"/>
                  <a:pt x="6145282" y="16337620"/>
                  <a:pt x="6209133" y="16578599"/>
                </a:cubicBezTo>
                <a:cubicBezTo>
                  <a:pt x="6258566" y="16718655"/>
                  <a:pt x="6285343" y="16833995"/>
                  <a:pt x="6297701" y="16961693"/>
                </a:cubicBezTo>
                <a:cubicBezTo>
                  <a:pt x="6310059" y="17052319"/>
                  <a:pt x="6361552" y="17103809"/>
                  <a:pt x="6361552" y="17204733"/>
                </a:cubicBezTo>
                <a:cubicBezTo>
                  <a:pt x="6297701" y="17192375"/>
                  <a:pt x="6297701" y="16949335"/>
                  <a:pt x="6258566" y="16924619"/>
                </a:cubicBezTo>
                <a:cubicBezTo>
                  <a:pt x="6258566" y="16910203"/>
                  <a:pt x="6194715" y="16924619"/>
                  <a:pt x="6194715" y="16936977"/>
                </a:cubicBezTo>
                <a:cubicBezTo>
                  <a:pt x="6157640" y="16860771"/>
                  <a:pt x="6169999" y="16770147"/>
                  <a:pt x="6132924" y="16706297"/>
                </a:cubicBezTo>
                <a:cubicBezTo>
                  <a:pt x="6118506" y="16681581"/>
                  <a:pt x="6106147" y="16681581"/>
                  <a:pt x="6081431" y="16669223"/>
                </a:cubicBezTo>
                <a:cubicBezTo>
                  <a:pt x="6029938" y="16617733"/>
                  <a:pt x="6017580" y="16529167"/>
                  <a:pt x="5990804" y="16450900"/>
                </a:cubicBezTo>
                <a:cubicBezTo>
                  <a:pt x="5926952" y="16286128"/>
                  <a:pt x="5902236" y="16131654"/>
                  <a:pt x="5826026" y="15979240"/>
                </a:cubicBezTo>
                <a:cubicBezTo>
                  <a:pt x="5813668" y="15851542"/>
                  <a:pt x="5747757" y="15876258"/>
                  <a:pt x="5826026" y="15979240"/>
                </a:cubicBezTo>
                <a:cubicBezTo>
                  <a:pt x="5863101" y="16170788"/>
                  <a:pt x="5914594" y="16298486"/>
                  <a:pt x="5953729" y="16490033"/>
                </a:cubicBezTo>
                <a:cubicBezTo>
                  <a:pt x="5953729" y="16541525"/>
                  <a:pt x="5990804" y="16630089"/>
                  <a:pt x="6029938" y="16745429"/>
                </a:cubicBezTo>
                <a:cubicBezTo>
                  <a:pt x="6042296" y="16809279"/>
                  <a:pt x="6157640" y="17128525"/>
                  <a:pt x="6054655" y="16949335"/>
                </a:cubicBezTo>
                <a:cubicBezTo>
                  <a:pt x="6042296" y="16910203"/>
                  <a:pt x="5978445" y="16745429"/>
                  <a:pt x="5966087" y="16718655"/>
                </a:cubicBezTo>
                <a:cubicBezTo>
                  <a:pt x="5953729" y="16706297"/>
                  <a:pt x="5926952" y="16706297"/>
                  <a:pt x="5926952" y="16706297"/>
                </a:cubicBezTo>
                <a:cubicBezTo>
                  <a:pt x="5889878" y="16642449"/>
                  <a:pt x="5877519" y="16566241"/>
                  <a:pt x="5863101" y="16502393"/>
                </a:cubicBezTo>
                <a:cubicBezTo>
                  <a:pt x="5838385" y="16450900"/>
                  <a:pt x="5826026" y="16323202"/>
                  <a:pt x="5786892" y="16310844"/>
                </a:cubicBezTo>
                <a:cubicBezTo>
                  <a:pt x="5747757" y="16298486"/>
                  <a:pt x="5826026" y="16401469"/>
                  <a:pt x="5786892" y="16362335"/>
                </a:cubicBezTo>
                <a:cubicBezTo>
                  <a:pt x="5735399" y="16310844"/>
                  <a:pt x="5671548" y="16146072"/>
                  <a:pt x="5735399" y="16349977"/>
                </a:cubicBezTo>
                <a:cubicBezTo>
                  <a:pt x="5774534" y="16502393"/>
                  <a:pt x="5813668" y="16566241"/>
                  <a:pt x="5838385" y="16745429"/>
                </a:cubicBezTo>
                <a:cubicBezTo>
                  <a:pt x="5799250" y="16706297"/>
                  <a:pt x="5723041" y="16477676"/>
                  <a:pt x="5698324" y="16426185"/>
                </a:cubicBezTo>
                <a:cubicBezTo>
                  <a:pt x="5634473" y="16337620"/>
                  <a:pt x="5671548" y="16426185"/>
                  <a:pt x="5685966" y="16490033"/>
                </a:cubicBezTo>
                <a:cubicBezTo>
                  <a:pt x="5558264" y="16246995"/>
                  <a:pt x="5519129" y="15979240"/>
                  <a:pt x="5403785" y="15736202"/>
                </a:cubicBezTo>
                <a:cubicBezTo>
                  <a:pt x="5251366" y="15404598"/>
                  <a:pt x="5136022" y="15075054"/>
                  <a:pt x="4983604" y="14743450"/>
                </a:cubicBezTo>
                <a:cubicBezTo>
                  <a:pt x="4995962" y="14691959"/>
                  <a:pt x="4944469" y="14743450"/>
                  <a:pt x="4983604" y="14743450"/>
                </a:cubicBezTo>
                <a:cubicBezTo>
                  <a:pt x="5047455" y="15011204"/>
                  <a:pt x="5175157" y="15225408"/>
                  <a:pt x="5236948" y="15493163"/>
                </a:cubicBezTo>
                <a:cubicBezTo>
                  <a:pt x="5160739" y="15353106"/>
                  <a:pt x="5111306" y="15200692"/>
                  <a:pt x="5047455" y="15050338"/>
                </a:cubicBezTo>
                <a:cubicBezTo>
                  <a:pt x="4995962" y="14934997"/>
                  <a:pt x="5020678" y="15035920"/>
                  <a:pt x="5033037" y="15087412"/>
                </a:cubicBezTo>
                <a:cubicBezTo>
                  <a:pt x="5236948" y="15620861"/>
                  <a:pt x="5442920" y="16131654"/>
                  <a:pt x="5595338" y="16681581"/>
                </a:cubicBezTo>
                <a:cubicBezTo>
                  <a:pt x="5607697" y="16733073"/>
                  <a:pt x="5710682" y="16961693"/>
                  <a:pt x="5685966" y="17000827"/>
                </a:cubicBezTo>
                <a:cubicBezTo>
                  <a:pt x="5671548" y="17000827"/>
                  <a:pt x="5659190" y="16974051"/>
                  <a:pt x="5659190" y="16974051"/>
                </a:cubicBezTo>
                <a:cubicBezTo>
                  <a:pt x="5607697" y="16848413"/>
                  <a:pt x="5582980" y="16733073"/>
                  <a:pt x="5558264" y="16642449"/>
                </a:cubicBezTo>
                <a:cubicBezTo>
                  <a:pt x="5519129" y="16553883"/>
                  <a:pt x="5492353" y="16387051"/>
                  <a:pt x="5442920" y="16323202"/>
                </a:cubicBezTo>
                <a:cubicBezTo>
                  <a:pt x="5430561" y="16310844"/>
                  <a:pt x="5403785" y="16310844"/>
                  <a:pt x="5403785" y="16298486"/>
                </a:cubicBezTo>
                <a:cubicBezTo>
                  <a:pt x="5379069" y="16246995"/>
                  <a:pt x="5339934" y="16082223"/>
                  <a:pt x="5302859" y="16030732"/>
                </a:cubicBezTo>
                <a:cubicBezTo>
                  <a:pt x="5288441" y="16003956"/>
                  <a:pt x="5251366" y="16003956"/>
                  <a:pt x="5251366" y="16003956"/>
                </a:cubicBezTo>
                <a:cubicBezTo>
                  <a:pt x="5251366" y="16003956"/>
                  <a:pt x="5247762" y="15997777"/>
                  <a:pt x="5244157" y="15988251"/>
                </a:cubicBezTo>
                <a:lnTo>
                  <a:pt x="5240987" y="15972513"/>
                </a:lnTo>
                <a:lnTo>
                  <a:pt x="5245059" y="15980560"/>
                </a:lnTo>
                <a:cubicBezTo>
                  <a:pt x="5257417" y="16004214"/>
                  <a:pt x="5247762" y="15981815"/>
                  <a:pt x="5236948" y="15952465"/>
                </a:cubicBezTo>
                <a:cubicBezTo>
                  <a:pt x="5212232" y="15927749"/>
                  <a:pt x="5187515" y="15890675"/>
                  <a:pt x="5187515" y="15890675"/>
                </a:cubicBezTo>
                <a:cubicBezTo>
                  <a:pt x="5148381" y="15903033"/>
                  <a:pt x="5276083" y="16055447"/>
                  <a:pt x="5288441" y="16170788"/>
                </a:cubicBezTo>
                <a:cubicBezTo>
                  <a:pt x="5288441" y="16183146"/>
                  <a:pt x="5276083" y="16222279"/>
                  <a:pt x="5276083" y="16234637"/>
                </a:cubicBezTo>
                <a:cubicBezTo>
                  <a:pt x="5288441" y="16310844"/>
                  <a:pt x="5315217" y="16401469"/>
                  <a:pt x="5339934" y="16502393"/>
                </a:cubicBezTo>
                <a:cubicBezTo>
                  <a:pt x="5352292" y="16541525"/>
                  <a:pt x="5467636" y="16860771"/>
                  <a:pt x="5467636" y="16873129"/>
                </a:cubicBezTo>
                <a:cubicBezTo>
                  <a:pt x="5455278" y="16885487"/>
                  <a:pt x="5403785" y="16848413"/>
                  <a:pt x="5391427" y="16833995"/>
                </a:cubicBezTo>
                <a:cubicBezTo>
                  <a:pt x="5379069" y="16809279"/>
                  <a:pt x="5302859" y="16578599"/>
                  <a:pt x="5339934" y="16733073"/>
                </a:cubicBezTo>
                <a:cubicBezTo>
                  <a:pt x="5379069" y="16897845"/>
                  <a:pt x="5276083" y="16605373"/>
                  <a:pt x="5263725" y="16566241"/>
                </a:cubicBezTo>
                <a:cubicBezTo>
                  <a:pt x="5224590" y="16463258"/>
                  <a:pt x="5187515" y="16374693"/>
                  <a:pt x="5175157" y="16337620"/>
                </a:cubicBezTo>
                <a:cubicBezTo>
                  <a:pt x="5008320" y="15927749"/>
                  <a:pt x="4880618" y="15571429"/>
                  <a:pt x="4728199" y="15200692"/>
                </a:cubicBezTo>
                <a:cubicBezTo>
                  <a:pt x="4713781" y="15163619"/>
                  <a:pt x="4664348" y="14972071"/>
                  <a:pt x="4637572" y="14972071"/>
                </a:cubicBezTo>
                <a:cubicBezTo>
                  <a:pt x="4612855" y="14972071"/>
                  <a:pt x="4676706" y="15112127"/>
                  <a:pt x="4676706" y="15126545"/>
                </a:cubicBezTo>
                <a:cubicBezTo>
                  <a:pt x="4792050" y="15404598"/>
                  <a:pt x="4880618" y="15647637"/>
                  <a:pt x="4969186" y="15903033"/>
                </a:cubicBezTo>
                <a:cubicBezTo>
                  <a:pt x="4995962" y="15979240"/>
                  <a:pt x="5084529" y="16158430"/>
                  <a:pt x="5084529" y="16222279"/>
                </a:cubicBezTo>
                <a:cubicBezTo>
                  <a:pt x="5084529" y="16246995"/>
                  <a:pt x="5047455" y="16246995"/>
                  <a:pt x="5033037" y="16286128"/>
                </a:cubicBezTo>
                <a:cubicBezTo>
                  <a:pt x="5020678" y="16337620"/>
                  <a:pt x="5047455" y="16362335"/>
                  <a:pt x="5072171" y="16438542"/>
                </a:cubicBezTo>
                <a:cubicBezTo>
                  <a:pt x="5084529" y="16502393"/>
                  <a:pt x="5084529" y="16553883"/>
                  <a:pt x="5096888" y="16593017"/>
                </a:cubicBezTo>
                <a:cubicBezTo>
                  <a:pt x="5148381" y="16757789"/>
                  <a:pt x="5199873" y="16897845"/>
                  <a:pt x="5251366" y="17077035"/>
                </a:cubicBezTo>
                <a:cubicBezTo>
                  <a:pt x="5251366" y="17077035"/>
                  <a:pt x="5327576" y="17217091"/>
                  <a:pt x="5302859" y="17229449"/>
                </a:cubicBezTo>
                <a:cubicBezTo>
                  <a:pt x="5295650" y="17236657"/>
                  <a:pt x="5276083" y="17192373"/>
                  <a:pt x="5261665" y="17155817"/>
                </a:cubicBezTo>
                <a:lnTo>
                  <a:pt x="5251134" y="17127661"/>
                </a:lnTo>
                <a:lnTo>
                  <a:pt x="5222144" y="17019877"/>
                </a:lnTo>
                <a:cubicBezTo>
                  <a:pt x="5192793" y="16902093"/>
                  <a:pt x="5162284" y="16768085"/>
                  <a:pt x="5123664" y="16718655"/>
                </a:cubicBezTo>
                <a:cubicBezTo>
                  <a:pt x="5111306" y="16693939"/>
                  <a:pt x="5084529" y="16693939"/>
                  <a:pt x="5072171" y="16681581"/>
                </a:cubicBezTo>
                <a:cubicBezTo>
                  <a:pt x="5059813" y="16654805"/>
                  <a:pt x="5047455" y="16593017"/>
                  <a:pt x="5020678" y="16541525"/>
                </a:cubicBezTo>
                <a:cubicBezTo>
                  <a:pt x="5008320" y="16502393"/>
                  <a:pt x="4932111" y="16323202"/>
                  <a:pt x="4956827" y="16450900"/>
                </a:cubicBezTo>
                <a:cubicBezTo>
                  <a:pt x="4969186" y="16529167"/>
                  <a:pt x="5020678" y="16617733"/>
                  <a:pt x="5033037" y="16654805"/>
                </a:cubicBezTo>
                <a:cubicBezTo>
                  <a:pt x="5047455" y="16693939"/>
                  <a:pt x="5033037" y="16733073"/>
                  <a:pt x="5033037" y="16745429"/>
                </a:cubicBezTo>
                <a:cubicBezTo>
                  <a:pt x="5047455" y="16770147"/>
                  <a:pt x="5059813" y="16784563"/>
                  <a:pt x="5072171" y="16821637"/>
                </a:cubicBezTo>
                <a:cubicBezTo>
                  <a:pt x="5072171" y="16833995"/>
                  <a:pt x="5072171" y="16885487"/>
                  <a:pt x="5072171" y="16910203"/>
                </a:cubicBezTo>
                <a:cubicBezTo>
                  <a:pt x="5084529" y="16936977"/>
                  <a:pt x="5111306" y="17039961"/>
                  <a:pt x="5136022" y="17128525"/>
                </a:cubicBezTo>
                <a:cubicBezTo>
                  <a:pt x="5160739" y="17217091"/>
                  <a:pt x="5224590" y="17435413"/>
                  <a:pt x="5160739" y="17280939"/>
                </a:cubicBezTo>
                <a:cubicBezTo>
                  <a:pt x="5096888" y="17140883"/>
                  <a:pt x="5059813" y="16961693"/>
                  <a:pt x="5008320" y="16821637"/>
                </a:cubicBezTo>
                <a:cubicBezTo>
                  <a:pt x="4969186" y="16693939"/>
                  <a:pt x="4905334" y="16566241"/>
                  <a:pt x="4855901" y="16438542"/>
                </a:cubicBezTo>
                <a:cubicBezTo>
                  <a:pt x="4841483" y="16401469"/>
                  <a:pt x="4792050" y="16273770"/>
                  <a:pt x="4804408" y="16337620"/>
                </a:cubicBezTo>
                <a:cubicBezTo>
                  <a:pt x="4855901" y="16502393"/>
                  <a:pt x="4919752" y="16654805"/>
                  <a:pt x="4969186" y="16809279"/>
                </a:cubicBezTo>
                <a:cubicBezTo>
                  <a:pt x="5008320" y="16897845"/>
                  <a:pt x="5059813" y="17039961"/>
                  <a:pt x="4983604" y="16949335"/>
                </a:cubicBezTo>
                <a:cubicBezTo>
                  <a:pt x="4932111" y="16873129"/>
                  <a:pt x="4905334" y="16770147"/>
                  <a:pt x="4868260" y="16693939"/>
                </a:cubicBezTo>
                <a:cubicBezTo>
                  <a:pt x="4664348" y="16158430"/>
                  <a:pt x="4446018" y="15583787"/>
                  <a:pt x="4242107" y="15062696"/>
                </a:cubicBezTo>
                <a:cubicBezTo>
                  <a:pt x="4114404" y="14743450"/>
                  <a:pt x="3974344" y="14448920"/>
                  <a:pt x="3834283" y="14168807"/>
                </a:cubicBezTo>
                <a:cubicBezTo>
                  <a:pt x="3692163" y="13886635"/>
                  <a:pt x="3515028" y="13606523"/>
                  <a:pt x="3335832" y="13363484"/>
                </a:cubicBezTo>
                <a:cubicBezTo>
                  <a:pt x="3323474" y="13338768"/>
                  <a:pt x="3323474" y="13363484"/>
                  <a:pt x="3335832" y="13363484"/>
                </a:cubicBezTo>
                <a:cubicBezTo>
                  <a:pt x="3552102" y="13822786"/>
                  <a:pt x="3807507" y="14218239"/>
                  <a:pt x="4038195" y="14704317"/>
                </a:cubicBezTo>
                <a:cubicBezTo>
                  <a:pt x="4217390" y="15112127"/>
                  <a:pt x="4382167" y="15544654"/>
                  <a:pt x="4536646" y="15979240"/>
                </a:cubicBezTo>
                <a:cubicBezTo>
                  <a:pt x="4561362" y="16055447"/>
                  <a:pt x="4625213" y="16234637"/>
                  <a:pt x="4573720" y="16170788"/>
                </a:cubicBezTo>
                <a:cubicBezTo>
                  <a:pt x="4536646" y="16106939"/>
                  <a:pt x="4497511" y="15940107"/>
                  <a:pt x="4485153" y="15915391"/>
                </a:cubicBezTo>
                <a:cubicBezTo>
                  <a:pt x="4305958" y="15519938"/>
                  <a:pt x="4190614" y="15163619"/>
                  <a:pt x="3986702" y="14691959"/>
                </a:cubicBezTo>
                <a:cubicBezTo>
                  <a:pt x="3846641" y="14372713"/>
                  <a:pt x="3642730" y="14014334"/>
                  <a:pt x="3463535" y="13707446"/>
                </a:cubicBezTo>
                <a:cubicBezTo>
                  <a:pt x="3463535" y="13695088"/>
                  <a:pt x="3372907" y="13567389"/>
                  <a:pt x="3372907" y="13567389"/>
                </a:cubicBezTo>
                <a:cubicBezTo>
                  <a:pt x="3348191" y="13567389"/>
                  <a:pt x="3412042" y="13670372"/>
                  <a:pt x="3436758" y="13734221"/>
                </a:cubicBezTo>
                <a:cubicBezTo>
                  <a:pt x="3475893" y="13822786"/>
                  <a:pt x="3515028" y="13886635"/>
                  <a:pt x="3527386" y="13925769"/>
                </a:cubicBezTo>
                <a:lnTo>
                  <a:pt x="3515028" y="13925769"/>
                </a:lnTo>
                <a:cubicBezTo>
                  <a:pt x="3515028" y="13950484"/>
                  <a:pt x="3527386" y="13938126"/>
                  <a:pt x="3527386" y="13925769"/>
                </a:cubicBezTo>
                <a:cubicBezTo>
                  <a:pt x="3603595" y="14014334"/>
                  <a:pt x="3628312" y="14104958"/>
                  <a:pt x="3706581" y="14232657"/>
                </a:cubicBezTo>
                <a:cubicBezTo>
                  <a:pt x="3795149" y="14385071"/>
                  <a:pt x="3871358" y="14551902"/>
                  <a:pt x="3947567" y="14716674"/>
                </a:cubicBezTo>
                <a:cubicBezTo>
                  <a:pt x="3974344" y="14780524"/>
                  <a:pt x="4089688" y="14984429"/>
                  <a:pt x="4038195" y="14959713"/>
                </a:cubicBezTo>
                <a:cubicBezTo>
                  <a:pt x="4025837" y="14934997"/>
                  <a:pt x="4011419" y="14959713"/>
                  <a:pt x="4038195" y="14959713"/>
                </a:cubicBezTo>
                <a:cubicBezTo>
                  <a:pt x="4038195" y="14984429"/>
                  <a:pt x="4038195" y="15011204"/>
                  <a:pt x="4062911" y="15023562"/>
                </a:cubicBezTo>
                <a:cubicBezTo>
                  <a:pt x="4178255" y="15340749"/>
                  <a:pt x="4318316" y="15647637"/>
                  <a:pt x="4421302" y="16018374"/>
                </a:cubicBezTo>
                <a:cubicBezTo>
                  <a:pt x="4293599" y="15699128"/>
                  <a:pt x="4139121" y="15316033"/>
                  <a:pt x="4011419" y="14984429"/>
                </a:cubicBezTo>
                <a:cubicBezTo>
                  <a:pt x="3986702" y="14934997"/>
                  <a:pt x="3883716" y="14640467"/>
                  <a:pt x="3859000" y="14640467"/>
                </a:cubicBezTo>
                <a:cubicBezTo>
                  <a:pt x="3770432" y="14628109"/>
                  <a:pt x="4153539" y="15608503"/>
                  <a:pt x="3859000" y="14704317"/>
                </a:cubicBezTo>
                <a:cubicBezTo>
                  <a:pt x="3871358" y="14743450"/>
                  <a:pt x="3883716" y="14780524"/>
                  <a:pt x="3898134" y="14794941"/>
                </a:cubicBezTo>
                <a:cubicBezTo>
                  <a:pt x="4102046" y="15188334"/>
                  <a:pt x="4242107" y="15620861"/>
                  <a:pt x="4357451" y="16030732"/>
                </a:cubicBezTo>
                <a:cubicBezTo>
                  <a:pt x="4153539" y="15571429"/>
                  <a:pt x="3974344" y="15099769"/>
                  <a:pt x="3756014" y="14628109"/>
                </a:cubicBezTo>
                <a:cubicBezTo>
                  <a:pt x="3552102" y="14193523"/>
                  <a:pt x="3323474" y="13810428"/>
                  <a:pt x="3080428" y="13414975"/>
                </a:cubicBezTo>
                <a:cubicBezTo>
                  <a:pt x="3055711" y="13363484"/>
                  <a:pt x="3004219" y="13299635"/>
                  <a:pt x="3041293" y="13390259"/>
                </a:cubicBezTo>
                <a:cubicBezTo>
                  <a:pt x="3092786" y="13478824"/>
                  <a:pt x="3181354" y="13631239"/>
                  <a:pt x="3220488" y="13695088"/>
                </a:cubicBezTo>
                <a:cubicBezTo>
                  <a:pt x="3628312" y="14397429"/>
                  <a:pt x="3986702" y="15151261"/>
                  <a:pt x="4266823" y="15952465"/>
                </a:cubicBezTo>
                <a:cubicBezTo>
                  <a:pt x="4318316" y="16106939"/>
                  <a:pt x="4394525" y="16286128"/>
                  <a:pt x="4382167" y="16401469"/>
                </a:cubicBezTo>
                <a:cubicBezTo>
                  <a:pt x="4382167" y="16374693"/>
                  <a:pt x="4369809" y="16401469"/>
                  <a:pt x="4382167" y="16401469"/>
                </a:cubicBezTo>
                <a:cubicBezTo>
                  <a:pt x="4394525" y="16477676"/>
                  <a:pt x="4408943" y="16477676"/>
                  <a:pt x="4421302" y="16514749"/>
                </a:cubicBezTo>
                <a:cubicBezTo>
                  <a:pt x="4458377" y="16605373"/>
                  <a:pt x="4472795" y="16681581"/>
                  <a:pt x="4421302" y="16593017"/>
                </a:cubicBezTo>
                <a:cubicBezTo>
                  <a:pt x="4345092" y="16426185"/>
                  <a:pt x="4305958" y="16337620"/>
                  <a:pt x="4254465" y="16183146"/>
                </a:cubicBezTo>
                <a:cubicBezTo>
                  <a:pt x="4050553" y="15684710"/>
                  <a:pt x="3898134" y="15252184"/>
                  <a:pt x="3667446" y="14755808"/>
                </a:cubicBezTo>
                <a:cubicBezTo>
                  <a:pt x="3539744" y="14473636"/>
                  <a:pt x="3424400" y="14269730"/>
                  <a:pt x="3271981" y="13989618"/>
                </a:cubicBezTo>
                <a:cubicBezTo>
                  <a:pt x="3195772" y="13849561"/>
                  <a:pt x="3068070" y="13594165"/>
                  <a:pt x="2965084" y="13439691"/>
                </a:cubicBezTo>
                <a:cubicBezTo>
                  <a:pt x="2965084" y="13427333"/>
                  <a:pt x="2849740" y="13274919"/>
                  <a:pt x="2837382" y="13274919"/>
                </a:cubicBezTo>
                <a:cubicBezTo>
                  <a:pt x="2825023" y="13274919"/>
                  <a:pt x="2864158" y="13351126"/>
                  <a:pt x="2864158" y="13363484"/>
                </a:cubicBezTo>
                <a:cubicBezTo>
                  <a:pt x="3119562" y="13822786"/>
                  <a:pt x="3399684" y="14245014"/>
                  <a:pt x="3615953" y="14716674"/>
                </a:cubicBezTo>
                <a:cubicBezTo>
                  <a:pt x="3821925" y="15138903"/>
                  <a:pt x="4011419" y="15659994"/>
                  <a:pt x="4178255" y="16106939"/>
                </a:cubicBezTo>
                <a:cubicBezTo>
                  <a:pt x="4202972" y="16183146"/>
                  <a:pt x="4242107" y="16286128"/>
                  <a:pt x="4254465" y="16323202"/>
                </a:cubicBezTo>
                <a:cubicBezTo>
                  <a:pt x="4254465" y="16374693"/>
                  <a:pt x="4229748" y="16337620"/>
                  <a:pt x="4229748" y="16374693"/>
                </a:cubicBezTo>
                <a:cubicBezTo>
                  <a:pt x="4229748" y="16374693"/>
                  <a:pt x="4229748" y="16438542"/>
                  <a:pt x="4242107" y="16438542"/>
                </a:cubicBezTo>
                <a:cubicBezTo>
                  <a:pt x="4229748" y="16438542"/>
                  <a:pt x="4165897" y="16310844"/>
                  <a:pt x="4114404" y="16195504"/>
                </a:cubicBezTo>
                <a:cubicBezTo>
                  <a:pt x="4114404" y="16183146"/>
                  <a:pt x="4114404" y="16183146"/>
                  <a:pt x="4126762" y="16183146"/>
                </a:cubicBezTo>
                <a:cubicBezTo>
                  <a:pt x="4114404" y="16183146"/>
                  <a:pt x="4190614" y="16337620"/>
                  <a:pt x="4217390" y="16374693"/>
                </a:cubicBezTo>
                <a:cubicBezTo>
                  <a:pt x="3961985" y="15826826"/>
                  <a:pt x="4025837" y="15991598"/>
                  <a:pt x="4114404" y="16195504"/>
                </a:cubicBezTo>
                <a:lnTo>
                  <a:pt x="4107069" y="16209767"/>
                </a:lnTo>
                <a:lnTo>
                  <a:pt x="4065390" y="16138670"/>
                </a:lnTo>
                <a:cubicBezTo>
                  <a:pt x="4023391" y="16049269"/>
                  <a:pt x="3999061" y="15944226"/>
                  <a:pt x="3961985" y="15839184"/>
                </a:cubicBezTo>
                <a:cubicBezTo>
                  <a:pt x="3692163" y="15200692"/>
                  <a:pt x="3424400" y="14564260"/>
                  <a:pt x="3092786" y="13989618"/>
                </a:cubicBezTo>
                <a:cubicBezTo>
                  <a:pt x="2952726" y="13758937"/>
                  <a:pt x="2812665" y="13530316"/>
                  <a:pt x="2684963" y="13311993"/>
                </a:cubicBezTo>
                <a:cubicBezTo>
                  <a:pt x="2441917" y="12865048"/>
                  <a:pt x="2200930" y="12381031"/>
                  <a:pt x="1908451" y="11934086"/>
                </a:cubicBezTo>
                <a:cubicBezTo>
                  <a:pt x="1702480" y="11614840"/>
                  <a:pt x="1510926" y="11283237"/>
                  <a:pt x="1282298" y="10924857"/>
                </a:cubicBezTo>
                <a:cubicBezTo>
                  <a:pt x="1230805" y="10848650"/>
                  <a:pt x="1179312" y="10745668"/>
                  <a:pt x="1127819" y="10669461"/>
                </a:cubicBezTo>
                <a:cubicBezTo>
                  <a:pt x="1103103" y="10632387"/>
                  <a:pt x="1039252" y="10554120"/>
                  <a:pt x="1078386" y="10644745"/>
                </a:cubicBezTo>
                <a:cubicBezTo>
                  <a:pt x="1127819" y="10745668"/>
                  <a:pt x="1206089" y="10861008"/>
                  <a:pt x="1243164" y="10924857"/>
                </a:cubicBezTo>
                <a:cubicBezTo>
                  <a:pt x="1459433" y="11270879"/>
                  <a:pt x="1638629" y="11575707"/>
                  <a:pt x="1830182" y="11894953"/>
                </a:cubicBezTo>
                <a:cubicBezTo>
                  <a:pt x="1945526" y="12098858"/>
                  <a:pt x="2112363" y="12317181"/>
                  <a:pt x="2225647" y="12521087"/>
                </a:cubicBezTo>
                <a:cubicBezTo>
                  <a:pt x="2291558" y="12648785"/>
                  <a:pt x="2326573" y="12724992"/>
                  <a:pt x="2402782" y="12865048"/>
                </a:cubicBezTo>
                <a:cubicBezTo>
                  <a:pt x="2441917" y="12943315"/>
                  <a:pt x="2493410" y="13031880"/>
                  <a:pt x="2542843" y="13108087"/>
                </a:cubicBezTo>
                <a:cubicBezTo>
                  <a:pt x="2633470" y="13287277"/>
                  <a:pt x="2530484" y="13134863"/>
                  <a:pt x="2505768" y="13083371"/>
                </a:cubicBezTo>
                <a:cubicBezTo>
                  <a:pt x="2303916" y="12737350"/>
                  <a:pt x="2124721" y="12444880"/>
                  <a:pt x="1945526" y="12125634"/>
                </a:cubicBezTo>
                <a:cubicBezTo>
                  <a:pt x="1714838" y="11754897"/>
                  <a:pt x="1498568" y="11410935"/>
                  <a:pt x="1282298" y="11079331"/>
                </a:cubicBezTo>
                <a:cubicBezTo>
                  <a:pt x="1063968" y="10720952"/>
                  <a:pt x="835340" y="10414064"/>
                  <a:pt x="617010" y="10043327"/>
                </a:cubicBezTo>
                <a:cubicBezTo>
                  <a:pt x="439875" y="9738499"/>
                  <a:pt x="221545" y="9419253"/>
                  <a:pt x="106201" y="9048516"/>
                </a:cubicBezTo>
                <a:cubicBezTo>
                  <a:pt x="106201" y="9036158"/>
                  <a:pt x="69127" y="8894042"/>
                  <a:pt x="56768" y="8881684"/>
                </a:cubicBezTo>
                <a:cubicBezTo>
                  <a:pt x="44410" y="8881684"/>
                  <a:pt x="56768" y="9009382"/>
                  <a:pt x="69127" y="9036158"/>
                </a:cubicBezTo>
                <a:cubicBezTo>
                  <a:pt x="93843" y="9124723"/>
                  <a:pt x="44410" y="8984667"/>
                  <a:pt x="29992" y="8957891"/>
                </a:cubicBezTo>
                <a:cubicBezTo>
                  <a:pt x="-7083" y="8832252"/>
                  <a:pt x="-21501" y="8498589"/>
                  <a:pt x="56768" y="8447098"/>
                </a:cubicBezTo>
                <a:cubicBezTo>
                  <a:pt x="69127" y="8498589"/>
                  <a:pt x="5275" y="8525365"/>
                  <a:pt x="29992" y="8576856"/>
                </a:cubicBezTo>
                <a:cubicBezTo>
                  <a:pt x="56768" y="8601572"/>
                  <a:pt x="93843" y="8422382"/>
                  <a:pt x="81485" y="8434741"/>
                </a:cubicBezTo>
                <a:cubicBezTo>
                  <a:pt x="81485" y="8422382"/>
                  <a:pt x="132978" y="8422382"/>
                  <a:pt x="145336" y="8422382"/>
                </a:cubicBezTo>
                <a:cubicBezTo>
                  <a:pt x="184471" y="8383249"/>
                  <a:pt x="170053" y="8346175"/>
                  <a:pt x="221545" y="8307041"/>
                </a:cubicBezTo>
                <a:cubicBezTo>
                  <a:pt x="273038" y="8257611"/>
                  <a:pt x="324531" y="8243193"/>
                  <a:pt x="388382" y="8206119"/>
                </a:cubicBezTo>
                <a:cubicBezTo>
                  <a:pt x="425457" y="8179343"/>
                  <a:pt x="452234" y="8142270"/>
                  <a:pt x="476950" y="8129911"/>
                </a:cubicBezTo>
                <a:cubicBezTo>
                  <a:pt x="503726" y="8115495"/>
                  <a:pt x="528443" y="8115495"/>
                  <a:pt x="553159" y="8103136"/>
                </a:cubicBezTo>
                <a:cubicBezTo>
                  <a:pt x="592294" y="8066063"/>
                  <a:pt x="579936" y="8051645"/>
                  <a:pt x="617010" y="8039288"/>
                </a:cubicBezTo>
                <a:cubicBezTo>
                  <a:pt x="617010" y="8039288"/>
                  <a:pt x="579936" y="8090779"/>
                  <a:pt x="592294" y="8103136"/>
                </a:cubicBezTo>
                <a:cubicBezTo>
                  <a:pt x="617010" y="8115495"/>
                  <a:pt x="719996" y="7975438"/>
                  <a:pt x="719996" y="7975438"/>
                </a:cubicBezTo>
                <a:cubicBezTo>
                  <a:pt x="757071" y="7950723"/>
                  <a:pt x="732354" y="8002214"/>
                  <a:pt x="783847" y="7963080"/>
                </a:cubicBezTo>
                <a:cubicBezTo>
                  <a:pt x="808564" y="7936305"/>
                  <a:pt x="796205" y="7899231"/>
                  <a:pt x="847699" y="7874515"/>
                </a:cubicBezTo>
                <a:cubicBezTo>
                  <a:pt x="860057" y="7860098"/>
                  <a:pt x="923908" y="7886873"/>
                  <a:pt x="950684" y="7874515"/>
                </a:cubicBezTo>
                <a:cubicBezTo>
                  <a:pt x="975401" y="7860098"/>
                  <a:pt x="975401" y="7847740"/>
                  <a:pt x="1000117" y="7823024"/>
                </a:cubicBezTo>
                <a:cubicBezTo>
                  <a:pt x="1051610" y="7771533"/>
                  <a:pt x="1078386" y="7771533"/>
                  <a:pt x="1127819" y="7732399"/>
                </a:cubicBezTo>
                <a:cubicBezTo>
                  <a:pt x="1166954" y="7720042"/>
                  <a:pt x="1191671" y="7668550"/>
                  <a:pt x="1218447" y="7656193"/>
                </a:cubicBezTo>
                <a:cubicBezTo>
                  <a:pt x="1255522" y="7643834"/>
                  <a:pt x="1294656" y="7643834"/>
                  <a:pt x="1307015" y="7631477"/>
                </a:cubicBezTo>
                <a:cubicBezTo>
                  <a:pt x="1319373" y="7619118"/>
                  <a:pt x="1333791" y="7579985"/>
                  <a:pt x="1346149" y="7567628"/>
                </a:cubicBezTo>
                <a:cubicBezTo>
                  <a:pt x="1370866" y="7555269"/>
                  <a:pt x="1410000" y="7567628"/>
                  <a:pt x="1434717" y="7555269"/>
                </a:cubicBezTo>
                <a:cubicBezTo>
                  <a:pt x="1473851" y="7540852"/>
                  <a:pt x="1498568" y="7491420"/>
                  <a:pt x="1537702" y="7452287"/>
                </a:cubicBezTo>
                <a:cubicBezTo>
                  <a:pt x="1550061" y="7452287"/>
                  <a:pt x="1574777" y="7464645"/>
                  <a:pt x="1589195" y="7452287"/>
                </a:cubicBezTo>
                <a:cubicBezTo>
                  <a:pt x="1638629" y="7439929"/>
                  <a:pt x="1677763" y="7376080"/>
                  <a:pt x="1714838" y="7349304"/>
                </a:cubicBezTo>
                <a:cubicBezTo>
                  <a:pt x="1753973" y="7336947"/>
                  <a:pt x="1805465" y="7336947"/>
                  <a:pt x="1830182" y="7312231"/>
                </a:cubicBezTo>
                <a:cubicBezTo>
                  <a:pt x="1844600" y="7312231"/>
                  <a:pt x="1856958" y="7248382"/>
                  <a:pt x="1869316" y="7236023"/>
                </a:cubicBezTo>
                <a:cubicBezTo>
                  <a:pt x="1881675" y="7221606"/>
                  <a:pt x="1920809" y="7248382"/>
                  <a:pt x="1945526" y="7236023"/>
                </a:cubicBezTo>
                <a:cubicBezTo>
                  <a:pt x="1970242" y="7236023"/>
                  <a:pt x="1957884" y="7209248"/>
                  <a:pt x="1970242" y="7196890"/>
                </a:cubicBezTo>
                <a:cubicBezTo>
                  <a:pt x="1984660" y="7196890"/>
                  <a:pt x="2009377" y="7196890"/>
                  <a:pt x="2021735" y="7184532"/>
                </a:cubicBezTo>
                <a:cubicBezTo>
                  <a:pt x="2036153" y="7172175"/>
                  <a:pt x="2036153" y="7145399"/>
                  <a:pt x="2060870" y="7120683"/>
                </a:cubicBezTo>
                <a:cubicBezTo>
                  <a:pt x="2073228" y="7108326"/>
                  <a:pt x="2100004" y="7108326"/>
                  <a:pt x="2124721" y="7093907"/>
                </a:cubicBezTo>
                <a:cubicBezTo>
                  <a:pt x="2188572" y="7056834"/>
                  <a:pt x="2176214" y="7030059"/>
                  <a:pt x="2240065" y="7005342"/>
                </a:cubicBezTo>
                <a:cubicBezTo>
                  <a:pt x="2252423" y="7005342"/>
                  <a:pt x="2264781" y="6980627"/>
                  <a:pt x="2277140" y="6966210"/>
                </a:cubicBezTo>
                <a:cubicBezTo>
                  <a:pt x="2316274" y="6953851"/>
                  <a:pt x="2378066" y="6953851"/>
                  <a:pt x="2402782" y="6941494"/>
                </a:cubicBezTo>
                <a:cubicBezTo>
                  <a:pt x="2402782" y="6941494"/>
                  <a:pt x="2378066" y="6929136"/>
                  <a:pt x="2365708" y="6941494"/>
                </a:cubicBezTo>
                <a:cubicBezTo>
                  <a:pt x="2390424" y="6929136"/>
                  <a:pt x="2402782" y="6929136"/>
                  <a:pt x="2441917" y="6929136"/>
                </a:cubicBezTo>
                <a:cubicBezTo>
                  <a:pt x="2478992" y="6902360"/>
                  <a:pt x="2478992" y="6852929"/>
                  <a:pt x="2530484" y="6813795"/>
                </a:cubicBezTo>
                <a:cubicBezTo>
                  <a:pt x="2542843" y="6801437"/>
                  <a:pt x="2581977" y="6789080"/>
                  <a:pt x="2621112" y="6774662"/>
                </a:cubicBezTo>
                <a:cubicBezTo>
                  <a:pt x="2645828" y="6749946"/>
                  <a:pt x="2670545" y="6725230"/>
                  <a:pt x="2684963" y="6710813"/>
                </a:cubicBezTo>
                <a:cubicBezTo>
                  <a:pt x="2722038" y="6686097"/>
                  <a:pt x="2734396" y="6710813"/>
                  <a:pt x="2761172" y="6698455"/>
                </a:cubicBezTo>
                <a:cubicBezTo>
                  <a:pt x="2785889" y="6686097"/>
                  <a:pt x="2785889" y="6661381"/>
                  <a:pt x="2800307" y="6646964"/>
                </a:cubicBezTo>
                <a:cubicBezTo>
                  <a:pt x="2837382" y="6622248"/>
                  <a:pt x="2876516" y="6634605"/>
                  <a:pt x="2876516" y="6634605"/>
                </a:cubicBezTo>
                <a:cubicBezTo>
                  <a:pt x="2876516" y="6634605"/>
                  <a:pt x="2837382" y="6597532"/>
                  <a:pt x="2876516" y="6583115"/>
                </a:cubicBezTo>
                <a:cubicBezTo>
                  <a:pt x="2888875" y="6570756"/>
                  <a:pt x="2913591" y="6583115"/>
                  <a:pt x="2925949" y="6583115"/>
                </a:cubicBezTo>
                <a:cubicBezTo>
                  <a:pt x="2952726" y="6570756"/>
                  <a:pt x="2952726" y="6533683"/>
                  <a:pt x="2977442" y="6521325"/>
                </a:cubicBezTo>
                <a:cubicBezTo>
                  <a:pt x="3028935" y="6494550"/>
                  <a:pt x="3092786" y="6506908"/>
                  <a:pt x="3119562" y="6482191"/>
                </a:cubicBezTo>
                <a:cubicBezTo>
                  <a:pt x="3144279" y="6455416"/>
                  <a:pt x="3144279" y="6379209"/>
                  <a:pt x="3156637" y="6366851"/>
                </a:cubicBezTo>
                <a:cubicBezTo>
                  <a:pt x="3168996" y="6366851"/>
                  <a:pt x="3387325" y="6366851"/>
                  <a:pt x="3399684" y="6366851"/>
                </a:cubicBezTo>
                <a:cubicBezTo>
                  <a:pt x="3399684" y="6366851"/>
                  <a:pt x="3436758" y="6391567"/>
                  <a:pt x="3451176" y="6379209"/>
                </a:cubicBezTo>
                <a:cubicBezTo>
                  <a:pt x="3451176" y="6366851"/>
                  <a:pt x="3412042" y="6354493"/>
                  <a:pt x="3387325" y="6354493"/>
                </a:cubicBezTo>
                <a:cubicBezTo>
                  <a:pt x="3578879" y="6327718"/>
                  <a:pt x="3770432" y="6506908"/>
                  <a:pt x="3922851" y="6546040"/>
                </a:cubicBezTo>
                <a:cubicBezTo>
                  <a:pt x="3935209" y="6597532"/>
                  <a:pt x="3986702" y="6546040"/>
                  <a:pt x="3922851" y="6546040"/>
                </a:cubicBezTo>
                <a:cubicBezTo>
                  <a:pt x="3922851" y="6533683"/>
                  <a:pt x="3910493" y="6533683"/>
                  <a:pt x="3910493" y="6521325"/>
                </a:cubicBezTo>
                <a:cubicBezTo>
                  <a:pt x="4062911" y="6597532"/>
                  <a:pt x="4217390" y="6686097"/>
                  <a:pt x="4369809" y="6762304"/>
                </a:cubicBezTo>
                <a:cubicBezTo>
                  <a:pt x="4382167" y="6801437"/>
                  <a:pt x="4433660" y="6749946"/>
                  <a:pt x="4369809" y="6762304"/>
                </a:cubicBezTo>
                <a:cubicBezTo>
                  <a:pt x="4345092" y="6710813"/>
                  <a:pt x="4293599" y="6710813"/>
                  <a:pt x="4266823" y="6673739"/>
                </a:cubicBezTo>
                <a:cubicBezTo>
                  <a:pt x="4318316" y="6634605"/>
                  <a:pt x="4382167" y="6762304"/>
                  <a:pt x="4421302" y="6749946"/>
                </a:cubicBezTo>
                <a:cubicBezTo>
                  <a:pt x="4472795" y="6737588"/>
                  <a:pt x="4394525" y="6710813"/>
                  <a:pt x="4382167" y="6661381"/>
                </a:cubicBezTo>
                <a:lnTo>
                  <a:pt x="4421302" y="6661381"/>
                </a:lnTo>
                <a:cubicBezTo>
                  <a:pt x="4446018" y="6646964"/>
                  <a:pt x="4394525" y="6583115"/>
                  <a:pt x="4382167" y="6570756"/>
                </a:cubicBezTo>
                <a:cubicBezTo>
                  <a:pt x="4382167" y="6558399"/>
                  <a:pt x="4394525" y="6546040"/>
                  <a:pt x="4394525" y="6533683"/>
                </a:cubicBezTo>
                <a:cubicBezTo>
                  <a:pt x="4408943" y="6506908"/>
                  <a:pt x="4408943" y="6482191"/>
                  <a:pt x="4394525" y="6455416"/>
                </a:cubicBezTo>
                <a:cubicBezTo>
                  <a:pt x="4382167" y="6303002"/>
                  <a:pt x="4357451" y="6187662"/>
                  <a:pt x="4330674" y="6035247"/>
                </a:cubicBezTo>
                <a:cubicBezTo>
                  <a:pt x="4254465" y="5689226"/>
                  <a:pt x="4202972" y="5293773"/>
                  <a:pt x="4139121" y="4937453"/>
                </a:cubicBezTo>
                <a:cubicBezTo>
                  <a:pt x="4102046" y="4745906"/>
                  <a:pt x="4089688" y="4542001"/>
                  <a:pt x="4050553" y="4375169"/>
                </a:cubicBezTo>
                <a:cubicBezTo>
                  <a:pt x="4025837" y="4311320"/>
                  <a:pt x="3986702" y="4259828"/>
                  <a:pt x="3974344" y="4195979"/>
                </a:cubicBezTo>
                <a:cubicBezTo>
                  <a:pt x="3922851" y="4031207"/>
                  <a:pt x="3922851" y="3800526"/>
                  <a:pt x="3898134" y="3584263"/>
                </a:cubicBezTo>
                <a:cubicBezTo>
                  <a:pt x="3846641" y="3225884"/>
                  <a:pt x="3807507" y="2842789"/>
                  <a:pt x="3782790" y="2486469"/>
                </a:cubicBezTo>
                <a:cubicBezTo>
                  <a:pt x="3770432" y="2307279"/>
                  <a:pt x="3743656" y="2165163"/>
                  <a:pt x="3807507" y="2051883"/>
                </a:cubicBezTo>
                <a:cubicBezTo>
                  <a:pt x="3834283" y="2000392"/>
                  <a:pt x="3795149" y="2025107"/>
                  <a:pt x="3859000" y="1988033"/>
                </a:cubicBezTo>
                <a:cubicBezTo>
                  <a:pt x="3898134" y="1961258"/>
                  <a:pt x="3922851" y="1924184"/>
                  <a:pt x="3947567" y="1897409"/>
                </a:cubicBezTo>
                <a:cubicBezTo>
                  <a:pt x="3961985" y="1885051"/>
                  <a:pt x="3947567" y="1860335"/>
                  <a:pt x="3961985" y="1847977"/>
                </a:cubicBezTo>
                <a:cubicBezTo>
                  <a:pt x="3974344" y="1847977"/>
                  <a:pt x="3999060" y="1872693"/>
                  <a:pt x="4011419" y="1860335"/>
                </a:cubicBezTo>
                <a:cubicBezTo>
                  <a:pt x="4038195" y="1860335"/>
                  <a:pt x="4011419" y="1833560"/>
                  <a:pt x="4038195" y="1821202"/>
                </a:cubicBezTo>
                <a:cubicBezTo>
                  <a:pt x="4038195" y="1808844"/>
                  <a:pt x="4077329" y="1769710"/>
                  <a:pt x="4077329" y="1769710"/>
                </a:cubicBezTo>
                <a:cubicBezTo>
                  <a:pt x="4126762" y="1757353"/>
                  <a:pt x="4089688" y="1821202"/>
                  <a:pt x="4126762" y="1821202"/>
                </a:cubicBezTo>
                <a:cubicBezTo>
                  <a:pt x="4165897" y="1808844"/>
                  <a:pt x="4139121" y="1732637"/>
                  <a:pt x="4178255" y="1732637"/>
                </a:cubicBezTo>
                <a:cubicBezTo>
                  <a:pt x="4202972" y="1718219"/>
                  <a:pt x="4254465" y="1757353"/>
                  <a:pt x="4254465" y="1769710"/>
                </a:cubicBezTo>
                <a:cubicBezTo>
                  <a:pt x="4266823" y="1744995"/>
                  <a:pt x="4229748" y="1668788"/>
                  <a:pt x="4242107" y="1668788"/>
                </a:cubicBezTo>
                <a:cubicBezTo>
                  <a:pt x="4293599" y="1668788"/>
                  <a:pt x="4254465" y="1757353"/>
                  <a:pt x="4293599" y="1769710"/>
                </a:cubicBezTo>
                <a:cubicBezTo>
                  <a:pt x="4293599" y="1769710"/>
                  <a:pt x="4382167" y="1693504"/>
                  <a:pt x="4369809" y="1718219"/>
                </a:cubicBezTo>
                <a:cubicBezTo>
                  <a:pt x="4394525" y="1681145"/>
                  <a:pt x="4357451" y="1656430"/>
                  <a:pt x="4382167" y="1642012"/>
                </a:cubicBezTo>
                <a:cubicBezTo>
                  <a:pt x="4408943" y="1629654"/>
                  <a:pt x="4458377" y="1642012"/>
                  <a:pt x="4458377" y="1656430"/>
                </a:cubicBezTo>
                <a:cubicBezTo>
                  <a:pt x="4458377" y="1642012"/>
                  <a:pt x="4472795" y="1553447"/>
                  <a:pt x="4446018" y="1565805"/>
                </a:cubicBezTo>
                <a:cubicBezTo>
                  <a:pt x="4497511" y="1528731"/>
                  <a:pt x="4497511" y="1578163"/>
                  <a:pt x="4522228" y="1578163"/>
                </a:cubicBezTo>
                <a:cubicBezTo>
                  <a:pt x="4561362" y="1565805"/>
                  <a:pt x="4573720" y="1528731"/>
                  <a:pt x="4600497" y="1514314"/>
                </a:cubicBezTo>
                <a:cubicBezTo>
                  <a:pt x="4625213" y="1501956"/>
                  <a:pt x="4649930" y="1528731"/>
                  <a:pt x="4649930" y="1528731"/>
                </a:cubicBezTo>
                <a:cubicBezTo>
                  <a:pt x="4701423" y="1514314"/>
                  <a:pt x="4676706" y="1464882"/>
                  <a:pt x="4713781" y="1541089"/>
                </a:cubicBezTo>
                <a:cubicBezTo>
                  <a:pt x="4841483" y="1757353"/>
                  <a:pt x="4689064" y="1273335"/>
                  <a:pt x="4841483" y="1322766"/>
                </a:cubicBezTo>
                <a:cubicBezTo>
                  <a:pt x="4829125" y="1234201"/>
                  <a:pt x="4969186" y="1349542"/>
                  <a:pt x="4969186" y="1349542"/>
                </a:cubicBezTo>
                <a:cubicBezTo>
                  <a:pt x="5033037" y="1285693"/>
                  <a:pt x="4905334" y="1258917"/>
                  <a:pt x="4969186" y="1246559"/>
                </a:cubicBezTo>
                <a:cubicBezTo>
                  <a:pt x="5096888" y="1221844"/>
                  <a:pt x="5084529" y="1450465"/>
                  <a:pt x="5136022" y="1450465"/>
                </a:cubicBezTo>
                <a:cubicBezTo>
                  <a:pt x="5187515" y="1450465"/>
                  <a:pt x="5136022" y="1374258"/>
                  <a:pt x="5160739" y="1337184"/>
                </a:cubicBezTo>
                <a:lnTo>
                  <a:pt x="5199873" y="1349542"/>
                </a:lnTo>
                <a:cubicBezTo>
                  <a:pt x="5199873" y="1322766"/>
                  <a:pt x="5148381" y="1182710"/>
                  <a:pt x="5148381" y="1170352"/>
                </a:cubicBezTo>
                <a:cubicBezTo>
                  <a:pt x="5084529" y="991162"/>
                  <a:pt x="5263725" y="1221844"/>
                  <a:pt x="5263725" y="1221844"/>
                </a:cubicBezTo>
                <a:cubicBezTo>
                  <a:pt x="5288441" y="1209485"/>
                  <a:pt x="5236948" y="1055012"/>
                  <a:pt x="5302859" y="1030296"/>
                </a:cubicBezTo>
                <a:cubicBezTo>
                  <a:pt x="5339934" y="1017938"/>
                  <a:pt x="5442920" y="1157994"/>
                  <a:pt x="5416143" y="1055012"/>
                </a:cubicBezTo>
                <a:cubicBezTo>
                  <a:pt x="5391427" y="991162"/>
                  <a:pt x="5403785" y="1030296"/>
                  <a:pt x="5455278" y="1003521"/>
                </a:cubicBezTo>
                <a:cubicBezTo>
                  <a:pt x="5467636" y="991162"/>
                  <a:pt x="5492353" y="902597"/>
                  <a:pt x="5479995" y="914956"/>
                </a:cubicBezTo>
                <a:lnTo>
                  <a:pt x="5506771" y="902597"/>
                </a:lnTo>
                <a:cubicBezTo>
                  <a:pt x="5622115" y="875822"/>
                  <a:pt x="5479995" y="875822"/>
                  <a:pt x="5531487" y="826391"/>
                </a:cubicBezTo>
                <a:cubicBezTo>
                  <a:pt x="5543846" y="811973"/>
                  <a:pt x="5570622" y="863464"/>
                  <a:pt x="5622115" y="826391"/>
                </a:cubicBezTo>
                <a:cubicBezTo>
                  <a:pt x="5646831" y="811973"/>
                  <a:pt x="5607697" y="787257"/>
                  <a:pt x="5622115" y="774899"/>
                </a:cubicBezTo>
                <a:cubicBezTo>
                  <a:pt x="5607697" y="774899"/>
                  <a:pt x="5685966" y="774899"/>
                  <a:pt x="5671548" y="762541"/>
                </a:cubicBezTo>
                <a:cubicBezTo>
                  <a:pt x="5723041" y="787257"/>
                  <a:pt x="5747757" y="902597"/>
                  <a:pt x="5774534" y="939671"/>
                </a:cubicBezTo>
                <a:cubicBezTo>
                  <a:pt x="5799250" y="978805"/>
                  <a:pt x="5850743" y="1017938"/>
                  <a:pt x="5877519" y="1067370"/>
                </a:cubicBezTo>
                <a:cubicBezTo>
                  <a:pt x="5926952" y="1170352"/>
                  <a:pt x="5941370" y="1322766"/>
                  <a:pt x="5966087" y="1489598"/>
                </a:cubicBezTo>
                <a:cubicBezTo>
                  <a:pt x="5978445" y="1629654"/>
                  <a:pt x="6003162" y="1796486"/>
                  <a:pt x="6029938" y="1936542"/>
                </a:cubicBezTo>
                <a:cubicBezTo>
                  <a:pt x="6106147" y="2523543"/>
                  <a:pt x="6194715" y="3098185"/>
                  <a:pt x="6285343" y="3596621"/>
                </a:cubicBezTo>
                <a:cubicBezTo>
                  <a:pt x="6400687" y="4195979"/>
                  <a:pt x="6501613" y="4873604"/>
                  <a:pt x="6604598" y="5448247"/>
                </a:cubicBezTo>
                <a:cubicBezTo>
                  <a:pt x="6616956" y="5512096"/>
                  <a:pt x="6604598" y="5433829"/>
                  <a:pt x="6616956" y="5536812"/>
                </a:cubicBezTo>
                <a:cubicBezTo>
                  <a:pt x="6643733" y="5716001"/>
                  <a:pt x="6643733" y="5536812"/>
                  <a:pt x="6629315" y="5485320"/>
                </a:cubicBezTo>
                <a:cubicBezTo>
                  <a:pt x="6592240" y="5166074"/>
                  <a:pt x="6501613" y="4694414"/>
                  <a:pt x="6450120" y="4463734"/>
                </a:cubicBezTo>
                <a:cubicBezTo>
                  <a:pt x="6361552" y="4004432"/>
                  <a:pt x="6324477" y="3648112"/>
                  <a:pt x="6258566" y="3289733"/>
                </a:cubicBezTo>
                <a:cubicBezTo>
                  <a:pt x="6209133" y="2931354"/>
                  <a:pt x="6145282" y="2523543"/>
                  <a:pt x="6081431" y="2088956"/>
                </a:cubicBezTo>
                <a:cubicBezTo>
                  <a:pt x="6042296" y="1821202"/>
                  <a:pt x="6017580" y="1464882"/>
                  <a:pt x="5953729" y="1209485"/>
                </a:cubicBezTo>
                <a:cubicBezTo>
                  <a:pt x="5926952" y="1131219"/>
                  <a:pt x="5850743" y="914956"/>
                  <a:pt x="5889878" y="966447"/>
                </a:cubicBezTo>
                <a:cubicBezTo>
                  <a:pt x="5941370" y="1042654"/>
                  <a:pt x="5877519" y="914956"/>
                  <a:pt x="5889878" y="914956"/>
                </a:cubicBezTo>
                <a:cubicBezTo>
                  <a:pt x="5863101" y="863464"/>
                  <a:pt x="5774534" y="723408"/>
                  <a:pt x="5799250" y="671917"/>
                </a:cubicBezTo>
                <a:cubicBezTo>
                  <a:pt x="5813668" y="620425"/>
                  <a:pt x="5838385" y="711050"/>
                  <a:pt x="5877519" y="659559"/>
                </a:cubicBezTo>
                <a:cubicBezTo>
                  <a:pt x="5877519" y="647201"/>
                  <a:pt x="5850743" y="620425"/>
                  <a:pt x="5863101" y="608068"/>
                </a:cubicBezTo>
                <a:cubicBezTo>
                  <a:pt x="5902236" y="583352"/>
                  <a:pt x="5863101" y="659559"/>
                  <a:pt x="5914594" y="634843"/>
                </a:cubicBezTo>
                <a:cubicBezTo>
                  <a:pt x="5914594" y="634843"/>
                  <a:pt x="5926952" y="595710"/>
                  <a:pt x="5914594" y="595710"/>
                </a:cubicBezTo>
                <a:cubicBezTo>
                  <a:pt x="5926952" y="595710"/>
                  <a:pt x="5926952" y="595710"/>
                  <a:pt x="5966087" y="608068"/>
                </a:cubicBezTo>
                <a:cubicBezTo>
                  <a:pt x="6093789" y="698692"/>
                  <a:pt x="5966087" y="595710"/>
                  <a:pt x="6003162" y="531860"/>
                </a:cubicBezTo>
                <a:cubicBezTo>
                  <a:pt x="6003162" y="531860"/>
                  <a:pt x="6042296" y="544218"/>
                  <a:pt x="6054655" y="544218"/>
                </a:cubicBezTo>
                <a:cubicBezTo>
                  <a:pt x="6081431" y="544218"/>
                  <a:pt x="6093789" y="492727"/>
                  <a:pt x="6106147" y="468011"/>
                </a:cubicBezTo>
                <a:cubicBezTo>
                  <a:pt x="6118506" y="455653"/>
                  <a:pt x="6145282" y="455653"/>
                  <a:pt x="6157640" y="443296"/>
                </a:cubicBezTo>
                <a:cubicBezTo>
                  <a:pt x="6182357" y="428878"/>
                  <a:pt x="6209133" y="391804"/>
                  <a:pt x="6246208" y="365029"/>
                </a:cubicBezTo>
                <a:cubicBezTo>
                  <a:pt x="6246208" y="379446"/>
                  <a:pt x="6258566" y="416520"/>
                  <a:pt x="6272984" y="404162"/>
                </a:cubicBezTo>
                <a:cubicBezTo>
                  <a:pt x="6310059" y="404162"/>
                  <a:pt x="6285343" y="365029"/>
                  <a:pt x="6336835" y="327955"/>
                </a:cubicBezTo>
                <a:cubicBezTo>
                  <a:pt x="6388328" y="303239"/>
                  <a:pt x="6400687" y="315597"/>
                  <a:pt x="6400687" y="327955"/>
                </a:cubicBezTo>
                <a:cubicBezTo>
                  <a:pt x="6400687" y="327955"/>
                  <a:pt x="6400687" y="315597"/>
                  <a:pt x="6388328" y="288822"/>
                </a:cubicBezTo>
                <a:cubicBezTo>
                  <a:pt x="6349194" y="200257"/>
                  <a:pt x="6489254" y="315597"/>
                  <a:pt x="6489254" y="303239"/>
                </a:cubicBezTo>
                <a:cubicBezTo>
                  <a:pt x="6489254" y="303239"/>
                  <a:pt x="6513971" y="212614"/>
                  <a:pt x="6501613" y="212614"/>
                </a:cubicBezTo>
                <a:cubicBezTo>
                  <a:pt x="6513971" y="200257"/>
                  <a:pt x="6540747" y="212614"/>
                  <a:pt x="6553105" y="200257"/>
                </a:cubicBezTo>
                <a:cubicBezTo>
                  <a:pt x="6565464" y="200257"/>
                  <a:pt x="6592240" y="161123"/>
                  <a:pt x="6579882" y="161123"/>
                </a:cubicBezTo>
                <a:close/>
                <a:moveTo>
                  <a:pt x="6764406" y="116644"/>
                </a:moveTo>
                <a:cubicBezTo>
                  <a:pt x="6787301" y="115039"/>
                  <a:pt x="6844297" y="214159"/>
                  <a:pt x="6820868" y="224972"/>
                </a:cubicBezTo>
                <a:cubicBezTo>
                  <a:pt x="6808510" y="251748"/>
                  <a:pt x="6757016" y="124049"/>
                  <a:pt x="6757016" y="124049"/>
                </a:cubicBezTo>
                <a:cubicBezTo>
                  <a:pt x="6758561" y="119158"/>
                  <a:pt x="6761136" y="116873"/>
                  <a:pt x="6764406" y="116644"/>
                </a:cubicBezTo>
                <a:close/>
                <a:moveTo>
                  <a:pt x="7020209" y="84"/>
                </a:moveTo>
                <a:cubicBezTo>
                  <a:pt x="7054774" y="2015"/>
                  <a:pt x="7064429" y="37544"/>
                  <a:pt x="7103048" y="124049"/>
                </a:cubicBezTo>
                <a:cubicBezTo>
                  <a:pt x="7127765" y="187899"/>
                  <a:pt x="7191616" y="340313"/>
                  <a:pt x="7090690" y="365029"/>
                </a:cubicBezTo>
                <a:cubicBezTo>
                  <a:pt x="7012421" y="391804"/>
                  <a:pt x="7076272" y="327955"/>
                  <a:pt x="7024780" y="303239"/>
                </a:cubicBezTo>
                <a:cubicBezTo>
                  <a:pt x="6987704" y="288822"/>
                  <a:pt x="6960928" y="327955"/>
                  <a:pt x="6936212" y="315597"/>
                </a:cubicBezTo>
                <a:cubicBezTo>
                  <a:pt x="6936212" y="315597"/>
                  <a:pt x="6872360" y="276464"/>
                  <a:pt x="6872360" y="239390"/>
                </a:cubicBezTo>
                <a:cubicBezTo>
                  <a:pt x="6872360" y="187899"/>
                  <a:pt x="6911496" y="224972"/>
                  <a:pt x="6860002" y="136407"/>
                </a:cubicBezTo>
                <a:cubicBezTo>
                  <a:pt x="6835286" y="97274"/>
                  <a:pt x="6796152" y="47842"/>
                  <a:pt x="6911496" y="60200"/>
                </a:cubicBezTo>
                <a:cubicBezTo>
                  <a:pt x="6936212" y="60200"/>
                  <a:pt x="6975346" y="84916"/>
                  <a:pt x="6987704" y="84916"/>
                </a:cubicBezTo>
                <a:cubicBezTo>
                  <a:pt x="6987704" y="72558"/>
                  <a:pt x="6987704" y="-3649"/>
                  <a:pt x="6975346" y="8709"/>
                </a:cubicBezTo>
                <a:cubicBezTo>
                  <a:pt x="6994399" y="2530"/>
                  <a:pt x="7008688" y="-559"/>
                  <a:pt x="7020209" y="84"/>
                </a:cubicBezTo>
                <a:close/>
              </a:path>
            </a:pathLst>
          </a:custGeom>
          <a:effectLst/>
        </p:spPr>
        <p:txBody>
          <a:bodyPr wrap="square">
            <a:no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Tree>
    <p:extLst>
      <p:ext uri="{BB962C8B-B14F-4D97-AF65-F5344CB8AC3E}">
        <p14:creationId xmlns:p14="http://schemas.microsoft.com/office/powerpoint/2010/main" val="4143261781"/>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estimonials_E">
    <p:spTree>
      <p:nvGrpSpPr>
        <p:cNvPr id="1" name=""/>
        <p:cNvGrpSpPr/>
        <p:nvPr/>
      </p:nvGrpSpPr>
      <p:grpSpPr>
        <a:xfrm>
          <a:off x="0" y="0"/>
          <a:ext cx="0" cy="0"/>
          <a:chOff x="0" y="0"/>
          <a:chExt cx="0" cy="0"/>
        </a:xfrm>
      </p:grpSpPr>
      <p:sp>
        <p:nvSpPr>
          <p:cNvPr id="9" name="Picture Placeholder 13"/>
          <p:cNvSpPr>
            <a:spLocks noGrp="1" noChangeAspect="1"/>
          </p:cNvSpPr>
          <p:nvPr>
            <p:ph type="pic" sz="quarter" idx="20" hasCustomPrompt="1"/>
          </p:nvPr>
        </p:nvSpPr>
        <p:spPr>
          <a:xfrm>
            <a:off x="9029606" y="4343419"/>
            <a:ext cx="764526" cy="763840"/>
          </a:xfrm>
          <a:prstGeom prst="ellipse">
            <a:avLst/>
          </a:prstGeom>
        </p:spPr>
        <p:txBody>
          <a:bodyPr>
            <a:noAutofit/>
          </a:bodyPr>
          <a:lstStyle>
            <a:lvl1pPr marL="0" indent="0">
              <a:lnSpc>
                <a:spcPct val="130000"/>
              </a:lnSpc>
              <a:buNone/>
              <a:defRPr sz="750" baseline="0"/>
            </a:lvl1pPr>
          </a:lstStyle>
          <a:p>
            <a:r>
              <a:rPr lang="en-US" dirty="0"/>
              <a:t>Drag  Your Picture Here</a:t>
            </a:r>
          </a:p>
        </p:txBody>
      </p:sp>
      <p:sp>
        <p:nvSpPr>
          <p:cNvPr id="10" name="Picture Placeholder 13"/>
          <p:cNvSpPr>
            <a:spLocks noGrp="1" noChangeAspect="1"/>
          </p:cNvSpPr>
          <p:nvPr>
            <p:ph type="pic" sz="quarter" idx="21" hasCustomPrompt="1"/>
          </p:nvPr>
        </p:nvSpPr>
        <p:spPr>
          <a:xfrm>
            <a:off x="5678000" y="4318869"/>
            <a:ext cx="858317" cy="857546"/>
          </a:xfrm>
          <a:prstGeom prst="ellipse">
            <a:avLst/>
          </a:prstGeom>
        </p:spPr>
        <p:txBody>
          <a:bodyPr>
            <a:noAutofit/>
          </a:bodyPr>
          <a:lstStyle>
            <a:lvl1pPr marL="0" indent="0">
              <a:lnSpc>
                <a:spcPct val="130000"/>
              </a:lnSpc>
              <a:buNone/>
              <a:defRPr sz="750" baseline="0"/>
            </a:lvl1pPr>
          </a:lstStyle>
          <a:p>
            <a:r>
              <a:rPr lang="en-US" dirty="0"/>
              <a:t>Drag  Your Picture Here</a:t>
            </a:r>
          </a:p>
        </p:txBody>
      </p:sp>
      <p:sp>
        <p:nvSpPr>
          <p:cNvPr id="14" name="Picture Placeholder 13"/>
          <p:cNvSpPr>
            <a:spLocks noGrp="1" noChangeAspect="1"/>
          </p:cNvSpPr>
          <p:nvPr>
            <p:ph type="pic" sz="quarter" idx="22" hasCustomPrompt="1"/>
          </p:nvPr>
        </p:nvSpPr>
        <p:spPr>
          <a:xfrm>
            <a:off x="2426364" y="4343419"/>
            <a:ext cx="764526" cy="763840"/>
          </a:xfrm>
          <a:prstGeom prst="ellipse">
            <a:avLst/>
          </a:prstGeom>
        </p:spPr>
        <p:txBody>
          <a:bodyPr>
            <a:noAutofit/>
          </a:bodyPr>
          <a:lstStyle>
            <a:lvl1pPr marL="0" indent="0">
              <a:lnSpc>
                <a:spcPct val="130000"/>
              </a:lnSpc>
              <a:buNone/>
              <a:defRPr sz="750" baseline="0"/>
            </a:lvl1pPr>
          </a:lstStyle>
          <a:p>
            <a:r>
              <a:rPr lang="en-US" dirty="0"/>
              <a:t>Drag  Your Picture Here</a:t>
            </a:r>
          </a:p>
        </p:txBody>
      </p:sp>
    </p:spTree>
    <p:extLst>
      <p:ext uri="{BB962C8B-B14F-4D97-AF65-F5344CB8AC3E}">
        <p14:creationId xmlns:p14="http://schemas.microsoft.com/office/powerpoint/2010/main" val="2007746221"/>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4_ceo Layout">
    <p:spTree>
      <p:nvGrpSpPr>
        <p:cNvPr id="1" name=""/>
        <p:cNvGrpSpPr/>
        <p:nvPr/>
      </p:nvGrpSpPr>
      <p:grpSpPr>
        <a:xfrm>
          <a:off x="0" y="0"/>
          <a:ext cx="0" cy="0"/>
          <a:chOff x="0" y="0"/>
          <a:chExt cx="0" cy="0"/>
        </a:xfrm>
      </p:grpSpPr>
      <p:sp>
        <p:nvSpPr>
          <p:cNvPr id="7" name="Picture Placeholder 13"/>
          <p:cNvSpPr>
            <a:spLocks noGrp="1" noChangeAspect="1"/>
          </p:cNvSpPr>
          <p:nvPr>
            <p:ph type="pic" sz="quarter" idx="22" hasCustomPrompt="1"/>
          </p:nvPr>
        </p:nvSpPr>
        <p:spPr>
          <a:xfrm>
            <a:off x="1126566" y="4455321"/>
            <a:ext cx="539821" cy="539336"/>
          </a:xfrm>
          <a:prstGeom prst="ellipse">
            <a:avLst/>
          </a:prstGeom>
        </p:spPr>
        <p:txBody>
          <a:bodyPr>
            <a:noAutofit/>
          </a:bodyPr>
          <a:lstStyle>
            <a:lvl1pPr marL="0" indent="0">
              <a:lnSpc>
                <a:spcPct val="130000"/>
              </a:lnSpc>
              <a:buNone/>
              <a:defRPr sz="500" baseline="0"/>
            </a:lvl1pPr>
          </a:lstStyle>
          <a:p>
            <a:r>
              <a:rPr lang="en-US" dirty="0"/>
              <a:t>Drag  Your Picture Here</a:t>
            </a:r>
          </a:p>
        </p:txBody>
      </p:sp>
      <p:sp>
        <p:nvSpPr>
          <p:cNvPr id="8" name="Picture Placeholder 13"/>
          <p:cNvSpPr>
            <a:spLocks noGrp="1" noChangeAspect="1"/>
          </p:cNvSpPr>
          <p:nvPr>
            <p:ph type="pic" sz="quarter" idx="23" hasCustomPrompt="1"/>
          </p:nvPr>
        </p:nvSpPr>
        <p:spPr>
          <a:xfrm>
            <a:off x="1126566" y="3778930"/>
            <a:ext cx="539821" cy="539336"/>
          </a:xfrm>
          <a:prstGeom prst="ellipse">
            <a:avLst/>
          </a:prstGeom>
        </p:spPr>
        <p:txBody>
          <a:bodyPr>
            <a:noAutofit/>
          </a:bodyPr>
          <a:lstStyle>
            <a:lvl1pPr marL="0" indent="0">
              <a:lnSpc>
                <a:spcPct val="130000"/>
              </a:lnSpc>
              <a:buNone/>
              <a:defRPr sz="500" baseline="0"/>
            </a:lvl1pPr>
          </a:lstStyle>
          <a:p>
            <a:r>
              <a:rPr lang="en-US" dirty="0"/>
              <a:t>Drag  Your Picture Here</a:t>
            </a:r>
          </a:p>
        </p:txBody>
      </p:sp>
      <p:sp>
        <p:nvSpPr>
          <p:cNvPr id="11" name="Picture Placeholder 13"/>
          <p:cNvSpPr>
            <a:spLocks noGrp="1" noChangeAspect="1"/>
          </p:cNvSpPr>
          <p:nvPr>
            <p:ph type="pic" sz="quarter" idx="24" hasCustomPrompt="1"/>
          </p:nvPr>
        </p:nvSpPr>
        <p:spPr>
          <a:xfrm>
            <a:off x="1126566" y="3080237"/>
            <a:ext cx="539821" cy="539336"/>
          </a:xfrm>
          <a:prstGeom prst="ellipse">
            <a:avLst/>
          </a:prstGeom>
        </p:spPr>
        <p:txBody>
          <a:bodyPr>
            <a:noAutofit/>
          </a:bodyPr>
          <a:lstStyle>
            <a:lvl1pPr marL="0" indent="0">
              <a:lnSpc>
                <a:spcPct val="130000"/>
              </a:lnSpc>
              <a:buNone/>
              <a:defRPr sz="500" baseline="0"/>
            </a:lvl1pPr>
          </a:lstStyle>
          <a:p>
            <a:r>
              <a:rPr lang="en-US" dirty="0"/>
              <a:t>Drag  Your Picture Here</a:t>
            </a:r>
          </a:p>
        </p:txBody>
      </p:sp>
      <p:sp>
        <p:nvSpPr>
          <p:cNvPr id="12" name="Picture Placeholder 13"/>
          <p:cNvSpPr>
            <a:spLocks noGrp="1" noChangeAspect="1"/>
          </p:cNvSpPr>
          <p:nvPr>
            <p:ph type="pic" sz="quarter" idx="25" hasCustomPrompt="1"/>
          </p:nvPr>
        </p:nvSpPr>
        <p:spPr>
          <a:xfrm>
            <a:off x="1126566" y="2381544"/>
            <a:ext cx="539821" cy="539336"/>
          </a:xfrm>
          <a:prstGeom prst="ellipse">
            <a:avLst/>
          </a:prstGeom>
        </p:spPr>
        <p:txBody>
          <a:bodyPr>
            <a:noAutofit/>
          </a:bodyPr>
          <a:lstStyle>
            <a:lvl1pPr marL="0" indent="0">
              <a:lnSpc>
                <a:spcPct val="130000"/>
              </a:lnSpc>
              <a:buNone/>
              <a:defRPr sz="500" baseline="0"/>
            </a:lvl1pPr>
          </a:lstStyle>
          <a:p>
            <a:r>
              <a:rPr lang="en-US" dirty="0"/>
              <a:t>Drag  Your Picture Here</a:t>
            </a:r>
          </a:p>
        </p:txBody>
      </p:sp>
    </p:spTree>
    <p:extLst>
      <p:ext uri="{BB962C8B-B14F-4D97-AF65-F5344CB8AC3E}">
        <p14:creationId xmlns:p14="http://schemas.microsoft.com/office/powerpoint/2010/main" val="2225371717"/>
      </p:ext>
    </p:extLst>
  </p:cSld>
  <p:clrMapOvr>
    <a:masterClrMapping/>
  </p:clrMapOvr>
  <mc:AlternateContent xmlns:mc="http://schemas.openxmlformats.org/markup-compatibility/2006" xmlns:p14="http://schemas.microsoft.com/office/powerpoint/2010/main">
    <mc:Choice Requires="p14">
      <p:transition spd="slow" p14:dur="1500">
        <p14:reveal/>
      </p:transition>
    </mc:Choice>
    <mc:Fallback xmlns="">
      <p:transition spd="slow">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mpare_app">
    <p:spTree>
      <p:nvGrpSpPr>
        <p:cNvPr id="1" name=""/>
        <p:cNvGrpSpPr/>
        <p:nvPr/>
      </p:nvGrpSpPr>
      <p:grpSpPr>
        <a:xfrm>
          <a:off x="0" y="0"/>
          <a:ext cx="0" cy="0"/>
          <a:chOff x="0" y="0"/>
          <a:chExt cx="0" cy="0"/>
        </a:xfrm>
      </p:grpSpPr>
      <p:sp>
        <p:nvSpPr>
          <p:cNvPr id="34" name="Picture Placeholder 13"/>
          <p:cNvSpPr>
            <a:spLocks noGrp="1"/>
          </p:cNvSpPr>
          <p:nvPr>
            <p:ph type="pic" sz="quarter" idx="14"/>
          </p:nvPr>
        </p:nvSpPr>
        <p:spPr>
          <a:xfrm>
            <a:off x="6394779" y="2324750"/>
            <a:ext cx="1925013" cy="3185681"/>
          </a:xfrm>
          <a:effectLst/>
        </p:spPr>
        <p:txBody>
          <a:bodyPr>
            <a:norm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
        <p:nvSpPr>
          <p:cNvPr id="35" name="Picture Placeholder 13"/>
          <p:cNvSpPr>
            <a:spLocks noGrp="1"/>
          </p:cNvSpPr>
          <p:nvPr>
            <p:ph type="pic" sz="quarter" idx="15"/>
          </p:nvPr>
        </p:nvSpPr>
        <p:spPr>
          <a:xfrm>
            <a:off x="3896979" y="2324750"/>
            <a:ext cx="1925013" cy="3185681"/>
          </a:xfrm>
          <a:effectLst/>
        </p:spPr>
        <p:txBody>
          <a:bodyPr>
            <a:normAutofit/>
          </a:bodyPr>
          <a:lstStyle>
            <a:lvl1pPr marL="0" indent="0">
              <a:buNone/>
              <a:defRPr sz="2100" b="0" i="0">
                <a:ln>
                  <a:noFill/>
                </a:ln>
                <a:solidFill>
                  <a:schemeClr val="bg1">
                    <a:lumMod val="85000"/>
                  </a:schemeClr>
                </a:solidFill>
                <a:latin typeface="Arial Regular" charset="0"/>
                <a:ea typeface="Arial Regular" charset="0"/>
                <a:cs typeface="Arial Regular" charset="0"/>
              </a:defRPr>
            </a:lvl1pPr>
          </a:lstStyle>
          <a:p>
            <a:r>
              <a:rPr lang="en-US" dirty="0"/>
              <a:t>Click icon to add picture</a:t>
            </a:r>
          </a:p>
        </p:txBody>
      </p:sp>
    </p:spTree>
    <p:extLst>
      <p:ext uri="{BB962C8B-B14F-4D97-AF65-F5344CB8AC3E}">
        <p14:creationId xmlns:p14="http://schemas.microsoft.com/office/powerpoint/2010/main" val="1468897533"/>
      </p:ext>
    </p:extLst>
  </p:cSld>
  <p:clrMapOvr>
    <a:masterClrMapping/>
  </p:clrMapOvr>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84208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3000" y="1097280"/>
            <a:ext cx="3931920" cy="1737360"/>
          </a:xfrm>
        </p:spPr>
        <p:txBody>
          <a:bodyPr anchor="b">
            <a:noAutofit/>
          </a:bodyPr>
          <a:lstStyle>
            <a:lvl1pPr>
              <a:lnSpc>
                <a:spcPct val="90000"/>
              </a:lnSpc>
              <a:defRPr sz="4000" b="0"/>
            </a:lvl1pPr>
          </a:lstStyle>
          <a:p>
            <a:r>
              <a:rPr lang="en-US"/>
              <a:t>Click to edit Master title style</a:t>
            </a:r>
          </a:p>
        </p:txBody>
      </p:sp>
      <p:sp>
        <p:nvSpPr>
          <p:cNvPr id="3" name="Picture Placeholder 2"/>
          <p:cNvSpPr>
            <a:spLocks noGrp="1" noChangeAspect="1"/>
          </p:cNvSpPr>
          <p:nvPr>
            <p:ph type="pic" idx="1"/>
          </p:nvPr>
        </p:nvSpPr>
        <p:spPr>
          <a:xfrm>
            <a:off x="5413248" y="1069847"/>
            <a:ext cx="6099048" cy="4800600"/>
          </a:xfrm>
        </p:spPr>
        <p:txBody>
          <a:bodyPr lIns="274320" tIns="182880" anchor="t">
            <a:normAutofit/>
          </a:bodyPr>
          <a:lstStyle>
            <a:lvl1pPr marL="0" indent="0">
              <a:buNone/>
              <a:defRPr sz="2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143000" y="2834640"/>
            <a:ext cx="3931920" cy="2880360"/>
          </a:xfrm>
        </p:spPr>
        <p:txBody>
          <a:bodyPr>
            <a:normAutofit/>
          </a:bodyPr>
          <a:lstStyle>
            <a:lvl1pPr marL="0" indent="0">
              <a:lnSpc>
                <a:spcPct val="100000"/>
              </a:lnSpc>
              <a:spcBef>
                <a:spcPts val="1000"/>
              </a:spcBef>
              <a:buNone/>
              <a:defRPr sz="17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FF8A80B-BC45-49BA-8F26-9558051F901C}" type="datetime1">
              <a:rPr lang="en-US" smtClean="0"/>
              <a:t>7/26/2021</a:t>
            </a:fld>
            <a:endParaRPr lang="en-US" dirty="0"/>
          </a:p>
        </p:txBody>
      </p:sp>
      <p:sp>
        <p:nvSpPr>
          <p:cNvPr id="6" name="Footer Placeholder 5"/>
          <p:cNvSpPr>
            <a:spLocks noGrp="1"/>
          </p:cNvSpPr>
          <p:nvPr>
            <p:ph type="ftr" sz="quarter" idx="11"/>
          </p:nvPr>
        </p:nvSpPr>
        <p:spPr/>
        <p:txBody>
          <a:bodyPr/>
          <a:lstStyle/>
          <a:p>
            <a:r>
              <a:rPr lang="en-US" dirty="0"/>
              <a:t>IE Semi-Annual Report: Public Workshop</a:t>
            </a:r>
          </a:p>
        </p:txBody>
      </p:sp>
      <p:sp>
        <p:nvSpPr>
          <p:cNvPr id="7" name="Slide Number Placeholder 6"/>
          <p:cNvSpPr>
            <a:spLocks noGrp="1"/>
          </p:cNvSpPr>
          <p:nvPr>
            <p:ph type="sldNum" sz="quarter" idx="12"/>
          </p:nvPr>
        </p:nvSpPr>
        <p:spPr/>
        <p:txBody>
          <a:bodyPr/>
          <a:lstStyle/>
          <a:p>
            <a:fld id="{4FAB73BC-B049-4115-A692-8D63A059BFB8}" type="slidenum">
              <a:rPr lang="en-US"/>
              <a:t>‹#›</a:t>
            </a:fld>
            <a:endParaRPr lang="en-US" dirty="0"/>
          </a:p>
        </p:txBody>
      </p:sp>
    </p:spTree>
    <p:extLst>
      <p:ext uri="{BB962C8B-B14F-4D97-AF65-F5344CB8AC3E}">
        <p14:creationId xmlns:p14="http://schemas.microsoft.com/office/powerpoint/2010/main" val="159199015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Title Slide ">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062367" y="2048451"/>
            <a:ext cx="9144000" cy="1076495"/>
          </a:xfrm>
        </p:spPr>
        <p:txBody>
          <a:bodyPr/>
          <a:lstStyle>
            <a:lvl1pPr marL="0" indent="0" algn="l">
              <a:buNone/>
              <a:defRPr sz="2400">
                <a:latin typeface="Segoe UI" panose="020B0502040204020203" pitchFamily="34" charset="0"/>
                <a:ea typeface="Segoe UI" panose="020B0502040204020203" pitchFamily="34" charset="0"/>
                <a:cs typeface="Segoe UI" panose="020B0502040204020203" pitchFamily="34" charset="0"/>
              </a:defRPr>
            </a:lvl1pPr>
            <a:lvl2pPr marL="457086" indent="0" algn="ctr">
              <a:buNone/>
              <a:defRPr sz="2000"/>
            </a:lvl2pPr>
            <a:lvl3pPr marL="914172" indent="0" algn="ctr">
              <a:buNone/>
              <a:defRPr sz="1800"/>
            </a:lvl3pPr>
            <a:lvl4pPr marL="1371257" indent="0" algn="ctr">
              <a:buNone/>
              <a:defRPr sz="1600"/>
            </a:lvl4pPr>
            <a:lvl5pPr marL="1828343" indent="0" algn="ctr">
              <a:buNone/>
              <a:defRPr sz="1600"/>
            </a:lvl5pPr>
            <a:lvl6pPr marL="2285429" indent="0" algn="ctr">
              <a:buNone/>
              <a:defRPr sz="1600"/>
            </a:lvl6pPr>
            <a:lvl7pPr marL="2742514" indent="0" algn="ctr">
              <a:buNone/>
              <a:defRPr sz="1600"/>
            </a:lvl7pPr>
            <a:lvl8pPr marL="3199600" indent="0" algn="ctr">
              <a:buNone/>
              <a:defRPr sz="1600"/>
            </a:lvl8pPr>
            <a:lvl9pPr marL="3656686" indent="0" algn="ctr">
              <a:buNone/>
              <a:defRPr sz="1600"/>
            </a:lvl9pPr>
          </a:lstStyle>
          <a:p>
            <a:r>
              <a:rPr lang="en-US"/>
              <a:t>Click to edit Master subtitle style</a:t>
            </a:r>
          </a:p>
          <a:p>
            <a:endParaRPr lang="en-US"/>
          </a:p>
          <a:p>
            <a:endParaRPr lang="en-US"/>
          </a:p>
        </p:txBody>
      </p:sp>
      <p:sp>
        <p:nvSpPr>
          <p:cNvPr id="14" name="Rectangle 13"/>
          <p:cNvSpPr/>
          <p:nvPr userDrawn="1"/>
        </p:nvSpPr>
        <p:spPr>
          <a:xfrm>
            <a:off x="2" y="6027939"/>
            <a:ext cx="9685537" cy="460414"/>
          </a:xfrm>
          <a:prstGeom prst="rect">
            <a:avLst/>
          </a:prstGeom>
          <a:solidFill>
            <a:srgbClr val="FFD04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4" name="Title 3"/>
          <p:cNvSpPr>
            <a:spLocks noGrp="1"/>
          </p:cNvSpPr>
          <p:nvPr>
            <p:ph type="title"/>
          </p:nvPr>
        </p:nvSpPr>
        <p:spPr>
          <a:xfrm>
            <a:off x="1003916" y="675861"/>
            <a:ext cx="10515600" cy="1325563"/>
          </a:xfrm>
        </p:spPr>
        <p:txBody>
          <a:bodyPr anchor="b" anchorCtr="0"/>
          <a:lstStyle>
            <a:lvl1pPr>
              <a:defRPr>
                <a:solidFill>
                  <a:srgbClr val="006369"/>
                </a:solidFill>
              </a:defRPr>
            </a:lvl1pPr>
          </a:lstStyle>
          <a:p>
            <a:r>
              <a:rPr lang="en-US"/>
              <a:t>Click to edit Master title style</a:t>
            </a:r>
          </a:p>
        </p:txBody>
      </p:sp>
      <p:cxnSp>
        <p:nvCxnSpPr>
          <p:cNvPr id="16" name="Straight Connector 15"/>
          <p:cNvCxnSpPr/>
          <p:nvPr userDrawn="1"/>
        </p:nvCxnSpPr>
        <p:spPr>
          <a:xfrm>
            <a:off x="9682140" y="5987598"/>
            <a:ext cx="0" cy="525294"/>
          </a:xfrm>
          <a:prstGeom prst="line">
            <a:avLst/>
          </a:prstGeom>
          <a:ln w="3175">
            <a:solidFill>
              <a:srgbClr val="D0D0D2"/>
            </a:solidFil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userDrawn="1"/>
        </p:nvPicPr>
        <p:blipFill>
          <a:blip r:embed="rId2"/>
          <a:stretch>
            <a:fillRect/>
          </a:stretch>
        </p:blipFill>
        <p:spPr>
          <a:xfrm>
            <a:off x="10114081" y="6032357"/>
            <a:ext cx="1658256" cy="457240"/>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135472" y="6157445"/>
            <a:ext cx="2230211" cy="197634"/>
          </a:xfrm>
          <a:prstGeom prst="rect">
            <a:avLst/>
          </a:prstGeom>
        </p:spPr>
      </p:pic>
    </p:spTree>
    <p:extLst>
      <p:ext uri="{BB962C8B-B14F-4D97-AF65-F5344CB8AC3E}">
        <p14:creationId xmlns:p14="http://schemas.microsoft.com/office/powerpoint/2010/main" val="12167767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Divider Slide 1">
    <p:bg>
      <p:bgPr>
        <a:solidFill>
          <a:srgbClr val="00636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903" y="1141876"/>
            <a:ext cx="7027607" cy="1325563"/>
          </a:xfrm>
        </p:spPr>
        <p:txBody>
          <a:bodyPr/>
          <a:lstStyle>
            <a:lvl1pPr>
              <a:defRPr>
                <a:solidFill>
                  <a:schemeClr val="bg1"/>
                </a:solidFill>
              </a:defRPr>
            </a:lvl1pPr>
          </a:lstStyle>
          <a:p>
            <a:r>
              <a:rPr lang="en-US"/>
              <a:t>Divider Slide Title</a:t>
            </a:r>
          </a:p>
        </p:txBody>
      </p:sp>
      <p:sp>
        <p:nvSpPr>
          <p:cNvPr id="6" name="Rectangle 5"/>
          <p:cNvSpPr/>
          <p:nvPr userDrawn="1"/>
        </p:nvSpPr>
        <p:spPr>
          <a:xfrm>
            <a:off x="2" y="6027939"/>
            <a:ext cx="9685537" cy="460414"/>
          </a:xfrm>
          <a:prstGeom prst="rect">
            <a:avLst/>
          </a:prstGeom>
          <a:solidFill>
            <a:srgbClr val="FFD04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9" name="Rectangle 8"/>
          <p:cNvSpPr/>
          <p:nvPr userDrawn="1"/>
        </p:nvSpPr>
        <p:spPr>
          <a:xfrm>
            <a:off x="9674940" y="-9832"/>
            <a:ext cx="2517061"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p>
        </p:txBody>
      </p:sp>
      <p:pic>
        <p:nvPicPr>
          <p:cNvPr id="8" name="Picture 7"/>
          <p:cNvPicPr>
            <a:picLocks noChangeAspect="1"/>
          </p:cNvPicPr>
          <p:nvPr userDrawn="1"/>
        </p:nvPicPr>
        <p:blipFill>
          <a:blip r:embed="rId2"/>
          <a:stretch>
            <a:fillRect/>
          </a:stretch>
        </p:blipFill>
        <p:spPr>
          <a:xfrm>
            <a:off x="10114081" y="6032357"/>
            <a:ext cx="1658256" cy="457240"/>
          </a:xfrm>
          <a:prstGeom prst="rect">
            <a:avLst/>
          </a:prstGeom>
        </p:spPr>
      </p:pic>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135472" y="6157445"/>
            <a:ext cx="2230211" cy="197634"/>
          </a:xfrm>
          <a:prstGeom prst="rect">
            <a:avLst/>
          </a:prstGeom>
        </p:spPr>
      </p:pic>
    </p:spTree>
    <p:extLst>
      <p:ext uri="{BB962C8B-B14F-4D97-AF65-F5344CB8AC3E}">
        <p14:creationId xmlns:p14="http://schemas.microsoft.com/office/powerpoint/2010/main" val="168352661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Divider Slide 2">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903" y="1141876"/>
            <a:ext cx="7027607" cy="1325563"/>
          </a:xfrm>
        </p:spPr>
        <p:txBody>
          <a:bodyPr/>
          <a:lstStyle>
            <a:lvl1pPr>
              <a:defRPr>
                <a:solidFill>
                  <a:schemeClr val="tx1"/>
                </a:solidFill>
              </a:defRPr>
            </a:lvl1pPr>
          </a:lstStyle>
          <a:p>
            <a:r>
              <a:rPr lang="en-US"/>
              <a:t>Divider Slide Title</a:t>
            </a:r>
          </a:p>
        </p:txBody>
      </p:sp>
      <p:sp>
        <p:nvSpPr>
          <p:cNvPr id="6" name="Rectangle 5"/>
          <p:cNvSpPr/>
          <p:nvPr userDrawn="1"/>
        </p:nvSpPr>
        <p:spPr>
          <a:xfrm>
            <a:off x="2" y="6027939"/>
            <a:ext cx="9685537" cy="460414"/>
          </a:xfrm>
          <a:prstGeom prst="rect">
            <a:avLst/>
          </a:prstGeom>
          <a:solidFill>
            <a:srgbClr val="FFD04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9" name="Rectangle 8"/>
          <p:cNvSpPr/>
          <p:nvPr userDrawn="1"/>
        </p:nvSpPr>
        <p:spPr>
          <a:xfrm>
            <a:off x="9674940" y="-9832"/>
            <a:ext cx="2517061"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p>
        </p:txBody>
      </p:sp>
      <p:pic>
        <p:nvPicPr>
          <p:cNvPr id="8" name="Picture 7"/>
          <p:cNvPicPr>
            <a:picLocks noChangeAspect="1"/>
          </p:cNvPicPr>
          <p:nvPr userDrawn="1"/>
        </p:nvPicPr>
        <p:blipFill>
          <a:blip r:embed="rId2"/>
          <a:stretch>
            <a:fillRect/>
          </a:stretch>
        </p:blipFill>
        <p:spPr>
          <a:xfrm>
            <a:off x="10114081" y="6032357"/>
            <a:ext cx="1658256" cy="457240"/>
          </a:xfrm>
          <a:prstGeom prst="rect">
            <a:avLst/>
          </a:prstGeom>
        </p:spPr>
      </p:pic>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135472" y="6157445"/>
            <a:ext cx="2230211" cy="197634"/>
          </a:xfrm>
          <a:prstGeom prst="rect">
            <a:avLst/>
          </a:prstGeom>
        </p:spPr>
      </p:pic>
    </p:spTree>
    <p:extLst>
      <p:ext uri="{BB962C8B-B14F-4D97-AF65-F5344CB8AC3E}">
        <p14:creationId xmlns:p14="http://schemas.microsoft.com/office/powerpoint/2010/main" val="345011850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965F35D-6605-443D-9F38-140776D68947}" type="datetime1">
              <a:rPr lang="en-US" smtClean="0"/>
              <a:t>7/26/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E94BA17-8AE8-4651-9FD9-8589E5D42325}" type="slidenum">
              <a:rPr lang="en-US" smtClean="0"/>
              <a:t>‹#›</a:t>
            </a:fld>
            <a:endParaRPr lang="en-US" dirty="0"/>
          </a:p>
        </p:txBody>
      </p:sp>
    </p:spTree>
    <p:extLst>
      <p:ext uri="{BB962C8B-B14F-4D97-AF65-F5344CB8AC3E}">
        <p14:creationId xmlns:p14="http://schemas.microsoft.com/office/powerpoint/2010/main" val="410494072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6DB8819-B877-4AAF-AB71-63C59D44BF13}" type="datetime1">
              <a:rPr lang="en-US" smtClean="0"/>
              <a:t>7/26/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E94BA17-8AE8-4651-9FD9-8589E5D42325}" type="slidenum">
              <a:rPr lang="en-US" smtClean="0"/>
              <a:t>‹#›</a:t>
            </a:fld>
            <a:endParaRPr lang="en-US" dirty="0"/>
          </a:p>
        </p:txBody>
      </p:sp>
    </p:spTree>
    <p:extLst>
      <p:ext uri="{BB962C8B-B14F-4D97-AF65-F5344CB8AC3E}">
        <p14:creationId xmlns:p14="http://schemas.microsoft.com/office/powerpoint/2010/main" val="295404243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B54F1CE-82E5-4AA3-BFEA-EDE1D1DA8C85}" type="datetime1">
              <a:rPr lang="en-US" smtClean="0"/>
              <a:t>7/26/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5E94BA17-8AE8-4651-9FD9-8589E5D42325}" type="slidenum">
              <a:rPr lang="en-US" smtClean="0"/>
              <a:t>‹#›</a:t>
            </a:fld>
            <a:endParaRPr lang="en-US" dirty="0"/>
          </a:p>
        </p:txBody>
      </p:sp>
    </p:spTree>
    <p:extLst>
      <p:ext uri="{BB962C8B-B14F-4D97-AF65-F5344CB8AC3E}">
        <p14:creationId xmlns:p14="http://schemas.microsoft.com/office/powerpoint/2010/main" val="359068716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1AE2EBC-325E-46EC-87DD-6EC14BFC4DB2}" type="datetime1">
              <a:rPr lang="en-US" smtClean="0"/>
              <a:t>7/26/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5E94BA17-8AE8-4651-9FD9-8589E5D42325}" type="slidenum">
              <a:rPr lang="en-US" smtClean="0"/>
              <a:t>‹#›</a:t>
            </a:fld>
            <a:endParaRPr lang="en-US" dirty="0"/>
          </a:p>
        </p:txBody>
      </p:sp>
    </p:spTree>
    <p:extLst>
      <p:ext uri="{BB962C8B-B14F-4D97-AF65-F5344CB8AC3E}">
        <p14:creationId xmlns:p14="http://schemas.microsoft.com/office/powerpoint/2010/main" val="32087002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Large Photo ">
    <p:spTree>
      <p:nvGrpSpPr>
        <p:cNvPr id="1" name=""/>
        <p:cNvGrpSpPr/>
        <p:nvPr/>
      </p:nvGrpSpPr>
      <p:grpSpPr>
        <a:xfrm>
          <a:off x="0" y="0"/>
          <a:ext cx="0" cy="0"/>
          <a:chOff x="0" y="0"/>
          <a:chExt cx="0" cy="0"/>
        </a:xfrm>
      </p:grpSpPr>
      <p:sp>
        <p:nvSpPr>
          <p:cNvPr id="4" name="Picture Placeholder 2"/>
          <p:cNvSpPr>
            <a:spLocks noGrp="1" noChangeAspect="1"/>
          </p:cNvSpPr>
          <p:nvPr>
            <p:ph type="pic" idx="13"/>
          </p:nvPr>
        </p:nvSpPr>
        <p:spPr>
          <a:xfrm>
            <a:off x="0" y="1049311"/>
            <a:ext cx="12192000" cy="5811864"/>
          </a:xfrm>
          <a:prstGeom prst="rect">
            <a:avLst/>
          </a:prstGeom>
          <a:solidFill>
            <a:schemeClr val="bg2">
              <a:lumMod val="75000"/>
            </a:schemeClr>
          </a:solidFill>
          <a:ln>
            <a:noFill/>
          </a:ln>
        </p:spPr>
        <p:txBody>
          <a:bodyPr anchor="t">
            <a:normAutofit/>
          </a:bodyPr>
          <a:lstStyle>
            <a:lvl1pPr marL="0" indent="0" algn="ctr">
              <a:buNone/>
              <a:defRPr sz="1200" b="0" i="0">
                <a:solidFill>
                  <a:schemeClr val="bg1"/>
                </a:solidFill>
                <a:latin typeface="Arial" charset="0"/>
                <a:ea typeface="Arial" charset="0"/>
                <a:cs typeface="Arial" charset="0"/>
              </a:defRPr>
            </a:lvl1pPr>
            <a:lvl2pPr marL="342807" indent="0">
              <a:buNone/>
              <a:defRPr sz="2100"/>
            </a:lvl2pPr>
            <a:lvl3pPr marL="685612" indent="0">
              <a:buNone/>
              <a:defRPr sz="1800"/>
            </a:lvl3pPr>
            <a:lvl4pPr marL="1028418" indent="0">
              <a:buNone/>
              <a:defRPr sz="1500"/>
            </a:lvl4pPr>
            <a:lvl5pPr marL="1371223" indent="0">
              <a:buNone/>
              <a:defRPr sz="1500"/>
            </a:lvl5pPr>
            <a:lvl6pPr marL="1714029" indent="0">
              <a:buNone/>
              <a:defRPr sz="1500"/>
            </a:lvl6pPr>
            <a:lvl7pPr marL="2056834" indent="0">
              <a:buNone/>
              <a:defRPr sz="1500"/>
            </a:lvl7pPr>
            <a:lvl8pPr marL="2399640" indent="0">
              <a:buNone/>
              <a:defRPr sz="1500"/>
            </a:lvl8pPr>
            <a:lvl9pPr marL="2742446" indent="0">
              <a:buNone/>
              <a:defRPr sz="1500"/>
            </a:lvl9pPr>
          </a:lstStyle>
          <a:p>
            <a:endParaRPr lang="en-US" dirty="0"/>
          </a:p>
          <a:p>
            <a:r>
              <a:rPr lang="en-US" dirty="0"/>
              <a:t>Drag picture to placeholder or click icon to add</a:t>
            </a:r>
          </a:p>
        </p:txBody>
      </p:sp>
      <p:sp>
        <p:nvSpPr>
          <p:cNvPr id="3" name="Title 1"/>
          <p:cNvSpPr>
            <a:spLocks noGrp="1"/>
          </p:cNvSpPr>
          <p:nvPr>
            <p:ph type="title"/>
          </p:nvPr>
        </p:nvSpPr>
        <p:spPr>
          <a:xfrm>
            <a:off x="471256" y="97654"/>
            <a:ext cx="10515600" cy="909454"/>
          </a:xfrm>
        </p:spPr>
        <p:txBody>
          <a:bodyPr/>
          <a:lstStyle/>
          <a:p>
            <a:r>
              <a:rPr lang="en-US"/>
              <a:t>Click to edit Master title style</a:t>
            </a:r>
          </a:p>
        </p:txBody>
      </p:sp>
      <p:sp>
        <p:nvSpPr>
          <p:cNvPr id="5" name="Slide Number Placeholder 4"/>
          <p:cNvSpPr>
            <a:spLocks noGrp="1"/>
          </p:cNvSpPr>
          <p:nvPr>
            <p:ph type="sldNum" sz="quarter" idx="12"/>
          </p:nvPr>
        </p:nvSpPr>
        <p:spPr>
          <a:xfrm>
            <a:off x="11304231" y="6374109"/>
            <a:ext cx="688760" cy="365125"/>
          </a:xfrm>
        </p:spPr>
        <p:txBody>
          <a:bodyPr/>
          <a:lstStyle/>
          <a:p>
            <a:fld id="{5E94BA17-8AE8-4651-9FD9-8589E5D42325}" type="slidenum">
              <a:rPr lang="en-US" smtClean="0"/>
              <a:t>‹#›</a:t>
            </a:fld>
            <a:endParaRPr lang="en-US" dirty="0"/>
          </a:p>
        </p:txBody>
      </p:sp>
    </p:spTree>
    <p:extLst>
      <p:ext uri="{BB962C8B-B14F-4D97-AF65-F5344CB8AC3E}">
        <p14:creationId xmlns:p14="http://schemas.microsoft.com/office/powerpoint/2010/main" val="409040034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Full Bleed Photo ">
    <p:spTree>
      <p:nvGrpSpPr>
        <p:cNvPr id="1" name=""/>
        <p:cNvGrpSpPr/>
        <p:nvPr/>
      </p:nvGrpSpPr>
      <p:grpSpPr>
        <a:xfrm>
          <a:off x="0" y="0"/>
          <a:ext cx="0" cy="0"/>
          <a:chOff x="0" y="0"/>
          <a:chExt cx="0" cy="0"/>
        </a:xfrm>
      </p:grpSpPr>
      <p:sp>
        <p:nvSpPr>
          <p:cNvPr id="4" name="Picture Placeholder 2"/>
          <p:cNvSpPr>
            <a:spLocks noGrp="1" noChangeAspect="1"/>
          </p:cNvSpPr>
          <p:nvPr>
            <p:ph type="pic" idx="13"/>
          </p:nvPr>
        </p:nvSpPr>
        <p:spPr>
          <a:xfrm>
            <a:off x="0" y="0"/>
            <a:ext cx="12192000" cy="6861175"/>
          </a:xfrm>
          <a:prstGeom prst="rect">
            <a:avLst/>
          </a:prstGeom>
          <a:solidFill>
            <a:schemeClr val="bg2">
              <a:lumMod val="75000"/>
            </a:schemeClr>
          </a:solidFill>
          <a:ln>
            <a:noFill/>
          </a:ln>
        </p:spPr>
        <p:txBody>
          <a:bodyPr anchor="t">
            <a:normAutofit/>
          </a:bodyPr>
          <a:lstStyle>
            <a:lvl1pPr marL="0" indent="0" algn="ctr">
              <a:buNone/>
              <a:defRPr sz="1200" b="0" i="0">
                <a:solidFill>
                  <a:schemeClr val="bg1"/>
                </a:solidFill>
                <a:latin typeface="Arial" charset="0"/>
                <a:ea typeface="Arial" charset="0"/>
                <a:cs typeface="Arial" charset="0"/>
              </a:defRPr>
            </a:lvl1pPr>
            <a:lvl2pPr marL="342807" indent="0">
              <a:buNone/>
              <a:defRPr sz="2100"/>
            </a:lvl2pPr>
            <a:lvl3pPr marL="685612" indent="0">
              <a:buNone/>
              <a:defRPr sz="1800"/>
            </a:lvl3pPr>
            <a:lvl4pPr marL="1028418" indent="0">
              <a:buNone/>
              <a:defRPr sz="1500"/>
            </a:lvl4pPr>
            <a:lvl5pPr marL="1371223" indent="0">
              <a:buNone/>
              <a:defRPr sz="1500"/>
            </a:lvl5pPr>
            <a:lvl6pPr marL="1714029" indent="0">
              <a:buNone/>
              <a:defRPr sz="1500"/>
            </a:lvl6pPr>
            <a:lvl7pPr marL="2056834" indent="0">
              <a:buNone/>
              <a:defRPr sz="1500"/>
            </a:lvl7pPr>
            <a:lvl8pPr marL="2399640" indent="0">
              <a:buNone/>
              <a:defRPr sz="1500"/>
            </a:lvl8pPr>
            <a:lvl9pPr marL="2742446" indent="0">
              <a:buNone/>
              <a:defRPr sz="1500"/>
            </a:lvl9pPr>
          </a:lstStyle>
          <a:p>
            <a:endParaRPr lang="en-US" dirty="0"/>
          </a:p>
          <a:p>
            <a:r>
              <a:rPr lang="en-US" dirty="0"/>
              <a:t>Drag picture to placeholder or click icon to add</a:t>
            </a:r>
          </a:p>
        </p:txBody>
      </p:sp>
      <p:sp>
        <p:nvSpPr>
          <p:cNvPr id="5" name="Slide Number Placeholder 4"/>
          <p:cNvSpPr>
            <a:spLocks noGrp="1"/>
          </p:cNvSpPr>
          <p:nvPr>
            <p:ph type="sldNum" sz="quarter" idx="12"/>
          </p:nvPr>
        </p:nvSpPr>
        <p:spPr>
          <a:xfrm>
            <a:off x="11304231" y="6374109"/>
            <a:ext cx="688760" cy="365125"/>
          </a:xfrm>
        </p:spPr>
        <p:txBody>
          <a:bodyPr/>
          <a:lstStyle/>
          <a:p>
            <a:fld id="{5E94BA17-8AE8-4651-9FD9-8589E5D42325}" type="slidenum">
              <a:rPr lang="en-US" smtClean="0"/>
              <a:t>‹#›</a:t>
            </a:fld>
            <a:endParaRPr lang="en-US" dirty="0"/>
          </a:p>
        </p:txBody>
      </p:sp>
      <p:sp>
        <p:nvSpPr>
          <p:cNvPr id="6" name="Title 1"/>
          <p:cNvSpPr>
            <a:spLocks noGrp="1"/>
          </p:cNvSpPr>
          <p:nvPr>
            <p:ph type="title"/>
          </p:nvPr>
        </p:nvSpPr>
        <p:spPr>
          <a:xfrm>
            <a:off x="471256" y="301848"/>
            <a:ext cx="10515600" cy="909454"/>
          </a:xfrm>
        </p:spPr>
        <p:txBody>
          <a:bodyPr/>
          <a:lstStyle/>
          <a:p>
            <a:r>
              <a:rPr lang="en-US"/>
              <a:t>Click to edit Master title style</a:t>
            </a:r>
          </a:p>
        </p:txBody>
      </p:sp>
    </p:spTree>
    <p:extLst>
      <p:ext uri="{BB962C8B-B14F-4D97-AF65-F5344CB8AC3E}">
        <p14:creationId xmlns:p14="http://schemas.microsoft.com/office/powerpoint/2010/main" val="3591773490"/>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ext and Photo ">
    <p:spTree>
      <p:nvGrpSpPr>
        <p:cNvPr id="1" name=""/>
        <p:cNvGrpSpPr/>
        <p:nvPr/>
      </p:nvGrpSpPr>
      <p:grpSpPr>
        <a:xfrm>
          <a:off x="0" y="0"/>
          <a:ext cx="0" cy="0"/>
          <a:chOff x="0" y="0"/>
          <a:chExt cx="0" cy="0"/>
        </a:xfrm>
      </p:grpSpPr>
      <p:sp>
        <p:nvSpPr>
          <p:cNvPr id="6" name="Picture Placeholder 2"/>
          <p:cNvSpPr>
            <a:spLocks noGrp="1" noChangeAspect="1"/>
          </p:cNvSpPr>
          <p:nvPr>
            <p:ph type="pic" idx="13"/>
          </p:nvPr>
        </p:nvSpPr>
        <p:spPr>
          <a:xfrm>
            <a:off x="5879167" y="1084827"/>
            <a:ext cx="6336508" cy="5191691"/>
          </a:xfrm>
          <a:prstGeom prst="rect">
            <a:avLst/>
          </a:prstGeom>
          <a:solidFill>
            <a:schemeClr val="bg2">
              <a:lumMod val="75000"/>
            </a:schemeClr>
          </a:solidFill>
          <a:ln>
            <a:solidFill>
              <a:schemeClr val="bg1"/>
            </a:solidFill>
          </a:ln>
        </p:spPr>
        <p:txBody>
          <a:bodyPr anchor="t">
            <a:normAutofit/>
          </a:bodyPr>
          <a:lstStyle>
            <a:lvl1pPr marL="0" indent="0" algn="ctr">
              <a:buNone/>
              <a:defRPr sz="1200" b="0" i="0">
                <a:solidFill>
                  <a:schemeClr val="bg1"/>
                </a:solidFill>
                <a:latin typeface="Arial" charset="0"/>
                <a:ea typeface="Arial" charset="0"/>
                <a:cs typeface="Arial" charset="0"/>
              </a:defRPr>
            </a:lvl1pPr>
            <a:lvl2pPr marL="342807" indent="0">
              <a:buNone/>
              <a:defRPr sz="2100"/>
            </a:lvl2pPr>
            <a:lvl3pPr marL="685612" indent="0">
              <a:buNone/>
              <a:defRPr sz="1800"/>
            </a:lvl3pPr>
            <a:lvl4pPr marL="1028418" indent="0">
              <a:buNone/>
              <a:defRPr sz="1500"/>
            </a:lvl4pPr>
            <a:lvl5pPr marL="1371223" indent="0">
              <a:buNone/>
              <a:defRPr sz="1500"/>
            </a:lvl5pPr>
            <a:lvl6pPr marL="1714029" indent="0">
              <a:buNone/>
              <a:defRPr sz="1500"/>
            </a:lvl6pPr>
            <a:lvl7pPr marL="2056834" indent="0">
              <a:buNone/>
              <a:defRPr sz="1500"/>
            </a:lvl7pPr>
            <a:lvl8pPr marL="2399640" indent="0">
              <a:buNone/>
              <a:defRPr sz="1500"/>
            </a:lvl8pPr>
            <a:lvl9pPr marL="2742446" indent="0">
              <a:buNone/>
              <a:defRPr sz="1500"/>
            </a:lvl9pPr>
          </a:lstStyle>
          <a:p>
            <a:endParaRPr lang="en-US" dirty="0"/>
          </a:p>
          <a:p>
            <a:r>
              <a:rPr lang="en-US" dirty="0"/>
              <a:t>Drag picture to placeholder or click icon to add</a:t>
            </a:r>
          </a:p>
        </p:txBody>
      </p:sp>
      <p:sp>
        <p:nvSpPr>
          <p:cNvPr id="7" name="Content Placeholder 2"/>
          <p:cNvSpPr>
            <a:spLocks noGrp="1"/>
          </p:cNvSpPr>
          <p:nvPr>
            <p:ph sz="half" idx="1"/>
          </p:nvPr>
        </p:nvSpPr>
        <p:spPr>
          <a:xfrm>
            <a:off x="838201" y="1541539"/>
            <a:ext cx="4227991" cy="435133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p:cNvSpPr>
            <a:spLocks noGrp="1"/>
          </p:cNvSpPr>
          <p:nvPr>
            <p:ph type="title"/>
          </p:nvPr>
        </p:nvSpPr>
        <p:spPr>
          <a:xfrm>
            <a:off x="471256" y="186434"/>
            <a:ext cx="10515600" cy="909454"/>
          </a:xfrm>
        </p:spPr>
        <p:txBody>
          <a:bodyPr/>
          <a:lstStyle/>
          <a:p>
            <a:r>
              <a:rPr lang="en-US"/>
              <a:t>Click to edit Master title style</a:t>
            </a:r>
          </a:p>
        </p:txBody>
      </p:sp>
      <p:sp>
        <p:nvSpPr>
          <p:cNvPr id="2" name="Date Placeholder 1"/>
          <p:cNvSpPr>
            <a:spLocks noGrp="1"/>
          </p:cNvSpPr>
          <p:nvPr>
            <p:ph type="dt" sz="half" idx="14"/>
          </p:nvPr>
        </p:nvSpPr>
        <p:spPr/>
        <p:txBody>
          <a:bodyPr/>
          <a:lstStyle/>
          <a:p>
            <a:fld id="{62FE63C3-A73F-4097-86A9-7B28950712B1}" type="datetime1">
              <a:rPr lang="en-US" smtClean="0"/>
              <a:pPr/>
              <a:t>7/26/2021</a:t>
            </a:fld>
            <a:endParaRPr lang="en-US" dirty="0"/>
          </a:p>
        </p:txBody>
      </p:sp>
      <p:sp>
        <p:nvSpPr>
          <p:cNvPr id="3" name="Footer Placeholder 2"/>
          <p:cNvSpPr>
            <a:spLocks noGrp="1"/>
          </p:cNvSpPr>
          <p:nvPr>
            <p:ph type="ftr" sz="quarter" idx="15"/>
          </p:nvPr>
        </p:nvSpPr>
        <p:spPr/>
        <p:txBody>
          <a:bodyPr/>
          <a:lstStyle/>
          <a:p>
            <a:endParaRPr lang="en-US" dirty="0"/>
          </a:p>
        </p:txBody>
      </p:sp>
      <p:sp>
        <p:nvSpPr>
          <p:cNvPr id="4" name="Slide Number Placeholder 3"/>
          <p:cNvSpPr>
            <a:spLocks noGrp="1"/>
          </p:cNvSpPr>
          <p:nvPr>
            <p:ph type="sldNum" sz="quarter" idx="16"/>
          </p:nvPr>
        </p:nvSpPr>
        <p:spPr/>
        <p:txBody>
          <a:bodyPr/>
          <a:lstStyle/>
          <a:p>
            <a:fld id="{5E94BA17-8AE8-4651-9FD9-8589E5D42325}" type="slidenum">
              <a:rPr lang="en-US" smtClean="0"/>
              <a:pPr/>
              <a:t>‹#›</a:t>
            </a:fld>
            <a:endParaRPr lang="en-US" dirty="0"/>
          </a:p>
        </p:txBody>
      </p:sp>
    </p:spTree>
    <p:extLst>
      <p:ext uri="{BB962C8B-B14F-4D97-AF65-F5344CB8AC3E}">
        <p14:creationId xmlns:p14="http://schemas.microsoft.com/office/powerpoint/2010/main" val="18327147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400" b="0" i="0">
                <a:solidFill>
                  <a:srgbClr val="555248"/>
                </a:solidFill>
                <a:latin typeface="Corbel"/>
                <a:cs typeface="Corbe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6/2021</a:t>
            </a:fld>
            <a:endParaRPr lang="en-US" dirty="0"/>
          </a:p>
        </p:txBody>
      </p:sp>
      <p:sp>
        <p:nvSpPr>
          <p:cNvPr id="6" name="Holder 6"/>
          <p:cNvSpPr>
            <a:spLocks noGrp="1"/>
          </p:cNvSpPr>
          <p:nvPr>
            <p:ph type="sldNum" sz="quarter" idx="7"/>
          </p:nvPr>
        </p:nvSpPr>
        <p:spPr/>
        <p:txBody>
          <a:bodyPr lIns="0" tIns="0" rIns="0" bIns="0"/>
          <a:lstStyle>
            <a:lvl1pPr>
              <a:defRPr sz="1200" b="0" i="0">
                <a:solidFill>
                  <a:srgbClr val="605352"/>
                </a:solidFill>
                <a:latin typeface="Arial"/>
                <a:cs typeface="Arial"/>
              </a:defRPr>
            </a:lvl1pPr>
          </a:lstStyle>
          <a:p>
            <a:pPr marL="38100">
              <a:lnSpc>
                <a:spcPts val="1425"/>
              </a:lnSpc>
            </a:pPr>
            <a:fld id="{81D60167-4931-47E6-BA6A-407CBD079E47}" type="slidenum">
              <a:rPr spc="-5" dirty="0"/>
              <a:t>‹#›</a:t>
            </a:fld>
            <a:endParaRPr spc="-5"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7C1902B-35E2-43A8-B928-EC9C24704AA1}" type="datetime1">
              <a:rPr lang="en-US" smtClean="0"/>
              <a:t>7/26/2021</a:t>
            </a:fld>
            <a:endParaRPr lang="en-US" dirty="0"/>
          </a:p>
        </p:txBody>
      </p:sp>
      <p:sp>
        <p:nvSpPr>
          <p:cNvPr id="5" name="Footer Placeholder 4"/>
          <p:cNvSpPr>
            <a:spLocks noGrp="1"/>
          </p:cNvSpPr>
          <p:nvPr>
            <p:ph type="ftr" sz="quarter" idx="11"/>
          </p:nvPr>
        </p:nvSpPr>
        <p:spPr/>
        <p:txBody>
          <a:bodyPr/>
          <a:lstStyle/>
          <a:p>
            <a:r>
              <a:rPr lang="en-US" dirty="0"/>
              <a:t>IE Semi-Annual Report: Public Workshop</a:t>
            </a:r>
          </a:p>
        </p:txBody>
      </p:sp>
      <p:sp>
        <p:nvSpPr>
          <p:cNvPr id="6" name="Slide Number Placeholder 5"/>
          <p:cNvSpPr>
            <a:spLocks noGrp="1"/>
          </p:cNvSpPr>
          <p:nvPr>
            <p:ph type="sldNum" sz="quarter" idx="12"/>
          </p:nvPr>
        </p:nvSpPr>
        <p:spPr/>
        <p:txBody>
          <a:bodyPr/>
          <a:lstStyle/>
          <a:p>
            <a:fld id="{4FAB73BC-B049-4115-A692-8D63A059BFB8}" type="slidenum">
              <a:rPr lang="en-US"/>
              <a:t>‹#›</a:t>
            </a:fld>
            <a:endParaRPr lang="en-US" dirty="0"/>
          </a:p>
        </p:txBody>
      </p:sp>
    </p:spTree>
    <p:extLst>
      <p:ext uri="{BB962C8B-B14F-4D97-AF65-F5344CB8AC3E}">
        <p14:creationId xmlns:p14="http://schemas.microsoft.com/office/powerpoint/2010/main" val="92414957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ext and 3 Photos">
    <p:spTree>
      <p:nvGrpSpPr>
        <p:cNvPr id="1" name=""/>
        <p:cNvGrpSpPr/>
        <p:nvPr/>
      </p:nvGrpSpPr>
      <p:grpSpPr>
        <a:xfrm>
          <a:off x="0" y="0"/>
          <a:ext cx="0" cy="0"/>
          <a:chOff x="0" y="0"/>
          <a:chExt cx="0" cy="0"/>
        </a:xfrm>
      </p:grpSpPr>
      <p:sp>
        <p:nvSpPr>
          <p:cNvPr id="12" name="Picture Placeholder 2"/>
          <p:cNvSpPr>
            <a:spLocks noGrp="1" noChangeAspect="1"/>
          </p:cNvSpPr>
          <p:nvPr>
            <p:ph type="pic" idx="13"/>
          </p:nvPr>
        </p:nvSpPr>
        <p:spPr>
          <a:xfrm>
            <a:off x="6001963" y="614311"/>
            <a:ext cx="6190040" cy="2580217"/>
          </a:xfrm>
          <a:prstGeom prst="rect">
            <a:avLst/>
          </a:prstGeom>
          <a:solidFill>
            <a:schemeClr val="bg2">
              <a:lumMod val="75000"/>
            </a:schemeClr>
          </a:solidFill>
          <a:ln>
            <a:solidFill>
              <a:schemeClr val="bg1"/>
            </a:solidFill>
          </a:ln>
        </p:spPr>
        <p:txBody>
          <a:bodyPr anchor="t">
            <a:normAutofit/>
          </a:bodyPr>
          <a:lstStyle>
            <a:lvl1pPr marL="0" indent="0" algn="ctr">
              <a:buNone/>
              <a:defRPr sz="1200" b="0" i="0">
                <a:solidFill>
                  <a:schemeClr val="bg1"/>
                </a:solidFill>
                <a:latin typeface="Arial" charset="0"/>
                <a:ea typeface="Arial" charset="0"/>
                <a:cs typeface="Arial" charset="0"/>
              </a:defRPr>
            </a:lvl1pPr>
            <a:lvl2pPr marL="342807" indent="0">
              <a:buNone/>
              <a:defRPr sz="2100"/>
            </a:lvl2pPr>
            <a:lvl3pPr marL="685612" indent="0">
              <a:buNone/>
              <a:defRPr sz="1800"/>
            </a:lvl3pPr>
            <a:lvl4pPr marL="1028418" indent="0">
              <a:buNone/>
              <a:defRPr sz="1500"/>
            </a:lvl4pPr>
            <a:lvl5pPr marL="1371223" indent="0">
              <a:buNone/>
              <a:defRPr sz="1500"/>
            </a:lvl5pPr>
            <a:lvl6pPr marL="1714029" indent="0">
              <a:buNone/>
              <a:defRPr sz="1500"/>
            </a:lvl6pPr>
            <a:lvl7pPr marL="2056834" indent="0">
              <a:buNone/>
              <a:defRPr sz="1500"/>
            </a:lvl7pPr>
            <a:lvl8pPr marL="2399640" indent="0">
              <a:buNone/>
              <a:defRPr sz="1500"/>
            </a:lvl8pPr>
            <a:lvl9pPr marL="2742446" indent="0">
              <a:buNone/>
              <a:defRPr sz="1500"/>
            </a:lvl9pPr>
          </a:lstStyle>
          <a:p>
            <a:endParaRPr lang="en-US" dirty="0"/>
          </a:p>
          <a:p>
            <a:r>
              <a:rPr lang="en-US" dirty="0"/>
              <a:t>Drag picture to placeholder or click icon to add</a:t>
            </a:r>
          </a:p>
        </p:txBody>
      </p:sp>
      <p:sp>
        <p:nvSpPr>
          <p:cNvPr id="13" name="Picture Placeholder 2"/>
          <p:cNvSpPr>
            <a:spLocks noGrp="1" noChangeAspect="1"/>
          </p:cNvSpPr>
          <p:nvPr>
            <p:ph type="pic" idx="14"/>
          </p:nvPr>
        </p:nvSpPr>
        <p:spPr>
          <a:xfrm>
            <a:off x="6001964" y="3199309"/>
            <a:ext cx="3150855" cy="2499240"/>
          </a:xfrm>
          <a:prstGeom prst="rect">
            <a:avLst/>
          </a:prstGeom>
          <a:solidFill>
            <a:schemeClr val="bg2">
              <a:lumMod val="75000"/>
            </a:schemeClr>
          </a:solidFill>
          <a:ln>
            <a:solidFill>
              <a:schemeClr val="bg1"/>
            </a:solidFill>
          </a:ln>
        </p:spPr>
        <p:txBody>
          <a:bodyPr anchor="t">
            <a:normAutofit/>
          </a:bodyPr>
          <a:lstStyle>
            <a:lvl1pPr marL="0" indent="0" algn="ctr">
              <a:buNone/>
              <a:defRPr sz="1200" b="0" i="0">
                <a:solidFill>
                  <a:schemeClr val="bg1"/>
                </a:solidFill>
                <a:latin typeface="Arial" charset="0"/>
                <a:ea typeface="Arial" charset="0"/>
                <a:cs typeface="Arial" charset="0"/>
              </a:defRPr>
            </a:lvl1pPr>
            <a:lvl2pPr marL="342807" indent="0">
              <a:buNone/>
              <a:defRPr sz="2100"/>
            </a:lvl2pPr>
            <a:lvl3pPr marL="685612" indent="0">
              <a:buNone/>
              <a:defRPr sz="1800"/>
            </a:lvl3pPr>
            <a:lvl4pPr marL="1028418" indent="0">
              <a:buNone/>
              <a:defRPr sz="1500"/>
            </a:lvl4pPr>
            <a:lvl5pPr marL="1371223" indent="0">
              <a:buNone/>
              <a:defRPr sz="1500"/>
            </a:lvl5pPr>
            <a:lvl6pPr marL="1714029" indent="0">
              <a:buNone/>
              <a:defRPr sz="1500"/>
            </a:lvl6pPr>
            <a:lvl7pPr marL="2056834" indent="0">
              <a:buNone/>
              <a:defRPr sz="1500"/>
            </a:lvl7pPr>
            <a:lvl8pPr marL="2399640" indent="0">
              <a:buNone/>
              <a:defRPr sz="1500"/>
            </a:lvl8pPr>
            <a:lvl9pPr marL="2742446" indent="0">
              <a:buNone/>
              <a:defRPr sz="1500"/>
            </a:lvl9pPr>
          </a:lstStyle>
          <a:p>
            <a:endParaRPr lang="en-US" dirty="0"/>
          </a:p>
          <a:p>
            <a:r>
              <a:rPr lang="en-US" dirty="0"/>
              <a:t>Drag picture to placeholder or click icon to add</a:t>
            </a:r>
          </a:p>
        </p:txBody>
      </p:sp>
      <p:sp>
        <p:nvSpPr>
          <p:cNvPr id="14" name="Picture Placeholder 2"/>
          <p:cNvSpPr>
            <a:spLocks noGrp="1" noChangeAspect="1"/>
          </p:cNvSpPr>
          <p:nvPr>
            <p:ph type="pic" idx="15"/>
          </p:nvPr>
        </p:nvSpPr>
        <p:spPr>
          <a:xfrm>
            <a:off x="9138763" y="3199310"/>
            <a:ext cx="3053237" cy="2499239"/>
          </a:xfrm>
          <a:prstGeom prst="rect">
            <a:avLst/>
          </a:prstGeom>
          <a:solidFill>
            <a:schemeClr val="bg2">
              <a:lumMod val="75000"/>
            </a:schemeClr>
          </a:solidFill>
          <a:ln>
            <a:solidFill>
              <a:schemeClr val="bg1"/>
            </a:solidFill>
          </a:ln>
        </p:spPr>
        <p:txBody>
          <a:bodyPr anchor="t">
            <a:normAutofit/>
          </a:bodyPr>
          <a:lstStyle>
            <a:lvl1pPr marL="0" indent="0" algn="ctr">
              <a:buNone/>
              <a:defRPr sz="1200" b="0" i="0">
                <a:solidFill>
                  <a:schemeClr val="bg1"/>
                </a:solidFill>
                <a:latin typeface="Arial" charset="0"/>
                <a:ea typeface="Arial" charset="0"/>
                <a:cs typeface="Arial" charset="0"/>
              </a:defRPr>
            </a:lvl1pPr>
            <a:lvl2pPr marL="342807" indent="0">
              <a:buNone/>
              <a:defRPr sz="2100"/>
            </a:lvl2pPr>
            <a:lvl3pPr marL="685612" indent="0">
              <a:buNone/>
              <a:defRPr sz="1800"/>
            </a:lvl3pPr>
            <a:lvl4pPr marL="1028418" indent="0">
              <a:buNone/>
              <a:defRPr sz="1500"/>
            </a:lvl4pPr>
            <a:lvl5pPr marL="1371223" indent="0">
              <a:buNone/>
              <a:defRPr sz="1500"/>
            </a:lvl5pPr>
            <a:lvl6pPr marL="1714029" indent="0">
              <a:buNone/>
              <a:defRPr sz="1500"/>
            </a:lvl6pPr>
            <a:lvl7pPr marL="2056834" indent="0">
              <a:buNone/>
              <a:defRPr sz="1500"/>
            </a:lvl7pPr>
            <a:lvl8pPr marL="2399640" indent="0">
              <a:buNone/>
              <a:defRPr sz="1500"/>
            </a:lvl8pPr>
            <a:lvl9pPr marL="2742446" indent="0">
              <a:buNone/>
              <a:defRPr sz="1500"/>
            </a:lvl9pPr>
          </a:lstStyle>
          <a:p>
            <a:endParaRPr lang="en-US" dirty="0"/>
          </a:p>
          <a:p>
            <a:r>
              <a:rPr lang="en-US" dirty="0"/>
              <a:t>Drag picture to placeholder or click icon to add</a:t>
            </a:r>
          </a:p>
        </p:txBody>
      </p:sp>
      <p:sp>
        <p:nvSpPr>
          <p:cNvPr id="7" name="Content Placeholder 2"/>
          <p:cNvSpPr>
            <a:spLocks noGrp="1"/>
          </p:cNvSpPr>
          <p:nvPr>
            <p:ph sz="half" idx="1"/>
          </p:nvPr>
        </p:nvSpPr>
        <p:spPr>
          <a:xfrm>
            <a:off x="388399" y="1000002"/>
            <a:ext cx="4227991" cy="435133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4"/>
          <p:cNvSpPr>
            <a:spLocks noGrp="1"/>
          </p:cNvSpPr>
          <p:nvPr>
            <p:ph type="sldNum" sz="quarter" idx="12"/>
          </p:nvPr>
        </p:nvSpPr>
        <p:spPr>
          <a:xfrm>
            <a:off x="11304231" y="6374109"/>
            <a:ext cx="688760" cy="365125"/>
          </a:xfrm>
        </p:spPr>
        <p:txBody>
          <a:bodyPr/>
          <a:lstStyle/>
          <a:p>
            <a:fld id="{5E94BA17-8AE8-4651-9FD9-8589E5D42325}" type="slidenum">
              <a:rPr lang="en-US" smtClean="0"/>
              <a:t>‹#›</a:t>
            </a:fld>
            <a:endParaRPr lang="en-US" dirty="0"/>
          </a:p>
        </p:txBody>
      </p:sp>
      <p:sp>
        <p:nvSpPr>
          <p:cNvPr id="11" name="Date Placeholder 3"/>
          <p:cNvSpPr>
            <a:spLocks noGrp="1"/>
          </p:cNvSpPr>
          <p:nvPr>
            <p:ph type="dt" sz="half" idx="2"/>
          </p:nvPr>
        </p:nvSpPr>
        <p:spPr>
          <a:xfrm>
            <a:off x="210838" y="6356353"/>
            <a:ext cx="1706732" cy="365125"/>
          </a:xfrm>
          <a:prstGeom prst="rect">
            <a:avLst/>
          </a:prstGeom>
        </p:spPr>
        <p:txBody>
          <a:bodyPr vert="horz" lIns="91440" tIns="45720" rIns="91440" bIns="45720" rtlCol="0" anchor="ctr"/>
          <a:lstStyle>
            <a:lvl1pPr algn="l">
              <a:defRPr sz="1050">
                <a:solidFill>
                  <a:schemeClr val="tx1"/>
                </a:solidFill>
                <a:latin typeface="Segoe UI Semibold" panose="020B0702040204020203" pitchFamily="34" charset="0"/>
              </a:defRPr>
            </a:lvl1pPr>
          </a:lstStyle>
          <a:p>
            <a:fld id="{62FE63C3-A73F-4097-86A9-7B28950712B1}" type="datetime1">
              <a:rPr lang="en-US" smtClean="0"/>
              <a:pPr/>
              <a:t>7/26/2021</a:t>
            </a:fld>
            <a:endParaRPr lang="en-US" dirty="0"/>
          </a:p>
        </p:txBody>
      </p:sp>
      <p:sp>
        <p:nvSpPr>
          <p:cNvPr id="15" name="Footer Placeholder 4"/>
          <p:cNvSpPr>
            <a:spLocks noGrp="1"/>
          </p:cNvSpPr>
          <p:nvPr>
            <p:ph type="ftr" sz="quarter" idx="3"/>
          </p:nvPr>
        </p:nvSpPr>
        <p:spPr>
          <a:xfrm>
            <a:off x="3150828" y="6356353"/>
            <a:ext cx="4114800" cy="365125"/>
          </a:xfrm>
          <a:prstGeom prst="rect">
            <a:avLst/>
          </a:prstGeom>
        </p:spPr>
        <p:txBody>
          <a:bodyPr vert="horz" lIns="91440" tIns="45720" rIns="91440" bIns="45720" rtlCol="0" anchor="ctr"/>
          <a:lstStyle>
            <a:lvl1pPr algn="l">
              <a:defRPr sz="1100">
                <a:solidFill>
                  <a:schemeClr val="tx1">
                    <a:tint val="75000"/>
                  </a:schemeClr>
                </a:solidFill>
                <a:latin typeface="Segoe UI Semibold" panose="020B0702040204020203" pitchFamily="34" charset="0"/>
              </a:defRPr>
            </a:lvl1pPr>
          </a:lstStyle>
          <a:p>
            <a:endParaRPr lang="en-US" dirty="0"/>
          </a:p>
        </p:txBody>
      </p:sp>
    </p:spTree>
    <p:extLst>
      <p:ext uri="{BB962C8B-B14F-4D97-AF65-F5344CB8AC3E}">
        <p14:creationId xmlns:p14="http://schemas.microsoft.com/office/powerpoint/2010/main" val="60270322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hart ">
    <p:spTree>
      <p:nvGrpSpPr>
        <p:cNvPr id="1" name=""/>
        <p:cNvGrpSpPr/>
        <p:nvPr/>
      </p:nvGrpSpPr>
      <p:grpSpPr>
        <a:xfrm>
          <a:off x="0" y="0"/>
          <a:ext cx="0" cy="0"/>
          <a:chOff x="0" y="0"/>
          <a:chExt cx="0" cy="0"/>
        </a:xfrm>
      </p:grpSpPr>
      <p:sp>
        <p:nvSpPr>
          <p:cNvPr id="7" name="Content Placeholder 2"/>
          <p:cNvSpPr>
            <a:spLocks noGrp="1"/>
          </p:cNvSpPr>
          <p:nvPr>
            <p:ph sz="half" idx="1"/>
          </p:nvPr>
        </p:nvSpPr>
        <p:spPr>
          <a:xfrm>
            <a:off x="270029" y="1621438"/>
            <a:ext cx="4227991" cy="435133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4"/>
          <p:cNvSpPr>
            <a:spLocks noGrp="1"/>
          </p:cNvSpPr>
          <p:nvPr>
            <p:ph type="sldNum" sz="quarter" idx="12"/>
          </p:nvPr>
        </p:nvSpPr>
        <p:spPr>
          <a:xfrm>
            <a:off x="11304231" y="6374109"/>
            <a:ext cx="688760" cy="365125"/>
          </a:xfrm>
        </p:spPr>
        <p:txBody>
          <a:bodyPr/>
          <a:lstStyle/>
          <a:p>
            <a:fld id="{5E94BA17-8AE8-4651-9FD9-8589E5D42325}" type="slidenum">
              <a:rPr lang="en-US" smtClean="0"/>
              <a:t>‹#›</a:t>
            </a:fld>
            <a:endParaRPr lang="en-US" dirty="0"/>
          </a:p>
        </p:txBody>
      </p:sp>
      <p:sp>
        <p:nvSpPr>
          <p:cNvPr id="6" name="Chart Placeholder 5"/>
          <p:cNvSpPr>
            <a:spLocks noGrp="1"/>
          </p:cNvSpPr>
          <p:nvPr>
            <p:ph type="chart" sz="quarter" idx="13"/>
          </p:nvPr>
        </p:nvSpPr>
        <p:spPr>
          <a:xfrm>
            <a:off x="4935987" y="1683711"/>
            <a:ext cx="6960093" cy="4042386"/>
          </a:xfrm>
          <a:solidFill>
            <a:schemeClr val="bg1">
              <a:lumMod val="75000"/>
            </a:schemeClr>
          </a:solidFill>
        </p:spPr>
        <p:txBody>
          <a:bodyPr/>
          <a:lstStyle>
            <a:lvl1pPr marL="0" indent="0">
              <a:buNone/>
              <a:defRPr/>
            </a:lvl1pPr>
          </a:lstStyle>
          <a:p>
            <a:endParaRPr lang="en-US" dirty="0"/>
          </a:p>
        </p:txBody>
      </p:sp>
      <p:sp>
        <p:nvSpPr>
          <p:cNvPr id="15" name="Title 1"/>
          <p:cNvSpPr>
            <a:spLocks noGrp="1"/>
          </p:cNvSpPr>
          <p:nvPr>
            <p:ph type="title"/>
          </p:nvPr>
        </p:nvSpPr>
        <p:spPr>
          <a:xfrm>
            <a:off x="471256" y="186434"/>
            <a:ext cx="10515600" cy="909454"/>
          </a:xfrm>
        </p:spPr>
        <p:txBody>
          <a:bodyPr/>
          <a:lstStyle/>
          <a:p>
            <a:r>
              <a:rPr lang="en-US"/>
              <a:t>Click to edit Master title style</a:t>
            </a:r>
          </a:p>
        </p:txBody>
      </p:sp>
      <p:sp>
        <p:nvSpPr>
          <p:cNvPr id="16" name="Date Placeholder 3"/>
          <p:cNvSpPr>
            <a:spLocks noGrp="1"/>
          </p:cNvSpPr>
          <p:nvPr>
            <p:ph type="dt" sz="half" idx="2"/>
          </p:nvPr>
        </p:nvSpPr>
        <p:spPr>
          <a:xfrm>
            <a:off x="210838" y="6356353"/>
            <a:ext cx="1706732" cy="365125"/>
          </a:xfrm>
          <a:prstGeom prst="rect">
            <a:avLst/>
          </a:prstGeom>
        </p:spPr>
        <p:txBody>
          <a:bodyPr vert="horz" lIns="91440" tIns="45720" rIns="91440" bIns="45720" rtlCol="0" anchor="ctr"/>
          <a:lstStyle>
            <a:lvl1pPr algn="l">
              <a:defRPr sz="1050">
                <a:solidFill>
                  <a:schemeClr val="tx1"/>
                </a:solidFill>
                <a:latin typeface="Segoe UI Semibold" panose="020B0702040204020203" pitchFamily="34" charset="0"/>
              </a:defRPr>
            </a:lvl1pPr>
          </a:lstStyle>
          <a:p>
            <a:fld id="{62FE63C3-A73F-4097-86A9-7B28950712B1}" type="datetime1">
              <a:rPr lang="en-US" smtClean="0"/>
              <a:pPr/>
              <a:t>7/26/2021</a:t>
            </a:fld>
            <a:endParaRPr lang="en-US" dirty="0"/>
          </a:p>
        </p:txBody>
      </p:sp>
      <p:sp>
        <p:nvSpPr>
          <p:cNvPr id="17" name="Footer Placeholder 4"/>
          <p:cNvSpPr>
            <a:spLocks noGrp="1"/>
          </p:cNvSpPr>
          <p:nvPr>
            <p:ph type="ftr" sz="quarter" idx="3"/>
          </p:nvPr>
        </p:nvSpPr>
        <p:spPr>
          <a:xfrm>
            <a:off x="3150828" y="6356353"/>
            <a:ext cx="4114800" cy="365125"/>
          </a:xfrm>
          <a:prstGeom prst="rect">
            <a:avLst/>
          </a:prstGeom>
        </p:spPr>
        <p:txBody>
          <a:bodyPr vert="horz" lIns="91440" tIns="45720" rIns="91440" bIns="45720" rtlCol="0" anchor="ctr"/>
          <a:lstStyle>
            <a:lvl1pPr algn="l">
              <a:defRPr sz="1100">
                <a:solidFill>
                  <a:schemeClr val="tx1">
                    <a:tint val="75000"/>
                  </a:schemeClr>
                </a:solidFill>
                <a:latin typeface="Segoe UI Semibold" panose="020B0702040204020203" pitchFamily="34" charset="0"/>
              </a:defRPr>
            </a:lvl1pPr>
          </a:lstStyle>
          <a:p>
            <a:endParaRPr lang="en-US" dirty="0"/>
          </a:p>
        </p:txBody>
      </p:sp>
    </p:spTree>
    <p:extLst>
      <p:ext uri="{BB962C8B-B14F-4D97-AF65-F5344CB8AC3E}">
        <p14:creationId xmlns:p14="http://schemas.microsoft.com/office/powerpoint/2010/main" val="185672898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Heading Paragraph Blue Side Bar w/Logo">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2BADDF6-3834-2F4C-A085-1078EB8B8CE2}"/>
              </a:ext>
            </a:extLst>
          </p:cNvPr>
          <p:cNvSpPr/>
          <p:nvPr userDrawn="1"/>
        </p:nvSpPr>
        <p:spPr>
          <a:xfrm>
            <a:off x="9448800" y="-3352"/>
            <a:ext cx="2743200" cy="6861352"/>
          </a:xfrm>
          <a:prstGeom prst="rect">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p>
        </p:txBody>
      </p:sp>
      <p:sp>
        <p:nvSpPr>
          <p:cNvPr id="8" name="TextBox 7">
            <a:extLst>
              <a:ext uri="{FF2B5EF4-FFF2-40B4-BE49-F238E27FC236}">
                <a16:creationId xmlns:a16="http://schemas.microsoft.com/office/drawing/2014/main" id="{2A16E9E5-DD7C-B748-94F9-5B2D1BB41A43}"/>
              </a:ext>
            </a:extLst>
          </p:cNvPr>
          <p:cNvSpPr txBox="1"/>
          <p:nvPr userDrawn="1"/>
        </p:nvSpPr>
        <p:spPr>
          <a:xfrm>
            <a:off x="11706048" y="6529149"/>
            <a:ext cx="341760" cy="246221"/>
          </a:xfrm>
          <a:prstGeom prst="rect">
            <a:avLst/>
          </a:prstGeom>
          <a:noFill/>
        </p:spPr>
        <p:txBody>
          <a:bodyPr wrap="none" rtlCol="0">
            <a:spAutoFit/>
          </a:bodyPr>
          <a:lstStyle/>
          <a:p>
            <a:fld id="{8A9C26BD-B65B-0247-8C97-B9322C3DB165}" type="slidenum">
              <a:rPr lang="en-US" sz="1000" baseline="0" smtClean="0">
                <a:solidFill>
                  <a:schemeClr val="bg1"/>
                </a:solidFill>
                <a:latin typeface="Arial" panose="020B0604020202020204" pitchFamily="34" charset="0"/>
              </a:rPr>
              <a:t>‹#›</a:t>
            </a:fld>
            <a:endParaRPr lang="en-US" sz="1000" baseline="0" dirty="0">
              <a:solidFill>
                <a:schemeClr val="bg1"/>
              </a:solidFill>
              <a:latin typeface="Arial" panose="020B0604020202020204" pitchFamily="34" charset="0"/>
            </a:endParaRPr>
          </a:p>
        </p:txBody>
      </p:sp>
      <p:cxnSp>
        <p:nvCxnSpPr>
          <p:cNvPr id="9" name="Straight Connector 8">
            <a:extLst>
              <a:ext uri="{FF2B5EF4-FFF2-40B4-BE49-F238E27FC236}">
                <a16:creationId xmlns:a16="http://schemas.microsoft.com/office/drawing/2014/main" id="{58F12E3B-689B-8D4C-A804-425924F6275D}"/>
              </a:ext>
            </a:extLst>
          </p:cNvPr>
          <p:cNvCxnSpPr>
            <a:cxnSpLocks/>
          </p:cNvCxnSpPr>
          <p:nvPr userDrawn="1"/>
        </p:nvCxnSpPr>
        <p:spPr>
          <a:xfrm>
            <a:off x="11606773" y="6511897"/>
            <a:ext cx="0" cy="27699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descr="SDG&amp;E Logo">
            <a:extLst>
              <a:ext uri="{FF2B5EF4-FFF2-40B4-BE49-F238E27FC236}">
                <a16:creationId xmlns:a16="http://schemas.microsoft.com/office/drawing/2014/main" id="{F1F74392-5CC8-BF4E-B362-AE09DB12F9D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661904" y="393193"/>
            <a:ext cx="938784" cy="552069"/>
          </a:xfrm>
          <a:prstGeom prst="rect">
            <a:avLst/>
          </a:prstGeom>
        </p:spPr>
      </p:pic>
    </p:spTree>
    <p:extLst>
      <p:ext uri="{BB962C8B-B14F-4D97-AF65-F5344CB8AC3E}">
        <p14:creationId xmlns:p14="http://schemas.microsoft.com/office/powerpoint/2010/main" val="186123833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Heading + Paragraph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B1DB4D-1657-4800-B9ED-2B852D48F5A5}"/>
              </a:ext>
            </a:extLst>
          </p:cNvPr>
          <p:cNvSpPr/>
          <p:nvPr userDrawn="1"/>
        </p:nvSpPr>
        <p:spPr>
          <a:xfrm>
            <a:off x="8260756" y="1"/>
            <a:ext cx="3931245" cy="6857999"/>
          </a:xfrm>
          <a:prstGeom prst="rect">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599" dirty="0"/>
          </a:p>
        </p:txBody>
      </p:sp>
      <p:sp>
        <p:nvSpPr>
          <p:cNvPr id="7" name="TextBox 6">
            <a:extLst>
              <a:ext uri="{FF2B5EF4-FFF2-40B4-BE49-F238E27FC236}">
                <a16:creationId xmlns:a16="http://schemas.microsoft.com/office/drawing/2014/main" id="{3C16C4BC-1A17-3E4A-BB04-686740CBE33F}"/>
              </a:ext>
            </a:extLst>
          </p:cNvPr>
          <p:cNvSpPr txBox="1"/>
          <p:nvPr userDrawn="1"/>
        </p:nvSpPr>
        <p:spPr>
          <a:xfrm>
            <a:off x="11706048" y="6529149"/>
            <a:ext cx="341760" cy="246221"/>
          </a:xfrm>
          <a:prstGeom prst="rect">
            <a:avLst/>
          </a:prstGeom>
          <a:noFill/>
        </p:spPr>
        <p:txBody>
          <a:bodyPr wrap="none" rtlCol="0">
            <a:spAutoFit/>
          </a:bodyPr>
          <a:lstStyle/>
          <a:p>
            <a:fld id="{8A9C26BD-B65B-0247-8C97-B9322C3DB165}" type="slidenum">
              <a:rPr lang="en-US" sz="1000" baseline="0" smtClean="0">
                <a:solidFill>
                  <a:schemeClr val="bg1"/>
                </a:solidFill>
                <a:latin typeface="Arial" panose="020B0604020202020204" pitchFamily="34" charset="0"/>
              </a:rPr>
              <a:t>‹#›</a:t>
            </a:fld>
            <a:endParaRPr lang="en-US" sz="1000" baseline="0" dirty="0">
              <a:solidFill>
                <a:schemeClr val="bg1"/>
              </a:solidFill>
              <a:latin typeface="Arial" panose="020B0604020202020204" pitchFamily="34" charset="0"/>
            </a:endParaRPr>
          </a:p>
        </p:txBody>
      </p:sp>
      <p:cxnSp>
        <p:nvCxnSpPr>
          <p:cNvPr id="8" name="Straight Connector 7">
            <a:extLst>
              <a:ext uri="{FF2B5EF4-FFF2-40B4-BE49-F238E27FC236}">
                <a16:creationId xmlns:a16="http://schemas.microsoft.com/office/drawing/2014/main" id="{BC25D7F9-8BF0-0749-9DC9-F117910B311D}"/>
              </a:ext>
            </a:extLst>
          </p:cNvPr>
          <p:cNvCxnSpPr>
            <a:cxnSpLocks/>
          </p:cNvCxnSpPr>
          <p:nvPr userDrawn="1"/>
        </p:nvCxnSpPr>
        <p:spPr>
          <a:xfrm>
            <a:off x="11606773" y="6511897"/>
            <a:ext cx="0" cy="27699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SDG&amp;E Logo">
            <a:extLst>
              <a:ext uri="{FF2B5EF4-FFF2-40B4-BE49-F238E27FC236}">
                <a16:creationId xmlns:a16="http://schemas.microsoft.com/office/drawing/2014/main" id="{629E1F10-E234-3041-B836-0558806E558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661904" y="393193"/>
            <a:ext cx="938784" cy="552069"/>
          </a:xfrm>
          <a:prstGeom prst="rect">
            <a:avLst/>
          </a:prstGeom>
        </p:spPr>
      </p:pic>
    </p:spTree>
    <p:extLst>
      <p:ext uri="{BB962C8B-B14F-4D97-AF65-F5344CB8AC3E}">
        <p14:creationId xmlns:p14="http://schemas.microsoft.com/office/powerpoint/2010/main" val="102135608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749570"/>
            <a:ext cx="12214577" cy="6125365"/>
          </a:xfrm>
          <a:prstGeom prst="rect">
            <a:avLst/>
          </a:prstGeom>
        </p:spPr>
      </p:pic>
      <p:sp>
        <p:nvSpPr>
          <p:cNvPr id="14" name="Rectangle 13"/>
          <p:cNvSpPr/>
          <p:nvPr userDrawn="1"/>
        </p:nvSpPr>
        <p:spPr>
          <a:xfrm flipV="1">
            <a:off x="1" y="122888"/>
            <a:ext cx="12227140" cy="10923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31" name="Picture 30"/>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9808488" y="768954"/>
            <a:ext cx="2028624" cy="200260"/>
          </a:xfrm>
          <a:prstGeom prst="rect">
            <a:avLst/>
          </a:prstGeom>
        </p:spPr>
      </p:pic>
      <p:sp>
        <p:nvSpPr>
          <p:cNvPr id="3" name="Subtitle 2"/>
          <p:cNvSpPr>
            <a:spLocks noGrp="1"/>
          </p:cNvSpPr>
          <p:nvPr userDrawn="1">
            <p:ph type="subTitle" idx="1"/>
          </p:nvPr>
        </p:nvSpPr>
        <p:spPr>
          <a:xfrm>
            <a:off x="1183470" y="5429680"/>
            <a:ext cx="11024873" cy="538609"/>
          </a:xfrm>
          <a:blipFill rotWithShape="1">
            <a:blip r:embed="rId4">
              <a:alphaModFix amt="90000"/>
            </a:blip>
            <a:stretch>
              <a:fillRect/>
            </a:stretch>
          </a:blipFill>
        </p:spPr>
        <p:txBody>
          <a:bodyPr wrap="square" lIns="274320" tIns="45720" rIns="457200" bIns="182880">
            <a:spAutoFit/>
          </a:bodyPr>
          <a:lstStyle>
            <a:lvl1pPr marL="0" indent="0" algn="l">
              <a:buNone/>
              <a:defRPr sz="2000">
                <a:solidFill>
                  <a:schemeClr val="bg1"/>
                </a:solidFill>
              </a:defRPr>
            </a:lvl1pPr>
            <a:lvl2pPr marL="457086" indent="0" algn="ctr">
              <a:buNone/>
              <a:defRPr>
                <a:solidFill>
                  <a:schemeClr val="tx1">
                    <a:tint val="75000"/>
                  </a:schemeClr>
                </a:solidFill>
              </a:defRPr>
            </a:lvl2pPr>
            <a:lvl3pPr marL="914172" indent="0" algn="ctr">
              <a:buNone/>
              <a:defRPr>
                <a:solidFill>
                  <a:schemeClr val="tx1">
                    <a:tint val="75000"/>
                  </a:schemeClr>
                </a:solidFill>
              </a:defRPr>
            </a:lvl3pPr>
            <a:lvl4pPr marL="1371257" indent="0" algn="ctr">
              <a:buNone/>
              <a:defRPr>
                <a:solidFill>
                  <a:schemeClr val="tx1">
                    <a:tint val="75000"/>
                  </a:schemeClr>
                </a:solidFill>
              </a:defRPr>
            </a:lvl4pPr>
            <a:lvl5pPr marL="1828343" indent="0" algn="ctr">
              <a:buNone/>
              <a:defRPr>
                <a:solidFill>
                  <a:schemeClr val="tx1">
                    <a:tint val="75000"/>
                  </a:schemeClr>
                </a:solidFill>
              </a:defRPr>
            </a:lvl5pPr>
            <a:lvl6pPr marL="2285429" indent="0" algn="ctr">
              <a:buNone/>
              <a:defRPr>
                <a:solidFill>
                  <a:schemeClr val="tx1">
                    <a:tint val="75000"/>
                  </a:schemeClr>
                </a:solidFill>
              </a:defRPr>
            </a:lvl6pPr>
            <a:lvl7pPr marL="2742514" indent="0" algn="ctr">
              <a:buNone/>
              <a:defRPr>
                <a:solidFill>
                  <a:schemeClr val="tx1">
                    <a:tint val="75000"/>
                  </a:schemeClr>
                </a:solidFill>
              </a:defRPr>
            </a:lvl7pPr>
            <a:lvl8pPr marL="3199600" indent="0" algn="ctr">
              <a:buNone/>
              <a:defRPr>
                <a:solidFill>
                  <a:schemeClr val="tx1">
                    <a:tint val="75000"/>
                  </a:schemeClr>
                </a:solidFill>
              </a:defRPr>
            </a:lvl8pPr>
            <a:lvl9pPr marL="3656686" indent="0" algn="ctr">
              <a:buNone/>
              <a:defRPr>
                <a:solidFill>
                  <a:schemeClr val="tx1">
                    <a:tint val="75000"/>
                  </a:schemeClr>
                </a:solidFill>
              </a:defRPr>
            </a:lvl9pPr>
          </a:lstStyle>
          <a:p>
            <a:r>
              <a:rPr lang="en-US"/>
              <a:t>Click to edit Master subtitle style</a:t>
            </a:r>
          </a:p>
        </p:txBody>
      </p:sp>
      <p:sp>
        <p:nvSpPr>
          <p:cNvPr id="2" name="Title 1"/>
          <p:cNvSpPr>
            <a:spLocks noGrp="1"/>
          </p:cNvSpPr>
          <p:nvPr userDrawn="1">
            <p:ph type="ctrTitle"/>
          </p:nvPr>
        </p:nvSpPr>
        <p:spPr>
          <a:xfrm>
            <a:off x="1183470" y="4725680"/>
            <a:ext cx="11019215" cy="723147"/>
          </a:xfrm>
          <a:blipFill rotWithShape="1">
            <a:blip r:embed="rId4">
              <a:alphaModFix amt="90000"/>
            </a:blip>
            <a:stretch>
              <a:fillRect/>
            </a:stretch>
          </a:blipFill>
        </p:spPr>
        <p:txBody>
          <a:bodyPr wrap="square" lIns="274320" tIns="182880" rIns="457200" bIns="45720" anchor="b" anchorCtr="0">
            <a:spAutoFit/>
          </a:bodyPr>
          <a:lstStyle>
            <a:lvl1pPr algn="l">
              <a:defRPr sz="3199" b="1" cap="all" baseline="0">
                <a:solidFill>
                  <a:schemeClr val="bg1"/>
                </a:solidFill>
              </a:defRPr>
            </a:lvl1pPr>
          </a:lstStyle>
          <a:p>
            <a:r>
              <a:rPr lang="en-US"/>
              <a:t>Click to edit Master title style</a:t>
            </a:r>
          </a:p>
        </p:txBody>
      </p:sp>
      <p:sp>
        <p:nvSpPr>
          <p:cNvPr id="4" name="Rectangle 3"/>
          <p:cNvSpPr/>
          <p:nvPr userDrawn="1"/>
        </p:nvSpPr>
        <p:spPr>
          <a:xfrm>
            <a:off x="1" y="1638545"/>
            <a:ext cx="3228623" cy="436950"/>
          </a:xfrm>
          <a:prstGeom prst="rect">
            <a:avLst/>
          </a:prstGeom>
          <a:solidFill>
            <a:srgbClr val="F37321">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5" name="TextBox 4"/>
          <p:cNvSpPr txBox="1"/>
          <p:nvPr userDrawn="1"/>
        </p:nvSpPr>
        <p:spPr>
          <a:xfrm>
            <a:off x="1179643" y="1668989"/>
            <a:ext cx="1963038" cy="369332"/>
          </a:xfrm>
          <a:prstGeom prst="rect">
            <a:avLst/>
          </a:prstGeom>
          <a:noFill/>
        </p:spPr>
        <p:txBody>
          <a:bodyPr wrap="none" rtlCol="0">
            <a:spAutoFit/>
          </a:bodyPr>
          <a:lstStyle/>
          <a:p>
            <a:pPr algn="r"/>
            <a:r>
              <a:rPr lang="en-US" sz="1800" dirty="0">
                <a:solidFill>
                  <a:schemeClr val="bg1"/>
                </a:solidFill>
              </a:rPr>
              <a:t>Energy Efficiency</a:t>
            </a:r>
          </a:p>
        </p:txBody>
      </p:sp>
      <p:pic>
        <p:nvPicPr>
          <p:cNvPr id="12" name="Picture 11" descr="SoGalGas-RGB-logo-full-color-horizontal-crop.ai"/>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422234" y="361792"/>
            <a:ext cx="4228791" cy="609733"/>
          </a:xfrm>
          <a:prstGeom prst="rect">
            <a:avLst/>
          </a:prstGeom>
        </p:spPr>
      </p:pic>
    </p:spTree>
    <p:extLst>
      <p:ext uri="{BB962C8B-B14F-4D97-AF65-F5344CB8AC3E}">
        <p14:creationId xmlns:p14="http://schemas.microsoft.com/office/powerpoint/2010/main" val="2202599167"/>
      </p:ext>
    </p:extLst>
  </p:cSld>
  <p:clrMapOvr>
    <a:masterClrMapping/>
  </p:clrMapOvr>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399" cap="none" baseline="0"/>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2"/>
          </p:nvPr>
        </p:nvSpPr>
        <p:spPr>
          <a:xfrm>
            <a:off x="6897224" y="6513381"/>
            <a:ext cx="1493743" cy="269738"/>
          </a:xfrm>
          <a:prstGeom prst="rect">
            <a:avLst/>
          </a:prstGeom>
        </p:spPr>
        <p:txBody>
          <a:bodyPr vert="horz" lIns="91440" tIns="45720" rIns="91440" bIns="45720" rtlCol="0" anchor="ctr"/>
          <a:lstStyle>
            <a:lvl1pPr algn="ctr">
              <a:defRPr sz="1200">
                <a:solidFill>
                  <a:srgbClr val="615452"/>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2152959434"/>
      </p:ext>
    </p:extLst>
  </p:cSld>
  <p:clrMapOvr>
    <a:masterClrMapping/>
  </p:clrMapOvr>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3999"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086" indent="0">
              <a:buNone/>
              <a:defRPr sz="1800">
                <a:solidFill>
                  <a:schemeClr val="tx1">
                    <a:tint val="75000"/>
                  </a:schemeClr>
                </a:solidFill>
              </a:defRPr>
            </a:lvl2pPr>
            <a:lvl3pPr marL="914172" indent="0">
              <a:buNone/>
              <a:defRPr sz="1600">
                <a:solidFill>
                  <a:schemeClr val="tx1">
                    <a:tint val="75000"/>
                  </a:schemeClr>
                </a:solidFill>
              </a:defRPr>
            </a:lvl3pPr>
            <a:lvl4pPr marL="1371257" indent="0">
              <a:buNone/>
              <a:defRPr sz="1400">
                <a:solidFill>
                  <a:schemeClr val="tx1">
                    <a:tint val="75000"/>
                  </a:schemeClr>
                </a:solidFill>
              </a:defRPr>
            </a:lvl4pPr>
            <a:lvl5pPr marL="1828343" indent="0">
              <a:buNone/>
              <a:defRPr sz="1400">
                <a:solidFill>
                  <a:schemeClr val="tx1">
                    <a:tint val="75000"/>
                  </a:schemeClr>
                </a:solidFill>
              </a:defRPr>
            </a:lvl5pPr>
            <a:lvl6pPr marL="2285429" indent="0">
              <a:buNone/>
              <a:defRPr sz="1400">
                <a:solidFill>
                  <a:schemeClr val="tx1">
                    <a:tint val="75000"/>
                  </a:schemeClr>
                </a:solidFill>
              </a:defRPr>
            </a:lvl6pPr>
            <a:lvl7pPr marL="2742514" indent="0">
              <a:buNone/>
              <a:defRPr sz="1400">
                <a:solidFill>
                  <a:schemeClr val="tx1">
                    <a:tint val="75000"/>
                  </a:schemeClr>
                </a:solidFill>
              </a:defRPr>
            </a:lvl7pPr>
            <a:lvl8pPr marL="3199600" indent="0">
              <a:buNone/>
              <a:defRPr sz="1400">
                <a:solidFill>
                  <a:schemeClr val="tx1">
                    <a:tint val="75000"/>
                  </a:schemeClr>
                </a:solidFill>
              </a:defRPr>
            </a:lvl8pPr>
            <a:lvl9pPr marL="3656686" indent="0">
              <a:buNone/>
              <a:defRPr sz="1400">
                <a:solidFill>
                  <a:schemeClr val="tx1">
                    <a:tint val="75000"/>
                  </a:schemeClr>
                </a:solidFill>
              </a:defRPr>
            </a:lvl9pPr>
          </a:lstStyle>
          <a:p>
            <a:pPr lvl="0"/>
            <a:r>
              <a:rPr lang="en-US"/>
              <a:t>Click to edit Master text styles</a:t>
            </a:r>
          </a:p>
        </p:txBody>
      </p:sp>
      <p:sp>
        <p:nvSpPr>
          <p:cNvPr id="7" name="Date Placeholder 3"/>
          <p:cNvSpPr>
            <a:spLocks noGrp="1"/>
          </p:cNvSpPr>
          <p:nvPr>
            <p:ph type="dt" sz="half" idx="2"/>
          </p:nvPr>
        </p:nvSpPr>
        <p:spPr>
          <a:xfrm>
            <a:off x="6897224" y="6513381"/>
            <a:ext cx="1493743" cy="269738"/>
          </a:xfrm>
          <a:prstGeom prst="rect">
            <a:avLst/>
          </a:prstGeom>
        </p:spPr>
        <p:txBody>
          <a:bodyPr vert="horz" lIns="91440" tIns="45720" rIns="91440" bIns="45720" rtlCol="0" anchor="ctr"/>
          <a:lstStyle>
            <a:lvl1pPr algn="ctr">
              <a:defRPr sz="1200">
                <a:solidFill>
                  <a:srgbClr val="615452"/>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3551038788"/>
      </p:ext>
    </p:extLst>
  </p:cSld>
  <p:clrMapOvr>
    <a:masterClrMapping/>
  </p:clrMapOvr>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0"/>
            <a:ext cx="5384800" cy="429716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0"/>
            <a:ext cx="5384800" cy="429716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3"/>
          <p:cNvSpPr>
            <a:spLocks noGrp="1"/>
          </p:cNvSpPr>
          <p:nvPr>
            <p:ph type="dt" sz="half" idx="10"/>
          </p:nvPr>
        </p:nvSpPr>
        <p:spPr>
          <a:xfrm>
            <a:off x="6897224" y="6513381"/>
            <a:ext cx="1493743" cy="269738"/>
          </a:xfrm>
          <a:prstGeom prst="rect">
            <a:avLst/>
          </a:prstGeom>
        </p:spPr>
        <p:txBody>
          <a:bodyPr vert="horz" lIns="91440" tIns="45720" rIns="91440" bIns="45720" rtlCol="0" anchor="ctr"/>
          <a:lstStyle>
            <a:lvl1pPr algn="ctr">
              <a:defRPr sz="1200">
                <a:solidFill>
                  <a:srgbClr val="615452"/>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1613189827"/>
      </p:ext>
    </p:extLst>
  </p:cSld>
  <p:clrMapOvr>
    <a:masterClrMapping/>
  </p:clrMapOvr>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1" y="1535113"/>
            <a:ext cx="5386917" cy="639762"/>
          </a:xfrm>
        </p:spPr>
        <p:txBody>
          <a:bodyPr anchor="b"/>
          <a:lstStyle>
            <a:lvl1pPr marL="0" indent="0">
              <a:buNone/>
              <a:defRPr sz="2400" b="1"/>
            </a:lvl1pPr>
            <a:lvl2pPr marL="457086" indent="0">
              <a:buNone/>
              <a:defRPr sz="2000" b="1"/>
            </a:lvl2pPr>
            <a:lvl3pPr marL="914172" indent="0">
              <a:buNone/>
              <a:defRPr sz="1800" b="1"/>
            </a:lvl3pPr>
            <a:lvl4pPr marL="1371257" indent="0">
              <a:buNone/>
              <a:defRPr sz="1600" b="1"/>
            </a:lvl4pPr>
            <a:lvl5pPr marL="1828343" indent="0">
              <a:buNone/>
              <a:defRPr sz="1600" b="1"/>
            </a:lvl5pPr>
            <a:lvl6pPr marL="2285429" indent="0">
              <a:buNone/>
              <a:defRPr sz="1600" b="1"/>
            </a:lvl6pPr>
            <a:lvl7pPr marL="2742514" indent="0">
              <a:buNone/>
              <a:defRPr sz="1600" b="1"/>
            </a:lvl7pPr>
            <a:lvl8pPr marL="3199600" indent="0">
              <a:buNone/>
              <a:defRPr sz="1600" b="1"/>
            </a:lvl8pPr>
            <a:lvl9pPr marL="3656686"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1" y="2174875"/>
            <a:ext cx="5386917" cy="37635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2"/>
          </a:xfrm>
        </p:spPr>
        <p:txBody>
          <a:bodyPr anchor="b"/>
          <a:lstStyle>
            <a:lvl1pPr marL="0" indent="0">
              <a:buNone/>
              <a:defRPr sz="2400" b="1"/>
            </a:lvl1pPr>
            <a:lvl2pPr marL="457086" indent="0">
              <a:buNone/>
              <a:defRPr sz="2000" b="1"/>
            </a:lvl2pPr>
            <a:lvl3pPr marL="914172" indent="0">
              <a:buNone/>
              <a:defRPr sz="1800" b="1"/>
            </a:lvl3pPr>
            <a:lvl4pPr marL="1371257" indent="0">
              <a:buNone/>
              <a:defRPr sz="1600" b="1"/>
            </a:lvl4pPr>
            <a:lvl5pPr marL="1828343" indent="0">
              <a:buNone/>
              <a:defRPr sz="1600" b="1"/>
            </a:lvl5pPr>
            <a:lvl6pPr marL="2285429" indent="0">
              <a:buNone/>
              <a:defRPr sz="1600" b="1"/>
            </a:lvl6pPr>
            <a:lvl7pPr marL="2742514" indent="0">
              <a:buNone/>
              <a:defRPr sz="1600" b="1"/>
            </a:lvl7pPr>
            <a:lvl8pPr marL="3199600" indent="0">
              <a:buNone/>
              <a:defRPr sz="1600" b="1"/>
            </a:lvl8pPr>
            <a:lvl9pPr marL="365668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7635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Date Placeholder 3"/>
          <p:cNvSpPr>
            <a:spLocks noGrp="1"/>
          </p:cNvSpPr>
          <p:nvPr>
            <p:ph type="dt" sz="half" idx="10"/>
          </p:nvPr>
        </p:nvSpPr>
        <p:spPr>
          <a:xfrm>
            <a:off x="6897224" y="6513381"/>
            <a:ext cx="1493743" cy="269738"/>
          </a:xfrm>
          <a:prstGeom prst="rect">
            <a:avLst/>
          </a:prstGeom>
        </p:spPr>
        <p:txBody>
          <a:bodyPr vert="horz" lIns="91440" tIns="45720" rIns="91440" bIns="45720" rtlCol="0" anchor="ctr"/>
          <a:lstStyle>
            <a:lvl1pPr algn="ctr">
              <a:defRPr sz="1200">
                <a:solidFill>
                  <a:srgbClr val="615452"/>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1952656087"/>
      </p:ext>
    </p:extLst>
  </p:cSld>
  <p:clrMapOvr>
    <a:masterClrMapping/>
  </p:clrMapOvr>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Date Placeholder 3"/>
          <p:cNvSpPr>
            <a:spLocks noGrp="1"/>
          </p:cNvSpPr>
          <p:nvPr>
            <p:ph type="dt" sz="half" idx="2"/>
          </p:nvPr>
        </p:nvSpPr>
        <p:spPr>
          <a:xfrm>
            <a:off x="6897224" y="6513381"/>
            <a:ext cx="1493743" cy="269738"/>
          </a:xfrm>
          <a:prstGeom prst="rect">
            <a:avLst/>
          </a:prstGeom>
        </p:spPr>
        <p:txBody>
          <a:bodyPr vert="horz" lIns="91440" tIns="45720" rIns="91440" bIns="45720" rtlCol="0" anchor="ctr"/>
          <a:lstStyle>
            <a:lvl1pPr algn="ctr">
              <a:defRPr sz="1200">
                <a:solidFill>
                  <a:srgbClr val="615452"/>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2220404519"/>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762000"/>
            <a:ext cx="2324100" cy="54102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143000" y="762000"/>
            <a:ext cx="7429500" cy="5410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E1D886B-26F1-4805-A7A0-3A2BD4946D91}" type="datetime1">
              <a:rPr lang="en-US" smtClean="0"/>
              <a:t>7/26/2021</a:t>
            </a:fld>
            <a:endParaRPr lang="en-US" dirty="0"/>
          </a:p>
        </p:txBody>
      </p:sp>
      <p:sp>
        <p:nvSpPr>
          <p:cNvPr id="5" name="Footer Placeholder 4"/>
          <p:cNvSpPr>
            <a:spLocks noGrp="1"/>
          </p:cNvSpPr>
          <p:nvPr>
            <p:ph type="ftr" sz="quarter" idx="11"/>
          </p:nvPr>
        </p:nvSpPr>
        <p:spPr/>
        <p:txBody>
          <a:bodyPr/>
          <a:lstStyle/>
          <a:p>
            <a:r>
              <a:rPr lang="en-US" dirty="0"/>
              <a:t>IE Semi-Annual Report: Public Workshop</a:t>
            </a:r>
          </a:p>
        </p:txBody>
      </p:sp>
      <p:sp>
        <p:nvSpPr>
          <p:cNvPr id="6" name="Slide Number Placeholder 5"/>
          <p:cNvSpPr>
            <a:spLocks noGrp="1"/>
          </p:cNvSpPr>
          <p:nvPr>
            <p:ph type="sldNum" sz="quarter" idx="12"/>
          </p:nvPr>
        </p:nvSpPr>
        <p:spPr/>
        <p:txBody>
          <a:bodyPr/>
          <a:lstStyle/>
          <a:p>
            <a:fld id="{4FAB73BC-B049-4115-A692-8D63A059BFB8}" type="slidenum">
              <a:rPr lang="en-US"/>
              <a:t>‹#›</a:t>
            </a:fld>
            <a:endParaRPr lang="en-US" dirty="0"/>
          </a:p>
        </p:txBody>
      </p:sp>
    </p:spTree>
    <p:extLst>
      <p:ext uri="{BB962C8B-B14F-4D97-AF65-F5344CB8AC3E}">
        <p14:creationId xmlns:p14="http://schemas.microsoft.com/office/powerpoint/2010/main" val="350129837"/>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3"/>
          <p:cNvSpPr>
            <a:spLocks noGrp="1"/>
          </p:cNvSpPr>
          <p:nvPr>
            <p:ph type="dt" sz="half" idx="2"/>
          </p:nvPr>
        </p:nvSpPr>
        <p:spPr>
          <a:xfrm>
            <a:off x="6897224" y="6513381"/>
            <a:ext cx="1493743" cy="269738"/>
          </a:xfrm>
          <a:prstGeom prst="rect">
            <a:avLst/>
          </a:prstGeom>
        </p:spPr>
        <p:txBody>
          <a:bodyPr vert="horz" lIns="91440" tIns="45720" rIns="91440" bIns="45720" rtlCol="0" anchor="ctr"/>
          <a:lstStyle>
            <a:lvl1pPr algn="ctr">
              <a:defRPr sz="1200">
                <a:solidFill>
                  <a:srgbClr val="615452"/>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789395815"/>
      </p:ext>
    </p:extLst>
  </p:cSld>
  <p:clrMapOvr>
    <a:masterClrMapping/>
  </p:clrMapOvr>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768154"/>
          </a:xfrm>
        </p:spPr>
        <p:txBody>
          <a:bodyPr/>
          <a:lstStyle>
            <a:lvl1pPr>
              <a:defRPr sz="3199"/>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431444"/>
          </a:xfrm>
        </p:spPr>
        <p:txBody>
          <a:bodyPr/>
          <a:lstStyle>
            <a:lvl1pPr marL="0" indent="0">
              <a:buNone/>
              <a:defRPr sz="1400"/>
            </a:lvl1pPr>
            <a:lvl2pPr marL="457086" indent="0">
              <a:buNone/>
              <a:defRPr sz="1200"/>
            </a:lvl2pPr>
            <a:lvl3pPr marL="914172" indent="0">
              <a:buNone/>
              <a:defRPr sz="1000"/>
            </a:lvl3pPr>
            <a:lvl4pPr marL="1371257" indent="0">
              <a:buNone/>
              <a:defRPr sz="900"/>
            </a:lvl4pPr>
            <a:lvl5pPr marL="1828343" indent="0">
              <a:buNone/>
              <a:defRPr sz="900"/>
            </a:lvl5pPr>
            <a:lvl6pPr marL="2285429" indent="0">
              <a:buNone/>
              <a:defRPr sz="900"/>
            </a:lvl6pPr>
            <a:lvl7pPr marL="2742514" indent="0">
              <a:buNone/>
              <a:defRPr sz="900"/>
            </a:lvl7pPr>
            <a:lvl8pPr marL="3199600" indent="0">
              <a:buNone/>
              <a:defRPr sz="900"/>
            </a:lvl8pPr>
            <a:lvl9pPr marL="3656686" indent="0">
              <a:buNone/>
              <a:defRPr sz="900"/>
            </a:lvl9pPr>
          </a:lstStyle>
          <a:p>
            <a:pPr lvl="0"/>
            <a:r>
              <a:rPr lang="en-US"/>
              <a:t>Click to edit Master text styles</a:t>
            </a:r>
          </a:p>
        </p:txBody>
      </p:sp>
      <p:sp>
        <p:nvSpPr>
          <p:cNvPr id="8" name="Date Placeholder 3"/>
          <p:cNvSpPr>
            <a:spLocks noGrp="1"/>
          </p:cNvSpPr>
          <p:nvPr>
            <p:ph type="dt" sz="half" idx="10"/>
          </p:nvPr>
        </p:nvSpPr>
        <p:spPr>
          <a:xfrm>
            <a:off x="6897224" y="6513381"/>
            <a:ext cx="1493743" cy="269738"/>
          </a:xfrm>
          <a:prstGeom prst="rect">
            <a:avLst/>
          </a:prstGeom>
        </p:spPr>
        <p:txBody>
          <a:bodyPr vert="horz" lIns="91440" tIns="45720" rIns="91440" bIns="45720" rtlCol="0" anchor="ctr"/>
          <a:lstStyle>
            <a:lvl1pPr algn="ctr">
              <a:defRPr sz="1200">
                <a:solidFill>
                  <a:srgbClr val="615452"/>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1348142944"/>
      </p:ext>
    </p:extLst>
  </p:cSld>
  <p:clrMapOvr>
    <a:masterClrMapping/>
  </p:clrMapOvr>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199"/>
            </a:lvl1pPr>
            <a:lvl2pPr marL="457086" indent="0">
              <a:buNone/>
              <a:defRPr sz="2800"/>
            </a:lvl2pPr>
            <a:lvl3pPr marL="914172" indent="0">
              <a:buNone/>
              <a:defRPr sz="2400"/>
            </a:lvl3pPr>
            <a:lvl4pPr marL="1371257" indent="0">
              <a:buNone/>
              <a:defRPr sz="2000"/>
            </a:lvl4pPr>
            <a:lvl5pPr marL="1828343" indent="0">
              <a:buNone/>
              <a:defRPr sz="2000"/>
            </a:lvl5pPr>
            <a:lvl6pPr marL="2285429" indent="0">
              <a:buNone/>
              <a:defRPr sz="2000"/>
            </a:lvl6pPr>
            <a:lvl7pPr marL="2742514" indent="0">
              <a:buNone/>
              <a:defRPr sz="2000"/>
            </a:lvl7pPr>
            <a:lvl8pPr marL="3199600" indent="0">
              <a:buNone/>
              <a:defRPr sz="2000"/>
            </a:lvl8pPr>
            <a:lvl9pPr marL="3656686" indent="0">
              <a:buNone/>
              <a:defRPr sz="2000"/>
            </a:lvl9pPr>
          </a:lstStyle>
          <a:p>
            <a:endParaRPr lang="en-US" dirty="0"/>
          </a:p>
        </p:txBody>
      </p:sp>
      <p:sp>
        <p:nvSpPr>
          <p:cNvPr id="4" name="Text Placeholder 3"/>
          <p:cNvSpPr>
            <a:spLocks noGrp="1"/>
          </p:cNvSpPr>
          <p:nvPr>
            <p:ph type="body" sz="half" idx="2"/>
          </p:nvPr>
        </p:nvSpPr>
        <p:spPr>
          <a:xfrm>
            <a:off x="2389717" y="5367340"/>
            <a:ext cx="7315200" cy="581399"/>
          </a:xfrm>
        </p:spPr>
        <p:txBody>
          <a:bodyPr/>
          <a:lstStyle>
            <a:lvl1pPr marL="0" indent="0">
              <a:buNone/>
              <a:defRPr sz="1400"/>
            </a:lvl1pPr>
            <a:lvl2pPr marL="457086" indent="0">
              <a:buNone/>
              <a:defRPr sz="1200"/>
            </a:lvl2pPr>
            <a:lvl3pPr marL="914172" indent="0">
              <a:buNone/>
              <a:defRPr sz="1000"/>
            </a:lvl3pPr>
            <a:lvl4pPr marL="1371257" indent="0">
              <a:buNone/>
              <a:defRPr sz="900"/>
            </a:lvl4pPr>
            <a:lvl5pPr marL="1828343" indent="0">
              <a:buNone/>
              <a:defRPr sz="900"/>
            </a:lvl5pPr>
            <a:lvl6pPr marL="2285429" indent="0">
              <a:buNone/>
              <a:defRPr sz="900"/>
            </a:lvl6pPr>
            <a:lvl7pPr marL="2742514" indent="0">
              <a:buNone/>
              <a:defRPr sz="900"/>
            </a:lvl7pPr>
            <a:lvl8pPr marL="3199600" indent="0">
              <a:buNone/>
              <a:defRPr sz="900"/>
            </a:lvl8pPr>
            <a:lvl9pPr marL="3656686" indent="0">
              <a:buNone/>
              <a:defRPr sz="900"/>
            </a:lvl9pPr>
          </a:lstStyle>
          <a:p>
            <a:pPr lvl="0"/>
            <a:r>
              <a:rPr lang="en-US"/>
              <a:t>Click to edit Master text styles</a:t>
            </a:r>
          </a:p>
        </p:txBody>
      </p:sp>
      <p:sp>
        <p:nvSpPr>
          <p:cNvPr id="8" name="Date Placeholder 3"/>
          <p:cNvSpPr>
            <a:spLocks noGrp="1"/>
          </p:cNvSpPr>
          <p:nvPr>
            <p:ph type="dt" sz="half" idx="10"/>
          </p:nvPr>
        </p:nvSpPr>
        <p:spPr>
          <a:xfrm>
            <a:off x="6897224" y="6513381"/>
            <a:ext cx="1493743" cy="269738"/>
          </a:xfrm>
          <a:prstGeom prst="rect">
            <a:avLst/>
          </a:prstGeom>
        </p:spPr>
        <p:txBody>
          <a:bodyPr vert="horz" lIns="91440" tIns="45720" rIns="91440" bIns="45720" rtlCol="0" anchor="ctr"/>
          <a:lstStyle>
            <a:lvl1pPr algn="ctr">
              <a:defRPr sz="1200">
                <a:solidFill>
                  <a:srgbClr val="615452"/>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1962764318"/>
      </p:ext>
    </p:extLst>
  </p:cSld>
  <p:clrMapOvr>
    <a:masterClrMapping/>
  </p:clrMapOvr>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2"/>
          </p:nvPr>
        </p:nvSpPr>
        <p:spPr>
          <a:xfrm>
            <a:off x="6897224" y="6513381"/>
            <a:ext cx="1493743" cy="269738"/>
          </a:xfrm>
          <a:prstGeom prst="rect">
            <a:avLst/>
          </a:prstGeom>
        </p:spPr>
        <p:txBody>
          <a:bodyPr vert="horz" lIns="91440" tIns="45720" rIns="91440" bIns="45720" rtlCol="0" anchor="ctr"/>
          <a:lstStyle>
            <a:lvl1pPr algn="ctr">
              <a:defRPr sz="1200">
                <a:solidFill>
                  <a:srgbClr val="615452"/>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1145908676"/>
      </p:ext>
    </p:extLst>
  </p:cSld>
  <p:clrMapOvr>
    <a:masterClrMapping/>
  </p:clrMapOvr>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61245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2"/>
          </p:nvPr>
        </p:nvSpPr>
        <p:spPr>
          <a:xfrm>
            <a:off x="6897224" y="6513381"/>
            <a:ext cx="1493743" cy="269738"/>
          </a:xfrm>
          <a:prstGeom prst="rect">
            <a:avLst/>
          </a:prstGeom>
        </p:spPr>
        <p:txBody>
          <a:bodyPr vert="horz" lIns="91440" tIns="45720" rIns="91440" bIns="45720" rtlCol="0" anchor="ctr"/>
          <a:lstStyle>
            <a:lvl1pPr algn="ctr">
              <a:defRPr sz="1200">
                <a:solidFill>
                  <a:srgbClr val="615452"/>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1643771629"/>
      </p:ext>
    </p:extLst>
  </p:cSld>
  <p:clrMapOvr>
    <a:masterClrMapping/>
  </p:clrMapOvr>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4" name="Title 3"/>
          <p:cNvSpPr>
            <a:spLocks noGrp="1"/>
          </p:cNvSpPr>
          <p:nvPr>
            <p:ph type="title"/>
          </p:nvPr>
        </p:nvSpPr>
        <p:spPr>
          <a:xfrm>
            <a:off x="1615044" y="132138"/>
            <a:ext cx="9753600" cy="623887"/>
          </a:xfrm>
          <a:prstGeom prst="rect">
            <a:avLst/>
          </a:prstGeom>
        </p:spPr>
        <p:txBody>
          <a:bodyPr anchor="ctr"/>
          <a:lstStyle>
            <a:lvl1pPr algn="l">
              <a:defRPr sz="2800" b="1" baseline="0">
                <a:solidFill>
                  <a:schemeClr val="accent1"/>
                </a:solidFill>
              </a:defRPr>
            </a:lvl1pPr>
          </a:lstStyle>
          <a:p>
            <a:r>
              <a:rPr lang="en-US"/>
              <a:t>Click to edit Master title style</a:t>
            </a:r>
          </a:p>
        </p:txBody>
      </p:sp>
      <p:sp>
        <p:nvSpPr>
          <p:cNvPr id="5" name="Text Placeholder 10"/>
          <p:cNvSpPr>
            <a:spLocks noGrp="1"/>
          </p:cNvSpPr>
          <p:nvPr>
            <p:ph type="body" sz="quarter" idx="10"/>
          </p:nvPr>
        </p:nvSpPr>
        <p:spPr>
          <a:xfrm>
            <a:off x="1211267" y="1828249"/>
            <a:ext cx="9753600" cy="1496828"/>
          </a:xfrm>
          <a:prstGeom prst="rect">
            <a:avLst/>
          </a:prstGeom>
        </p:spPr>
        <p:txBody>
          <a:bodyPr/>
          <a:lstStyle>
            <a:lvl1pPr marL="285679" indent="-285679">
              <a:buFont typeface="Arial" panose="020B0604020202020204" pitchFamily="34" charset="0"/>
              <a:buChar char="•"/>
              <a:defRPr sz="1800" baseline="0">
                <a:solidFill>
                  <a:srgbClr val="000000"/>
                </a:solidFill>
                <a:latin typeface="Arial" panose="020B0604020202020204" pitchFamily="34" charset="0"/>
                <a:cs typeface="Arial" panose="020B0604020202020204" pitchFamily="34" charset="0"/>
              </a:defRPr>
            </a:lvl1pPr>
            <a:lvl2pPr>
              <a:defRPr sz="1800">
                <a:solidFill>
                  <a:srgbClr val="000000"/>
                </a:solidFill>
              </a:defRPr>
            </a:lvl2pPr>
            <a:lvl3pPr>
              <a:defRPr sz="1800">
                <a:solidFill>
                  <a:srgbClr val="000000"/>
                </a:solidFill>
              </a:defRPr>
            </a:lvl3pPr>
            <a:lvl4pPr>
              <a:defRPr sz="1800">
                <a:solidFill>
                  <a:srgbClr val="000000"/>
                </a:solidFill>
              </a:defRPr>
            </a:lvl4pPr>
            <a:lvl5pPr>
              <a:defRPr sz="18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14"/>
          <p:cNvSpPr>
            <a:spLocks noGrp="1"/>
          </p:cNvSpPr>
          <p:nvPr>
            <p:ph type="body" sz="quarter" idx="11"/>
          </p:nvPr>
        </p:nvSpPr>
        <p:spPr>
          <a:xfrm>
            <a:off x="1211267" y="1279024"/>
            <a:ext cx="9753600" cy="457200"/>
          </a:xfrm>
          <a:prstGeom prst="rect">
            <a:avLst/>
          </a:prstGeom>
        </p:spPr>
        <p:txBody>
          <a:bodyPr/>
          <a:lstStyle>
            <a:lvl1pPr marL="0" indent="0">
              <a:buNone/>
              <a:defRPr sz="1800" b="1">
                <a:solidFill>
                  <a:schemeClr val="accent2"/>
                </a:solidFill>
                <a:latin typeface="Arial" panose="020B0604020202020204" pitchFamily="34" charset="0"/>
                <a:cs typeface="Arial" panose="020B0604020202020204" pitchFamily="34" charset="0"/>
              </a:defRPr>
            </a:lvl1pPr>
          </a:lstStyle>
          <a:p>
            <a:pPr lvl="0"/>
            <a:r>
              <a:rPr lang="en-US"/>
              <a:t>Click to edit Master text styles</a:t>
            </a:r>
          </a:p>
          <a:p>
            <a:pPr lvl="0"/>
            <a:endParaRPr lang="en-US"/>
          </a:p>
        </p:txBody>
      </p:sp>
    </p:spTree>
    <p:extLst>
      <p:ext uri="{BB962C8B-B14F-4D97-AF65-F5344CB8AC3E}">
        <p14:creationId xmlns:p14="http://schemas.microsoft.com/office/powerpoint/2010/main" val="42175436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E5CF10-454A-4175-82DA-D453962804A8}"/>
              </a:ext>
            </a:extLst>
          </p:cNvPr>
          <p:cNvSpPr>
            <a:spLocks noGrp="1"/>
          </p:cNvSpPr>
          <p:nvPr>
            <p:ph type="ctrTitle"/>
          </p:nvPr>
        </p:nvSpPr>
        <p:spPr>
          <a:xfrm>
            <a:off x="609600" y="710883"/>
            <a:ext cx="9601200" cy="2306637"/>
          </a:xfrm>
        </p:spPr>
        <p:txBody>
          <a:bodyPr tIns="0" rIns="0" bIns="0" anchor="b">
            <a:normAutofit/>
          </a:bodyPr>
          <a:lstStyle>
            <a:lvl1pPr algn="l">
              <a:defRPr sz="4400"/>
            </a:lvl1pPr>
          </a:lstStyle>
          <a:p>
            <a:r>
              <a:rPr lang="en-US"/>
              <a:t>Click to edit Master title style</a:t>
            </a:r>
          </a:p>
        </p:txBody>
      </p:sp>
      <p:sp>
        <p:nvSpPr>
          <p:cNvPr id="3" name="Subtitle 2">
            <a:extLst>
              <a:ext uri="{FF2B5EF4-FFF2-40B4-BE49-F238E27FC236}">
                <a16:creationId xmlns:a16="http://schemas.microsoft.com/office/drawing/2014/main" id="{26AE5AC7-53D4-4C0B-B42A-1A0692FD992D}"/>
              </a:ext>
            </a:extLst>
          </p:cNvPr>
          <p:cNvSpPr>
            <a:spLocks noGrp="1"/>
          </p:cNvSpPr>
          <p:nvPr>
            <p:ph type="subTitle" idx="1"/>
          </p:nvPr>
        </p:nvSpPr>
        <p:spPr>
          <a:xfrm>
            <a:off x="609600" y="3190558"/>
            <a:ext cx="9601200" cy="1655762"/>
          </a:xfrm>
        </p:spPr>
        <p:txBody>
          <a:bodyPr tIns="0" rIns="0" bIns="0">
            <a:normAutofit/>
          </a:bodyPr>
          <a:lstStyle>
            <a:lvl1pPr marL="0" indent="0" algn="l">
              <a:buNone/>
              <a:defRPr sz="2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496E02B-B9F4-499C-8636-D007AAC35E5E}"/>
              </a:ext>
            </a:extLst>
          </p:cNvPr>
          <p:cNvSpPr>
            <a:spLocks noGrp="1"/>
          </p:cNvSpPr>
          <p:nvPr>
            <p:ph type="dt" sz="half" idx="10"/>
          </p:nvPr>
        </p:nvSpPr>
        <p:spPr/>
        <p:txBody>
          <a:bodyPr/>
          <a:lstStyle/>
          <a:p>
            <a:fld id="{47699BCA-25E4-0549-ACA0-D2AAB60BEF64}" type="datetime4">
              <a:rPr lang="en-US" smtClean="0"/>
              <a:t>July 26, 2021</a:t>
            </a:fld>
            <a:endParaRPr lang="en-US" dirty="0"/>
          </a:p>
        </p:txBody>
      </p:sp>
      <p:sp>
        <p:nvSpPr>
          <p:cNvPr id="5" name="Footer Placeholder 4">
            <a:extLst>
              <a:ext uri="{FF2B5EF4-FFF2-40B4-BE49-F238E27FC236}">
                <a16:creationId xmlns:a16="http://schemas.microsoft.com/office/drawing/2014/main" id="{EEBB4B01-15EC-433F-9EFE-F46608EF9D5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58CCF19-ED3A-444D-9389-15BB7142521A}"/>
              </a:ext>
            </a:extLst>
          </p:cNvPr>
          <p:cNvSpPr>
            <a:spLocks noGrp="1"/>
          </p:cNvSpPr>
          <p:nvPr>
            <p:ph type="sldNum" sz="quarter" idx="12"/>
          </p:nvPr>
        </p:nvSpPr>
        <p:spPr/>
        <p:txBody>
          <a:bodyPr/>
          <a:lstStyle/>
          <a:p>
            <a:fld id="{1C4126A1-9282-4A82-AC02-A59AF4A969C8}" type="slidenum">
              <a:rPr lang="en-US" smtClean="0"/>
              <a:t>‹#›</a:t>
            </a:fld>
            <a:endParaRPr lang="en-US" dirty="0"/>
          </a:p>
        </p:txBody>
      </p:sp>
      <p:pic>
        <p:nvPicPr>
          <p:cNvPr id="9" name="Picture 8">
            <a:extLst>
              <a:ext uri="{FF2B5EF4-FFF2-40B4-BE49-F238E27FC236}">
                <a16:creationId xmlns:a16="http://schemas.microsoft.com/office/drawing/2014/main" id="{5ED43345-CE8E-0841-A74F-B26363861C2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600" y="5923429"/>
            <a:ext cx="2322857" cy="654797"/>
          </a:xfrm>
          <a:prstGeom prst="rect">
            <a:avLst/>
          </a:prstGeom>
          <a:solidFill>
            <a:schemeClr val="bg1"/>
          </a:solidFill>
        </p:spPr>
      </p:pic>
    </p:spTree>
    <p:extLst>
      <p:ext uri="{BB962C8B-B14F-4D97-AF65-F5344CB8AC3E}">
        <p14:creationId xmlns:p14="http://schemas.microsoft.com/office/powerpoint/2010/main" val="231162435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B8DBE-A65E-489E-9AB9-0CC9F50776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9F09BE-9B55-4FB5-94A8-D345EC0CE6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B36BF3-B767-404C-9980-D5EC1336C7EB}"/>
              </a:ext>
            </a:extLst>
          </p:cNvPr>
          <p:cNvSpPr>
            <a:spLocks noGrp="1"/>
          </p:cNvSpPr>
          <p:nvPr>
            <p:ph type="dt" sz="half" idx="10"/>
          </p:nvPr>
        </p:nvSpPr>
        <p:spPr/>
        <p:txBody>
          <a:bodyPr/>
          <a:lstStyle/>
          <a:p>
            <a:fld id="{59D49281-58E0-8A4C-95BD-719F8ACCEAD1}" type="datetime4">
              <a:rPr lang="en-US" smtClean="0"/>
              <a:t>July 26, 2021</a:t>
            </a:fld>
            <a:endParaRPr lang="en-US" dirty="0"/>
          </a:p>
        </p:txBody>
      </p:sp>
      <p:sp>
        <p:nvSpPr>
          <p:cNvPr id="5" name="Footer Placeholder 4">
            <a:extLst>
              <a:ext uri="{FF2B5EF4-FFF2-40B4-BE49-F238E27FC236}">
                <a16:creationId xmlns:a16="http://schemas.microsoft.com/office/drawing/2014/main" id="{97E69CF4-31FB-4A49-9A6A-5D616C29B6D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584D128-D963-4687-A11C-8B4468DEDAC2}"/>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4497197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9D7DE-BD2F-44A7-9A26-631D18203EDC}"/>
              </a:ext>
            </a:extLst>
          </p:cNvPr>
          <p:cNvSpPr>
            <a:spLocks noGrp="1"/>
          </p:cNvSpPr>
          <p:nvPr>
            <p:ph type="title"/>
          </p:nvPr>
        </p:nvSpPr>
        <p:spPr>
          <a:xfrm>
            <a:off x="609600" y="1709739"/>
            <a:ext cx="9601200" cy="2781580"/>
          </a:xfrm>
        </p:spPr>
        <p:txBody>
          <a:bodyPr anchor="b">
            <a:normAutofit/>
          </a:bodyPr>
          <a:lstStyle>
            <a:lvl1pPr>
              <a:defRPr sz="4400"/>
            </a:lvl1pPr>
          </a:lstStyle>
          <a:p>
            <a:r>
              <a:rPr lang="en-US"/>
              <a:t>Click to edit Master title style</a:t>
            </a:r>
          </a:p>
        </p:txBody>
      </p:sp>
      <p:sp>
        <p:nvSpPr>
          <p:cNvPr id="3" name="Text Placeholder 2">
            <a:extLst>
              <a:ext uri="{FF2B5EF4-FFF2-40B4-BE49-F238E27FC236}">
                <a16:creationId xmlns:a16="http://schemas.microsoft.com/office/drawing/2014/main" id="{B4FF02F6-F40C-412A-8F1F-B0EDC42D17E7}"/>
              </a:ext>
            </a:extLst>
          </p:cNvPr>
          <p:cNvSpPr>
            <a:spLocks noGrp="1"/>
          </p:cNvSpPr>
          <p:nvPr>
            <p:ph type="body" idx="1"/>
          </p:nvPr>
        </p:nvSpPr>
        <p:spPr>
          <a:xfrm>
            <a:off x="609600" y="4589463"/>
            <a:ext cx="9601200" cy="1500187"/>
          </a:xfrm>
        </p:spPr>
        <p:txBody>
          <a:bodyPr>
            <a:normAutofit/>
          </a:bodyPr>
          <a:lstStyle>
            <a:lvl1pPr marL="0" indent="0">
              <a:buNone/>
              <a:defRPr sz="22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0A2848-E113-4E1E-BEB8-7252BCAC5D6F}"/>
              </a:ext>
            </a:extLst>
          </p:cNvPr>
          <p:cNvSpPr>
            <a:spLocks noGrp="1"/>
          </p:cNvSpPr>
          <p:nvPr>
            <p:ph type="dt" sz="half" idx="10"/>
          </p:nvPr>
        </p:nvSpPr>
        <p:spPr/>
        <p:txBody>
          <a:bodyPr/>
          <a:lstStyle/>
          <a:p>
            <a:fld id="{E648C730-7C29-BC4A-8FDF-053B59C3FC8D}" type="datetime4">
              <a:rPr lang="en-US" smtClean="0"/>
              <a:t>July 26, 2021</a:t>
            </a:fld>
            <a:endParaRPr lang="en-US" dirty="0"/>
          </a:p>
        </p:txBody>
      </p:sp>
      <p:sp>
        <p:nvSpPr>
          <p:cNvPr id="5" name="Footer Placeholder 4">
            <a:extLst>
              <a:ext uri="{FF2B5EF4-FFF2-40B4-BE49-F238E27FC236}">
                <a16:creationId xmlns:a16="http://schemas.microsoft.com/office/drawing/2014/main" id="{D5336698-0571-4544-B8CE-46A287EDAA2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53FF6E0-585E-4E3C-AA69-4F05E9B98283}"/>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1946178451"/>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64008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80F8DA1C-0B9D-D646-975E-7E061F8C5483}" type="datetime4">
              <a:rPr lang="en-US" smtClean="0"/>
              <a:t>July 26, 2021</a:t>
            </a:fld>
            <a:endParaRPr lang="en-US" dirty="0"/>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19117444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CEA272-DFB5-4B00-8EE6-B7848E1A711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77A0F25-E3D0-4B5E-94C3-0406BC11240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D65219B-7317-45C3-9C07-723016F5DE8B}"/>
              </a:ext>
            </a:extLst>
          </p:cNvPr>
          <p:cNvSpPr>
            <a:spLocks noGrp="1"/>
          </p:cNvSpPr>
          <p:nvPr>
            <p:ph type="dt" sz="half" idx="10"/>
          </p:nvPr>
        </p:nvSpPr>
        <p:spPr/>
        <p:txBody>
          <a:bodyPr/>
          <a:lstStyle/>
          <a:p>
            <a:fld id="{F3A766EE-17B0-4F5A-AB9A-BE847EB07CAC}" type="datetimeFigureOut">
              <a:rPr lang="en-US" smtClean="0"/>
              <a:t>7/26/2021</a:t>
            </a:fld>
            <a:endParaRPr lang="en-US" dirty="0"/>
          </a:p>
        </p:txBody>
      </p:sp>
      <p:sp>
        <p:nvSpPr>
          <p:cNvPr id="5" name="Footer Placeholder 4">
            <a:extLst>
              <a:ext uri="{FF2B5EF4-FFF2-40B4-BE49-F238E27FC236}">
                <a16:creationId xmlns:a16="http://schemas.microsoft.com/office/drawing/2014/main" id="{CF5187D6-555B-4DA8-B806-D4A4DF17AB6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1A57A42-ADDD-4639-B7C4-84935FC5ECD6}"/>
              </a:ext>
            </a:extLst>
          </p:cNvPr>
          <p:cNvSpPr>
            <a:spLocks noGrp="1"/>
          </p:cNvSpPr>
          <p:nvPr>
            <p:ph type="sldNum" sz="quarter" idx="12"/>
          </p:nvPr>
        </p:nvSpPr>
        <p:spPr/>
        <p:txBody>
          <a:bodyPr/>
          <a:lstStyle/>
          <a:p>
            <a:fld id="{DE472684-079E-4958-8A31-8453DFC24521}" type="slidenum">
              <a:rPr lang="en-US" smtClean="0"/>
              <a:t>‹#›</a:t>
            </a:fld>
            <a:endParaRPr lang="en-US" dirty="0"/>
          </a:p>
        </p:txBody>
      </p:sp>
    </p:spTree>
    <p:extLst>
      <p:ext uri="{BB962C8B-B14F-4D97-AF65-F5344CB8AC3E}">
        <p14:creationId xmlns:p14="http://schemas.microsoft.com/office/powerpoint/2010/main" val="361772609"/>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4381500" y="1825625"/>
            <a:ext cx="3429000" cy="4351338"/>
          </a:xfrm>
        </p:spPr>
        <p:txBody>
          <a:bodyPr/>
          <a:lstStyle>
            <a:lvl1pPr>
              <a:defRPr sz="2200"/>
            </a:lvl1pPr>
            <a:lvl2pPr marL="574675" indent="-228600">
              <a:tabLst/>
              <a:defRPr sz="2000"/>
            </a:lvl2pPr>
            <a:lvl3pPr marL="801688" indent="-174625">
              <a:tabLst/>
              <a:defRPr sz="1800"/>
            </a:lvl3pPr>
            <a:lvl4pPr marL="1028700" indent="-153988">
              <a:tabLst/>
              <a:defRPr sz="1600"/>
            </a:lvl4pPr>
            <a:lvl5pPr marL="1262063" indent="-146050">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CFEBE3EA-5C93-384F-B4E7-F777B2204F50}" type="datetime4">
              <a:rPr lang="en-US" smtClean="0"/>
              <a:t>July 26, 2021</a:t>
            </a:fld>
            <a:endParaRPr lang="en-US" dirty="0"/>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dirty="0"/>
          </a:p>
        </p:txBody>
      </p:sp>
      <p:sp>
        <p:nvSpPr>
          <p:cNvPr id="9" name="Content Placeholder 2">
            <a:extLst>
              <a:ext uri="{FF2B5EF4-FFF2-40B4-BE49-F238E27FC236}">
                <a16:creationId xmlns:a16="http://schemas.microsoft.com/office/drawing/2014/main" id="{F3DD63F5-A3E6-5541-A0D2-0741078CC51F}"/>
              </a:ext>
            </a:extLst>
          </p:cNvPr>
          <p:cNvSpPr>
            <a:spLocks noGrp="1"/>
          </p:cNvSpPr>
          <p:nvPr>
            <p:ph sz="half" idx="14"/>
          </p:nvPr>
        </p:nvSpPr>
        <p:spPr>
          <a:xfrm>
            <a:off x="8153400" y="1823383"/>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177568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09E6A-FDA0-4ED7-BE97-C8D95AC2BF58}"/>
              </a:ext>
            </a:extLst>
          </p:cNvPr>
          <p:cNvSpPr>
            <a:spLocks noGrp="1"/>
          </p:cNvSpPr>
          <p:nvPr>
            <p:ph type="title"/>
          </p:nvPr>
        </p:nvSpPr>
        <p:spPr>
          <a:xfrm>
            <a:off x="609600"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79AF82F-23EB-452A-A518-6954BA4178B3}"/>
              </a:ext>
            </a:extLst>
          </p:cNvPr>
          <p:cNvSpPr>
            <a:spLocks noGrp="1"/>
          </p:cNvSpPr>
          <p:nvPr>
            <p:ph type="body" idx="1"/>
          </p:nvPr>
        </p:nvSpPr>
        <p:spPr>
          <a:xfrm>
            <a:off x="609600" y="1815353"/>
            <a:ext cx="5157787" cy="6897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FF511F2-1879-422A-AC83-AF4B757EA394}"/>
              </a:ext>
            </a:extLst>
          </p:cNvPr>
          <p:cNvSpPr>
            <a:spLocks noGrp="1"/>
          </p:cNvSpPr>
          <p:nvPr>
            <p:ph sz="half" idx="2"/>
          </p:nvPr>
        </p:nvSpPr>
        <p:spPr>
          <a:xfrm>
            <a:off x="609600" y="2618140"/>
            <a:ext cx="5157787"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5D085B0-5E55-4173-AD52-0FAA8D689EE8}"/>
              </a:ext>
            </a:extLst>
          </p:cNvPr>
          <p:cNvSpPr>
            <a:spLocks noGrp="1"/>
          </p:cNvSpPr>
          <p:nvPr>
            <p:ph type="body" sz="quarter" idx="3"/>
          </p:nvPr>
        </p:nvSpPr>
        <p:spPr>
          <a:xfrm>
            <a:off x="6399212" y="1822075"/>
            <a:ext cx="5183188" cy="6829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367218-91F9-4ED6-B3FB-013FE4027395}"/>
              </a:ext>
            </a:extLst>
          </p:cNvPr>
          <p:cNvSpPr>
            <a:spLocks noGrp="1"/>
          </p:cNvSpPr>
          <p:nvPr>
            <p:ph sz="quarter" idx="4"/>
          </p:nvPr>
        </p:nvSpPr>
        <p:spPr>
          <a:xfrm>
            <a:off x="6399212" y="2618140"/>
            <a:ext cx="5183188"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6D77532-C7EF-4FB8-B588-848FEACDF9ED}"/>
              </a:ext>
            </a:extLst>
          </p:cNvPr>
          <p:cNvSpPr>
            <a:spLocks noGrp="1"/>
          </p:cNvSpPr>
          <p:nvPr>
            <p:ph type="dt" sz="half" idx="10"/>
          </p:nvPr>
        </p:nvSpPr>
        <p:spPr/>
        <p:txBody>
          <a:bodyPr/>
          <a:lstStyle/>
          <a:p>
            <a:fld id="{DECC5334-E057-5242-A2F9-C8D7E27DF7F7}" type="datetime4">
              <a:rPr lang="en-US" smtClean="0"/>
              <a:t>July 26, 2021</a:t>
            </a:fld>
            <a:endParaRPr lang="en-US" dirty="0"/>
          </a:p>
        </p:txBody>
      </p:sp>
      <p:sp>
        <p:nvSpPr>
          <p:cNvPr id="8" name="Footer Placeholder 7">
            <a:extLst>
              <a:ext uri="{FF2B5EF4-FFF2-40B4-BE49-F238E27FC236}">
                <a16:creationId xmlns:a16="http://schemas.microsoft.com/office/drawing/2014/main" id="{2079C5B1-FC29-4686-A5C9-68EB6E213144}"/>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5F00C4AA-2AAD-4FD5-882C-4D74AEB40118}"/>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1783404075"/>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BBEDE-A162-40BD-B5DF-FF0D21BB23F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BDE3442-FB53-48FB-8CC8-782FF27439F9}"/>
              </a:ext>
            </a:extLst>
          </p:cNvPr>
          <p:cNvSpPr>
            <a:spLocks noGrp="1"/>
          </p:cNvSpPr>
          <p:nvPr>
            <p:ph type="dt" sz="half" idx="10"/>
          </p:nvPr>
        </p:nvSpPr>
        <p:spPr/>
        <p:txBody>
          <a:bodyPr/>
          <a:lstStyle/>
          <a:p>
            <a:fld id="{27353461-14C9-FC4F-AC0D-548336E9A57C}" type="datetime4">
              <a:rPr lang="en-US" smtClean="0"/>
              <a:t>July 26, 2021</a:t>
            </a:fld>
            <a:endParaRPr lang="en-US" dirty="0"/>
          </a:p>
        </p:txBody>
      </p:sp>
      <p:sp>
        <p:nvSpPr>
          <p:cNvPr id="4" name="Footer Placeholder 3">
            <a:extLst>
              <a:ext uri="{FF2B5EF4-FFF2-40B4-BE49-F238E27FC236}">
                <a16:creationId xmlns:a16="http://schemas.microsoft.com/office/drawing/2014/main" id="{783A1A1C-89E4-4841-B8AB-BB40669C6984}"/>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EA9CEA0-EE21-44A0-B68B-DC3742CB4306}"/>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27250286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C52EDD-1EE3-4B95-8473-43C06E5B2C34}"/>
              </a:ext>
            </a:extLst>
          </p:cNvPr>
          <p:cNvSpPr>
            <a:spLocks noGrp="1"/>
          </p:cNvSpPr>
          <p:nvPr>
            <p:ph type="dt" sz="half" idx="10"/>
          </p:nvPr>
        </p:nvSpPr>
        <p:spPr/>
        <p:txBody>
          <a:bodyPr/>
          <a:lstStyle/>
          <a:p>
            <a:fld id="{E3BE7E72-8D51-DE4B-9A7D-97F3A7013045}" type="datetime4">
              <a:rPr lang="en-US" smtClean="0"/>
              <a:t>July 26, 2021</a:t>
            </a:fld>
            <a:endParaRPr lang="en-US" dirty="0"/>
          </a:p>
        </p:txBody>
      </p:sp>
      <p:sp>
        <p:nvSpPr>
          <p:cNvPr id="3" name="Footer Placeholder 2">
            <a:extLst>
              <a:ext uri="{FF2B5EF4-FFF2-40B4-BE49-F238E27FC236}">
                <a16:creationId xmlns:a16="http://schemas.microsoft.com/office/drawing/2014/main" id="{D6CBE13D-AC6B-4824-9171-82D0D4FE634A}"/>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A2BC3C82-BD2C-4170-9977-C96F9E468E34}"/>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375213121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1049A-26B2-4C56-BBAF-F24162BA11B0}"/>
              </a:ext>
            </a:extLst>
          </p:cNvPr>
          <p:cNvSpPr>
            <a:spLocks noGrp="1"/>
          </p:cNvSpPr>
          <p:nvPr>
            <p:ph type="title"/>
          </p:nvPr>
        </p:nvSpPr>
        <p:spPr>
          <a:xfrm>
            <a:off x="609600" y="457200"/>
            <a:ext cx="4162425"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4E30857-C015-474B-91A7-FA6B383FF820}"/>
              </a:ext>
            </a:extLst>
          </p:cNvPr>
          <p:cNvSpPr>
            <a:spLocks noGrp="1"/>
          </p:cNvSpPr>
          <p:nvPr>
            <p:ph idx="1"/>
          </p:nvPr>
        </p:nvSpPr>
        <p:spPr>
          <a:xfrm>
            <a:off x="5183188" y="1122829"/>
            <a:ext cx="6399212" cy="4738221"/>
          </a:xfrm>
        </p:spPr>
        <p:txBody>
          <a:bodyPr/>
          <a:lstStyle>
            <a:lvl1pPr>
              <a:defRPr sz="2400"/>
            </a:lvl1pPr>
            <a:lvl2pPr>
              <a:defRPr sz="22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9F55E0-CAAD-418B-B798-EF8909A82554}"/>
              </a:ext>
            </a:extLst>
          </p:cNvPr>
          <p:cNvSpPr>
            <a:spLocks noGrp="1"/>
          </p:cNvSpPr>
          <p:nvPr>
            <p:ph type="body" sz="half" idx="2"/>
          </p:nvPr>
        </p:nvSpPr>
        <p:spPr>
          <a:xfrm>
            <a:off x="609600" y="2144806"/>
            <a:ext cx="4162425" cy="372418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484654-1CE8-4958-8751-DED82E1F76CB}"/>
              </a:ext>
            </a:extLst>
          </p:cNvPr>
          <p:cNvSpPr>
            <a:spLocks noGrp="1"/>
          </p:cNvSpPr>
          <p:nvPr>
            <p:ph type="dt" sz="half" idx="10"/>
          </p:nvPr>
        </p:nvSpPr>
        <p:spPr/>
        <p:txBody>
          <a:bodyPr/>
          <a:lstStyle/>
          <a:p>
            <a:fld id="{96511D68-02DF-B24C-9D32-551156E98BBA}" type="datetime4">
              <a:rPr lang="en-US" smtClean="0"/>
              <a:t>July 26, 2021</a:t>
            </a:fld>
            <a:endParaRPr lang="en-US" dirty="0"/>
          </a:p>
        </p:txBody>
      </p:sp>
      <p:sp>
        <p:nvSpPr>
          <p:cNvPr id="6" name="Footer Placeholder 5">
            <a:extLst>
              <a:ext uri="{FF2B5EF4-FFF2-40B4-BE49-F238E27FC236}">
                <a16:creationId xmlns:a16="http://schemas.microsoft.com/office/drawing/2014/main" id="{350DE396-885E-4921-803B-7D9BB9BF441E}"/>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48988B9E-F47E-4E3F-AED1-363F8FD6977F}"/>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2893845280"/>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12505-DA25-4627-AE8B-45B4E569D7F7}"/>
              </a:ext>
            </a:extLst>
          </p:cNvPr>
          <p:cNvSpPr>
            <a:spLocks noGrp="1"/>
          </p:cNvSpPr>
          <p:nvPr>
            <p:ph type="title" hasCustomPrompt="1"/>
          </p:nvPr>
        </p:nvSpPr>
        <p:spPr>
          <a:xfrm>
            <a:off x="609600" y="457200"/>
            <a:ext cx="3932237" cy="1600200"/>
          </a:xfrm>
        </p:spPr>
        <p:txBody>
          <a:bodyPr anchor="b"/>
          <a:lstStyle>
            <a:lvl1pPr>
              <a:defRPr sz="3200"/>
            </a:lvl1pPr>
          </a:lstStyle>
          <a:p>
            <a:r>
              <a:rPr lang="en-US"/>
              <a:t>Click to edit </a:t>
            </a:r>
            <a:br>
              <a:rPr lang="en-US"/>
            </a:br>
            <a:r>
              <a:rPr lang="en-US"/>
              <a:t>Master title style</a:t>
            </a:r>
          </a:p>
        </p:txBody>
      </p:sp>
      <p:sp>
        <p:nvSpPr>
          <p:cNvPr id="3" name="Picture Placeholder 2">
            <a:extLst>
              <a:ext uri="{FF2B5EF4-FFF2-40B4-BE49-F238E27FC236}">
                <a16:creationId xmlns:a16="http://schemas.microsoft.com/office/drawing/2014/main" id="{1C0070E8-7368-44B9-AF9C-ACF947C1DB59}"/>
              </a:ext>
            </a:extLst>
          </p:cNvPr>
          <p:cNvSpPr>
            <a:spLocks noGrp="1"/>
          </p:cNvSpPr>
          <p:nvPr>
            <p:ph type="pic" idx="1"/>
          </p:nvPr>
        </p:nvSpPr>
        <p:spPr>
          <a:xfrm>
            <a:off x="5183188" y="457200"/>
            <a:ext cx="6399212" cy="57149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a:extLst>
              <a:ext uri="{FF2B5EF4-FFF2-40B4-BE49-F238E27FC236}">
                <a16:creationId xmlns:a16="http://schemas.microsoft.com/office/drawing/2014/main" id="{58B0CC94-456E-4461-8F07-2069C3A33A39}"/>
              </a:ext>
            </a:extLst>
          </p:cNvPr>
          <p:cNvSpPr>
            <a:spLocks noGrp="1"/>
          </p:cNvSpPr>
          <p:nvPr>
            <p:ph type="body" sz="half" idx="2"/>
          </p:nvPr>
        </p:nvSpPr>
        <p:spPr>
          <a:xfrm>
            <a:off x="609600" y="214884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956321-E8FB-41E1-85F6-DBD6EA5FF53B}"/>
              </a:ext>
            </a:extLst>
          </p:cNvPr>
          <p:cNvSpPr>
            <a:spLocks noGrp="1"/>
          </p:cNvSpPr>
          <p:nvPr>
            <p:ph type="dt" sz="half" idx="10"/>
          </p:nvPr>
        </p:nvSpPr>
        <p:spPr/>
        <p:txBody>
          <a:bodyPr/>
          <a:lstStyle/>
          <a:p>
            <a:fld id="{6074A395-2856-434C-9054-DC3F778FC5DA}" type="datetime4">
              <a:rPr lang="en-US" smtClean="0"/>
              <a:t>July 26, 2021</a:t>
            </a:fld>
            <a:endParaRPr lang="en-US" dirty="0"/>
          </a:p>
        </p:txBody>
      </p:sp>
      <p:sp>
        <p:nvSpPr>
          <p:cNvPr id="6" name="Footer Placeholder 5">
            <a:extLst>
              <a:ext uri="{FF2B5EF4-FFF2-40B4-BE49-F238E27FC236}">
                <a16:creationId xmlns:a16="http://schemas.microsoft.com/office/drawing/2014/main" id="{36A4151C-9711-4DEA-A930-0BE29AAA5578}"/>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EC62239-A991-45D3-9A7C-078B372FD117}"/>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3542778892"/>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3A054-1E05-49E4-9A16-3F64354E714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BD008EB-C649-4DF5-8B4C-A649F1678A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7C561E-6EC2-4599-9575-C067F25D9D0B}"/>
              </a:ext>
            </a:extLst>
          </p:cNvPr>
          <p:cNvSpPr>
            <a:spLocks noGrp="1"/>
          </p:cNvSpPr>
          <p:nvPr>
            <p:ph type="dt" sz="half" idx="10"/>
          </p:nvPr>
        </p:nvSpPr>
        <p:spPr/>
        <p:txBody>
          <a:bodyPr/>
          <a:lstStyle/>
          <a:p>
            <a:fld id="{5B679FFF-23B4-8941-9EC6-78E2BDC2B599}" type="datetime4">
              <a:rPr lang="en-US" smtClean="0"/>
              <a:t>July 26, 2021</a:t>
            </a:fld>
            <a:endParaRPr lang="en-US" dirty="0"/>
          </a:p>
        </p:txBody>
      </p:sp>
      <p:sp>
        <p:nvSpPr>
          <p:cNvPr id="5" name="Footer Placeholder 4">
            <a:extLst>
              <a:ext uri="{FF2B5EF4-FFF2-40B4-BE49-F238E27FC236}">
                <a16:creationId xmlns:a16="http://schemas.microsoft.com/office/drawing/2014/main" id="{9C9F41A2-BA7C-411A-9330-0BD84C0C038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7D1534B-E674-4D9E-BC73-E4283BC2EC82}"/>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1668509270"/>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C979964-4C31-41D4-B9E3-00E68D9F8CC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8B9CA52-E870-4B90-827A-92F579F9D3E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05972A-1E60-4BFE-842E-4D79CB7AC71B}"/>
              </a:ext>
            </a:extLst>
          </p:cNvPr>
          <p:cNvSpPr>
            <a:spLocks noGrp="1"/>
          </p:cNvSpPr>
          <p:nvPr>
            <p:ph type="dt" sz="half" idx="10"/>
          </p:nvPr>
        </p:nvSpPr>
        <p:spPr/>
        <p:txBody>
          <a:bodyPr/>
          <a:lstStyle/>
          <a:p>
            <a:fld id="{2AF497B7-4970-6140-9DD9-264DC1C59A26}" type="datetime4">
              <a:rPr lang="en-US" smtClean="0"/>
              <a:t>July 26, 2021</a:t>
            </a:fld>
            <a:endParaRPr lang="en-US" dirty="0"/>
          </a:p>
        </p:txBody>
      </p:sp>
      <p:sp>
        <p:nvSpPr>
          <p:cNvPr id="5" name="Footer Placeholder 4">
            <a:extLst>
              <a:ext uri="{FF2B5EF4-FFF2-40B4-BE49-F238E27FC236}">
                <a16:creationId xmlns:a16="http://schemas.microsoft.com/office/drawing/2014/main" id="{6DEA85AD-1626-4202-9D3C-04AD62118CC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B25654E-34E4-440A-8E7A-8EBF46E06BD0}"/>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268721477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66FF4B8-010A-B047-A4A2-CECC568B8D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600" y="5925312"/>
            <a:ext cx="2321859" cy="654516"/>
          </a:xfrm>
          <a:prstGeom prst="rect">
            <a:avLst/>
          </a:prstGeom>
          <a:solidFill>
            <a:schemeClr val="accent1"/>
          </a:solidFill>
        </p:spPr>
      </p:pic>
      <p:sp>
        <p:nvSpPr>
          <p:cNvPr id="2" name="Title 1">
            <a:extLst>
              <a:ext uri="{FF2B5EF4-FFF2-40B4-BE49-F238E27FC236}">
                <a16:creationId xmlns:a16="http://schemas.microsoft.com/office/drawing/2014/main" id="{AEE5CF10-454A-4175-82DA-D453962804A8}"/>
              </a:ext>
            </a:extLst>
          </p:cNvPr>
          <p:cNvSpPr>
            <a:spLocks noGrp="1"/>
          </p:cNvSpPr>
          <p:nvPr>
            <p:ph type="ctrTitle"/>
          </p:nvPr>
        </p:nvSpPr>
        <p:spPr>
          <a:xfrm>
            <a:off x="609600" y="710883"/>
            <a:ext cx="9601200" cy="2306637"/>
          </a:xfrm>
        </p:spPr>
        <p:txBody>
          <a:bodyPr tIns="0" rIns="0" bIns="0" anchor="b">
            <a:normAutofit/>
          </a:bodyPr>
          <a:lstStyle>
            <a:lvl1pPr algn="l">
              <a:defRPr sz="4400"/>
            </a:lvl1pPr>
          </a:lstStyle>
          <a:p>
            <a:r>
              <a:rPr lang="en-US"/>
              <a:t>Click to edit Master title style</a:t>
            </a:r>
          </a:p>
        </p:txBody>
      </p:sp>
      <p:sp>
        <p:nvSpPr>
          <p:cNvPr id="3" name="Subtitle 2">
            <a:extLst>
              <a:ext uri="{FF2B5EF4-FFF2-40B4-BE49-F238E27FC236}">
                <a16:creationId xmlns:a16="http://schemas.microsoft.com/office/drawing/2014/main" id="{26AE5AC7-53D4-4C0B-B42A-1A0692FD992D}"/>
              </a:ext>
            </a:extLst>
          </p:cNvPr>
          <p:cNvSpPr>
            <a:spLocks noGrp="1"/>
          </p:cNvSpPr>
          <p:nvPr>
            <p:ph type="subTitle" idx="1"/>
          </p:nvPr>
        </p:nvSpPr>
        <p:spPr>
          <a:xfrm>
            <a:off x="609600" y="3190558"/>
            <a:ext cx="9601200" cy="1655762"/>
          </a:xfrm>
        </p:spPr>
        <p:txBody>
          <a:bodyPr tIns="0" rIns="0" bIns="0">
            <a:normAutofit/>
          </a:bodyPr>
          <a:lstStyle>
            <a:lvl1pPr marL="0" indent="0" algn="l">
              <a:buNone/>
              <a:defRPr sz="2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496E02B-B9F4-499C-8636-D007AAC35E5E}"/>
              </a:ext>
            </a:extLst>
          </p:cNvPr>
          <p:cNvSpPr>
            <a:spLocks noGrp="1"/>
          </p:cNvSpPr>
          <p:nvPr>
            <p:ph type="dt" sz="half" idx="10"/>
          </p:nvPr>
        </p:nvSpPr>
        <p:spPr/>
        <p:txBody>
          <a:bodyPr/>
          <a:lstStyle/>
          <a:p>
            <a:fld id="{1787DCA3-C00D-6A4D-BB92-92F208F6050E}" type="datetime4">
              <a:rPr lang="en-US" smtClean="0"/>
              <a:t>July 26, 2021</a:t>
            </a:fld>
            <a:endParaRPr lang="en-US" dirty="0"/>
          </a:p>
        </p:txBody>
      </p:sp>
      <p:sp>
        <p:nvSpPr>
          <p:cNvPr id="5" name="Footer Placeholder 4">
            <a:extLst>
              <a:ext uri="{FF2B5EF4-FFF2-40B4-BE49-F238E27FC236}">
                <a16:creationId xmlns:a16="http://schemas.microsoft.com/office/drawing/2014/main" id="{EEBB4B01-15EC-433F-9EFE-F46608EF9D5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58CCF19-ED3A-444D-9389-15BB7142521A}"/>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287418441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B8DBE-A65E-489E-9AB9-0CC9F50776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9F09BE-9B55-4FB5-94A8-D345EC0CE6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B36BF3-B767-404C-9980-D5EC1336C7EB}"/>
              </a:ext>
            </a:extLst>
          </p:cNvPr>
          <p:cNvSpPr>
            <a:spLocks noGrp="1"/>
          </p:cNvSpPr>
          <p:nvPr>
            <p:ph type="dt" sz="half" idx="10"/>
          </p:nvPr>
        </p:nvSpPr>
        <p:spPr/>
        <p:txBody>
          <a:bodyPr/>
          <a:lstStyle/>
          <a:p>
            <a:fld id="{480FA2D5-53FB-DB49-B5D7-9159B9F925A4}" type="datetime4">
              <a:rPr lang="en-US" smtClean="0"/>
              <a:t>July 26, 2021</a:t>
            </a:fld>
            <a:endParaRPr lang="en-US" dirty="0"/>
          </a:p>
        </p:txBody>
      </p:sp>
      <p:sp>
        <p:nvSpPr>
          <p:cNvPr id="5" name="Footer Placeholder 4">
            <a:extLst>
              <a:ext uri="{FF2B5EF4-FFF2-40B4-BE49-F238E27FC236}">
                <a16:creationId xmlns:a16="http://schemas.microsoft.com/office/drawing/2014/main" id="{97E69CF4-31FB-4A49-9A6A-5D616C29B6D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584D128-D963-4687-A11C-8B4468DEDAC2}"/>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35311332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A71F1C-1888-4922-81D1-A3A668A1812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F539C17-0E09-4107-AD73-549224CA700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CDCDF3-035F-4041-A1A0-37F73BDCE345}"/>
              </a:ext>
            </a:extLst>
          </p:cNvPr>
          <p:cNvSpPr>
            <a:spLocks noGrp="1"/>
          </p:cNvSpPr>
          <p:nvPr>
            <p:ph type="dt" sz="half" idx="10"/>
          </p:nvPr>
        </p:nvSpPr>
        <p:spPr/>
        <p:txBody>
          <a:bodyPr/>
          <a:lstStyle/>
          <a:p>
            <a:fld id="{F3A766EE-17B0-4F5A-AB9A-BE847EB07CAC}" type="datetimeFigureOut">
              <a:rPr lang="en-US" smtClean="0"/>
              <a:t>7/26/2021</a:t>
            </a:fld>
            <a:endParaRPr lang="en-US" dirty="0"/>
          </a:p>
        </p:txBody>
      </p:sp>
      <p:sp>
        <p:nvSpPr>
          <p:cNvPr id="5" name="Footer Placeholder 4">
            <a:extLst>
              <a:ext uri="{FF2B5EF4-FFF2-40B4-BE49-F238E27FC236}">
                <a16:creationId xmlns:a16="http://schemas.microsoft.com/office/drawing/2014/main" id="{223DE791-2C27-4428-93FD-73B8CD7BF09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132899A-02D2-4F10-AC5C-E6436AF8431E}"/>
              </a:ext>
            </a:extLst>
          </p:cNvPr>
          <p:cNvSpPr>
            <a:spLocks noGrp="1"/>
          </p:cNvSpPr>
          <p:nvPr>
            <p:ph type="sldNum" sz="quarter" idx="12"/>
          </p:nvPr>
        </p:nvSpPr>
        <p:spPr/>
        <p:txBody>
          <a:bodyPr/>
          <a:lstStyle/>
          <a:p>
            <a:fld id="{DE472684-079E-4958-8A31-8453DFC24521}" type="slidenum">
              <a:rPr lang="en-US" smtClean="0"/>
              <a:t>‹#›</a:t>
            </a:fld>
            <a:endParaRPr lang="en-US" dirty="0"/>
          </a:p>
        </p:txBody>
      </p:sp>
    </p:spTree>
    <p:extLst>
      <p:ext uri="{BB962C8B-B14F-4D97-AF65-F5344CB8AC3E}">
        <p14:creationId xmlns:p14="http://schemas.microsoft.com/office/powerpoint/2010/main" val="280076633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9D7DE-BD2F-44A7-9A26-631D18203EDC}"/>
              </a:ext>
            </a:extLst>
          </p:cNvPr>
          <p:cNvSpPr>
            <a:spLocks noGrp="1"/>
          </p:cNvSpPr>
          <p:nvPr>
            <p:ph type="title"/>
          </p:nvPr>
        </p:nvSpPr>
        <p:spPr>
          <a:xfrm>
            <a:off x="609600" y="1709739"/>
            <a:ext cx="9601200" cy="2781580"/>
          </a:xfrm>
        </p:spPr>
        <p:txBody>
          <a:bodyPr anchor="b">
            <a:normAutofit/>
          </a:bodyPr>
          <a:lstStyle>
            <a:lvl1pPr>
              <a:defRPr sz="4400"/>
            </a:lvl1pPr>
          </a:lstStyle>
          <a:p>
            <a:r>
              <a:rPr lang="en-US"/>
              <a:t>Click to edit Master title style</a:t>
            </a:r>
          </a:p>
        </p:txBody>
      </p:sp>
      <p:sp>
        <p:nvSpPr>
          <p:cNvPr id="3" name="Text Placeholder 2">
            <a:extLst>
              <a:ext uri="{FF2B5EF4-FFF2-40B4-BE49-F238E27FC236}">
                <a16:creationId xmlns:a16="http://schemas.microsoft.com/office/drawing/2014/main" id="{B4FF02F6-F40C-412A-8F1F-B0EDC42D17E7}"/>
              </a:ext>
            </a:extLst>
          </p:cNvPr>
          <p:cNvSpPr>
            <a:spLocks noGrp="1"/>
          </p:cNvSpPr>
          <p:nvPr>
            <p:ph type="body" idx="1"/>
          </p:nvPr>
        </p:nvSpPr>
        <p:spPr>
          <a:xfrm>
            <a:off x="609600" y="4589463"/>
            <a:ext cx="9601200" cy="1500187"/>
          </a:xfrm>
        </p:spPr>
        <p:txBody>
          <a:bodyPr>
            <a:normAutofit/>
          </a:bodyPr>
          <a:lstStyle>
            <a:lvl1pPr marL="0" indent="0">
              <a:buNone/>
              <a:defRPr sz="2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0A2848-E113-4E1E-BEB8-7252BCAC5D6F}"/>
              </a:ext>
            </a:extLst>
          </p:cNvPr>
          <p:cNvSpPr>
            <a:spLocks noGrp="1"/>
          </p:cNvSpPr>
          <p:nvPr>
            <p:ph type="dt" sz="half" idx="10"/>
          </p:nvPr>
        </p:nvSpPr>
        <p:spPr/>
        <p:txBody>
          <a:bodyPr/>
          <a:lstStyle/>
          <a:p>
            <a:fld id="{EC722630-1AC3-FB4D-83A6-2F9E3D756B94}" type="datetime4">
              <a:rPr lang="en-US" smtClean="0"/>
              <a:t>July 26, 2021</a:t>
            </a:fld>
            <a:endParaRPr lang="en-US" dirty="0"/>
          </a:p>
        </p:txBody>
      </p:sp>
      <p:sp>
        <p:nvSpPr>
          <p:cNvPr id="5" name="Footer Placeholder 4">
            <a:extLst>
              <a:ext uri="{FF2B5EF4-FFF2-40B4-BE49-F238E27FC236}">
                <a16:creationId xmlns:a16="http://schemas.microsoft.com/office/drawing/2014/main" id="{D5336698-0571-4544-B8CE-46A287EDAA2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53FF6E0-585E-4E3C-AA69-4F05E9B98283}"/>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101225997"/>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64008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F443B4F8-6482-7445-B3FC-732E70C6A8FE}" type="datetime4">
              <a:rPr lang="en-US" smtClean="0"/>
              <a:t>July 26, 2021</a:t>
            </a:fld>
            <a:endParaRPr lang="en-US" dirty="0"/>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3573711938"/>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4381500" y="1825625"/>
            <a:ext cx="3429000" cy="4351338"/>
          </a:xfrm>
        </p:spPr>
        <p:txBody>
          <a:bodyPr/>
          <a:lstStyle>
            <a:lvl1pPr>
              <a:defRPr sz="2200"/>
            </a:lvl1pPr>
            <a:lvl2pPr marL="574675" indent="-228600">
              <a:tabLst/>
              <a:defRPr sz="2000"/>
            </a:lvl2pPr>
            <a:lvl3pPr marL="801688" indent="-174625">
              <a:tabLst/>
              <a:defRPr sz="1800"/>
            </a:lvl3pPr>
            <a:lvl4pPr marL="1028700" indent="-153988">
              <a:tabLst/>
              <a:defRPr sz="1600"/>
            </a:lvl4pPr>
            <a:lvl5pPr marL="1262063" indent="-146050">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AC1ECF14-1BD0-3C40-BD72-F69DC26ED8B1}" type="datetime4">
              <a:rPr lang="en-US" smtClean="0"/>
              <a:t>July 26, 2021</a:t>
            </a:fld>
            <a:endParaRPr lang="en-US" dirty="0"/>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dirty="0"/>
          </a:p>
        </p:txBody>
      </p:sp>
      <p:sp>
        <p:nvSpPr>
          <p:cNvPr id="9" name="Content Placeholder 2">
            <a:extLst>
              <a:ext uri="{FF2B5EF4-FFF2-40B4-BE49-F238E27FC236}">
                <a16:creationId xmlns:a16="http://schemas.microsoft.com/office/drawing/2014/main" id="{F3DD63F5-A3E6-5541-A0D2-0741078CC51F}"/>
              </a:ext>
            </a:extLst>
          </p:cNvPr>
          <p:cNvSpPr>
            <a:spLocks noGrp="1"/>
          </p:cNvSpPr>
          <p:nvPr>
            <p:ph sz="half" idx="14"/>
          </p:nvPr>
        </p:nvSpPr>
        <p:spPr>
          <a:xfrm>
            <a:off x="8153400" y="1823383"/>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0639026"/>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09E6A-FDA0-4ED7-BE97-C8D95AC2BF58}"/>
              </a:ext>
            </a:extLst>
          </p:cNvPr>
          <p:cNvSpPr>
            <a:spLocks noGrp="1"/>
          </p:cNvSpPr>
          <p:nvPr>
            <p:ph type="title"/>
          </p:nvPr>
        </p:nvSpPr>
        <p:spPr>
          <a:xfrm>
            <a:off x="609600"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79AF82F-23EB-452A-A518-6954BA4178B3}"/>
              </a:ext>
            </a:extLst>
          </p:cNvPr>
          <p:cNvSpPr>
            <a:spLocks noGrp="1"/>
          </p:cNvSpPr>
          <p:nvPr>
            <p:ph type="body" idx="1"/>
          </p:nvPr>
        </p:nvSpPr>
        <p:spPr>
          <a:xfrm>
            <a:off x="609600" y="1815353"/>
            <a:ext cx="5157787" cy="6897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FF511F2-1879-422A-AC83-AF4B757EA394}"/>
              </a:ext>
            </a:extLst>
          </p:cNvPr>
          <p:cNvSpPr>
            <a:spLocks noGrp="1"/>
          </p:cNvSpPr>
          <p:nvPr>
            <p:ph sz="half" idx="2"/>
          </p:nvPr>
        </p:nvSpPr>
        <p:spPr>
          <a:xfrm>
            <a:off x="609600" y="2618140"/>
            <a:ext cx="5157787"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5D085B0-5E55-4173-AD52-0FAA8D689EE8}"/>
              </a:ext>
            </a:extLst>
          </p:cNvPr>
          <p:cNvSpPr>
            <a:spLocks noGrp="1"/>
          </p:cNvSpPr>
          <p:nvPr>
            <p:ph type="body" sz="quarter" idx="3"/>
          </p:nvPr>
        </p:nvSpPr>
        <p:spPr>
          <a:xfrm>
            <a:off x="6399212" y="1822075"/>
            <a:ext cx="5183188" cy="6829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367218-91F9-4ED6-B3FB-013FE4027395}"/>
              </a:ext>
            </a:extLst>
          </p:cNvPr>
          <p:cNvSpPr>
            <a:spLocks noGrp="1"/>
          </p:cNvSpPr>
          <p:nvPr>
            <p:ph sz="quarter" idx="4"/>
          </p:nvPr>
        </p:nvSpPr>
        <p:spPr>
          <a:xfrm>
            <a:off x="6399212" y="2618140"/>
            <a:ext cx="5183188"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6D77532-C7EF-4FB8-B588-848FEACDF9ED}"/>
              </a:ext>
            </a:extLst>
          </p:cNvPr>
          <p:cNvSpPr>
            <a:spLocks noGrp="1"/>
          </p:cNvSpPr>
          <p:nvPr>
            <p:ph type="dt" sz="half" idx="10"/>
          </p:nvPr>
        </p:nvSpPr>
        <p:spPr/>
        <p:txBody>
          <a:bodyPr/>
          <a:lstStyle/>
          <a:p>
            <a:fld id="{9732060B-9104-5049-81A2-5B996B708C05}" type="datetime4">
              <a:rPr lang="en-US" smtClean="0"/>
              <a:t>July 26, 2021</a:t>
            </a:fld>
            <a:endParaRPr lang="en-US" dirty="0"/>
          </a:p>
        </p:txBody>
      </p:sp>
      <p:sp>
        <p:nvSpPr>
          <p:cNvPr id="8" name="Footer Placeholder 7">
            <a:extLst>
              <a:ext uri="{FF2B5EF4-FFF2-40B4-BE49-F238E27FC236}">
                <a16:creationId xmlns:a16="http://schemas.microsoft.com/office/drawing/2014/main" id="{2079C5B1-FC29-4686-A5C9-68EB6E213144}"/>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5F00C4AA-2AAD-4FD5-882C-4D74AEB40118}"/>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7706158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BBEDE-A162-40BD-B5DF-FF0D21BB23F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BDE3442-FB53-48FB-8CC8-782FF27439F9}"/>
              </a:ext>
            </a:extLst>
          </p:cNvPr>
          <p:cNvSpPr>
            <a:spLocks noGrp="1"/>
          </p:cNvSpPr>
          <p:nvPr>
            <p:ph type="dt" sz="half" idx="10"/>
          </p:nvPr>
        </p:nvSpPr>
        <p:spPr/>
        <p:txBody>
          <a:bodyPr/>
          <a:lstStyle/>
          <a:p>
            <a:fld id="{2124F47F-0445-A943-A697-9641DEBD2F09}" type="datetime4">
              <a:rPr lang="en-US" smtClean="0"/>
              <a:t>July 26, 2021</a:t>
            </a:fld>
            <a:endParaRPr lang="en-US" dirty="0"/>
          </a:p>
        </p:txBody>
      </p:sp>
      <p:sp>
        <p:nvSpPr>
          <p:cNvPr id="4" name="Footer Placeholder 3">
            <a:extLst>
              <a:ext uri="{FF2B5EF4-FFF2-40B4-BE49-F238E27FC236}">
                <a16:creationId xmlns:a16="http://schemas.microsoft.com/office/drawing/2014/main" id="{783A1A1C-89E4-4841-B8AB-BB40669C6984}"/>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EA9CEA0-EE21-44A0-B68B-DC3742CB4306}"/>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280700405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C52EDD-1EE3-4B95-8473-43C06E5B2C34}"/>
              </a:ext>
            </a:extLst>
          </p:cNvPr>
          <p:cNvSpPr>
            <a:spLocks noGrp="1"/>
          </p:cNvSpPr>
          <p:nvPr>
            <p:ph type="dt" sz="half" idx="10"/>
          </p:nvPr>
        </p:nvSpPr>
        <p:spPr/>
        <p:txBody>
          <a:bodyPr/>
          <a:lstStyle/>
          <a:p>
            <a:fld id="{635E1B4A-C22C-C44C-AA7A-8A0A063721F3}" type="datetime4">
              <a:rPr lang="en-US" smtClean="0"/>
              <a:t>July 26, 2021</a:t>
            </a:fld>
            <a:endParaRPr lang="en-US" dirty="0"/>
          </a:p>
        </p:txBody>
      </p:sp>
      <p:sp>
        <p:nvSpPr>
          <p:cNvPr id="3" name="Footer Placeholder 2">
            <a:extLst>
              <a:ext uri="{FF2B5EF4-FFF2-40B4-BE49-F238E27FC236}">
                <a16:creationId xmlns:a16="http://schemas.microsoft.com/office/drawing/2014/main" id="{D6CBE13D-AC6B-4824-9171-82D0D4FE634A}"/>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A2BC3C82-BD2C-4170-9977-C96F9E468E34}"/>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3481912507"/>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1049A-26B2-4C56-BBAF-F24162BA11B0}"/>
              </a:ext>
            </a:extLst>
          </p:cNvPr>
          <p:cNvSpPr>
            <a:spLocks noGrp="1"/>
          </p:cNvSpPr>
          <p:nvPr>
            <p:ph type="title"/>
          </p:nvPr>
        </p:nvSpPr>
        <p:spPr>
          <a:xfrm>
            <a:off x="609600" y="457200"/>
            <a:ext cx="4162425"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4E30857-C015-474B-91A7-FA6B383FF820}"/>
              </a:ext>
            </a:extLst>
          </p:cNvPr>
          <p:cNvSpPr>
            <a:spLocks noGrp="1"/>
          </p:cNvSpPr>
          <p:nvPr>
            <p:ph idx="1"/>
          </p:nvPr>
        </p:nvSpPr>
        <p:spPr>
          <a:xfrm>
            <a:off x="5183188" y="1122829"/>
            <a:ext cx="6399212" cy="4738221"/>
          </a:xfrm>
        </p:spPr>
        <p:txBody>
          <a:bodyPr/>
          <a:lstStyle>
            <a:lvl1pPr>
              <a:defRPr sz="2400"/>
            </a:lvl1pPr>
            <a:lvl2pPr>
              <a:defRPr sz="22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9F55E0-CAAD-418B-B798-EF8909A82554}"/>
              </a:ext>
            </a:extLst>
          </p:cNvPr>
          <p:cNvSpPr>
            <a:spLocks noGrp="1"/>
          </p:cNvSpPr>
          <p:nvPr>
            <p:ph type="body" sz="half" idx="2"/>
          </p:nvPr>
        </p:nvSpPr>
        <p:spPr>
          <a:xfrm>
            <a:off x="609600" y="2144806"/>
            <a:ext cx="4162425" cy="372418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484654-1CE8-4958-8751-DED82E1F76CB}"/>
              </a:ext>
            </a:extLst>
          </p:cNvPr>
          <p:cNvSpPr>
            <a:spLocks noGrp="1"/>
          </p:cNvSpPr>
          <p:nvPr>
            <p:ph type="dt" sz="half" idx="10"/>
          </p:nvPr>
        </p:nvSpPr>
        <p:spPr/>
        <p:txBody>
          <a:bodyPr/>
          <a:lstStyle/>
          <a:p>
            <a:fld id="{296F3DF6-0D2E-984B-B1D2-DC636569DEC4}" type="datetime4">
              <a:rPr lang="en-US" smtClean="0"/>
              <a:t>July 26, 2021</a:t>
            </a:fld>
            <a:endParaRPr lang="en-US" dirty="0"/>
          </a:p>
        </p:txBody>
      </p:sp>
      <p:sp>
        <p:nvSpPr>
          <p:cNvPr id="6" name="Footer Placeholder 5">
            <a:extLst>
              <a:ext uri="{FF2B5EF4-FFF2-40B4-BE49-F238E27FC236}">
                <a16:creationId xmlns:a16="http://schemas.microsoft.com/office/drawing/2014/main" id="{350DE396-885E-4921-803B-7D9BB9BF441E}"/>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48988B9E-F47E-4E3F-AED1-363F8FD6977F}"/>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29371938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12505-DA25-4627-AE8B-45B4E569D7F7}"/>
              </a:ext>
            </a:extLst>
          </p:cNvPr>
          <p:cNvSpPr>
            <a:spLocks noGrp="1"/>
          </p:cNvSpPr>
          <p:nvPr>
            <p:ph type="title" hasCustomPrompt="1"/>
          </p:nvPr>
        </p:nvSpPr>
        <p:spPr>
          <a:xfrm>
            <a:off x="609600" y="457200"/>
            <a:ext cx="3932237" cy="1600200"/>
          </a:xfrm>
        </p:spPr>
        <p:txBody>
          <a:bodyPr anchor="b"/>
          <a:lstStyle>
            <a:lvl1pPr>
              <a:defRPr sz="3200"/>
            </a:lvl1pPr>
          </a:lstStyle>
          <a:p>
            <a:r>
              <a:rPr lang="en-US"/>
              <a:t>Click to edit </a:t>
            </a:r>
            <a:br>
              <a:rPr lang="en-US"/>
            </a:br>
            <a:r>
              <a:rPr lang="en-US"/>
              <a:t>Master title style</a:t>
            </a:r>
          </a:p>
        </p:txBody>
      </p:sp>
      <p:sp>
        <p:nvSpPr>
          <p:cNvPr id="3" name="Picture Placeholder 2">
            <a:extLst>
              <a:ext uri="{FF2B5EF4-FFF2-40B4-BE49-F238E27FC236}">
                <a16:creationId xmlns:a16="http://schemas.microsoft.com/office/drawing/2014/main" id="{1C0070E8-7368-44B9-AF9C-ACF947C1DB59}"/>
              </a:ext>
            </a:extLst>
          </p:cNvPr>
          <p:cNvSpPr>
            <a:spLocks noGrp="1"/>
          </p:cNvSpPr>
          <p:nvPr>
            <p:ph type="pic" idx="1"/>
          </p:nvPr>
        </p:nvSpPr>
        <p:spPr>
          <a:xfrm>
            <a:off x="5183188" y="457200"/>
            <a:ext cx="6399212" cy="57149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58B0CC94-456E-4461-8F07-2069C3A33A39}"/>
              </a:ext>
            </a:extLst>
          </p:cNvPr>
          <p:cNvSpPr>
            <a:spLocks noGrp="1"/>
          </p:cNvSpPr>
          <p:nvPr>
            <p:ph type="body" sz="half" idx="2"/>
          </p:nvPr>
        </p:nvSpPr>
        <p:spPr>
          <a:xfrm>
            <a:off x="609600" y="214884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956321-E8FB-41E1-85F6-DBD6EA5FF53B}"/>
              </a:ext>
            </a:extLst>
          </p:cNvPr>
          <p:cNvSpPr>
            <a:spLocks noGrp="1"/>
          </p:cNvSpPr>
          <p:nvPr>
            <p:ph type="dt" sz="half" idx="10"/>
          </p:nvPr>
        </p:nvSpPr>
        <p:spPr/>
        <p:txBody>
          <a:bodyPr/>
          <a:lstStyle/>
          <a:p>
            <a:fld id="{8077EE9A-35F8-284F-922B-E4E6592A11AD}" type="datetime4">
              <a:rPr lang="en-US" smtClean="0"/>
              <a:t>July 26, 2021</a:t>
            </a:fld>
            <a:endParaRPr lang="en-US" dirty="0"/>
          </a:p>
        </p:txBody>
      </p:sp>
      <p:sp>
        <p:nvSpPr>
          <p:cNvPr id="6" name="Footer Placeholder 5">
            <a:extLst>
              <a:ext uri="{FF2B5EF4-FFF2-40B4-BE49-F238E27FC236}">
                <a16:creationId xmlns:a16="http://schemas.microsoft.com/office/drawing/2014/main" id="{36A4151C-9711-4DEA-A930-0BE29AAA5578}"/>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EC62239-A991-45D3-9A7C-078B372FD117}"/>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332782932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3A054-1E05-49E4-9A16-3F64354E714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BD008EB-C649-4DF5-8B4C-A649F1678A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7C561E-6EC2-4599-9575-C067F25D9D0B}"/>
              </a:ext>
            </a:extLst>
          </p:cNvPr>
          <p:cNvSpPr>
            <a:spLocks noGrp="1"/>
          </p:cNvSpPr>
          <p:nvPr>
            <p:ph type="dt" sz="half" idx="10"/>
          </p:nvPr>
        </p:nvSpPr>
        <p:spPr/>
        <p:txBody>
          <a:bodyPr/>
          <a:lstStyle/>
          <a:p>
            <a:fld id="{E1084867-EFF6-D24B-8FCC-C71F2F989520}" type="datetime4">
              <a:rPr lang="en-US" smtClean="0"/>
              <a:t>July 26, 2021</a:t>
            </a:fld>
            <a:endParaRPr lang="en-US" dirty="0"/>
          </a:p>
        </p:txBody>
      </p:sp>
      <p:sp>
        <p:nvSpPr>
          <p:cNvPr id="5" name="Footer Placeholder 4">
            <a:extLst>
              <a:ext uri="{FF2B5EF4-FFF2-40B4-BE49-F238E27FC236}">
                <a16:creationId xmlns:a16="http://schemas.microsoft.com/office/drawing/2014/main" id="{9C9F41A2-BA7C-411A-9330-0BD84C0C038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7D1534B-E674-4D9E-BC73-E4283BC2EC82}"/>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78050203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C979964-4C31-41D4-B9E3-00E68D9F8CC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8B9CA52-E870-4B90-827A-92F579F9D3E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05972A-1E60-4BFE-842E-4D79CB7AC71B}"/>
              </a:ext>
            </a:extLst>
          </p:cNvPr>
          <p:cNvSpPr>
            <a:spLocks noGrp="1"/>
          </p:cNvSpPr>
          <p:nvPr>
            <p:ph type="dt" sz="half" idx="10"/>
          </p:nvPr>
        </p:nvSpPr>
        <p:spPr/>
        <p:txBody>
          <a:bodyPr/>
          <a:lstStyle/>
          <a:p>
            <a:fld id="{BFE2D665-B3BF-7D40-BE39-CF742A95FE31}" type="datetime4">
              <a:rPr lang="en-US" smtClean="0"/>
              <a:t>July 26, 2021</a:t>
            </a:fld>
            <a:endParaRPr lang="en-US" dirty="0"/>
          </a:p>
        </p:txBody>
      </p:sp>
      <p:sp>
        <p:nvSpPr>
          <p:cNvPr id="5" name="Footer Placeholder 4">
            <a:extLst>
              <a:ext uri="{FF2B5EF4-FFF2-40B4-BE49-F238E27FC236}">
                <a16:creationId xmlns:a16="http://schemas.microsoft.com/office/drawing/2014/main" id="{6DEA85AD-1626-4202-9D3C-04AD62118CC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B25654E-34E4-440A-8E7A-8EBF46E06BD0}"/>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4535922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4B46F-ACE4-4333-AF0F-9C77F771B9A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6B3B9B5-DF14-41F7-BC04-8F26C2EFE67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BC29F41-6F77-4683-A041-9EE1952651B1}"/>
              </a:ext>
            </a:extLst>
          </p:cNvPr>
          <p:cNvSpPr>
            <a:spLocks noGrp="1"/>
          </p:cNvSpPr>
          <p:nvPr>
            <p:ph type="dt" sz="half" idx="10"/>
          </p:nvPr>
        </p:nvSpPr>
        <p:spPr/>
        <p:txBody>
          <a:bodyPr/>
          <a:lstStyle/>
          <a:p>
            <a:fld id="{F3A766EE-17B0-4F5A-AB9A-BE847EB07CAC}" type="datetimeFigureOut">
              <a:rPr lang="en-US" smtClean="0"/>
              <a:t>7/26/2021</a:t>
            </a:fld>
            <a:endParaRPr lang="en-US" dirty="0"/>
          </a:p>
        </p:txBody>
      </p:sp>
      <p:sp>
        <p:nvSpPr>
          <p:cNvPr id="5" name="Footer Placeholder 4">
            <a:extLst>
              <a:ext uri="{FF2B5EF4-FFF2-40B4-BE49-F238E27FC236}">
                <a16:creationId xmlns:a16="http://schemas.microsoft.com/office/drawing/2014/main" id="{2C22AEBA-C1C5-4091-A1B2-896FD72DB1D9}"/>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A9F5355C-8839-4EF9-8A81-E4C11CA9D408}"/>
              </a:ext>
            </a:extLst>
          </p:cNvPr>
          <p:cNvSpPr>
            <a:spLocks noGrp="1"/>
          </p:cNvSpPr>
          <p:nvPr>
            <p:ph type="sldNum" sz="quarter" idx="12"/>
          </p:nvPr>
        </p:nvSpPr>
        <p:spPr/>
        <p:txBody>
          <a:bodyPr/>
          <a:lstStyle/>
          <a:p>
            <a:fld id="{DE472684-079E-4958-8A31-8453DFC24521}" type="slidenum">
              <a:rPr lang="en-US" smtClean="0"/>
              <a:t>‹#›</a:t>
            </a:fld>
            <a:endParaRPr lang="en-US" dirty="0"/>
          </a:p>
        </p:txBody>
      </p:sp>
    </p:spTree>
    <p:extLst>
      <p:ext uri="{BB962C8B-B14F-4D97-AF65-F5344CB8AC3E}">
        <p14:creationId xmlns:p14="http://schemas.microsoft.com/office/powerpoint/2010/main" val="177259067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8A5BF6F-6284-4268-A4B2-70D64A08C3F8}" type="slidenum">
              <a:rPr lang="en-US" smtClean="0"/>
              <a:pPr/>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7972611"/>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8A5BF6F-6284-4268-A4B2-70D64A08C3F8}" type="slidenum">
              <a:rPr lang="en-US" smtClean="0"/>
              <a:t>‹#›</a:t>
            </a:fld>
            <a:endParaRPr lang="en-US"/>
          </a:p>
        </p:txBody>
      </p:sp>
    </p:spTree>
    <p:extLst>
      <p:ext uri="{BB962C8B-B14F-4D97-AF65-F5344CB8AC3E}">
        <p14:creationId xmlns:p14="http://schemas.microsoft.com/office/powerpoint/2010/main" val="332419842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lvl1pPr>
              <a:defRPr/>
            </a:lvl1pPr>
          </a:lstStyle>
          <a:p>
            <a:endParaRPr lang="en-US" dirty="0"/>
          </a:p>
        </p:txBody>
      </p:sp>
      <p:sp>
        <p:nvSpPr>
          <p:cNvPr id="6" name="Slide Number Placeholder 5"/>
          <p:cNvSpPr>
            <a:spLocks noGrp="1"/>
          </p:cNvSpPr>
          <p:nvPr>
            <p:ph type="sldNum" sz="quarter" idx="12"/>
          </p:nvPr>
        </p:nvSpPr>
        <p:spPr/>
        <p:txBody>
          <a:bodyPr/>
          <a:lstStyle/>
          <a:p>
            <a:fld id="{A8A5BF6F-6284-4268-A4B2-70D64A08C3F8}" type="slidenum">
              <a:rPr lang="en-US" smtClean="0"/>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075354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79" y="1845734"/>
            <a:ext cx="4937760" cy="40233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8A5BF6F-6284-4268-A4B2-70D64A08C3F8}" type="slidenum">
              <a:rPr lang="en-US" smtClean="0"/>
              <a:t>‹#›</a:t>
            </a:fld>
            <a:endParaRPr lang="en-US"/>
          </a:p>
        </p:txBody>
      </p:sp>
    </p:spTree>
    <p:extLst>
      <p:ext uri="{BB962C8B-B14F-4D97-AF65-F5344CB8AC3E}">
        <p14:creationId xmlns:p14="http://schemas.microsoft.com/office/powerpoint/2010/main" val="380874238"/>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097280" y="2582334"/>
            <a:ext cx="4937760" cy="3378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217920" y="2582334"/>
            <a:ext cx="4937760" cy="3378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A8A5BF6F-6284-4268-A4B2-70D64A08C3F8}" type="slidenum">
              <a:rPr lang="en-US" smtClean="0"/>
              <a:t>‹#›</a:t>
            </a:fld>
            <a:endParaRPr lang="en-US"/>
          </a:p>
        </p:txBody>
      </p:sp>
    </p:spTree>
    <p:extLst>
      <p:ext uri="{BB962C8B-B14F-4D97-AF65-F5344CB8AC3E}">
        <p14:creationId xmlns:p14="http://schemas.microsoft.com/office/powerpoint/2010/main" val="38531103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dirty="0"/>
              <a:t>Da Consulting</a:t>
            </a:r>
          </a:p>
        </p:txBody>
      </p:sp>
      <p:sp>
        <p:nvSpPr>
          <p:cNvPr id="5" name="Slide Number Placeholder 4"/>
          <p:cNvSpPr>
            <a:spLocks noGrp="1"/>
          </p:cNvSpPr>
          <p:nvPr>
            <p:ph type="sldNum" sz="quarter" idx="12"/>
          </p:nvPr>
        </p:nvSpPr>
        <p:spPr/>
        <p:txBody>
          <a:bodyPr/>
          <a:lstStyle/>
          <a:p>
            <a:fld id="{A8A5BF6F-6284-4268-A4B2-70D64A08C3F8}" type="slidenum">
              <a:rPr lang="en-US" smtClean="0"/>
              <a:t>‹#›</a:t>
            </a:fld>
            <a:endParaRPr lang="en-US"/>
          </a:p>
        </p:txBody>
      </p:sp>
    </p:spTree>
    <p:extLst>
      <p:ext uri="{BB962C8B-B14F-4D97-AF65-F5344CB8AC3E}">
        <p14:creationId xmlns:p14="http://schemas.microsoft.com/office/powerpoint/2010/main" val="1305440718"/>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dirty="0"/>
          </a:p>
        </p:txBody>
      </p:sp>
      <p:sp>
        <p:nvSpPr>
          <p:cNvPr id="9" name="Slide Number Placeholder 8"/>
          <p:cNvSpPr>
            <a:spLocks noGrp="1"/>
          </p:cNvSpPr>
          <p:nvPr>
            <p:ph type="sldNum" sz="quarter" idx="12"/>
          </p:nvPr>
        </p:nvSpPr>
        <p:spPr/>
        <p:txBody>
          <a:bodyPr/>
          <a:lstStyle/>
          <a:p>
            <a:fld id="{A8A5BF6F-6284-4268-A4B2-70D64A08C3F8}" type="slidenum">
              <a:rPr lang="en-US" smtClean="0"/>
              <a:t>‹#›</a:t>
            </a:fld>
            <a:endParaRPr lang="en-US"/>
          </a:p>
        </p:txBody>
      </p:sp>
    </p:spTree>
    <p:extLst>
      <p:ext uri="{BB962C8B-B14F-4D97-AF65-F5344CB8AC3E}">
        <p14:creationId xmlns:p14="http://schemas.microsoft.com/office/powerpoint/2010/main" val="312079918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endParaRPr lang="en-US"/>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A8A5BF6F-6284-4268-A4B2-70D64A08C3F8}" type="slidenum">
              <a:rPr lang="en-US" smtClean="0"/>
              <a:t>‹#›</a:t>
            </a:fld>
            <a:endParaRPr lang="en-US"/>
          </a:p>
        </p:txBody>
      </p:sp>
    </p:spTree>
    <p:extLst>
      <p:ext uri="{BB962C8B-B14F-4D97-AF65-F5344CB8AC3E}">
        <p14:creationId xmlns:p14="http://schemas.microsoft.com/office/powerpoint/2010/main" val="614904171"/>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264" cy="822960"/>
          </a:xfrm>
        </p:spPr>
        <p:txBody>
          <a:bodyPr lIns="91440" tIns="0" rIns="9144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blipFill>
            <a:blip r:embed="rId2"/>
            <a:stretch>
              <a:fillRect/>
            </a:stretch>
          </a:blipFill>
        </p:spPr>
        <p:txBody>
          <a:bodyPr lIns="457200" tIns="457200"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097280" y="5907023"/>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8A5BF6F-6284-4268-A4B2-70D64A08C3F8}" type="slidenum">
              <a:rPr lang="en-US" smtClean="0"/>
              <a:t>‹#›</a:t>
            </a:fld>
            <a:endParaRPr lang="en-US"/>
          </a:p>
        </p:txBody>
      </p:sp>
    </p:spTree>
    <p:extLst>
      <p:ext uri="{BB962C8B-B14F-4D97-AF65-F5344CB8AC3E}">
        <p14:creationId xmlns:p14="http://schemas.microsoft.com/office/powerpoint/2010/main" val="1863213999"/>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IE Input:  SoCalGas PRG</a:t>
            </a:r>
          </a:p>
        </p:txBody>
      </p:sp>
      <p:sp>
        <p:nvSpPr>
          <p:cNvPr id="6" name="Slide Number Placeholder 5"/>
          <p:cNvSpPr>
            <a:spLocks noGrp="1"/>
          </p:cNvSpPr>
          <p:nvPr>
            <p:ph type="sldNum" sz="quarter" idx="12"/>
          </p:nvPr>
        </p:nvSpPr>
        <p:spPr/>
        <p:txBody>
          <a:bodyPr/>
          <a:lstStyle/>
          <a:p>
            <a:fld id="{A8A5BF6F-6284-4268-A4B2-70D64A08C3F8}" type="slidenum">
              <a:rPr lang="en-US" smtClean="0"/>
              <a:t>‹#›</a:t>
            </a:fld>
            <a:endParaRPr lang="en-US"/>
          </a:p>
        </p:txBody>
      </p:sp>
    </p:spTree>
    <p:extLst>
      <p:ext uri="{BB962C8B-B14F-4D97-AF65-F5344CB8AC3E}">
        <p14:creationId xmlns:p14="http://schemas.microsoft.com/office/powerpoint/2010/main" val="25965375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0B3AD-CE04-4E16-A79E-425A2956379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53FF63D-0294-4933-8683-BB8C2BD15DA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6E7B622-85C9-4E71-AA63-C3BBE789A9F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65C3339-0774-4D6D-A9F9-AD697F4E68A3}"/>
              </a:ext>
            </a:extLst>
          </p:cNvPr>
          <p:cNvSpPr>
            <a:spLocks noGrp="1"/>
          </p:cNvSpPr>
          <p:nvPr>
            <p:ph type="dt" sz="half" idx="10"/>
          </p:nvPr>
        </p:nvSpPr>
        <p:spPr/>
        <p:txBody>
          <a:bodyPr/>
          <a:lstStyle/>
          <a:p>
            <a:fld id="{F3A766EE-17B0-4F5A-AB9A-BE847EB07CAC}" type="datetimeFigureOut">
              <a:rPr lang="en-US" smtClean="0"/>
              <a:t>7/26/2021</a:t>
            </a:fld>
            <a:endParaRPr lang="en-US" dirty="0"/>
          </a:p>
        </p:txBody>
      </p:sp>
      <p:sp>
        <p:nvSpPr>
          <p:cNvPr id="6" name="Footer Placeholder 5">
            <a:extLst>
              <a:ext uri="{FF2B5EF4-FFF2-40B4-BE49-F238E27FC236}">
                <a16:creationId xmlns:a16="http://schemas.microsoft.com/office/drawing/2014/main" id="{3E07DAFC-0799-4BB0-B306-E82C8029D285}"/>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5D5CE5DD-6A8B-4807-A67B-5EFC260D2EA1}"/>
              </a:ext>
            </a:extLst>
          </p:cNvPr>
          <p:cNvSpPr>
            <a:spLocks noGrp="1"/>
          </p:cNvSpPr>
          <p:nvPr>
            <p:ph type="sldNum" sz="quarter" idx="12"/>
          </p:nvPr>
        </p:nvSpPr>
        <p:spPr/>
        <p:txBody>
          <a:bodyPr/>
          <a:lstStyle/>
          <a:p>
            <a:fld id="{DE472684-079E-4958-8A31-8453DFC24521}" type="slidenum">
              <a:rPr lang="en-US" smtClean="0"/>
              <a:t>‹#›</a:t>
            </a:fld>
            <a:endParaRPr lang="en-US" dirty="0"/>
          </a:p>
        </p:txBody>
      </p:sp>
    </p:spTree>
    <p:extLst>
      <p:ext uri="{BB962C8B-B14F-4D97-AF65-F5344CB8AC3E}">
        <p14:creationId xmlns:p14="http://schemas.microsoft.com/office/powerpoint/2010/main" val="3826671864"/>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4778"/>
            <a:ext cx="2628900" cy="575742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IE Input:  SoCalGas PRG</a:t>
            </a:r>
          </a:p>
        </p:txBody>
      </p:sp>
      <p:sp>
        <p:nvSpPr>
          <p:cNvPr id="6" name="Slide Number Placeholder 5"/>
          <p:cNvSpPr>
            <a:spLocks noGrp="1"/>
          </p:cNvSpPr>
          <p:nvPr>
            <p:ph type="sldNum" sz="quarter" idx="12"/>
          </p:nvPr>
        </p:nvSpPr>
        <p:spPr/>
        <p:txBody>
          <a:bodyPr/>
          <a:lstStyle/>
          <a:p>
            <a:fld id="{A8A5BF6F-6284-4268-A4B2-70D64A08C3F8}" type="slidenum">
              <a:rPr lang="en-US" smtClean="0"/>
              <a:t>‹#›</a:t>
            </a:fld>
            <a:endParaRPr lang="en-US"/>
          </a:p>
        </p:txBody>
      </p:sp>
    </p:spTree>
    <p:extLst>
      <p:ext uri="{BB962C8B-B14F-4D97-AF65-F5344CB8AC3E}">
        <p14:creationId xmlns:p14="http://schemas.microsoft.com/office/powerpoint/2010/main" val="4278677788"/>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Title 9">
            <a:extLst>
              <a:ext uri="{FF2B5EF4-FFF2-40B4-BE49-F238E27FC236}">
                <a16:creationId xmlns:a16="http://schemas.microsoft.com/office/drawing/2014/main" id="{02BE3458-2220-424E-BEE6-5306AECC8FFF}"/>
              </a:ext>
            </a:extLst>
          </p:cNvPr>
          <p:cNvSpPr>
            <a:spLocks noGrp="1"/>
          </p:cNvSpPr>
          <p:nvPr>
            <p:ph type="title"/>
          </p:nvPr>
        </p:nvSpPr>
        <p:spPr/>
        <p:txBody>
          <a:bodyPr/>
          <a:lstStyle/>
          <a:p>
            <a:r>
              <a:rPr lang="en-US"/>
              <a:t>Click to edit Master title style</a:t>
            </a:r>
          </a:p>
        </p:txBody>
      </p:sp>
      <p:sp>
        <p:nvSpPr>
          <p:cNvPr id="11" name="Date Placeholder 10">
            <a:extLst>
              <a:ext uri="{FF2B5EF4-FFF2-40B4-BE49-F238E27FC236}">
                <a16:creationId xmlns:a16="http://schemas.microsoft.com/office/drawing/2014/main" id="{CC31E3BE-0D78-4851-9F39-32FC8CC6546C}"/>
              </a:ext>
            </a:extLst>
          </p:cNvPr>
          <p:cNvSpPr>
            <a:spLocks noGrp="1"/>
          </p:cNvSpPr>
          <p:nvPr>
            <p:ph type="dt" sz="half" idx="10"/>
          </p:nvPr>
        </p:nvSpPr>
        <p:spPr/>
        <p:txBody>
          <a:bodyPr/>
          <a:lstStyle/>
          <a:p>
            <a:endParaRPr lang="en-US" dirty="0"/>
          </a:p>
        </p:txBody>
      </p:sp>
      <p:sp>
        <p:nvSpPr>
          <p:cNvPr id="12" name="Footer Placeholder 11">
            <a:extLst>
              <a:ext uri="{FF2B5EF4-FFF2-40B4-BE49-F238E27FC236}">
                <a16:creationId xmlns:a16="http://schemas.microsoft.com/office/drawing/2014/main" id="{3CA31D2D-899A-4483-A6E7-B10A7FFD3893}"/>
              </a:ext>
            </a:extLst>
          </p:cNvPr>
          <p:cNvSpPr>
            <a:spLocks noGrp="1"/>
          </p:cNvSpPr>
          <p:nvPr>
            <p:ph type="ftr" sz="quarter" idx="11"/>
          </p:nvPr>
        </p:nvSpPr>
        <p:spPr/>
        <p:txBody>
          <a:bodyPr/>
          <a:lstStyle/>
          <a:p>
            <a:endParaRPr lang="en-US" dirty="0"/>
          </a:p>
        </p:txBody>
      </p:sp>
      <p:sp>
        <p:nvSpPr>
          <p:cNvPr id="13" name="Slide Number Placeholder 12">
            <a:extLst>
              <a:ext uri="{FF2B5EF4-FFF2-40B4-BE49-F238E27FC236}">
                <a16:creationId xmlns:a16="http://schemas.microsoft.com/office/drawing/2014/main" id="{91FE3A6E-ABD7-48A6-84FE-5A6EB87111BB}"/>
              </a:ext>
            </a:extLst>
          </p:cNvPr>
          <p:cNvSpPr>
            <a:spLocks noGrp="1"/>
          </p:cNvSpPr>
          <p:nvPr>
            <p:ph type="sldNum" sz="quarter" idx="12"/>
          </p:nvPr>
        </p:nvSpPr>
        <p:spPr/>
        <p:txBody>
          <a:bodyPr/>
          <a:lstStyle/>
          <a:p>
            <a:fld id="{A8A5BF6F-6284-4268-A4B2-70D64A08C3F8}" type="slidenum">
              <a:rPr lang="en-US" smtClean="0"/>
              <a:pPr/>
              <a:t>‹#›</a:t>
            </a:fld>
            <a:endParaRPr lang="en-US" dirty="0"/>
          </a:p>
        </p:txBody>
      </p:sp>
    </p:spTree>
    <p:extLst>
      <p:ext uri="{BB962C8B-B14F-4D97-AF65-F5344CB8AC3E}">
        <p14:creationId xmlns:p14="http://schemas.microsoft.com/office/powerpoint/2010/main" val="6272017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type="title" preserve="1">
  <p:cSld name="Blue 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63920EB-D370-6C43-89B4-3C40807AC05C}"/>
              </a:ext>
            </a:extLst>
          </p:cNvPr>
          <p:cNvSpPr/>
          <p:nvPr userDrawn="1"/>
        </p:nvSpPr>
        <p:spPr>
          <a:xfrm>
            <a:off x="-1" y="0"/>
            <a:ext cx="12192001" cy="4857370"/>
          </a:xfrm>
          <a:prstGeom prst="rect">
            <a:avLst/>
          </a:prstGeom>
          <a:solidFill>
            <a:srgbClr val="00BF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2154477" y="1590805"/>
            <a:ext cx="9452975" cy="1919158"/>
          </a:xfrm>
        </p:spPr>
        <p:txBody>
          <a:bodyPr anchor="ctr"/>
          <a:lstStyle>
            <a:lvl1pPr marL="338138" indent="-338138" algn="l">
              <a:defRPr sz="6000">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2154475" y="3602039"/>
            <a:ext cx="9452976" cy="681863"/>
          </a:xfrm>
        </p:spPr>
        <p:txBody>
          <a:bodyPr/>
          <a:lstStyle>
            <a:lvl1pPr marL="0" indent="0" algn="l">
              <a:buNone/>
              <a:defRPr lang="en-US" sz="2600" kern="1200" dirty="0" smtClean="0">
                <a:solidFill>
                  <a:schemeClr val="tx2">
                    <a:lumMod val="50000"/>
                  </a:schemeClr>
                </a:solidFill>
                <a:latin typeface="Arial" panose="020B0604020202020204" pitchFamily="34" charset="0"/>
                <a:ea typeface="MS PGothic" panose="020B0600070205080204" pitchFamily="34" charset="-128"/>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5" name="Picture 4">
            <a:extLst>
              <a:ext uri="{FF2B5EF4-FFF2-40B4-BE49-F238E27FC236}">
                <a16:creationId xmlns:a16="http://schemas.microsoft.com/office/drawing/2014/main" id="{AB9849EE-9517-B346-A685-5805A88E104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54475" y="5760720"/>
            <a:ext cx="663464" cy="690879"/>
          </a:xfrm>
          <a:prstGeom prst="rect">
            <a:avLst/>
          </a:prstGeom>
        </p:spPr>
      </p:pic>
    </p:spTree>
    <p:extLst>
      <p:ext uri="{BB962C8B-B14F-4D97-AF65-F5344CB8AC3E}">
        <p14:creationId xmlns:p14="http://schemas.microsoft.com/office/powerpoint/2010/main" val="328304884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type="title" preserve="1">
  <p:cSld name="White 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154477" y="1590805"/>
            <a:ext cx="9452975" cy="1919158"/>
          </a:xfrm>
        </p:spPr>
        <p:txBody>
          <a:bodyPr anchor="ctr"/>
          <a:lstStyle>
            <a:lvl1pPr marL="338138" indent="-338138" algn="l">
              <a:defRPr sz="6000">
                <a:solidFill>
                  <a:srgbClr val="EEA42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Subtitle 2"/>
          <p:cNvSpPr>
            <a:spLocks noGrp="1"/>
          </p:cNvSpPr>
          <p:nvPr>
            <p:ph type="subTitle" idx="1"/>
          </p:nvPr>
        </p:nvSpPr>
        <p:spPr>
          <a:xfrm>
            <a:off x="2154475" y="3602039"/>
            <a:ext cx="9452976" cy="681863"/>
          </a:xfrm>
        </p:spPr>
        <p:txBody>
          <a:bodyPr/>
          <a:lstStyle>
            <a:lvl1pPr marL="0" indent="0" algn="l">
              <a:buNone/>
              <a:defRPr lang="en-US" sz="2600" kern="1200" dirty="0" smtClean="0">
                <a:solidFill>
                  <a:schemeClr val="tx2">
                    <a:lumMod val="50000"/>
                  </a:schemeClr>
                </a:solidFill>
                <a:latin typeface="Arial" panose="020B0604020202020204" pitchFamily="34" charset="0"/>
                <a:ea typeface="MS PGothic" panose="020B0600070205080204" pitchFamily="34" charset="-128"/>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5" name="Rectangle 4">
            <a:extLst>
              <a:ext uri="{FF2B5EF4-FFF2-40B4-BE49-F238E27FC236}">
                <a16:creationId xmlns:a16="http://schemas.microsoft.com/office/drawing/2014/main" id="{3A658E30-4A24-184F-9FEB-503C3168F4CB}"/>
              </a:ext>
            </a:extLst>
          </p:cNvPr>
          <p:cNvSpPr/>
          <p:nvPr userDrawn="1"/>
        </p:nvSpPr>
        <p:spPr>
          <a:xfrm>
            <a:off x="0" y="5175885"/>
            <a:ext cx="12192000" cy="1675479"/>
          </a:xfrm>
          <a:prstGeom prst="rect">
            <a:avLst/>
          </a:prstGeom>
          <a:solidFill>
            <a:srgbClr val="00BF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a:extLst>
              <a:ext uri="{FF2B5EF4-FFF2-40B4-BE49-F238E27FC236}">
                <a16:creationId xmlns:a16="http://schemas.microsoft.com/office/drawing/2014/main" id="{FA04BAD8-036B-C547-8146-4CB7B5EB293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54475" y="5716460"/>
            <a:ext cx="718681" cy="745299"/>
          </a:xfrm>
          <a:prstGeom prst="rect">
            <a:avLst/>
          </a:prstGeom>
        </p:spPr>
      </p:pic>
    </p:spTree>
    <p:extLst>
      <p:ext uri="{BB962C8B-B14F-4D97-AF65-F5344CB8AC3E}">
        <p14:creationId xmlns:p14="http://schemas.microsoft.com/office/powerpoint/2010/main" val="1402124888"/>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Subhead,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1453016" y="2267211"/>
            <a:ext cx="10538568" cy="3770333"/>
          </a:xfrm>
        </p:spPr>
        <p:txBody>
          <a:bodyPr/>
          <a:lstStyle>
            <a:lvl1pPr>
              <a:defRPr sz="2800">
                <a:latin typeface="Arial" panose="020B0604020202020204" pitchFamily="34" charset="0"/>
                <a:cs typeface="Arial" panose="020B0604020202020204" pitchFamily="34" charset="0"/>
              </a:defRPr>
            </a:lvl1pPr>
            <a:lvl2pPr marL="685800" indent="-228600">
              <a:buFont typeface="Calibri" panose="020F0502020204030204" pitchFamily="34" charset="0"/>
              <a:buChar cha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588E1AC2-B50C-4D5B-9D02-06A677428DCA}" type="datetime1">
              <a:rPr lang="en-US" smtClean="0"/>
              <a:t>7/26/2021</a:t>
            </a:fld>
            <a:endParaRPr lang="en-US" dirty="0"/>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dirty="0"/>
              <a:t>SCR-SBUA</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dirty="0"/>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453017" y="1022881"/>
            <a:ext cx="10538567" cy="1068967"/>
          </a:xfrm>
        </p:spPr>
        <p:txBody>
          <a:bodyPr anchor="ctr">
            <a:normAutofit/>
          </a:bodyPr>
          <a:lstStyle>
            <a:lvl1pPr marL="0" indent="0" algn="l" defTabSz="457200" rtl="0" eaLnBrk="1" fontAlgn="base" hangingPunct="1">
              <a:lnSpc>
                <a:spcPct val="100000"/>
              </a:lnSpc>
              <a:spcBef>
                <a:spcPct val="0"/>
              </a:spcBef>
              <a:spcAft>
                <a:spcPct val="0"/>
              </a:spcAft>
              <a:buNone/>
              <a:defRPr lang="en-US" sz="300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216052613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Two line Title, Subhead, and Content">
    <p:spTree>
      <p:nvGrpSpPr>
        <p:cNvPr id="1" name=""/>
        <p:cNvGrpSpPr/>
        <p:nvPr/>
      </p:nvGrpSpPr>
      <p:grpSpPr>
        <a:xfrm>
          <a:off x="0" y="0"/>
          <a:ext cx="0" cy="0"/>
          <a:chOff x="0" y="0"/>
          <a:chExt cx="0" cy="0"/>
        </a:xfrm>
      </p:grpSpPr>
      <p:pic>
        <p:nvPicPr>
          <p:cNvPr id="9" name="Picture 8" descr="BlueBar_DoubleLine-02.jpg">
            <a:extLst>
              <a:ext uri="{FF2B5EF4-FFF2-40B4-BE49-F238E27FC236}">
                <a16:creationId xmlns:a16="http://schemas.microsoft.com/office/drawing/2014/main" id="{C50011C2-61F4-4C3A-B993-7AB7CA5BB31F}"/>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0" y="-1"/>
            <a:ext cx="12202528" cy="1586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453019" y="0"/>
            <a:ext cx="10538565" cy="1586752"/>
          </a:xfrm>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1453019" y="2666860"/>
            <a:ext cx="10538565" cy="3532047"/>
          </a:xfrm>
        </p:spPr>
        <p:txBody>
          <a:bodyPr/>
          <a:lstStyle>
            <a:lvl1pPr>
              <a:lnSpc>
                <a:spcPct val="100000"/>
              </a:lnSpc>
              <a:spcBef>
                <a:spcPts val="600"/>
              </a:spcBef>
              <a:defRPr sz="2800">
                <a:latin typeface="Arial" panose="020B0604020202020204" pitchFamily="34" charset="0"/>
                <a:cs typeface="Arial" panose="020B0604020202020204" pitchFamily="34" charset="0"/>
              </a:defRPr>
            </a:lvl1pPr>
            <a:lvl2pPr marL="685800" indent="-228600">
              <a:lnSpc>
                <a:spcPct val="100000"/>
              </a:lnSpc>
              <a:spcBef>
                <a:spcPts val="600"/>
              </a:spcBef>
              <a:buFont typeface="Calibri" panose="020F0502020204030204" pitchFamily="34" charset="0"/>
              <a:buChar char="̶"/>
              <a:defRPr>
                <a:latin typeface="Arial" panose="020B0604020202020204" pitchFamily="34" charset="0"/>
                <a:cs typeface="Arial" panose="020B0604020202020204" pitchFamily="34" charset="0"/>
              </a:defRPr>
            </a:lvl2pPr>
            <a:lvl3pPr>
              <a:lnSpc>
                <a:spcPct val="100000"/>
              </a:lnSpc>
              <a:spcBef>
                <a:spcPts val="600"/>
              </a:spcBef>
              <a:defRPr>
                <a:latin typeface="Arial" panose="020B0604020202020204" pitchFamily="34" charset="0"/>
                <a:cs typeface="Arial" panose="020B0604020202020204" pitchFamily="34" charset="0"/>
              </a:defRPr>
            </a:lvl3pPr>
            <a:lvl4pPr>
              <a:lnSpc>
                <a:spcPct val="100000"/>
              </a:lnSpc>
              <a:spcBef>
                <a:spcPts val="600"/>
              </a:spcBef>
              <a:defRPr>
                <a:latin typeface="Arial" panose="020B0604020202020204" pitchFamily="34" charset="0"/>
                <a:cs typeface="Arial" panose="020B0604020202020204" pitchFamily="34" charset="0"/>
              </a:defRPr>
            </a:lvl4pPr>
            <a:lvl5pPr>
              <a:lnSpc>
                <a:spcPct val="100000"/>
              </a:lnSpc>
              <a:spcBef>
                <a:spcPts val="600"/>
              </a:spcBef>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B34A4EB0-C41D-4967-B943-E2B300533508}" type="datetime1">
              <a:rPr lang="en-US" smtClean="0"/>
              <a:t>7/26/2021</a:t>
            </a:fld>
            <a:endParaRPr lang="en-US" dirty="0"/>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dirty="0"/>
              <a:t>SCR-SBUA</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dirty="0"/>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453018" y="1778652"/>
            <a:ext cx="10538567" cy="730763"/>
          </a:xfrm>
        </p:spPr>
        <p:txBody>
          <a:bodyPr anchor="ctr">
            <a:normAutofit/>
          </a:bodyPr>
          <a:lstStyle>
            <a:lvl1pPr marL="0" indent="0" algn="l" defTabSz="457200" rtl="0" eaLnBrk="1" fontAlgn="base" hangingPunct="1">
              <a:spcBef>
                <a:spcPct val="0"/>
              </a:spcBef>
              <a:spcAft>
                <a:spcPct val="0"/>
              </a:spcAft>
              <a:buNone/>
              <a:defRPr lang="en-US" sz="300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3535521887"/>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Subhead, and Content w/ 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1453019" y="1877998"/>
            <a:ext cx="5544855" cy="4159546"/>
          </a:xfrm>
        </p:spPr>
        <p:txBody>
          <a:bodyPr/>
          <a:lstStyle>
            <a:lvl1pPr marL="342900" indent="-342900">
              <a:buFont typeface="Arial" panose="020B0604020202020204" pitchFamily="34" charset="0"/>
              <a:buChar char="•"/>
              <a:defRPr lang="en-US" sz="2400" b="1" kern="1200" dirty="0" smtClean="0">
                <a:solidFill>
                  <a:schemeClr val="accent5"/>
                </a:solidFill>
                <a:latin typeface="Arial" panose="020B0604020202020204" pitchFamily="34" charset="0"/>
                <a:ea typeface="+mn-ea"/>
                <a:cs typeface="Arial" panose="020B0604020202020204" pitchFamily="34" charset="0"/>
              </a:defRPr>
            </a:lvl1pPr>
            <a:lvl2pPr marL="627063" indent="-228600">
              <a:buFont typeface="Arial" panose="020B0604020202020204" pitchFamily="34" charset="0"/>
              <a:buChar char="•"/>
              <a:defRPr sz="2000">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4E9CC90D-57CF-4537-84F4-43E9A8CD0E18}" type="datetime1">
              <a:rPr lang="en-US" smtClean="0"/>
              <a:t>7/26/2021</a:t>
            </a:fld>
            <a:endParaRPr lang="en-US" dirty="0"/>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dirty="0"/>
              <a:t>SCR-SBUA</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dirty="0"/>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453016" y="1315385"/>
            <a:ext cx="10538568" cy="438259"/>
          </a:xfrm>
        </p:spPr>
        <p:txBody>
          <a:bodyPr anchor="ctr">
            <a:normAutofit/>
          </a:bodyPr>
          <a:lstStyle>
            <a:lvl1pPr marL="0" indent="0" algn="l" defTabSz="457200" rtl="0" eaLnBrk="1" fontAlgn="base" hangingPunct="1">
              <a:spcBef>
                <a:spcPct val="0"/>
              </a:spcBef>
              <a:spcAft>
                <a:spcPct val="0"/>
              </a:spcAft>
              <a:buNone/>
              <a:defRPr lang="en-US" sz="300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9" name="Picture Placeholder 8">
            <a:extLst>
              <a:ext uri="{FF2B5EF4-FFF2-40B4-BE49-F238E27FC236}">
                <a16:creationId xmlns:a16="http://schemas.microsoft.com/office/drawing/2014/main" id="{D9795D0D-0B00-4B18-9195-A2F99AC3EBE2}"/>
              </a:ext>
            </a:extLst>
          </p:cNvPr>
          <p:cNvSpPr>
            <a:spLocks noGrp="1"/>
          </p:cNvSpPr>
          <p:nvPr>
            <p:ph type="pic" sz="quarter" idx="14"/>
          </p:nvPr>
        </p:nvSpPr>
        <p:spPr>
          <a:xfrm>
            <a:off x="7181851" y="1878014"/>
            <a:ext cx="4809733" cy="3144837"/>
          </a:xfrm>
        </p:spPr>
        <p:txBody>
          <a:bodyPr/>
          <a:lstStyle>
            <a:lvl1pPr>
              <a:defRPr>
                <a:latin typeface="Arial" panose="020B0604020202020204" pitchFamily="34" charset="0"/>
                <a:cs typeface="Arial" panose="020B0604020202020204" pitchFamily="34" charset="0"/>
              </a:defRPr>
            </a:lvl1pPr>
          </a:lstStyle>
          <a:p>
            <a:endParaRPr lang="en-US" dirty="0"/>
          </a:p>
        </p:txBody>
      </p:sp>
      <p:sp>
        <p:nvSpPr>
          <p:cNvPr id="11" name="Text Placeholder 10">
            <a:extLst>
              <a:ext uri="{FF2B5EF4-FFF2-40B4-BE49-F238E27FC236}">
                <a16:creationId xmlns:a16="http://schemas.microsoft.com/office/drawing/2014/main" id="{49F6F1BD-1707-49FF-B486-8A06D1976CA3}"/>
              </a:ext>
            </a:extLst>
          </p:cNvPr>
          <p:cNvSpPr>
            <a:spLocks noGrp="1"/>
          </p:cNvSpPr>
          <p:nvPr>
            <p:ph type="body" sz="quarter" idx="15"/>
          </p:nvPr>
        </p:nvSpPr>
        <p:spPr>
          <a:xfrm>
            <a:off x="7181851" y="5148263"/>
            <a:ext cx="4809733" cy="889000"/>
          </a:xfrm>
        </p:spPr>
        <p:txBody>
          <a:bodyPr>
            <a:noAutofit/>
          </a:bodyPr>
          <a:lstStyle>
            <a:lvl1pPr marL="0" indent="0" algn="l" defTabSz="457200" rtl="0" eaLnBrk="1" fontAlgn="base" hangingPunct="1">
              <a:spcBef>
                <a:spcPct val="0"/>
              </a:spcBef>
              <a:spcAft>
                <a:spcPct val="0"/>
              </a:spcAft>
              <a:buNone/>
              <a:defRPr lang="en-US" sz="1600" b="1" kern="1200" dirty="0" smtClean="0">
                <a:solidFill>
                  <a:srgbClr val="60BDE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0906052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Two Line Title, Subhead, and Content w/ photo">
    <p:spTree>
      <p:nvGrpSpPr>
        <p:cNvPr id="1" name=""/>
        <p:cNvGrpSpPr/>
        <p:nvPr/>
      </p:nvGrpSpPr>
      <p:grpSpPr>
        <a:xfrm>
          <a:off x="0" y="0"/>
          <a:ext cx="0" cy="0"/>
          <a:chOff x="0" y="0"/>
          <a:chExt cx="0" cy="0"/>
        </a:xfrm>
      </p:grpSpPr>
      <p:pic>
        <p:nvPicPr>
          <p:cNvPr id="12" name="Picture 11" descr="BlueBar_DoubleLine-02.jpg">
            <a:extLst>
              <a:ext uri="{FF2B5EF4-FFF2-40B4-BE49-F238E27FC236}">
                <a16:creationId xmlns:a16="http://schemas.microsoft.com/office/drawing/2014/main" id="{B1528430-B270-4799-84A4-2188D3F3B800}"/>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0" y="-1"/>
            <a:ext cx="12202528" cy="1586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453019" y="1"/>
            <a:ext cx="10538565" cy="1586751"/>
          </a:xfrm>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1453019" y="2341735"/>
            <a:ext cx="5544855" cy="3902001"/>
          </a:xfrm>
        </p:spPr>
        <p:txBody>
          <a:bodyPr/>
          <a:lstStyle>
            <a:lvl1pPr marL="342900" indent="-342900">
              <a:buFont typeface="Arial" panose="020B0604020202020204" pitchFamily="34" charset="0"/>
              <a:buChar char="•"/>
              <a:defRPr lang="en-US" sz="2800" kern="1200" dirty="0" smtClean="0">
                <a:solidFill>
                  <a:schemeClr val="tx1"/>
                </a:solidFill>
                <a:latin typeface="Arial" panose="020B0604020202020204" pitchFamily="34" charset="0"/>
                <a:ea typeface="+mn-ea"/>
                <a:cs typeface="Arial" panose="020B0604020202020204" pitchFamily="34" charset="0"/>
              </a:defRPr>
            </a:lvl1pPr>
            <a:lvl2pPr marL="627063" indent="-228600">
              <a:buFont typeface="Arial" panose="020B0604020202020204" pitchFamily="34" charset="0"/>
              <a:buChar char="•"/>
              <a:defRPr sz="2000">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448B84E0-BA02-4F32-B783-7F28A828085E}" type="datetime1">
              <a:rPr lang="en-US" smtClean="0"/>
              <a:t>7/26/2021</a:t>
            </a:fld>
            <a:endParaRPr lang="en-US" dirty="0"/>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dirty="0"/>
              <a:t>SCR-SBUA</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dirty="0"/>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453017" y="1699368"/>
            <a:ext cx="10538568" cy="529655"/>
          </a:xfrm>
        </p:spPr>
        <p:txBody>
          <a:bodyPr anchor="ctr">
            <a:normAutofit/>
          </a:bodyPr>
          <a:lstStyle>
            <a:lvl1pPr marL="0" indent="0" algn="l" defTabSz="457200" rtl="0" eaLnBrk="1" fontAlgn="base" hangingPunct="1">
              <a:spcBef>
                <a:spcPct val="0"/>
              </a:spcBef>
              <a:spcAft>
                <a:spcPct val="0"/>
              </a:spcAft>
              <a:buNone/>
              <a:defRPr lang="en-US" sz="300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9" name="Picture Placeholder 8">
            <a:extLst>
              <a:ext uri="{FF2B5EF4-FFF2-40B4-BE49-F238E27FC236}">
                <a16:creationId xmlns:a16="http://schemas.microsoft.com/office/drawing/2014/main" id="{D9795D0D-0B00-4B18-9195-A2F99AC3EBE2}"/>
              </a:ext>
            </a:extLst>
          </p:cNvPr>
          <p:cNvSpPr>
            <a:spLocks noGrp="1"/>
          </p:cNvSpPr>
          <p:nvPr>
            <p:ph type="pic" sz="quarter" idx="14"/>
          </p:nvPr>
        </p:nvSpPr>
        <p:spPr>
          <a:xfrm>
            <a:off x="7181851" y="2341735"/>
            <a:ext cx="4809733" cy="2887308"/>
          </a:xfrm>
        </p:spPr>
        <p:txBody>
          <a:bodyPr/>
          <a:lstStyle>
            <a:lvl1pPr>
              <a:defRPr>
                <a:latin typeface="Arial" panose="020B0604020202020204" pitchFamily="34" charset="0"/>
                <a:cs typeface="Arial" panose="020B0604020202020204" pitchFamily="34" charset="0"/>
              </a:defRPr>
            </a:lvl1pPr>
          </a:lstStyle>
          <a:p>
            <a:endParaRPr lang="en-US" dirty="0"/>
          </a:p>
        </p:txBody>
      </p:sp>
      <p:sp>
        <p:nvSpPr>
          <p:cNvPr id="11" name="Text Placeholder 10">
            <a:extLst>
              <a:ext uri="{FF2B5EF4-FFF2-40B4-BE49-F238E27FC236}">
                <a16:creationId xmlns:a16="http://schemas.microsoft.com/office/drawing/2014/main" id="{49F6F1BD-1707-49FF-B486-8A06D1976CA3}"/>
              </a:ext>
            </a:extLst>
          </p:cNvPr>
          <p:cNvSpPr>
            <a:spLocks noGrp="1"/>
          </p:cNvSpPr>
          <p:nvPr>
            <p:ph type="body" sz="quarter" idx="15"/>
          </p:nvPr>
        </p:nvSpPr>
        <p:spPr>
          <a:xfrm>
            <a:off x="7181851" y="5354456"/>
            <a:ext cx="4809733" cy="889000"/>
          </a:xfrm>
        </p:spPr>
        <p:txBody>
          <a:bodyPr>
            <a:noAutofit/>
          </a:bodyPr>
          <a:lstStyle>
            <a:lvl1pPr marL="0" indent="0" algn="l" defTabSz="457200" rtl="0" eaLnBrk="1" fontAlgn="base" hangingPunct="1">
              <a:spcBef>
                <a:spcPct val="0"/>
              </a:spcBef>
              <a:spcAft>
                <a:spcPct val="0"/>
              </a:spcAft>
              <a:buNone/>
              <a:defRPr lang="en-US" sz="1600" b="1" kern="1200" dirty="0" smtClean="0">
                <a:solidFill>
                  <a:srgbClr val="60BDE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55908120"/>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Two Line Title, Picture, Subhead, and text">
    <p:spTree>
      <p:nvGrpSpPr>
        <p:cNvPr id="1" name=""/>
        <p:cNvGrpSpPr/>
        <p:nvPr/>
      </p:nvGrpSpPr>
      <p:grpSpPr>
        <a:xfrm>
          <a:off x="0" y="0"/>
          <a:ext cx="0" cy="0"/>
          <a:chOff x="0" y="0"/>
          <a:chExt cx="0" cy="0"/>
        </a:xfrm>
      </p:grpSpPr>
      <p:pic>
        <p:nvPicPr>
          <p:cNvPr id="17" name="Picture 16" descr="BlueBar_DoubleLine-02.jpg">
            <a:extLst>
              <a:ext uri="{FF2B5EF4-FFF2-40B4-BE49-F238E27FC236}">
                <a16:creationId xmlns:a16="http://schemas.microsoft.com/office/drawing/2014/main" id="{64784218-9674-4E9F-AEA0-B2D94146BB2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0" y="-1"/>
            <a:ext cx="12202528" cy="1586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453019" y="1"/>
            <a:ext cx="10538565" cy="1586751"/>
          </a:xfrm>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88C501BC-A296-404E-B644-B234B57C42CB}" type="datetime1">
              <a:rPr lang="en-US" smtClean="0"/>
              <a:t>7/26/2021</a:t>
            </a:fld>
            <a:endParaRPr lang="en-US" dirty="0"/>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dirty="0"/>
              <a:t>SCR-SBUA</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dirty="0"/>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7281333" y="1682004"/>
            <a:ext cx="4710252" cy="730763"/>
          </a:xfrm>
        </p:spPr>
        <p:txBody>
          <a:bodyPr anchor="ctr">
            <a:noAutofit/>
          </a:bodyPr>
          <a:lstStyle>
            <a:lvl1pPr marL="0" indent="0" algn="l" defTabSz="457200" rtl="0" eaLnBrk="1" fontAlgn="base" hangingPunct="1">
              <a:spcBef>
                <a:spcPct val="0"/>
              </a:spcBef>
              <a:spcAft>
                <a:spcPct val="0"/>
              </a:spcAft>
              <a:buNone/>
              <a:defRPr lang="en-US" sz="280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4" name="Text Placeholder 13">
            <a:extLst>
              <a:ext uri="{FF2B5EF4-FFF2-40B4-BE49-F238E27FC236}">
                <a16:creationId xmlns:a16="http://schemas.microsoft.com/office/drawing/2014/main" id="{9F262AAA-0498-4F5E-A9CC-BA200A577A43}"/>
              </a:ext>
            </a:extLst>
          </p:cNvPr>
          <p:cNvSpPr>
            <a:spLocks noGrp="1"/>
          </p:cNvSpPr>
          <p:nvPr>
            <p:ph type="body" sz="quarter" idx="15"/>
          </p:nvPr>
        </p:nvSpPr>
        <p:spPr>
          <a:xfrm>
            <a:off x="7281333" y="2508020"/>
            <a:ext cx="4709584" cy="3753080"/>
          </a:xfrm>
        </p:spPr>
        <p:txBody>
          <a:bodyPr/>
          <a:lstStyle>
            <a:lvl1pPr>
              <a:defRPr sz="24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400">
                <a:latin typeface="Arial" panose="020B06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sz="24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Picture Placeholder 15">
            <a:extLst>
              <a:ext uri="{FF2B5EF4-FFF2-40B4-BE49-F238E27FC236}">
                <a16:creationId xmlns:a16="http://schemas.microsoft.com/office/drawing/2014/main" id="{F8B8FCA5-3A3D-4B61-8DAF-66D5780EB24C}"/>
              </a:ext>
            </a:extLst>
          </p:cNvPr>
          <p:cNvSpPr>
            <a:spLocks noGrp="1"/>
          </p:cNvSpPr>
          <p:nvPr>
            <p:ph type="pic" sz="quarter" idx="16"/>
          </p:nvPr>
        </p:nvSpPr>
        <p:spPr>
          <a:xfrm>
            <a:off x="0" y="1682004"/>
            <a:ext cx="7145867" cy="4579096"/>
          </a:xfrm>
        </p:spPr>
        <p:txBody>
          <a:bodyPr/>
          <a:lstStyle>
            <a:lvl1pPr>
              <a:defRPr>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2549934948"/>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Two Line Title, Chart, Subhead, and text">
    <p:spTree>
      <p:nvGrpSpPr>
        <p:cNvPr id="1" name=""/>
        <p:cNvGrpSpPr/>
        <p:nvPr/>
      </p:nvGrpSpPr>
      <p:grpSpPr>
        <a:xfrm>
          <a:off x="0" y="0"/>
          <a:ext cx="0" cy="0"/>
          <a:chOff x="0" y="0"/>
          <a:chExt cx="0" cy="0"/>
        </a:xfrm>
      </p:grpSpPr>
      <p:pic>
        <p:nvPicPr>
          <p:cNvPr id="12" name="Picture 11" descr="BlueBar_DoubleLine-02.jpg">
            <a:extLst>
              <a:ext uri="{FF2B5EF4-FFF2-40B4-BE49-F238E27FC236}">
                <a16:creationId xmlns:a16="http://schemas.microsoft.com/office/drawing/2014/main" id="{1DF46E67-5D22-4984-B1BA-D5F8ED7A412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0" y="-1"/>
            <a:ext cx="12202528" cy="1586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453019" y="1"/>
            <a:ext cx="10538565" cy="1586750"/>
          </a:xfrm>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A98BD883-0DCB-45E5-8220-ABDB6F800CA7}" type="datetime1">
              <a:rPr lang="en-US" smtClean="0"/>
              <a:t>7/26/2021</a:t>
            </a:fld>
            <a:endParaRPr lang="en-US" dirty="0"/>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dirty="0"/>
              <a:t>SCR-SBUA</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dirty="0"/>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7281333" y="1805829"/>
            <a:ext cx="4710252" cy="730763"/>
          </a:xfrm>
        </p:spPr>
        <p:txBody>
          <a:bodyPr anchor="ctr">
            <a:noAutofit/>
          </a:bodyPr>
          <a:lstStyle>
            <a:lvl1pPr marL="0" indent="0" algn="l" defTabSz="457200" rtl="0" eaLnBrk="1" fontAlgn="base" hangingPunct="1">
              <a:spcBef>
                <a:spcPct val="0"/>
              </a:spcBef>
              <a:spcAft>
                <a:spcPct val="0"/>
              </a:spcAft>
              <a:buNone/>
              <a:defRPr lang="en-US" sz="280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4" name="Text Placeholder 13">
            <a:extLst>
              <a:ext uri="{FF2B5EF4-FFF2-40B4-BE49-F238E27FC236}">
                <a16:creationId xmlns:a16="http://schemas.microsoft.com/office/drawing/2014/main" id="{9F262AAA-0498-4F5E-A9CC-BA200A577A43}"/>
              </a:ext>
            </a:extLst>
          </p:cNvPr>
          <p:cNvSpPr>
            <a:spLocks noGrp="1"/>
          </p:cNvSpPr>
          <p:nvPr>
            <p:ph type="body" sz="quarter" idx="15"/>
          </p:nvPr>
        </p:nvSpPr>
        <p:spPr>
          <a:xfrm>
            <a:off x="7281333" y="2755670"/>
            <a:ext cx="4709584" cy="3381606"/>
          </a:xfrm>
        </p:spPr>
        <p:txBody>
          <a:bodyPr/>
          <a:lstStyle>
            <a:lvl1pPr>
              <a:defRPr sz="24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400">
                <a:latin typeface="Arial" panose="020B06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sz="24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hart Placeholder 7">
            <a:extLst>
              <a:ext uri="{FF2B5EF4-FFF2-40B4-BE49-F238E27FC236}">
                <a16:creationId xmlns:a16="http://schemas.microsoft.com/office/drawing/2014/main" id="{CB338A3B-18CF-48D0-B3DC-2AAD9E17D24F}"/>
              </a:ext>
            </a:extLst>
          </p:cNvPr>
          <p:cNvSpPr>
            <a:spLocks noGrp="1"/>
          </p:cNvSpPr>
          <p:nvPr>
            <p:ph type="chart" sz="quarter" idx="16"/>
          </p:nvPr>
        </p:nvSpPr>
        <p:spPr>
          <a:xfrm>
            <a:off x="1452034" y="1805829"/>
            <a:ext cx="5630333" cy="4331446"/>
          </a:xfrm>
        </p:spPr>
        <p:txBody>
          <a:bodyPr/>
          <a:lstStyle>
            <a:lvl1pPr>
              <a:defRPr>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1732699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FA740B-6763-469D-9F5F-5B88C8523CF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A47CFC7-35A6-45C7-8E7F-408D340E51D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E596305-2819-4FD4-8F2F-494FD53B4E8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F23D4E8-7EE2-47A1-80E9-7057A23FDF0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BCF7334-DF36-4F48-8ACD-DA70B94EC41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D728065-D1A2-47B4-BF97-A5798D354C3D}"/>
              </a:ext>
            </a:extLst>
          </p:cNvPr>
          <p:cNvSpPr>
            <a:spLocks noGrp="1"/>
          </p:cNvSpPr>
          <p:nvPr>
            <p:ph type="dt" sz="half" idx="10"/>
          </p:nvPr>
        </p:nvSpPr>
        <p:spPr/>
        <p:txBody>
          <a:bodyPr/>
          <a:lstStyle/>
          <a:p>
            <a:fld id="{F3A766EE-17B0-4F5A-AB9A-BE847EB07CAC}" type="datetimeFigureOut">
              <a:rPr lang="en-US" smtClean="0"/>
              <a:t>7/26/2021</a:t>
            </a:fld>
            <a:endParaRPr lang="en-US" dirty="0"/>
          </a:p>
        </p:txBody>
      </p:sp>
      <p:sp>
        <p:nvSpPr>
          <p:cNvPr id="8" name="Footer Placeholder 7">
            <a:extLst>
              <a:ext uri="{FF2B5EF4-FFF2-40B4-BE49-F238E27FC236}">
                <a16:creationId xmlns:a16="http://schemas.microsoft.com/office/drawing/2014/main" id="{B29A246E-1059-4994-B11C-20EB0A5A1C81}"/>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2F9CF8E0-A42D-4707-A942-8D3BFA808151}"/>
              </a:ext>
            </a:extLst>
          </p:cNvPr>
          <p:cNvSpPr>
            <a:spLocks noGrp="1"/>
          </p:cNvSpPr>
          <p:nvPr>
            <p:ph type="sldNum" sz="quarter" idx="12"/>
          </p:nvPr>
        </p:nvSpPr>
        <p:spPr/>
        <p:txBody>
          <a:bodyPr/>
          <a:lstStyle/>
          <a:p>
            <a:fld id="{DE472684-079E-4958-8A31-8453DFC24521}" type="slidenum">
              <a:rPr lang="en-US" smtClean="0"/>
              <a:t>‹#›</a:t>
            </a:fld>
            <a:endParaRPr lang="en-US" dirty="0"/>
          </a:p>
        </p:txBody>
      </p:sp>
    </p:spTree>
    <p:extLst>
      <p:ext uri="{BB962C8B-B14F-4D97-AF65-F5344CB8AC3E}">
        <p14:creationId xmlns:p14="http://schemas.microsoft.com/office/powerpoint/2010/main" val="1021823703"/>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OLD Statement w/ Centered Object - Oran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8DE2B4A-A478-4305-BF81-7D8CEC05DECD}"/>
              </a:ext>
            </a:extLst>
          </p:cNvPr>
          <p:cNvSpPr/>
          <p:nvPr userDrawn="1"/>
        </p:nvSpPr>
        <p:spPr>
          <a:xfrm>
            <a:off x="0" y="1295400"/>
            <a:ext cx="12192000" cy="5562600"/>
          </a:xfrm>
          <a:prstGeom prst="rect">
            <a:avLst/>
          </a:prstGeom>
          <a:solidFill>
            <a:srgbClr val="EEA420">
              <a:alpha val="8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CECBBBA7-12F6-4B21-B6E4-01C075114C57}"/>
              </a:ext>
            </a:extLst>
          </p:cNvPr>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CAB5DB02-96EE-43C3-898F-79E4EBC8C56B}"/>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89A96C2E-E86F-4B9E-8019-BA9823B8B6BC}" type="datetime1">
              <a:rPr lang="en-US" smtClean="0"/>
              <a:t>7/26/2021</a:t>
            </a:fld>
            <a:endParaRPr lang="en-US" dirty="0"/>
          </a:p>
        </p:txBody>
      </p:sp>
      <p:sp>
        <p:nvSpPr>
          <p:cNvPr id="4" name="Footer Placeholder 3">
            <a:extLst>
              <a:ext uri="{FF2B5EF4-FFF2-40B4-BE49-F238E27FC236}">
                <a16:creationId xmlns:a16="http://schemas.microsoft.com/office/drawing/2014/main" id="{C0F8088D-166B-41B4-AFCE-B345022ACFE5}"/>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dirty="0"/>
              <a:t>SCR-SBUA</a:t>
            </a:r>
          </a:p>
        </p:txBody>
      </p:sp>
      <p:sp>
        <p:nvSpPr>
          <p:cNvPr id="5" name="Slide Number Placeholder 4">
            <a:extLst>
              <a:ext uri="{FF2B5EF4-FFF2-40B4-BE49-F238E27FC236}">
                <a16:creationId xmlns:a16="http://schemas.microsoft.com/office/drawing/2014/main" id="{C8068D11-8652-4B1A-AABE-77E8B1040144}"/>
              </a:ext>
            </a:extLst>
          </p:cNvPr>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r>
              <a:rPr lang="en-US" dirty="0"/>
              <a:t> - INTERNAL</a:t>
            </a:r>
          </a:p>
        </p:txBody>
      </p:sp>
      <p:sp>
        <p:nvSpPr>
          <p:cNvPr id="10" name="Text Placeholder 9">
            <a:extLst>
              <a:ext uri="{FF2B5EF4-FFF2-40B4-BE49-F238E27FC236}">
                <a16:creationId xmlns:a16="http://schemas.microsoft.com/office/drawing/2014/main" id="{18BFAC42-5820-4FCF-AB23-6D9803492C74}"/>
              </a:ext>
            </a:extLst>
          </p:cNvPr>
          <p:cNvSpPr>
            <a:spLocks noGrp="1"/>
          </p:cNvSpPr>
          <p:nvPr>
            <p:ph type="body" sz="quarter" idx="13"/>
          </p:nvPr>
        </p:nvSpPr>
        <p:spPr>
          <a:xfrm>
            <a:off x="0" y="1465729"/>
            <a:ext cx="12192000" cy="647700"/>
          </a:xfrm>
        </p:spPr>
        <p:txBody>
          <a:bodyPr anchor="ctr"/>
          <a:lstStyle>
            <a:lvl1pPr marL="0" indent="0" algn="ctr">
              <a:buNone/>
              <a:defRPr b="1">
                <a:latin typeface="Arial" panose="020B0604020202020204" pitchFamily="34" charset="0"/>
                <a:cs typeface="Arial" panose="020B0604020202020204" pitchFamily="34" charset="0"/>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dirty="0"/>
              <a:t>Edit Master text styles</a:t>
            </a:r>
          </a:p>
        </p:txBody>
      </p:sp>
      <p:sp>
        <p:nvSpPr>
          <p:cNvPr id="12" name="Text Placeholder 11">
            <a:extLst>
              <a:ext uri="{FF2B5EF4-FFF2-40B4-BE49-F238E27FC236}">
                <a16:creationId xmlns:a16="http://schemas.microsoft.com/office/drawing/2014/main" id="{89115085-39A3-47D9-9C79-AF9FC110BB6A}"/>
              </a:ext>
            </a:extLst>
          </p:cNvPr>
          <p:cNvSpPr>
            <a:spLocks noGrp="1"/>
          </p:cNvSpPr>
          <p:nvPr>
            <p:ph type="body" sz="quarter" idx="14"/>
          </p:nvPr>
        </p:nvSpPr>
        <p:spPr>
          <a:xfrm>
            <a:off x="0" y="2180105"/>
            <a:ext cx="12192000" cy="517525"/>
          </a:xfrm>
        </p:spPr>
        <p:txBody>
          <a:bodyPr anchor="ctr"/>
          <a:lstStyle>
            <a:lvl1pPr marL="0" indent="0" algn="ctr">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2pPr>
            <a:lvl3pPr marL="9144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3pPr>
            <a:lvl4pPr marL="13716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4pPr>
            <a:lvl5pPr marL="1828800" indent="0">
              <a:buNone/>
              <a:defRPr lang="en-US" sz="2100" b="1" kern="1200" dirty="0">
                <a:solidFill>
                  <a:schemeClr val="bg1"/>
                </a:solidFill>
                <a:latin typeface="Arial" panose="020B0604020202020204" pitchFamily="34" charset="0"/>
                <a:ea typeface="MS PGothic" panose="020B0600070205080204" pitchFamily="34" charset="-128"/>
                <a:cs typeface="Arial" panose="020B0604020202020204" pitchFamily="34" charset="0"/>
              </a:defRPr>
            </a:lvl5pPr>
          </a:lstStyle>
          <a:p>
            <a:pPr lvl="0"/>
            <a:r>
              <a:rPr lang="en-US" dirty="0"/>
              <a:t>Edit Master text styles</a:t>
            </a:r>
          </a:p>
        </p:txBody>
      </p:sp>
      <p:sp>
        <p:nvSpPr>
          <p:cNvPr id="14" name="Content Placeholder 13">
            <a:extLst>
              <a:ext uri="{FF2B5EF4-FFF2-40B4-BE49-F238E27FC236}">
                <a16:creationId xmlns:a16="http://schemas.microsoft.com/office/drawing/2014/main" id="{97499ADF-E377-4779-A6A2-FE3BCFCAD1EE}"/>
              </a:ext>
            </a:extLst>
          </p:cNvPr>
          <p:cNvSpPr>
            <a:spLocks noGrp="1"/>
          </p:cNvSpPr>
          <p:nvPr>
            <p:ph sz="quarter" idx="15"/>
          </p:nvPr>
        </p:nvSpPr>
        <p:spPr>
          <a:xfrm>
            <a:off x="626533" y="2870200"/>
            <a:ext cx="10972800" cy="3349627"/>
          </a:xfrm>
        </p:spPr>
        <p:txBody>
          <a:bodyPr/>
          <a:lstStyle>
            <a:lvl1pPr marL="0" indent="0">
              <a:buNone/>
              <a:defRPr>
                <a:latin typeface="Arial" panose="020B0604020202020204" pitchFamily="34" charset="0"/>
                <a:cs typeface="Arial" panose="020B0604020202020204" pitchFamily="34" charset="0"/>
              </a:defRPr>
            </a:lvl1pPr>
          </a:lstStyle>
          <a:p>
            <a:pPr lvl="0"/>
            <a:endParaRPr lang="en-US" dirty="0"/>
          </a:p>
        </p:txBody>
      </p:sp>
    </p:spTree>
    <p:extLst>
      <p:ext uri="{BB962C8B-B14F-4D97-AF65-F5344CB8AC3E}">
        <p14:creationId xmlns:p14="http://schemas.microsoft.com/office/powerpoint/2010/main" val="422534552"/>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OLD Statement w/ Side Objec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58C7B01-3FCF-4660-B2C9-EACF2AD0F450}"/>
              </a:ext>
            </a:extLst>
          </p:cNvPr>
          <p:cNvSpPr/>
          <p:nvPr userDrawn="1"/>
        </p:nvSpPr>
        <p:spPr>
          <a:xfrm>
            <a:off x="0" y="1295400"/>
            <a:ext cx="12192000" cy="5562600"/>
          </a:xfrm>
          <a:prstGeom prst="rect">
            <a:avLst/>
          </a:prstGeom>
          <a:solidFill>
            <a:srgbClr val="EEA420">
              <a:alpha val="8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CECBBBA7-12F6-4B21-B6E4-01C075114C57}"/>
              </a:ext>
            </a:extLst>
          </p:cNvPr>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CAB5DB02-96EE-43C3-898F-79E4EBC8C56B}"/>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43C5FAB-F6F3-4A00-A76B-42C118309182}" type="datetime1">
              <a:rPr lang="en-US" smtClean="0"/>
              <a:t>7/26/2021</a:t>
            </a:fld>
            <a:endParaRPr lang="en-US" dirty="0"/>
          </a:p>
        </p:txBody>
      </p:sp>
      <p:sp>
        <p:nvSpPr>
          <p:cNvPr id="4" name="Footer Placeholder 3">
            <a:extLst>
              <a:ext uri="{FF2B5EF4-FFF2-40B4-BE49-F238E27FC236}">
                <a16:creationId xmlns:a16="http://schemas.microsoft.com/office/drawing/2014/main" id="{C0F8088D-166B-41B4-AFCE-B345022ACFE5}"/>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dirty="0"/>
              <a:t>SCR-SBUA</a:t>
            </a:r>
          </a:p>
        </p:txBody>
      </p:sp>
      <p:sp>
        <p:nvSpPr>
          <p:cNvPr id="5" name="Slide Number Placeholder 4">
            <a:extLst>
              <a:ext uri="{FF2B5EF4-FFF2-40B4-BE49-F238E27FC236}">
                <a16:creationId xmlns:a16="http://schemas.microsoft.com/office/drawing/2014/main" id="{C8068D11-8652-4B1A-AABE-77E8B1040144}"/>
              </a:ext>
            </a:extLst>
          </p:cNvPr>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r>
              <a:rPr lang="en-US" dirty="0"/>
              <a:t> - INTERNAL</a:t>
            </a:r>
          </a:p>
        </p:txBody>
      </p:sp>
      <p:sp>
        <p:nvSpPr>
          <p:cNvPr id="10" name="Text Placeholder 9">
            <a:extLst>
              <a:ext uri="{FF2B5EF4-FFF2-40B4-BE49-F238E27FC236}">
                <a16:creationId xmlns:a16="http://schemas.microsoft.com/office/drawing/2014/main" id="{18BFAC42-5820-4FCF-AB23-6D9803492C74}"/>
              </a:ext>
            </a:extLst>
          </p:cNvPr>
          <p:cNvSpPr>
            <a:spLocks noGrp="1"/>
          </p:cNvSpPr>
          <p:nvPr>
            <p:ph type="body" sz="quarter" idx="13"/>
          </p:nvPr>
        </p:nvSpPr>
        <p:spPr>
          <a:xfrm>
            <a:off x="643003" y="2163261"/>
            <a:ext cx="4843397" cy="1569450"/>
          </a:xfrm>
        </p:spPr>
        <p:txBody>
          <a:bodyPr anchor="ctr"/>
          <a:lstStyle>
            <a:lvl1pPr marL="0" indent="0" algn="l">
              <a:buNone/>
              <a:defRPr b="1">
                <a:latin typeface="Arial" panose="020B0604020202020204" pitchFamily="34" charset="0"/>
                <a:cs typeface="Arial" panose="020B0604020202020204" pitchFamily="34" charset="0"/>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dirty="0"/>
              <a:t>Edit Master text styles</a:t>
            </a:r>
          </a:p>
        </p:txBody>
      </p:sp>
      <p:sp>
        <p:nvSpPr>
          <p:cNvPr id="12" name="Text Placeholder 11">
            <a:extLst>
              <a:ext uri="{FF2B5EF4-FFF2-40B4-BE49-F238E27FC236}">
                <a16:creationId xmlns:a16="http://schemas.microsoft.com/office/drawing/2014/main" id="{89115085-39A3-47D9-9C79-AF9FC110BB6A}"/>
              </a:ext>
            </a:extLst>
          </p:cNvPr>
          <p:cNvSpPr>
            <a:spLocks noGrp="1"/>
          </p:cNvSpPr>
          <p:nvPr>
            <p:ph type="body" sz="quarter" idx="14"/>
          </p:nvPr>
        </p:nvSpPr>
        <p:spPr>
          <a:xfrm>
            <a:off x="668055" y="3911600"/>
            <a:ext cx="4843397" cy="1474593"/>
          </a:xfrm>
        </p:spPr>
        <p:txBody>
          <a:bodyPr anchor="ctr"/>
          <a:lstStyle>
            <a:lvl1pPr marL="0" indent="0" algn="l">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2pPr>
            <a:lvl3pPr marL="9144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3pPr>
            <a:lvl4pPr marL="13716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4pPr>
            <a:lvl5pPr marL="1828800" indent="0">
              <a:buNone/>
              <a:defRPr lang="en-US" sz="2100" b="1" kern="1200" dirty="0">
                <a:solidFill>
                  <a:schemeClr val="bg1"/>
                </a:solidFill>
                <a:latin typeface="Arial" panose="020B0604020202020204" pitchFamily="34" charset="0"/>
                <a:ea typeface="MS PGothic" panose="020B0600070205080204" pitchFamily="34" charset="-128"/>
                <a:cs typeface="Arial" panose="020B0604020202020204" pitchFamily="34" charset="0"/>
              </a:defRPr>
            </a:lvl5pPr>
          </a:lstStyle>
          <a:p>
            <a:pPr lvl="0"/>
            <a:r>
              <a:rPr lang="en-US" dirty="0"/>
              <a:t>Edit Master text styles</a:t>
            </a:r>
          </a:p>
        </p:txBody>
      </p:sp>
      <p:sp>
        <p:nvSpPr>
          <p:cNvPr id="14" name="Content Placeholder 13">
            <a:extLst>
              <a:ext uri="{FF2B5EF4-FFF2-40B4-BE49-F238E27FC236}">
                <a16:creationId xmlns:a16="http://schemas.microsoft.com/office/drawing/2014/main" id="{97499ADF-E377-4779-A6A2-FE3BCFCAD1EE}"/>
              </a:ext>
            </a:extLst>
          </p:cNvPr>
          <p:cNvSpPr>
            <a:spLocks noGrp="1"/>
          </p:cNvSpPr>
          <p:nvPr>
            <p:ph sz="quarter" idx="15"/>
          </p:nvPr>
        </p:nvSpPr>
        <p:spPr>
          <a:xfrm>
            <a:off x="6129402" y="1295400"/>
            <a:ext cx="6062599" cy="5562600"/>
          </a:xfrm>
        </p:spPr>
        <p:txBody>
          <a:bodyPr/>
          <a:lstStyle>
            <a:lvl1pPr marL="0" indent="0">
              <a:buNone/>
              <a:defRPr>
                <a:latin typeface="Arial" panose="020B0604020202020204" pitchFamily="34" charset="0"/>
                <a:cs typeface="Arial" panose="020B0604020202020204" pitchFamily="34" charset="0"/>
              </a:defRPr>
            </a:lvl1pPr>
          </a:lstStyle>
          <a:p>
            <a:pPr lvl="0"/>
            <a:endParaRPr lang="en-US" dirty="0"/>
          </a:p>
        </p:txBody>
      </p:sp>
    </p:spTree>
    <p:extLst>
      <p:ext uri="{BB962C8B-B14F-4D97-AF65-F5344CB8AC3E}">
        <p14:creationId xmlns:p14="http://schemas.microsoft.com/office/powerpoint/2010/main" val="2340945284"/>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BOLD Statement w/ Centered Object - Gree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A55D812-0334-479B-996D-F1F403C42B8A}"/>
              </a:ext>
            </a:extLst>
          </p:cNvPr>
          <p:cNvSpPr/>
          <p:nvPr userDrawn="1"/>
        </p:nvSpPr>
        <p:spPr>
          <a:xfrm>
            <a:off x="0" y="1308846"/>
            <a:ext cx="12192000" cy="5549153"/>
          </a:xfrm>
          <a:prstGeom prst="rect">
            <a:avLst/>
          </a:prstGeom>
          <a:solidFill>
            <a:srgbClr val="93B29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CECBBBA7-12F6-4B21-B6E4-01C075114C57}"/>
              </a:ext>
            </a:extLst>
          </p:cNvPr>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CAB5DB02-96EE-43C3-898F-79E4EBC8C56B}"/>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7BB7E910-D47A-40E1-BA01-08C0B8198E4A}" type="datetime1">
              <a:rPr lang="en-US" smtClean="0"/>
              <a:t>7/26/2021</a:t>
            </a:fld>
            <a:endParaRPr lang="en-US" dirty="0"/>
          </a:p>
        </p:txBody>
      </p:sp>
      <p:sp>
        <p:nvSpPr>
          <p:cNvPr id="4" name="Footer Placeholder 3">
            <a:extLst>
              <a:ext uri="{FF2B5EF4-FFF2-40B4-BE49-F238E27FC236}">
                <a16:creationId xmlns:a16="http://schemas.microsoft.com/office/drawing/2014/main" id="{C0F8088D-166B-41B4-AFCE-B345022ACFE5}"/>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dirty="0"/>
              <a:t>SCR-SBUA</a:t>
            </a:r>
          </a:p>
        </p:txBody>
      </p:sp>
      <p:sp>
        <p:nvSpPr>
          <p:cNvPr id="5" name="Slide Number Placeholder 4">
            <a:extLst>
              <a:ext uri="{FF2B5EF4-FFF2-40B4-BE49-F238E27FC236}">
                <a16:creationId xmlns:a16="http://schemas.microsoft.com/office/drawing/2014/main" id="{C8068D11-8652-4B1A-AABE-77E8B1040144}"/>
              </a:ext>
            </a:extLst>
          </p:cNvPr>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r>
              <a:rPr lang="en-US" dirty="0"/>
              <a:t> - INTERNAL</a:t>
            </a:r>
          </a:p>
        </p:txBody>
      </p:sp>
      <p:sp>
        <p:nvSpPr>
          <p:cNvPr id="12" name="Text Placeholder 11">
            <a:extLst>
              <a:ext uri="{FF2B5EF4-FFF2-40B4-BE49-F238E27FC236}">
                <a16:creationId xmlns:a16="http://schemas.microsoft.com/office/drawing/2014/main" id="{89115085-39A3-47D9-9C79-AF9FC110BB6A}"/>
              </a:ext>
            </a:extLst>
          </p:cNvPr>
          <p:cNvSpPr>
            <a:spLocks noGrp="1"/>
          </p:cNvSpPr>
          <p:nvPr>
            <p:ph type="body" sz="quarter" idx="14"/>
          </p:nvPr>
        </p:nvSpPr>
        <p:spPr>
          <a:xfrm>
            <a:off x="0" y="5326856"/>
            <a:ext cx="12192000" cy="517525"/>
          </a:xfrm>
        </p:spPr>
        <p:txBody>
          <a:bodyPr anchor="ctr">
            <a:noAutofit/>
          </a:bodyPr>
          <a:lstStyle>
            <a:lvl1pPr marL="0" indent="0" algn="ctr">
              <a:buNone/>
              <a:defRPr lang="en-US" sz="32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2pPr>
            <a:lvl3pPr marL="9144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3pPr>
            <a:lvl4pPr marL="13716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4pPr>
            <a:lvl5pPr marL="1828800" indent="0">
              <a:buNone/>
              <a:defRPr lang="en-US" sz="2100" b="1" kern="1200" dirty="0">
                <a:solidFill>
                  <a:schemeClr val="bg1"/>
                </a:solidFill>
                <a:latin typeface="Arial" panose="020B0604020202020204" pitchFamily="34" charset="0"/>
                <a:ea typeface="MS PGothic" panose="020B0600070205080204" pitchFamily="34" charset="-128"/>
                <a:cs typeface="Arial" panose="020B0604020202020204" pitchFamily="34" charset="0"/>
              </a:defRPr>
            </a:lvl5pPr>
          </a:lstStyle>
          <a:p>
            <a:pPr lvl="0"/>
            <a:r>
              <a:rPr lang="en-US" dirty="0"/>
              <a:t>Edit Master text styles</a:t>
            </a:r>
          </a:p>
        </p:txBody>
      </p:sp>
      <p:sp>
        <p:nvSpPr>
          <p:cNvPr id="14" name="Content Placeholder 13">
            <a:extLst>
              <a:ext uri="{FF2B5EF4-FFF2-40B4-BE49-F238E27FC236}">
                <a16:creationId xmlns:a16="http://schemas.microsoft.com/office/drawing/2014/main" id="{97499ADF-E377-4779-A6A2-FE3BCFCAD1EE}"/>
              </a:ext>
            </a:extLst>
          </p:cNvPr>
          <p:cNvSpPr>
            <a:spLocks noGrp="1"/>
          </p:cNvSpPr>
          <p:nvPr>
            <p:ph sz="quarter" idx="15"/>
          </p:nvPr>
        </p:nvSpPr>
        <p:spPr>
          <a:xfrm>
            <a:off x="609600" y="1641825"/>
            <a:ext cx="10972800" cy="3349627"/>
          </a:xfrm>
        </p:spPr>
        <p:txBody>
          <a:bodyPr/>
          <a:lstStyle>
            <a:lvl1pPr marL="0" indent="0">
              <a:buNone/>
              <a:defRPr>
                <a:latin typeface="Arial" panose="020B0604020202020204" pitchFamily="34" charset="0"/>
                <a:cs typeface="Arial" panose="020B0604020202020204" pitchFamily="34" charset="0"/>
              </a:defRPr>
            </a:lvl1pPr>
          </a:lstStyle>
          <a:p>
            <a:pPr lvl="0"/>
            <a:endParaRPr lang="en-US" dirty="0"/>
          </a:p>
        </p:txBody>
      </p:sp>
    </p:spTree>
    <p:extLst>
      <p:ext uri="{BB962C8B-B14F-4D97-AF65-F5344CB8AC3E}">
        <p14:creationId xmlns:p14="http://schemas.microsoft.com/office/powerpoint/2010/main" val="4128584212"/>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BOLD Statement w/ Pictures - Gree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A55D812-0334-479B-996D-F1F403C42B8A}"/>
              </a:ext>
            </a:extLst>
          </p:cNvPr>
          <p:cNvSpPr/>
          <p:nvPr userDrawn="1"/>
        </p:nvSpPr>
        <p:spPr>
          <a:xfrm>
            <a:off x="0" y="1295400"/>
            <a:ext cx="12192000" cy="5562599"/>
          </a:xfrm>
          <a:prstGeom prst="rect">
            <a:avLst/>
          </a:prstGeom>
          <a:solidFill>
            <a:srgbClr val="93B29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CECBBBA7-12F6-4B21-B6E4-01C075114C57}"/>
              </a:ext>
            </a:extLst>
          </p:cNvPr>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CAB5DB02-96EE-43C3-898F-79E4EBC8C56B}"/>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02718752-09F8-4179-947C-1799139E7905}" type="datetime1">
              <a:rPr lang="en-US" smtClean="0"/>
              <a:t>7/26/2021</a:t>
            </a:fld>
            <a:endParaRPr lang="en-US" dirty="0"/>
          </a:p>
        </p:txBody>
      </p:sp>
      <p:sp>
        <p:nvSpPr>
          <p:cNvPr id="4" name="Footer Placeholder 3">
            <a:extLst>
              <a:ext uri="{FF2B5EF4-FFF2-40B4-BE49-F238E27FC236}">
                <a16:creationId xmlns:a16="http://schemas.microsoft.com/office/drawing/2014/main" id="{C0F8088D-166B-41B4-AFCE-B345022ACFE5}"/>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dirty="0"/>
              <a:t>SCR-SBUA</a:t>
            </a:r>
          </a:p>
        </p:txBody>
      </p:sp>
      <p:sp>
        <p:nvSpPr>
          <p:cNvPr id="5" name="Slide Number Placeholder 4">
            <a:extLst>
              <a:ext uri="{FF2B5EF4-FFF2-40B4-BE49-F238E27FC236}">
                <a16:creationId xmlns:a16="http://schemas.microsoft.com/office/drawing/2014/main" id="{C8068D11-8652-4B1A-AABE-77E8B1040144}"/>
              </a:ext>
            </a:extLst>
          </p:cNvPr>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r>
              <a:rPr lang="en-US" dirty="0"/>
              <a:t> - INTERNAL</a:t>
            </a:r>
          </a:p>
        </p:txBody>
      </p:sp>
      <p:sp>
        <p:nvSpPr>
          <p:cNvPr id="12" name="Text Placeholder 11">
            <a:extLst>
              <a:ext uri="{FF2B5EF4-FFF2-40B4-BE49-F238E27FC236}">
                <a16:creationId xmlns:a16="http://schemas.microsoft.com/office/drawing/2014/main" id="{89115085-39A3-47D9-9C79-AF9FC110BB6A}"/>
              </a:ext>
            </a:extLst>
          </p:cNvPr>
          <p:cNvSpPr>
            <a:spLocks noGrp="1"/>
          </p:cNvSpPr>
          <p:nvPr>
            <p:ph type="body" sz="quarter" idx="14"/>
          </p:nvPr>
        </p:nvSpPr>
        <p:spPr>
          <a:xfrm>
            <a:off x="0" y="5645856"/>
            <a:ext cx="12192000" cy="517525"/>
          </a:xfrm>
        </p:spPr>
        <p:txBody>
          <a:bodyPr anchor="ctr">
            <a:noAutofit/>
          </a:bodyPr>
          <a:lstStyle>
            <a:lvl1pPr marL="0" indent="0" algn="ctr">
              <a:buNone/>
              <a:defRPr lang="en-US" sz="32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2pPr>
            <a:lvl3pPr marL="9144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3pPr>
            <a:lvl4pPr marL="13716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4pPr>
            <a:lvl5pPr marL="1828800" indent="0">
              <a:buNone/>
              <a:defRPr lang="en-US" sz="2100" b="1" kern="1200" dirty="0">
                <a:solidFill>
                  <a:schemeClr val="bg1"/>
                </a:solidFill>
                <a:latin typeface="Arial" panose="020B0604020202020204" pitchFamily="34" charset="0"/>
                <a:ea typeface="MS PGothic" panose="020B0600070205080204" pitchFamily="34" charset="-128"/>
                <a:cs typeface="Arial" panose="020B0604020202020204" pitchFamily="34" charset="0"/>
              </a:defRPr>
            </a:lvl5pPr>
          </a:lstStyle>
          <a:p>
            <a:pPr lvl="0"/>
            <a:r>
              <a:rPr lang="en-US" dirty="0"/>
              <a:t>Edit Master text styles</a:t>
            </a:r>
          </a:p>
        </p:txBody>
      </p:sp>
      <p:sp>
        <p:nvSpPr>
          <p:cNvPr id="7" name="Picture Placeholder 6">
            <a:extLst>
              <a:ext uri="{FF2B5EF4-FFF2-40B4-BE49-F238E27FC236}">
                <a16:creationId xmlns:a16="http://schemas.microsoft.com/office/drawing/2014/main" id="{8AA07807-1937-42D6-B95B-67D65A2A46F8}"/>
              </a:ext>
            </a:extLst>
          </p:cNvPr>
          <p:cNvSpPr>
            <a:spLocks noGrp="1"/>
          </p:cNvSpPr>
          <p:nvPr>
            <p:ph type="pic" sz="quarter" idx="15"/>
          </p:nvPr>
        </p:nvSpPr>
        <p:spPr>
          <a:xfrm>
            <a:off x="858233" y="1529177"/>
            <a:ext cx="2438400" cy="1828800"/>
          </a:xfrm>
        </p:spPr>
        <p:txBody>
          <a:bodyPr>
            <a:normAutofit/>
          </a:bodyPr>
          <a:lstStyle>
            <a:lvl1pPr>
              <a:defRPr sz="1800">
                <a:latin typeface="Arial" panose="020B0604020202020204" pitchFamily="34" charset="0"/>
                <a:cs typeface="Arial" panose="020B0604020202020204" pitchFamily="34" charset="0"/>
              </a:defRPr>
            </a:lvl1pPr>
          </a:lstStyle>
          <a:p>
            <a:endParaRPr lang="en-US" dirty="0"/>
          </a:p>
        </p:txBody>
      </p:sp>
      <p:sp>
        <p:nvSpPr>
          <p:cNvPr id="13" name="Picture Placeholder 6">
            <a:extLst>
              <a:ext uri="{FF2B5EF4-FFF2-40B4-BE49-F238E27FC236}">
                <a16:creationId xmlns:a16="http://schemas.microsoft.com/office/drawing/2014/main" id="{0457E514-8BF3-4C16-A19F-02217CD24D10}"/>
              </a:ext>
            </a:extLst>
          </p:cNvPr>
          <p:cNvSpPr>
            <a:spLocks noGrp="1"/>
          </p:cNvSpPr>
          <p:nvPr>
            <p:ph type="pic" sz="quarter" idx="16"/>
          </p:nvPr>
        </p:nvSpPr>
        <p:spPr>
          <a:xfrm>
            <a:off x="3533293" y="1529177"/>
            <a:ext cx="2438400" cy="1828800"/>
          </a:xfrm>
        </p:spPr>
        <p:txBody>
          <a:bodyPr>
            <a:normAutofit/>
          </a:bodyPr>
          <a:lstStyle>
            <a:lvl1pPr>
              <a:defRPr sz="1800">
                <a:latin typeface="Arial" panose="020B0604020202020204" pitchFamily="34" charset="0"/>
                <a:cs typeface="Arial" panose="020B0604020202020204" pitchFamily="34" charset="0"/>
              </a:defRPr>
            </a:lvl1pPr>
          </a:lstStyle>
          <a:p>
            <a:endParaRPr lang="en-US" dirty="0"/>
          </a:p>
        </p:txBody>
      </p:sp>
      <p:sp>
        <p:nvSpPr>
          <p:cNvPr id="15" name="Picture Placeholder 6">
            <a:extLst>
              <a:ext uri="{FF2B5EF4-FFF2-40B4-BE49-F238E27FC236}">
                <a16:creationId xmlns:a16="http://schemas.microsoft.com/office/drawing/2014/main" id="{DF9748F2-F228-4F96-B8D3-E707174B3FCB}"/>
              </a:ext>
            </a:extLst>
          </p:cNvPr>
          <p:cNvSpPr>
            <a:spLocks noGrp="1"/>
          </p:cNvSpPr>
          <p:nvPr>
            <p:ph type="pic" sz="quarter" idx="17"/>
          </p:nvPr>
        </p:nvSpPr>
        <p:spPr>
          <a:xfrm>
            <a:off x="6220307" y="1529177"/>
            <a:ext cx="2438400" cy="1828800"/>
          </a:xfrm>
        </p:spPr>
        <p:txBody>
          <a:bodyPr>
            <a:normAutofit/>
          </a:bodyPr>
          <a:lstStyle>
            <a:lvl1pPr>
              <a:defRPr sz="1800">
                <a:latin typeface="Arial" panose="020B0604020202020204" pitchFamily="34" charset="0"/>
                <a:cs typeface="Arial" panose="020B0604020202020204" pitchFamily="34" charset="0"/>
              </a:defRPr>
            </a:lvl1pPr>
          </a:lstStyle>
          <a:p>
            <a:endParaRPr lang="en-US" dirty="0"/>
          </a:p>
        </p:txBody>
      </p:sp>
      <p:sp>
        <p:nvSpPr>
          <p:cNvPr id="16" name="Picture Placeholder 6">
            <a:extLst>
              <a:ext uri="{FF2B5EF4-FFF2-40B4-BE49-F238E27FC236}">
                <a16:creationId xmlns:a16="http://schemas.microsoft.com/office/drawing/2014/main" id="{D698F640-0DF3-4334-803C-BE0B1EA5F625}"/>
              </a:ext>
            </a:extLst>
          </p:cNvPr>
          <p:cNvSpPr>
            <a:spLocks noGrp="1"/>
          </p:cNvSpPr>
          <p:nvPr>
            <p:ph type="pic" sz="quarter" idx="18"/>
          </p:nvPr>
        </p:nvSpPr>
        <p:spPr>
          <a:xfrm>
            <a:off x="8907320" y="1529177"/>
            <a:ext cx="2438400" cy="1828800"/>
          </a:xfrm>
        </p:spPr>
        <p:txBody>
          <a:bodyPr>
            <a:normAutofit/>
          </a:bodyPr>
          <a:lstStyle>
            <a:lvl1pPr>
              <a:defRPr sz="1800">
                <a:latin typeface="Arial" panose="020B0604020202020204" pitchFamily="34" charset="0"/>
                <a:cs typeface="Arial" panose="020B0604020202020204" pitchFamily="34" charset="0"/>
              </a:defRPr>
            </a:lvl1pPr>
          </a:lstStyle>
          <a:p>
            <a:endParaRPr lang="en-US" dirty="0"/>
          </a:p>
        </p:txBody>
      </p:sp>
      <p:sp>
        <p:nvSpPr>
          <p:cNvPr id="17" name="Picture Placeholder 6">
            <a:extLst>
              <a:ext uri="{FF2B5EF4-FFF2-40B4-BE49-F238E27FC236}">
                <a16:creationId xmlns:a16="http://schemas.microsoft.com/office/drawing/2014/main" id="{2E481E13-3504-4E8E-8CBB-9BC0204E1FA8}"/>
              </a:ext>
            </a:extLst>
          </p:cNvPr>
          <p:cNvSpPr>
            <a:spLocks noGrp="1"/>
          </p:cNvSpPr>
          <p:nvPr>
            <p:ph type="pic" sz="quarter" idx="19"/>
          </p:nvPr>
        </p:nvSpPr>
        <p:spPr>
          <a:xfrm>
            <a:off x="858233" y="3639965"/>
            <a:ext cx="2438400" cy="1828800"/>
          </a:xfrm>
        </p:spPr>
        <p:txBody>
          <a:bodyPr>
            <a:normAutofit/>
          </a:bodyPr>
          <a:lstStyle>
            <a:lvl1pPr>
              <a:defRPr sz="1800">
                <a:latin typeface="Arial" panose="020B0604020202020204" pitchFamily="34" charset="0"/>
                <a:cs typeface="Arial" panose="020B0604020202020204" pitchFamily="34" charset="0"/>
              </a:defRPr>
            </a:lvl1pPr>
          </a:lstStyle>
          <a:p>
            <a:endParaRPr lang="en-US" dirty="0"/>
          </a:p>
        </p:txBody>
      </p:sp>
      <p:sp>
        <p:nvSpPr>
          <p:cNvPr id="18" name="Picture Placeholder 6">
            <a:extLst>
              <a:ext uri="{FF2B5EF4-FFF2-40B4-BE49-F238E27FC236}">
                <a16:creationId xmlns:a16="http://schemas.microsoft.com/office/drawing/2014/main" id="{F3EF6C84-35AD-4CBE-9804-BB949C4990E9}"/>
              </a:ext>
            </a:extLst>
          </p:cNvPr>
          <p:cNvSpPr>
            <a:spLocks noGrp="1"/>
          </p:cNvSpPr>
          <p:nvPr>
            <p:ph type="pic" sz="quarter" idx="20"/>
          </p:nvPr>
        </p:nvSpPr>
        <p:spPr>
          <a:xfrm>
            <a:off x="3533293" y="3639965"/>
            <a:ext cx="2438400" cy="1828800"/>
          </a:xfrm>
        </p:spPr>
        <p:txBody>
          <a:bodyPr>
            <a:normAutofit/>
          </a:bodyPr>
          <a:lstStyle>
            <a:lvl1pPr>
              <a:defRPr sz="1800">
                <a:latin typeface="Arial" panose="020B0604020202020204" pitchFamily="34" charset="0"/>
                <a:cs typeface="Arial" panose="020B0604020202020204" pitchFamily="34" charset="0"/>
              </a:defRPr>
            </a:lvl1pPr>
          </a:lstStyle>
          <a:p>
            <a:endParaRPr lang="en-US" dirty="0"/>
          </a:p>
        </p:txBody>
      </p:sp>
      <p:sp>
        <p:nvSpPr>
          <p:cNvPr id="19" name="Picture Placeholder 6">
            <a:extLst>
              <a:ext uri="{FF2B5EF4-FFF2-40B4-BE49-F238E27FC236}">
                <a16:creationId xmlns:a16="http://schemas.microsoft.com/office/drawing/2014/main" id="{AC05D50A-FDB2-46C5-A84C-9D20B8A6324D}"/>
              </a:ext>
            </a:extLst>
          </p:cNvPr>
          <p:cNvSpPr>
            <a:spLocks noGrp="1"/>
          </p:cNvSpPr>
          <p:nvPr>
            <p:ph type="pic" sz="quarter" idx="21"/>
          </p:nvPr>
        </p:nvSpPr>
        <p:spPr>
          <a:xfrm>
            <a:off x="6220307" y="3639965"/>
            <a:ext cx="2438400" cy="1828800"/>
          </a:xfrm>
        </p:spPr>
        <p:txBody>
          <a:bodyPr>
            <a:normAutofit/>
          </a:bodyPr>
          <a:lstStyle>
            <a:lvl1pPr>
              <a:defRPr sz="1800">
                <a:latin typeface="Arial" panose="020B0604020202020204" pitchFamily="34" charset="0"/>
                <a:cs typeface="Arial" panose="020B0604020202020204" pitchFamily="34" charset="0"/>
              </a:defRPr>
            </a:lvl1pPr>
          </a:lstStyle>
          <a:p>
            <a:endParaRPr lang="en-US" dirty="0"/>
          </a:p>
        </p:txBody>
      </p:sp>
      <p:sp>
        <p:nvSpPr>
          <p:cNvPr id="20" name="Picture Placeholder 6">
            <a:extLst>
              <a:ext uri="{FF2B5EF4-FFF2-40B4-BE49-F238E27FC236}">
                <a16:creationId xmlns:a16="http://schemas.microsoft.com/office/drawing/2014/main" id="{5B5C804E-8C40-41CD-A85A-C88D44895072}"/>
              </a:ext>
            </a:extLst>
          </p:cNvPr>
          <p:cNvSpPr>
            <a:spLocks noGrp="1"/>
          </p:cNvSpPr>
          <p:nvPr>
            <p:ph type="pic" sz="quarter" idx="22"/>
          </p:nvPr>
        </p:nvSpPr>
        <p:spPr>
          <a:xfrm>
            <a:off x="8907320" y="3639965"/>
            <a:ext cx="2438400" cy="1828800"/>
          </a:xfrm>
        </p:spPr>
        <p:txBody>
          <a:bodyPr>
            <a:normAutofit/>
          </a:bodyPr>
          <a:lstStyle>
            <a:lvl1pPr>
              <a:defRPr sz="1800">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42248682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BOLD Statement w/ Pictures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CBBBA7-12F6-4B21-B6E4-01C075114C57}"/>
              </a:ext>
            </a:extLst>
          </p:cNvPr>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CAB5DB02-96EE-43C3-898F-79E4EBC8C56B}"/>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1C5E8FB3-FA95-4ADD-B75C-36EADC109B60}" type="datetime1">
              <a:rPr lang="en-US" smtClean="0"/>
              <a:t>7/26/2021</a:t>
            </a:fld>
            <a:endParaRPr lang="en-US" dirty="0"/>
          </a:p>
        </p:txBody>
      </p:sp>
      <p:sp>
        <p:nvSpPr>
          <p:cNvPr id="4" name="Footer Placeholder 3">
            <a:extLst>
              <a:ext uri="{FF2B5EF4-FFF2-40B4-BE49-F238E27FC236}">
                <a16:creationId xmlns:a16="http://schemas.microsoft.com/office/drawing/2014/main" id="{C0F8088D-166B-41B4-AFCE-B345022ACFE5}"/>
              </a:ext>
            </a:extLst>
          </p:cNvPr>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dirty="0"/>
              <a:t>SCR-SBUA</a:t>
            </a:r>
          </a:p>
        </p:txBody>
      </p:sp>
      <p:sp>
        <p:nvSpPr>
          <p:cNvPr id="5" name="Slide Number Placeholder 4">
            <a:extLst>
              <a:ext uri="{FF2B5EF4-FFF2-40B4-BE49-F238E27FC236}">
                <a16:creationId xmlns:a16="http://schemas.microsoft.com/office/drawing/2014/main" id="{C8068D11-8652-4B1A-AABE-77E8B1040144}"/>
              </a:ext>
            </a:extLst>
          </p:cNvPr>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r>
              <a:rPr lang="en-US" dirty="0"/>
              <a:t> - INTERNAL</a:t>
            </a:r>
          </a:p>
        </p:txBody>
      </p:sp>
      <p:sp>
        <p:nvSpPr>
          <p:cNvPr id="39" name="Text Placeholder 11">
            <a:extLst>
              <a:ext uri="{FF2B5EF4-FFF2-40B4-BE49-F238E27FC236}">
                <a16:creationId xmlns:a16="http://schemas.microsoft.com/office/drawing/2014/main" id="{2B27D4CB-00B2-48C6-B88A-9777714395CB}"/>
              </a:ext>
            </a:extLst>
          </p:cNvPr>
          <p:cNvSpPr>
            <a:spLocks noGrp="1"/>
          </p:cNvSpPr>
          <p:nvPr>
            <p:ph type="body" sz="quarter" idx="14"/>
          </p:nvPr>
        </p:nvSpPr>
        <p:spPr>
          <a:xfrm>
            <a:off x="0" y="5645856"/>
            <a:ext cx="12192000" cy="517525"/>
          </a:xfrm>
        </p:spPr>
        <p:txBody>
          <a:bodyPr anchor="ctr">
            <a:noAutofit/>
          </a:bodyPr>
          <a:lstStyle>
            <a:lvl1pPr marL="0" indent="0" algn="ctr">
              <a:buNone/>
              <a:defRPr lang="en-US" sz="3200" b="1" kern="1200" dirty="0" smtClean="0">
                <a:solidFill>
                  <a:schemeClr val="accent2"/>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2pPr>
            <a:lvl3pPr marL="9144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3pPr>
            <a:lvl4pPr marL="13716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4pPr>
            <a:lvl5pPr marL="1828800" indent="0">
              <a:buNone/>
              <a:defRPr lang="en-US" sz="2100" b="1" kern="1200" dirty="0">
                <a:solidFill>
                  <a:schemeClr val="bg1"/>
                </a:solidFill>
                <a:latin typeface="Arial" panose="020B0604020202020204" pitchFamily="34" charset="0"/>
                <a:ea typeface="MS PGothic" panose="020B0600070205080204" pitchFamily="34" charset="-128"/>
                <a:cs typeface="Arial" panose="020B0604020202020204" pitchFamily="34" charset="0"/>
              </a:defRPr>
            </a:lvl5pPr>
          </a:lstStyle>
          <a:p>
            <a:pPr lvl="0"/>
            <a:r>
              <a:rPr lang="en-US" dirty="0"/>
              <a:t>Edit Master text styles</a:t>
            </a:r>
          </a:p>
        </p:txBody>
      </p:sp>
      <p:sp>
        <p:nvSpPr>
          <p:cNvPr id="40" name="Picture Placeholder 6">
            <a:extLst>
              <a:ext uri="{FF2B5EF4-FFF2-40B4-BE49-F238E27FC236}">
                <a16:creationId xmlns:a16="http://schemas.microsoft.com/office/drawing/2014/main" id="{3910B348-7BAB-4CF6-A183-3DDB1334FA9F}"/>
              </a:ext>
            </a:extLst>
          </p:cNvPr>
          <p:cNvSpPr>
            <a:spLocks noGrp="1"/>
          </p:cNvSpPr>
          <p:nvPr>
            <p:ph type="pic" sz="quarter" idx="15"/>
          </p:nvPr>
        </p:nvSpPr>
        <p:spPr>
          <a:xfrm>
            <a:off x="858233" y="1529177"/>
            <a:ext cx="2438400" cy="1828800"/>
          </a:xfrm>
        </p:spPr>
        <p:txBody>
          <a:bodyPr>
            <a:normAutofit/>
          </a:bodyPr>
          <a:lstStyle>
            <a:lvl1pPr>
              <a:defRPr sz="1800">
                <a:latin typeface="Arial" panose="020B0604020202020204" pitchFamily="34" charset="0"/>
                <a:cs typeface="Arial" panose="020B0604020202020204" pitchFamily="34" charset="0"/>
              </a:defRPr>
            </a:lvl1pPr>
          </a:lstStyle>
          <a:p>
            <a:endParaRPr lang="en-US" dirty="0"/>
          </a:p>
        </p:txBody>
      </p:sp>
      <p:sp>
        <p:nvSpPr>
          <p:cNvPr id="41" name="Picture Placeholder 6">
            <a:extLst>
              <a:ext uri="{FF2B5EF4-FFF2-40B4-BE49-F238E27FC236}">
                <a16:creationId xmlns:a16="http://schemas.microsoft.com/office/drawing/2014/main" id="{F0F4DC99-EF4F-43C4-961A-CA258C2AF15B}"/>
              </a:ext>
            </a:extLst>
          </p:cNvPr>
          <p:cNvSpPr>
            <a:spLocks noGrp="1"/>
          </p:cNvSpPr>
          <p:nvPr>
            <p:ph type="pic" sz="quarter" idx="16"/>
          </p:nvPr>
        </p:nvSpPr>
        <p:spPr>
          <a:xfrm>
            <a:off x="3533293" y="1529177"/>
            <a:ext cx="2438400" cy="1828800"/>
          </a:xfrm>
        </p:spPr>
        <p:txBody>
          <a:bodyPr>
            <a:normAutofit/>
          </a:bodyPr>
          <a:lstStyle>
            <a:lvl1pPr>
              <a:defRPr sz="1800">
                <a:latin typeface="Arial" panose="020B0604020202020204" pitchFamily="34" charset="0"/>
                <a:cs typeface="Arial" panose="020B0604020202020204" pitchFamily="34" charset="0"/>
              </a:defRPr>
            </a:lvl1pPr>
          </a:lstStyle>
          <a:p>
            <a:endParaRPr lang="en-US" dirty="0"/>
          </a:p>
        </p:txBody>
      </p:sp>
      <p:sp>
        <p:nvSpPr>
          <p:cNvPr id="42" name="Picture Placeholder 6">
            <a:extLst>
              <a:ext uri="{FF2B5EF4-FFF2-40B4-BE49-F238E27FC236}">
                <a16:creationId xmlns:a16="http://schemas.microsoft.com/office/drawing/2014/main" id="{C25C2F78-3B88-4BD9-A7B3-C6941D2D7770}"/>
              </a:ext>
            </a:extLst>
          </p:cNvPr>
          <p:cNvSpPr>
            <a:spLocks noGrp="1"/>
          </p:cNvSpPr>
          <p:nvPr>
            <p:ph type="pic" sz="quarter" idx="17"/>
          </p:nvPr>
        </p:nvSpPr>
        <p:spPr>
          <a:xfrm>
            <a:off x="6220307" y="1529177"/>
            <a:ext cx="2438400" cy="1828800"/>
          </a:xfrm>
        </p:spPr>
        <p:txBody>
          <a:bodyPr>
            <a:normAutofit/>
          </a:bodyPr>
          <a:lstStyle>
            <a:lvl1pPr>
              <a:defRPr sz="1800">
                <a:latin typeface="Arial" panose="020B0604020202020204" pitchFamily="34" charset="0"/>
                <a:cs typeface="Arial" panose="020B0604020202020204" pitchFamily="34" charset="0"/>
              </a:defRPr>
            </a:lvl1pPr>
          </a:lstStyle>
          <a:p>
            <a:endParaRPr lang="en-US" dirty="0"/>
          </a:p>
        </p:txBody>
      </p:sp>
      <p:sp>
        <p:nvSpPr>
          <p:cNvPr id="43" name="Picture Placeholder 6">
            <a:extLst>
              <a:ext uri="{FF2B5EF4-FFF2-40B4-BE49-F238E27FC236}">
                <a16:creationId xmlns:a16="http://schemas.microsoft.com/office/drawing/2014/main" id="{6A50CF1F-2D88-4997-B4D4-8C4A8466A9EE}"/>
              </a:ext>
            </a:extLst>
          </p:cNvPr>
          <p:cNvSpPr>
            <a:spLocks noGrp="1"/>
          </p:cNvSpPr>
          <p:nvPr>
            <p:ph type="pic" sz="quarter" idx="18"/>
          </p:nvPr>
        </p:nvSpPr>
        <p:spPr>
          <a:xfrm>
            <a:off x="8907320" y="1529177"/>
            <a:ext cx="2438400" cy="1828800"/>
          </a:xfrm>
        </p:spPr>
        <p:txBody>
          <a:bodyPr>
            <a:normAutofit/>
          </a:bodyPr>
          <a:lstStyle>
            <a:lvl1pPr>
              <a:defRPr sz="1800">
                <a:latin typeface="Arial" panose="020B0604020202020204" pitchFamily="34" charset="0"/>
                <a:cs typeface="Arial" panose="020B0604020202020204" pitchFamily="34" charset="0"/>
              </a:defRPr>
            </a:lvl1pPr>
          </a:lstStyle>
          <a:p>
            <a:endParaRPr lang="en-US" dirty="0"/>
          </a:p>
        </p:txBody>
      </p:sp>
      <p:sp>
        <p:nvSpPr>
          <p:cNvPr id="44" name="Picture Placeholder 6">
            <a:extLst>
              <a:ext uri="{FF2B5EF4-FFF2-40B4-BE49-F238E27FC236}">
                <a16:creationId xmlns:a16="http://schemas.microsoft.com/office/drawing/2014/main" id="{0D5061F5-564C-4EB5-9B72-00DE8640BB43}"/>
              </a:ext>
            </a:extLst>
          </p:cNvPr>
          <p:cNvSpPr>
            <a:spLocks noGrp="1"/>
          </p:cNvSpPr>
          <p:nvPr>
            <p:ph type="pic" sz="quarter" idx="19"/>
          </p:nvPr>
        </p:nvSpPr>
        <p:spPr>
          <a:xfrm>
            <a:off x="858233" y="3639965"/>
            <a:ext cx="2438400" cy="1828800"/>
          </a:xfrm>
        </p:spPr>
        <p:txBody>
          <a:bodyPr>
            <a:normAutofit/>
          </a:bodyPr>
          <a:lstStyle>
            <a:lvl1pPr>
              <a:defRPr sz="1800">
                <a:latin typeface="Arial" panose="020B0604020202020204" pitchFamily="34" charset="0"/>
                <a:cs typeface="Arial" panose="020B0604020202020204" pitchFamily="34" charset="0"/>
              </a:defRPr>
            </a:lvl1pPr>
          </a:lstStyle>
          <a:p>
            <a:endParaRPr lang="en-US" dirty="0"/>
          </a:p>
        </p:txBody>
      </p:sp>
      <p:sp>
        <p:nvSpPr>
          <p:cNvPr id="45" name="Picture Placeholder 6">
            <a:extLst>
              <a:ext uri="{FF2B5EF4-FFF2-40B4-BE49-F238E27FC236}">
                <a16:creationId xmlns:a16="http://schemas.microsoft.com/office/drawing/2014/main" id="{7879C736-1E45-4B60-BD15-C9822CBA034A}"/>
              </a:ext>
            </a:extLst>
          </p:cNvPr>
          <p:cNvSpPr>
            <a:spLocks noGrp="1"/>
          </p:cNvSpPr>
          <p:nvPr>
            <p:ph type="pic" sz="quarter" idx="20"/>
          </p:nvPr>
        </p:nvSpPr>
        <p:spPr>
          <a:xfrm>
            <a:off x="3533293" y="3639965"/>
            <a:ext cx="2438400" cy="1828800"/>
          </a:xfrm>
        </p:spPr>
        <p:txBody>
          <a:bodyPr>
            <a:normAutofit/>
          </a:bodyPr>
          <a:lstStyle>
            <a:lvl1pPr>
              <a:defRPr sz="1800">
                <a:latin typeface="Arial" panose="020B0604020202020204" pitchFamily="34" charset="0"/>
                <a:cs typeface="Arial" panose="020B0604020202020204" pitchFamily="34" charset="0"/>
              </a:defRPr>
            </a:lvl1pPr>
          </a:lstStyle>
          <a:p>
            <a:endParaRPr lang="en-US" dirty="0"/>
          </a:p>
        </p:txBody>
      </p:sp>
      <p:sp>
        <p:nvSpPr>
          <p:cNvPr id="46" name="Picture Placeholder 6">
            <a:extLst>
              <a:ext uri="{FF2B5EF4-FFF2-40B4-BE49-F238E27FC236}">
                <a16:creationId xmlns:a16="http://schemas.microsoft.com/office/drawing/2014/main" id="{524EDC20-BB1E-4676-8652-E3D900B751F5}"/>
              </a:ext>
            </a:extLst>
          </p:cNvPr>
          <p:cNvSpPr>
            <a:spLocks noGrp="1"/>
          </p:cNvSpPr>
          <p:nvPr>
            <p:ph type="pic" sz="quarter" idx="21"/>
          </p:nvPr>
        </p:nvSpPr>
        <p:spPr>
          <a:xfrm>
            <a:off x="6220307" y="3639965"/>
            <a:ext cx="2438400" cy="1828800"/>
          </a:xfrm>
        </p:spPr>
        <p:txBody>
          <a:bodyPr>
            <a:normAutofit/>
          </a:bodyPr>
          <a:lstStyle>
            <a:lvl1pPr>
              <a:defRPr sz="1800">
                <a:latin typeface="Arial" panose="020B0604020202020204" pitchFamily="34" charset="0"/>
                <a:cs typeface="Arial" panose="020B0604020202020204" pitchFamily="34" charset="0"/>
              </a:defRPr>
            </a:lvl1pPr>
          </a:lstStyle>
          <a:p>
            <a:endParaRPr lang="en-US" dirty="0"/>
          </a:p>
        </p:txBody>
      </p:sp>
      <p:sp>
        <p:nvSpPr>
          <p:cNvPr id="47" name="Picture Placeholder 6">
            <a:extLst>
              <a:ext uri="{FF2B5EF4-FFF2-40B4-BE49-F238E27FC236}">
                <a16:creationId xmlns:a16="http://schemas.microsoft.com/office/drawing/2014/main" id="{436CCF61-93D7-403A-8D6D-2935609813B3}"/>
              </a:ext>
            </a:extLst>
          </p:cNvPr>
          <p:cNvSpPr>
            <a:spLocks noGrp="1"/>
          </p:cNvSpPr>
          <p:nvPr>
            <p:ph type="pic" sz="quarter" idx="22"/>
          </p:nvPr>
        </p:nvSpPr>
        <p:spPr>
          <a:xfrm>
            <a:off x="8907320" y="3639965"/>
            <a:ext cx="2438400" cy="1828800"/>
          </a:xfrm>
        </p:spPr>
        <p:txBody>
          <a:bodyPr>
            <a:normAutofit/>
          </a:bodyPr>
          <a:lstStyle>
            <a:lvl1pPr>
              <a:defRPr sz="1800">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56301923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Subhead, Text, and Centere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F24FAB88-E4A2-4B86-BFF9-BC0E4D6BED73}" type="datetime1">
              <a:rPr lang="en-US" smtClean="0"/>
              <a:t>7/26/2021</a:t>
            </a:fld>
            <a:endParaRPr lang="en-US" dirty="0"/>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dirty="0"/>
              <a:t>SCR-SBUA</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dirty="0"/>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453016" y="1310624"/>
            <a:ext cx="10538568" cy="443020"/>
          </a:xfrm>
        </p:spPr>
        <p:txBody>
          <a:bodyPr anchor="ctr">
            <a:normAutofit/>
          </a:bodyPr>
          <a:lstStyle>
            <a:lvl1pPr marL="0" indent="0" algn="l" defTabSz="457200" rtl="0" eaLnBrk="1" fontAlgn="base" hangingPunct="1">
              <a:spcBef>
                <a:spcPct val="0"/>
              </a:spcBef>
              <a:spcAft>
                <a:spcPct val="0"/>
              </a:spcAft>
              <a:buNone/>
              <a:defRPr lang="en-US" sz="300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0" name="Text Placeholder 9">
            <a:extLst>
              <a:ext uri="{FF2B5EF4-FFF2-40B4-BE49-F238E27FC236}">
                <a16:creationId xmlns:a16="http://schemas.microsoft.com/office/drawing/2014/main" id="{3ADD1A90-239D-49F7-A980-0F38BE5298CC}"/>
              </a:ext>
            </a:extLst>
          </p:cNvPr>
          <p:cNvSpPr>
            <a:spLocks noGrp="1"/>
          </p:cNvSpPr>
          <p:nvPr>
            <p:ph type="body" sz="quarter" idx="14"/>
          </p:nvPr>
        </p:nvSpPr>
        <p:spPr>
          <a:xfrm>
            <a:off x="1452034" y="1892300"/>
            <a:ext cx="10538884" cy="1193800"/>
          </a:xfrm>
        </p:spPr>
        <p:txBody>
          <a:bodyPr/>
          <a:lstStyle>
            <a:lvl1pPr>
              <a:defRPr sz="24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marL="914400" indent="0">
              <a:buNone/>
              <a:defRPr sz="1600"/>
            </a:lvl3pPr>
            <a:lvl4pPr>
              <a:defRPr sz="1400"/>
            </a:lvl4pPr>
            <a:lvl5pPr>
              <a:defRPr sz="1200"/>
            </a:lvl5pPr>
          </a:lstStyle>
          <a:p>
            <a:pPr lvl="0"/>
            <a:r>
              <a:rPr lang="en-US" dirty="0"/>
              <a:t>Edit Master text styles</a:t>
            </a:r>
          </a:p>
          <a:p>
            <a:pPr lvl="1"/>
            <a:r>
              <a:rPr lang="en-US" dirty="0"/>
              <a:t>Second level</a:t>
            </a:r>
          </a:p>
        </p:txBody>
      </p:sp>
      <p:sp>
        <p:nvSpPr>
          <p:cNvPr id="15" name="Content Placeholder 14">
            <a:extLst>
              <a:ext uri="{FF2B5EF4-FFF2-40B4-BE49-F238E27FC236}">
                <a16:creationId xmlns:a16="http://schemas.microsoft.com/office/drawing/2014/main" id="{E4119E39-3D14-47D5-A52B-3E7DECE31268}"/>
              </a:ext>
            </a:extLst>
          </p:cNvPr>
          <p:cNvSpPr>
            <a:spLocks noGrp="1"/>
          </p:cNvSpPr>
          <p:nvPr>
            <p:ph sz="quarter" idx="15"/>
          </p:nvPr>
        </p:nvSpPr>
        <p:spPr>
          <a:xfrm>
            <a:off x="184050" y="3206751"/>
            <a:ext cx="11823903" cy="3019425"/>
          </a:xfrm>
        </p:spPr>
        <p:txBody>
          <a:bodyPr/>
          <a:lstStyle>
            <a:lvl1pPr>
              <a:defRPr>
                <a:latin typeface="Arial" panose="020B0604020202020204" pitchFamily="34" charset="0"/>
                <a:cs typeface="Arial" panose="020B0604020202020204" pitchFamily="34" charset="0"/>
              </a:defRPr>
            </a:lvl1pPr>
          </a:lstStyle>
          <a:p>
            <a:pPr lvl="0"/>
            <a:endParaRPr lang="en-US" dirty="0"/>
          </a:p>
        </p:txBody>
      </p:sp>
    </p:spTree>
    <p:extLst>
      <p:ext uri="{BB962C8B-B14F-4D97-AF65-F5344CB8AC3E}">
        <p14:creationId xmlns:p14="http://schemas.microsoft.com/office/powerpoint/2010/main" val="3265902293"/>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Subhead, and Centere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F98A1EE2-4128-4620-87D5-C0729FFF1B60}" type="datetime1">
              <a:rPr lang="en-US" smtClean="0"/>
              <a:t>7/26/2021</a:t>
            </a:fld>
            <a:endParaRPr lang="en-US" dirty="0"/>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dirty="0"/>
              <a:t>SCR-SBUA</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dirty="0"/>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452034" y="1334435"/>
            <a:ext cx="10538568" cy="574534"/>
          </a:xfrm>
        </p:spPr>
        <p:txBody>
          <a:bodyPr anchor="ctr">
            <a:normAutofit/>
          </a:bodyPr>
          <a:lstStyle>
            <a:lvl1pPr marL="0" indent="0" algn="l" defTabSz="457200" rtl="0" eaLnBrk="1" fontAlgn="base" hangingPunct="1">
              <a:spcBef>
                <a:spcPct val="0"/>
              </a:spcBef>
              <a:spcAft>
                <a:spcPct val="0"/>
              </a:spcAft>
              <a:buNone/>
              <a:defRPr lang="en-US" sz="300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Text Placeholder 10">
            <a:extLst>
              <a:ext uri="{FF2B5EF4-FFF2-40B4-BE49-F238E27FC236}">
                <a16:creationId xmlns:a16="http://schemas.microsoft.com/office/drawing/2014/main" id="{66512F17-0097-4F71-950E-B075D533BD1C}"/>
              </a:ext>
            </a:extLst>
          </p:cNvPr>
          <p:cNvSpPr>
            <a:spLocks noGrp="1"/>
          </p:cNvSpPr>
          <p:nvPr>
            <p:ph type="body" sz="quarter" idx="15"/>
          </p:nvPr>
        </p:nvSpPr>
        <p:spPr>
          <a:xfrm>
            <a:off x="184048" y="5969000"/>
            <a:ext cx="11806870" cy="387352"/>
          </a:xfrm>
        </p:spPr>
        <p:txBody>
          <a:bodyPr>
            <a:noAutofit/>
          </a:bodyPr>
          <a:lstStyle>
            <a:lvl1pPr marL="0" indent="0" algn="ctr">
              <a:buNone/>
              <a:defRPr sz="1400">
                <a:latin typeface="Arial" panose="020B0604020202020204" pitchFamily="34" charset="0"/>
                <a:cs typeface="Arial" panose="020B0604020202020204" pitchFamily="34" charset="0"/>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Edit Master text styles</a:t>
            </a:r>
          </a:p>
        </p:txBody>
      </p:sp>
      <p:sp>
        <p:nvSpPr>
          <p:cNvPr id="12" name="Content Placeholder 11">
            <a:extLst>
              <a:ext uri="{FF2B5EF4-FFF2-40B4-BE49-F238E27FC236}">
                <a16:creationId xmlns:a16="http://schemas.microsoft.com/office/drawing/2014/main" id="{9D342297-364B-4C76-ABC7-ABEDA6043F92}"/>
              </a:ext>
            </a:extLst>
          </p:cNvPr>
          <p:cNvSpPr>
            <a:spLocks noGrp="1"/>
          </p:cNvSpPr>
          <p:nvPr>
            <p:ph sz="quarter" idx="16"/>
          </p:nvPr>
        </p:nvSpPr>
        <p:spPr>
          <a:xfrm>
            <a:off x="184048" y="2029620"/>
            <a:ext cx="11823905" cy="3794917"/>
          </a:xfrm>
        </p:spPr>
        <p:txBody>
          <a:bodyPr/>
          <a:lstStyle>
            <a:lvl1pPr>
              <a:defRPr>
                <a:latin typeface="Arial" panose="020B0604020202020204" pitchFamily="34" charset="0"/>
                <a:cs typeface="Arial" panose="020B0604020202020204" pitchFamily="34" charset="0"/>
              </a:defRPr>
            </a:lvl1pPr>
          </a:lstStyle>
          <a:p>
            <a:pPr lvl="0"/>
            <a:endParaRPr lang="en-US" dirty="0"/>
          </a:p>
        </p:txBody>
      </p:sp>
    </p:spTree>
    <p:extLst>
      <p:ext uri="{BB962C8B-B14F-4D97-AF65-F5344CB8AC3E}">
        <p14:creationId xmlns:p14="http://schemas.microsoft.com/office/powerpoint/2010/main" val="2093538458"/>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Subhead, Text Left/Content Right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DDF512A4-D9D5-4773-862A-4ECA65232754}" type="datetime1">
              <a:rPr lang="en-US" smtClean="0"/>
              <a:t>7/26/2021</a:t>
            </a:fld>
            <a:endParaRPr lang="en-US" dirty="0"/>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dirty="0"/>
              <a:t>SCR-SBUA</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dirty="0"/>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452349" y="1310625"/>
            <a:ext cx="10538568" cy="526801"/>
          </a:xfrm>
        </p:spPr>
        <p:txBody>
          <a:bodyPr anchor="ctr">
            <a:normAutofit/>
          </a:bodyPr>
          <a:lstStyle>
            <a:lvl1pPr marL="0" indent="0" algn="l" defTabSz="457200" rtl="0" eaLnBrk="1" fontAlgn="base" hangingPunct="1">
              <a:spcBef>
                <a:spcPct val="0"/>
              </a:spcBef>
              <a:spcAft>
                <a:spcPct val="0"/>
              </a:spcAft>
              <a:buNone/>
              <a:defRPr lang="en-US" sz="300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Text Placeholder 10">
            <a:extLst>
              <a:ext uri="{FF2B5EF4-FFF2-40B4-BE49-F238E27FC236}">
                <a16:creationId xmlns:a16="http://schemas.microsoft.com/office/drawing/2014/main" id="{66512F17-0097-4F71-950E-B075D533BD1C}"/>
              </a:ext>
            </a:extLst>
          </p:cNvPr>
          <p:cNvSpPr>
            <a:spLocks noGrp="1"/>
          </p:cNvSpPr>
          <p:nvPr>
            <p:ph type="body" sz="quarter" idx="15"/>
          </p:nvPr>
        </p:nvSpPr>
        <p:spPr>
          <a:xfrm>
            <a:off x="1452034" y="5969000"/>
            <a:ext cx="10538884" cy="266700"/>
          </a:xfrm>
        </p:spPr>
        <p:txBody>
          <a:bodyPr>
            <a:noAutofit/>
          </a:bodyPr>
          <a:lstStyle>
            <a:lvl1pPr marL="0" indent="0">
              <a:buNone/>
              <a:defRPr sz="1400">
                <a:latin typeface="Arial" panose="020B0604020202020204" pitchFamily="34" charset="0"/>
                <a:cs typeface="Arial" panose="020B0604020202020204" pitchFamily="34" charset="0"/>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dirty="0"/>
              <a:t>Edit Master text styles</a:t>
            </a:r>
          </a:p>
        </p:txBody>
      </p:sp>
      <p:sp>
        <p:nvSpPr>
          <p:cNvPr id="8" name="Text Placeholder 7">
            <a:extLst>
              <a:ext uri="{FF2B5EF4-FFF2-40B4-BE49-F238E27FC236}">
                <a16:creationId xmlns:a16="http://schemas.microsoft.com/office/drawing/2014/main" id="{F1439268-8818-411A-8FBC-12583703D994}"/>
              </a:ext>
            </a:extLst>
          </p:cNvPr>
          <p:cNvSpPr>
            <a:spLocks noGrp="1"/>
          </p:cNvSpPr>
          <p:nvPr>
            <p:ph type="body" sz="quarter" idx="17"/>
          </p:nvPr>
        </p:nvSpPr>
        <p:spPr>
          <a:xfrm>
            <a:off x="1452034" y="1963270"/>
            <a:ext cx="3824817" cy="3848567"/>
          </a:xfrm>
        </p:spPr>
        <p:txBody>
          <a:bodyPr anchor="ctr">
            <a:normAutofit/>
          </a:bodyPr>
          <a:lstStyle>
            <a:lvl1pPr marL="0" indent="0">
              <a:buNone/>
              <a:defRPr sz="2800">
                <a:latin typeface="Arial" panose="020B0604020202020204" pitchFamily="34" charset="0"/>
                <a:cs typeface="Arial" panose="020B0604020202020204" pitchFamily="34" charset="0"/>
              </a:defRPr>
            </a:lvl1pPr>
            <a:lvl2pPr>
              <a:defRPr sz="2400"/>
            </a:lvl2pPr>
            <a:lvl3pPr>
              <a:defRPr sz="1800"/>
            </a:lvl3pPr>
            <a:lvl4pPr>
              <a:defRPr sz="1600"/>
            </a:lvl4pPr>
            <a:lvl5pPr>
              <a:defRPr sz="1400"/>
            </a:lvl5pPr>
          </a:lstStyle>
          <a:p>
            <a:pPr lvl="0"/>
            <a:r>
              <a:rPr lang="en-US" dirty="0"/>
              <a:t>Edit Master text styles</a:t>
            </a:r>
          </a:p>
        </p:txBody>
      </p:sp>
      <p:sp>
        <p:nvSpPr>
          <p:cNvPr id="12" name="Content Placeholder 11">
            <a:extLst>
              <a:ext uri="{FF2B5EF4-FFF2-40B4-BE49-F238E27FC236}">
                <a16:creationId xmlns:a16="http://schemas.microsoft.com/office/drawing/2014/main" id="{4F8C5B39-2CEC-4D5E-B115-5B25FC0AB866}"/>
              </a:ext>
            </a:extLst>
          </p:cNvPr>
          <p:cNvSpPr>
            <a:spLocks noGrp="1"/>
          </p:cNvSpPr>
          <p:nvPr>
            <p:ph sz="quarter" idx="18"/>
          </p:nvPr>
        </p:nvSpPr>
        <p:spPr>
          <a:xfrm>
            <a:off x="5477933" y="1958078"/>
            <a:ext cx="6512984" cy="3853760"/>
          </a:xfrm>
        </p:spPr>
        <p:txBody>
          <a:bodyPr/>
          <a:lstStyle>
            <a:lvl1pPr>
              <a:defRPr>
                <a:latin typeface="Arial" panose="020B0604020202020204" pitchFamily="34" charset="0"/>
                <a:cs typeface="Arial" panose="020B0604020202020204" pitchFamily="34" charset="0"/>
              </a:defRPr>
            </a:lvl1pPr>
          </a:lstStyle>
          <a:p>
            <a:pPr lvl="0"/>
            <a:endParaRPr lang="en-US" dirty="0"/>
          </a:p>
        </p:txBody>
      </p:sp>
    </p:spTree>
    <p:extLst>
      <p:ext uri="{BB962C8B-B14F-4D97-AF65-F5344CB8AC3E}">
        <p14:creationId xmlns:p14="http://schemas.microsoft.com/office/powerpoint/2010/main" val="2426297940"/>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Two Line Title, Subhead, Text Right/Object Left">
    <p:spTree>
      <p:nvGrpSpPr>
        <p:cNvPr id="1" name=""/>
        <p:cNvGrpSpPr/>
        <p:nvPr/>
      </p:nvGrpSpPr>
      <p:grpSpPr>
        <a:xfrm>
          <a:off x="0" y="0"/>
          <a:ext cx="0" cy="0"/>
          <a:chOff x="0" y="0"/>
          <a:chExt cx="0" cy="0"/>
        </a:xfrm>
      </p:grpSpPr>
      <p:pic>
        <p:nvPicPr>
          <p:cNvPr id="13" name="Picture 12" descr="BlueBar_DoubleLine-02.jpg">
            <a:extLst>
              <a:ext uri="{FF2B5EF4-FFF2-40B4-BE49-F238E27FC236}">
                <a16:creationId xmlns:a16="http://schemas.microsoft.com/office/drawing/2014/main" id="{2AC1FF59-EF7B-467C-844B-45B034B900C6}"/>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0" y="-1"/>
            <a:ext cx="12202528" cy="1586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453019" y="1"/>
            <a:ext cx="10538565" cy="1586751"/>
          </a:xfrm>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AE80AD64-54AD-4BAF-A18B-0A6551ED3277}" type="datetime1">
              <a:rPr lang="en-US" smtClean="0"/>
              <a:t>7/26/2021</a:t>
            </a:fld>
            <a:endParaRPr lang="en-US" dirty="0"/>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dirty="0"/>
              <a:t>SCR-SBUA</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dirty="0"/>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453017" y="1682004"/>
            <a:ext cx="10538568" cy="730763"/>
          </a:xfrm>
        </p:spPr>
        <p:txBody>
          <a:bodyPr anchor="ctr">
            <a:normAutofit/>
          </a:bodyPr>
          <a:lstStyle>
            <a:lvl1pPr marL="0" indent="0" algn="l" defTabSz="457200" rtl="0" eaLnBrk="1" fontAlgn="base" hangingPunct="1">
              <a:spcBef>
                <a:spcPct val="0"/>
              </a:spcBef>
              <a:spcAft>
                <a:spcPct val="0"/>
              </a:spcAft>
              <a:buNone/>
              <a:defRPr lang="en-US" sz="300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4" name="Text Placeholder 13">
            <a:extLst>
              <a:ext uri="{FF2B5EF4-FFF2-40B4-BE49-F238E27FC236}">
                <a16:creationId xmlns:a16="http://schemas.microsoft.com/office/drawing/2014/main" id="{9F262AAA-0498-4F5E-A9CC-BA200A577A43}"/>
              </a:ext>
            </a:extLst>
          </p:cNvPr>
          <p:cNvSpPr>
            <a:spLocks noGrp="1"/>
          </p:cNvSpPr>
          <p:nvPr>
            <p:ph type="body" sz="quarter" idx="15"/>
          </p:nvPr>
        </p:nvSpPr>
        <p:spPr>
          <a:xfrm>
            <a:off x="7281333" y="2510118"/>
            <a:ext cx="4709584" cy="3750982"/>
          </a:xfrm>
        </p:spPr>
        <p:txBody>
          <a:bodyPr/>
          <a:lstStyle>
            <a:lvl1pPr>
              <a:defRPr sz="2400">
                <a:latin typeface="Arial" panose="020B0604020202020204" pitchFamily="34" charset="0"/>
                <a:cs typeface="Arial" panose="020B0604020202020204" pitchFamily="34" charset="0"/>
              </a:defRPr>
            </a:lvl1pPr>
            <a:lvl2pPr>
              <a:defRPr sz="2400" i="0">
                <a:latin typeface="Arial" panose="020B0604020202020204" pitchFamily="34" charset="0"/>
                <a:cs typeface="Arial" panose="020B0604020202020204" pitchFamily="34" charset="0"/>
              </a:defRPr>
            </a:lvl2pPr>
            <a:lvl3pPr>
              <a:defRPr sz="2400">
                <a:latin typeface="Arial" panose="020B06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sz="24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a:extLst>
              <a:ext uri="{FF2B5EF4-FFF2-40B4-BE49-F238E27FC236}">
                <a16:creationId xmlns:a16="http://schemas.microsoft.com/office/drawing/2014/main" id="{BBD7D799-947F-47C9-93CF-0135C2AFC30C}"/>
              </a:ext>
            </a:extLst>
          </p:cNvPr>
          <p:cNvSpPr>
            <a:spLocks noGrp="1"/>
          </p:cNvSpPr>
          <p:nvPr>
            <p:ph sz="quarter" idx="16"/>
          </p:nvPr>
        </p:nvSpPr>
        <p:spPr>
          <a:xfrm>
            <a:off x="1452034" y="2510118"/>
            <a:ext cx="5630333" cy="3750982"/>
          </a:xfrm>
        </p:spPr>
        <p:txBody>
          <a:bodyPr/>
          <a:lstStyle>
            <a:lvl1pPr>
              <a:defRPr>
                <a:latin typeface="Arial" panose="020B0604020202020204" pitchFamily="34" charset="0"/>
                <a:cs typeface="Arial" panose="020B0604020202020204" pitchFamily="34" charset="0"/>
              </a:defRPr>
            </a:lvl1pPr>
          </a:lstStyle>
          <a:p>
            <a:pPr lvl="0"/>
            <a:endParaRPr lang="en-US" dirty="0"/>
          </a:p>
        </p:txBody>
      </p:sp>
    </p:spTree>
    <p:extLst>
      <p:ext uri="{BB962C8B-B14F-4D97-AF65-F5344CB8AC3E}">
        <p14:creationId xmlns:p14="http://schemas.microsoft.com/office/powerpoint/2010/main" val="943778103"/>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Section Header Photo Black Tex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8107855F-E478-4CB7-B3AE-BFFDAFDF34C6}"/>
              </a:ext>
            </a:extLst>
          </p:cNvPr>
          <p:cNvSpPr>
            <a:spLocks noGrp="1"/>
          </p:cNvSpPr>
          <p:nvPr>
            <p:ph type="pic" sz="quarter" idx="13"/>
          </p:nvPr>
        </p:nvSpPr>
        <p:spPr>
          <a:xfrm>
            <a:off x="0" y="0"/>
            <a:ext cx="12192000" cy="6858000"/>
          </a:xfrm>
        </p:spPr>
        <p:txBody>
          <a:bodyPr/>
          <a:lstStyle>
            <a:lvl1pPr>
              <a:defRPr>
                <a:latin typeface="Arial" panose="020B0604020202020204" pitchFamily="34" charset="0"/>
                <a:cs typeface="Arial" panose="020B0604020202020204" pitchFamily="34" charset="0"/>
              </a:defRPr>
            </a:lvl1pPr>
          </a:lstStyle>
          <a:p>
            <a:endParaRPr lang="en-US" dirty="0"/>
          </a:p>
        </p:txBody>
      </p:sp>
      <p:sp>
        <p:nvSpPr>
          <p:cNvPr id="3" name="Text Placeholder 2"/>
          <p:cNvSpPr>
            <a:spLocks noGrp="1"/>
          </p:cNvSpPr>
          <p:nvPr>
            <p:ph type="body" idx="1"/>
          </p:nvPr>
        </p:nvSpPr>
        <p:spPr>
          <a:xfrm>
            <a:off x="831851" y="4589465"/>
            <a:ext cx="10515600" cy="1500187"/>
          </a:xfrm>
        </p:spPr>
        <p:txBody>
          <a:bodyPr>
            <a:normAutofit/>
          </a:bodyPr>
          <a:lstStyle>
            <a:lvl1pPr marL="0" indent="0">
              <a:buNone/>
              <a:defRPr sz="2800" b="1">
                <a:solidFill>
                  <a:schemeClr val="tx2">
                    <a:lumMod val="50000"/>
                  </a:schemeClr>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0BF1E285-DA38-4EA3-996D-793DB3ADC791}" type="datetime1">
              <a:rPr lang="en-US" smtClean="0"/>
              <a:t>7/26/2021</a:t>
            </a:fld>
            <a:endParaRPr lang="en-US" dirty="0"/>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dirty="0"/>
              <a:t>SCR-SBUA</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dirty="0"/>
          </a:p>
        </p:txBody>
      </p:sp>
    </p:spTree>
    <p:extLst>
      <p:ext uri="{BB962C8B-B14F-4D97-AF65-F5344CB8AC3E}">
        <p14:creationId xmlns:p14="http://schemas.microsoft.com/office/powerpoint/2010/main" val="10872753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E2015A-9BA3-4C68-874A-5FF7648CE39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DF89EF6-4018-46CF-B8B0-2B8151B1D84F}"/>
              </a:ext>
            </a:extLst>
          </p:cNvPr>
          <p:cNvSpPr>
            <a:spLocks noGrp="1"/>
          </p:cNvSpPr>
          <p:nvPr>
            <p:ph type="dt" sz="half" idx="10"/>
          </p:nvPr>
        </p:nvSpPr>
        <p:spPr/>
        <p:txBody>
          <a:bodyPr/>
          <a:lstStyle/>
          <a:p>
            <a:fld id="{F3A766EE-17B0-4F5A-AB9A-BE847EB07CAC}" type="datetimeFigureOut">
              <a:rPr lang="en-US" smtClean="0"/>
              <a:t>7/26/2021</a:t>
            </a:fld>
            <a:endParaRPr lang="en-US" dirty="0"/>
          </a:p>
        </p:txBody>
      </p:sp>
      <p:sp>
        <p:nvSpPr>
          <p:cNvPr id="4" name="Footer Placeholder 3">
            <a:extLst>
              <a:ext uri="{FF2B5EF4-FFF2-40B4-BE49-F238E27FC236}">
                <a16:creationId xmlns:a16="http://schemas.microsoft.com/office/drawing/2014/main" id="{70543AD0-8698-4438-82AD-BCEBEE92E70C}"/>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76FEA2DD-38B4-4E30-9575-26C35AA54C0C}"/>
              </a:ext>
            </a:extLst>
          </p:cNvPr>
          <p:cNvSpPr>
            <a:spLocks noGrp="1"/>
          </p:cNvSpPr>
          <p:nvPr>
            <p:ph type="sldNum" sz="quarter" idx="12"/>
          </p:nvPr>
        </p:nvSpPr>
        <p:spPr/>
        <p:txBody>
          <a:bodyPr/>
          <a:lstStyle/>
          <a:p>
            <a:fld id="{DE472684-079E-4958-8A31-8453DFC24521}" type="slidenum">
              <a:rPr lang="en-US" smtClean="0"/>
              <a:t>‹#›</a:t>
            </a:fld>
            <a:endParaRPr lang="en-US" dirty="0"/>
          </a:p>
        </p:txBody>
      </p:sp>
    </p:spTree>
    <p:extLst>
      <p:ext uri="{BB962C8B-B14F-4D97-AF65-F5344CB8AC3E}">
        <p14:creationId xmlns:p14="http://schemas.microsoft.com/office/powerpoint/2010/main" val="1353618818"/>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Section Header Photo White Tex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8107855F-E478-4CB7-B3AE-BFFDAFDF34C6}"/>
              </a:ext>
            </a:extLst>
          </p:cNvPr>
          <p:cNvSpPr>
            <a:spLocks noGrp="1"/>
          </p:cNvSpPr>
          <p:nvPr>
            <p:ph type="pic" sz="quarter" idx="13"/>
          </p:nvPr>
        </p:nvSpPr>
        <p:spPr>
          <a:xfrm>
            <a:off x="0" y="0"/>
            <a:ext cx="12192000" cy="6858000"/>
          </a:xfrm>
        </p:spPr>
        <p:txBody>
          <a:bodyPr/>
          <a:lstStyle>
            <a:lvl1pPr>
              <a:defRPr>
                <a:latin typeface="Arial" panose="020B0604020202020204" pitchFamily="34" charset="0"/>
                <a:cs typeface="Arial" panose="020B0604020202020204" pitchFamily="34" charset="0"/>
              </a:defRPr>
            </a:lvl1pPr>
          </a:lstStyle>
          <a:p>
            <a:endParaRPr lang="en-US" dirty="0"/>
          </a:p>
        </p:txBody>
      </p:sp>
      <p:sp>
        <p:nvSpPr>
          <p:cNvPr id="3" name="Text Placeholder 2"/>
          <p:cNvSpPr>
            <a:spLocks noGrp="1"/>
          </p:cNvSpPr>
          <p:nvPr>
            <p:ph type="body" idx="1"/>
          </p:nvPr>
        </p:nvSpPr>
        <p:spPr>
          <a:xfrm>
            <a:off x="831851" y="4589465"/>
            <a:ext cx="10515600" cy="1500187"/>
          </a:xfrm>
        </p:spPr>
        <p:txBody>
          <a:bodyPr>
            <a:normAutofit/>
          </a:bodyPr>
          <a:lstStyle>
            <a:lvl1pPr marL="0" indent="0">
              <a:buNone/>
              <a:defRPr sz="2800" b="1">
                <a:solidFill>
                  <a:schemeClr val="bg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BBE333C3-AC2D-4F9A-BF69-650141FBF302}" type="datetime1">
              <a:rPr lang="en-US" smtClean="0"/>
              <a:t>7/26/2021</a:t>
            </a:fld>
            <a:endParaRPr lang="en-US" dirty="0"/>
          </a:p>
        </p:txBody>
      </p:sp>
      <p:sp>
        <p:nvSpPr>
          <p:cNvPr id="5" name="Footer Placeholder 4"/>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dirty="0"/>
              <a:t>SCR-SBUA</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dirty="0"/>
          </a:p>
        </p:txBody>
      </p:sp>
    </p:spTree>
    <p:extLst>
      <p:ext uri="{BB962C8B-B14F-4D97-AF65-F5344CB8AC3E}">
        <p14:creationId xmlns:p14="http://schemas.microsoft.com/office/powerpoint/2010/main" val="1707241263"/>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sz="half" idx="1"/>
          </p:nvPr>
        </p:nvSpPr>
        <p:spPr>
          <a:xfrm>
            <a:off x="1453017" y="1443318"/>
            <a:ext cx="5181600" cy="4658489"/>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787017" y="1443318"/>
            <a:ext cx="5181600" cy="4658489"/>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BFA1DEBB-8777-42E5-BB82-602E6BB1F5F2}" type="datetime1">
              <a:rPr lang="en-US" smtClean="0"/>
              <a:t>7/26/2021</a:t>
            </a:fld>
            <a:endParaRPr lang="en-US" dirty="0"/>
          </a:p>
        </p:txBody>
      </p:sp>
      <p:sp>
        <p:nvSpPr>
          <p:cNvPr id="6" name="Footer Placeholder 5"/>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dirty="0"/>
              <a:t>SCR-SBUA</a:t>
            </a:r>
          </a:p>
        </p:txBody>
      </p:sp>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dirty="0"/>
          </a:p>
        </p:txBody>
      </p:sp>
    </p:spTree>
    <p:extLst>
      <p:ext uri="{BB962C8B-B14F-4D97-AF65-F5344CB8AC3E}">
        <p14:creationId xmlns:p14="http://schemas.microsoft.com/office/powerpoint/2010/main" val="864036542"/>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453017" y="1"/>
            <a:ext cx="10538567" cy="851771"/>
          </a:xfrm>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3" name="Text Placeholder 2"/>
          <p:cNvSpPr>
            <a:spLocks noGrp="1"/>
          </p:cNvSpPr>
          <p:nvPr>
            <p:ph type="body" idx="1"/>
          </p:nvPr>
        </p:nvSpPr>
        <p:spPr>
          <a:xfrm>
            <a:off x="1453016" y="1255059"/>
            <a:ext cx="5157787" cy="598662"/>
          </a:xfrm>
        </p:spPr>
        <p:txBody>
          <a:bodyPr anchor="b">
            <a:noAutofit/>
          </a:bodyPr>
          <a:lstStyle>
            <a:lvl1pPr marL="0" indent="0">
              <a:buNone/>
              <a:defRPr sz="2800" b="1">
                <a:solidFill>
                  <a:srgbClr val="EEA420"/>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1453016" y="1853721"/>
            <a:ext cx="5157787" cy="4334137"/>
          </a:xfrm>
        </p:spPr>
        <p:txBody>
          <a:bodyPr/>
          <a:lstStyle>
            <a:lvl1pPr>
              <a:defRPr sz="24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785427" y="1255059"/>
            <a:ext cx="5183188" cy="598662"/>
          </a:xfrm>
        </p:spPr>
        <p:txBody>
          <a:bodyPr anchor="b">
            <a:noAutofit/>
          </a:bodyPr>
          <a:lstStyle>
            <a:lvl1pPr marL="0" indent="0">
              <a:buNone/>
              <a:defRPr sz="2800" b="1">
                <a:solidFill>
                  <a:srgbClr val="EEA420"/>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785427" y="1853721"/>
            <a:ext cx="5183188" cy="4334137"/>
          </a:xfrm>
        </p:spPr>
        <p:txBody>
          <a:bodyPr/>
          <a:lstStyle>
            <a:lvl1pPr marL="228600" indent="-228600">
              <a:defRPr lang="en-US" sz="2400" kern="1200" dirty="0" smtClean="0">
                <a:solidFill>
                  <a:schemeClr val="tx2">
                    <a:lumMod val="50000"/>
                  </a:schemeClr>
                </a:solidFill>
                <a:latin typeface="Arial" panose="020B0604020202020204" pitchFamily="34" charset="0"/>
                <a:ea typeface="+mn-ea"/>
                <a:cs typeface="Arial" panose="020B0604020202020204" pitchFamily="34" charset="0"/>
              </a:defRPr>
            </a:lvl1pPr>
            <a:lvl2pPr>
              <a:defRPr lang="en-US" sz="2000" kern="1200" dirty="0" smtClean="0">
                <a:solidFill>
                  <a:schemeClr val="tx2">
                    <a:lumMod val="50000"/>
                  </a:schemeClr>
                </a:solidFill>
                <a:latin typeface="+mn-lt"/>
                <a:ea typeface="+mn-ea"/>
                <a:cs typeface="+mn-cs"/>
              </a:defRPr>
            </a:lvl2pPr>
            <a:lvl3pPr>
              <a:defRPr/>
            </a:lvl3pPr>
            <a:lvl4pPr>
              <a:defRPr/>
            </a:lvl4pPr>
            <a:lvl5pPr>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5226FDF0-C136-4CDB-AF53-B4E487B58193}" type="datetime1">
              <a:rPr lang="en-US" smtClean="0"/>
              <a:t>7/26/2021</a:t>
            </a:fld>
            <a:endParaRPr lang="en-US" dirty="0"/>
          </a:p>
        </p:txBody>
      </p:sp>
      <p:sp>
        <p:nvSpPr>
          <p:cNvPr id="8" name="Footer Placeholder 7"/>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dirty="0"/>
              <a:t>SCR-SBUA</a:t>
            </a:r>
          </a:p>
        </p:txBody>
      </p:sp>
      <p:sp>
        <p:nvSpPr>
          <p:cNvPr id="9" name="Slide Number Placeholder 8"/>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dirty="0"/>
          </a:p>
        </p:txBody>
      </p:sp>
    </p:spTree>
    <p:extLst>
      <p:ext uri="{BB962C8B-B14F-4D97-AF65-F5344CB8AC3E}">
        <p14:creationId xmlns:p14="http://schemas.microsoft.com/office/powerpoint/2010/main" val="232298488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4730F13B-3FD4-43DB-A229-35C544375CE7}" type="datetime1">
              <a:rPr lang="en-US" smtClean="0"/>
              <a:t>7/26/2021</a:t>
            </a:fld>
            <a:endParaRPr lang="en-US" dirty="0"/>
          </a:p>
        </p:txBody>
      </p:sp>
      <p:sp>
        <p:nvSpPr>
          <p:cNvPr id="4" name="Footer Placeholder 3"/>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dirty="0"/>
              <a:t>SCR-SBUA</a:t>
            </a: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dirty="0"/>
          </a:p>
        </p:txBody>
      </p:sp>
    </p:spTree>
    <p:extLst>
      <p:ext uri="{BB962C8B-B14F-4D97-AF65-F5344CB8AC3E}">
        <p14:creationId xmlns:p14="http://schemas.microsoft.com/office/powerpoint/2010/main" val="3810369240"/>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type="titleOnly" preserve="1">
  <p:cSld name="Two Line Title Only">
    <p:spTree>
      <p:nvGrpSpPr>
        <p:cNvPr id="1" name=""/>
        <p:cNvGrpSpPr/>
        <p:nvPr/>
      </p:nvGrpSpPr>
      <p:grpSpPr>
        <a:xfrm>
          <a:off x="0" y="0"/>
          <a:ext cx="0" cy="0"/>
          <a:chOff x="0" y="0"/>
          <a:chExt cx="0" cy="0"/>
        </a:xfrm>
      </p:grpSpPr>
      <p:pic>
        <p:nvPicPr>
          <p:cNvPr id="7" name="Picture 6" descr="BlueBar_DoubleLine-02.jpg">
            <a:extLst>
              <a:ext uri="{FF2B5EF4-FFF2-40B4-BE49-F238E27FC236}">
                <a16:creationId xmlns:a16="http://schemas.microsoft.com/office/drawing/2014/main" id="{110EA34B-EB37-4072-A9DA-F122D17AA146}"/>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0" y="-1"/>
            <a:ext cx="12202528" cy="1586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453019" y="0"/>
            <a:ext cx="10538565" cy="1586752"/>
          </a:xfrm>
        </p:spPr>
        <p:txBody>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3" name="Date Placeholder 2"/>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08EE18A9-E3A0-4D47-A698-D9F5E0772E1C}" type="datetime1">
              <a:rPr lang="en-US" smtClean="0"/>
              <a:t>7/26/2021</a:t>
            </a:fld>
            <a:endParaRPr lang="en-US" dirty="0"/>
          </a:p>
        </p:txBody>
      </p:sp>
      <p:sp>
        <p:nvSpPr>
          <p:cNvPr id="4" name="Footer Placeholder 3"/>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dirty="0"/>
              <a:t>SCR-SBUA</a:t>
            </a: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dirty="0"/>
          </a:p>
        </p:txBody>
      </p:sp>
    </p:spTree>
    <p:extLst>
      <p:ext uri="{BB962C8B-B14F-4D97-AF65-F5344CB8AC3E}">
        <p14:creationId xmlns:p14="http://schemas.microsoft.com/office/powerpoint/2010/main" val="2309529503"/>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C4D40FD5-59E1-4B6B-A9FD-632A18095EDF}" type="datetime1">
              <a:rPr lang="en-US" smtClean="0"/>
              <a:t>7/26/2021</a:t>
            </a:fld>
            <a:endParaRPr lang="en-US" dirty="0"/>
          </a:p>
        </p:txBody>
      </p:sp>
      <p:sp>
        <p:nvSpPr>
          <p:cNvPr id="3" name="Footer Placeholder 2"/>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dirty="0"/>
              <a:t>SCR-SBUA</a:t>
            </a:r>
          </a:p>
        </p:txBody>
      </p:sp>
      <p:sp>
        <p:nvSpPr>
          <p:cNvPr id="4" name="Slide Number Placeholder 3"/>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dirty="0"/>
          </a:p>
        </p:txBody>
      </p:sp>
    </p:spTree>
    <p:extLst>
      <p:ext uri="{BB962C8B-B14F-4D97-AF65-F5344CB8AC3E}">
        <p14:creationId xmlns:p14="http://schemas.microsoft.com/office/powerpoint/2010/main" val="2474237029"/>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319409" y="0"/>
            <a:ext cx="10672175" cy="851770"/>
          </a:xfrm>
        </p:spPr>
        <p:txBody>
          <a:bodyPr anchor="b"/>
          <a:lstStyle>
            <a:lvl1pPr>
              <a:defRPr sz="3200">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5183188" y="1317812"/>
            <a:ext cx="6808395" cy="4882572"/>
          </a:xfrm>
        </p:spPr>
        <p:txBody>
          <a:bodyPr/>
          <a:lstStyle>
            <a:lvl1pPr>
              <a:defRPr sz="3200">
                <a:latin typeface="Arial" panose="020B0604020202020204" pitchFamily="34" charset="0"/>
                <a:cs typeface="Arial" panose="020B0604020202020204" pitchFamily="34" charset="0"/>
              </a:defRPr>
            </a:lvl1pPr>
            <a:lvl2pPr>
              <a:defRPr sz="2800">
                <a:latin typeface="Arial" panose="020B0604020202020204" pitchFamily="34" charset="0"/>
                <a:cs typeface="Arial" panose="020B0604020202020204" pitchFamily="34" charset="0"/>
              </a:defRPr>
            </a:lvl2pPr>
            <a:lvl3pPr>
              <a:defRPr sz="2400">
                <a:latin typeface="Arial" panose="020B0604020202020204" pitchFamily="34" charset="0"/>
                <a:cs typeface="Arial" panose="020B0604020202020204" pitchFamily="34" charset="0"/>
              </a:defRPr>
            </a:lvl3pPr>
            <a:lvl4pPr>
              <a:defRPr sz="2000">
                <a:latin typeface="Arial" panose="020B0604020202020204" pitchFamily="34" charset="0"/>
                <a:cs typeface="Arial" panose="020B0604020202020204" pitchFamily="34" charset="0"/>
              </a:defRPr>
            </a:lvl4pPr>
            <a:lvl5pPr>
              <a:defRPr sz="200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1319407" y="1317812"/>
            <a:ext cx="3624199" cy="4882572"/>
          </a:xfr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BA92B6B9-76B0-480B-B339-19A57A76251D}" type="datetime1">
              <a:rPr lang="en-US" smtClean="0"/>
              <a:t>7/26/2021</a:t>
            </a:fld>
            <a:endParaRPr lang="en-US" dirty="0"/>
          </a:p>
        </p:txBody>
      </p:sp>
      <p:sp>
        <p:nvSpPr>
          <p:cNvPr id="6" name="Footer Placeholder 5"/>
          <p:cNvSpPr>
            <a:spLocks noGrp="1"/>
          </p:cNvSpPr>
          <p:nvPr>
            <p:ph type="ftr" sz="quarter" idx="11"/>
          </p:nvPr>
        </p:nvSpPr>
        <p:spPr/>
        <p:txBody>
          <a:bodyPr/>
          <a:lstStyle>
            <a:lvl1pPr>
              <a:defRPr>
                <a:latin typeface="Arial" panose="020B0604020202020204" pitchFamily="34" charset="0"/>
                <a:cs typeface="Arial" panose="020B0604020202020204" pitchFamily="34" charset="0"/>
              </a:defRPr>
            </a:lvl1pPr>
          </a:lstStyle>
          <a:p>
            <a:r>
              <a:rPr lang="en-US" dirty="0"/>
              <a:t>SCR-SBUA</a:t>
            </a:r>
          </a:p>
        </p:txBody>
      </p:sp>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A5B56432-4C90-4F05-B8D0-B4F6788E1284}" type="slidenum">
              <a:rPr lang="en-US" smtClean="0"/>
              <a:pPr/>
              <a:t>‹#›</a:t>
            </a:fld>
            <a:endParaRPr lang="en-US" dirty="0"/>
          </a:p>
        </p:txBody>
      </p:sp>
    </p:spTree>
    <p:extLst>
      <p:ext uri="{BB962C8B-B14F-4D97-AF65-F5344CB8AC3E}">
        <p14:creationId xmlns:p14="http://schemas.microsoft.com/office/powerpoint/2010/main" val="245446842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pic>
        <p:nvPicPr>
          <p:cNvPr id="6" name="Picture 5" descr="footer_blue_Artboard 17 copy.jpg">
            <a:extLst>
              <a:ext uri="{FF2B5EF4-FFF2-40B4-BE49-F238E27FC236}">
                <a16:creationId xmlns:a16="http://schemas.microsoft.com/office/drawing/2014/main" id="{663D51C5-F283-451E-9839-1EC785F650A1}"/>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0" y="5683624"/>
            <a:ext cx="12188111" cy="1174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4">
            <a:extLst>
              <a:ext uri="{FF2B5EF4-FFF2-40B4-BE49-F238E27FC236}">
                <a16:creationId xmlns:a16="http://schemas.microsoft.com/office/drawing/2014/main" id="{C1013976-554D-4523-878B-855D72571970}"/>
              </a:ext>
            </a:extLst>
          </p:cNvPr>
          <p:cNvSpPr>
            <a:spLocks noGrp="1"/>
          </p:cNvSpPr>
          <p:nvPr>
            <p:ph type="sldNum" sz="quarter" idx="12"/>
          </p:nvPr>
        </p:nvSpPr>
        <p:spPr/>
        <p:txBody>
          <a:bodyPr/>
          <a:lstStyle>
            <a:lvl1pPr>
              <a:defRPr>
                <a:solidFill>
                  <a:schemeClr val="bg1"/>
                </a:solidFill>
                <a:latin typeface="Arial" panose="020B0604020202020204" pitchFamily="34" charset="0"/>
                <a:cs typeface="Arial" panose="020B0604020202020204" pitchFamily="34" charset="0"/>
              </a:defRPr>
            </a:lvl1pPr>
          </a:lstStyle>
          <a:p>
            <a:fld id="{A5B56432-4C90-4F05-B8D0-B4F6788E1284}" type="slidenum">
              <a:rPr lang="en-US" smtClean="0"/>
              <a:pPr/>
              <a:t>‹#›</a:t>
            </a:fld>
            <a:r>
              <a:rPr lang="en-US" dirty="0"/>
              <a:t> - INTERNAL</a:t>
            </a:r>
          </a:p>
        </p:txBody>
      </p:sp>
      <p:sp>
        <p:nvSpPr>
          <p:cNvPr id="8" name="Text Placeholder 7">
            <a:extLst>
              <a:ext uri="{FF2B5EF4-FFF2-40B4-BE49-F238E27FC236}">
                <a16:creationId xmlns:a16="http://schemas.microsoft.com/office/drawing/2014/main" id="{5F180095-7617-454D-9FDD-AB9FA717D982}"/>
              </a:ext>
            </a:extLst>
          </p:cNvPr>
          <p:cNvSpPr>
            <a:spLocks noGrp="1"/>
          </p:cNvSpPr>
          <p:nvPr>
            <p:ph type="body" sz="quarter" idx="13"/>
          </p:nvPr>
        </p:nvSpPr>
        <p:spPr>
          <a:xfrm>
            <a:off x="1452563" y="2017713"/>
            <a:ext cx="6059487" cy="949605"/>
          </a:xfrm>
        </p:spPr>
        <p:txBody>
          <a:bodyPr>
            <a:normAutofit/>
          </a:bodyPr>
          <a:lstStyle>
            <a:lvl1pPr marL="0" indent="0">
              <a:buNone/>
              <a:defRPr sz="3600" b="1">
                <a:solidFill>
                  <a:schemeClr val="accent2"/>
                </a:solidFill>
                <a:latin typeface="Arial" panose="020B0604020202020204" pitchFamily="34" charset="0"/>
                <a:cs typeface="Arial" panose="020B0604020202020204" pitchFamily="34" charset="0"/>
              </a:defRPr>
            </a:lvl1pPr>
            <a:lvl2pPr marL="0" indent="0">
              <a:buNone/>
              <a:defRPr/>
            </a:lvl2pPr>
            <a:lvl3pPr marL="0" indent="0">
              <a:buNone/>
              <a:defRPr/>
            </a:lvl3pPr>
            <a:lvl4pPr marL="0" indent="0">
              <a:buNone/>
              <a:defRPr/>
            </a:lvl4pPr>
            <a:lvl5pPr marL="0" indent="0">
              <a:buNone/>
              <a:defRPr/>
            </a:lvl5pPr>
          </a:lstStyle>
          <a:p>
            <a:pPr lvl="0"/>
            <a:r>
              <a:rPr lang="en-US" dirty="0"/>
              <a:t>Edit Master text styles</a:t>
            </a:r>
          </a:p>
        </p:txBody>
      </p:sp>
      <p:sp>
        <p:nvSpPr>
          <p:cNvPr id="10" name="Text Placeholder 9">
            <a:extLst>
              <a:ext uri="{FF2B5EF4-FFF2-40B4-BE49-F238E27FC236}">
                <a16:creationId xmlns:a16="http://schemas.microsoft.com/office/drawing/2014/main" id="{0F56092B-A048-4791-BF67-8F484F10E071}"/>
              </a:ext>
            </a:extLst>
          </p:cNvPr>
          <p:cNvSpPr>
            <a:spLocks noGrp="1"/>
          </p:cNvSpPr>
          <p:nvPr>
            <p:ph type="body" sz="quarter" idx="14"/>
          </p:nvPr>
        </p:nvSpPr>
        <p:spPr>
          <a:xfrm>
            <a:off x="1452563" y="3074521"/>
            <a:ext cx="6059487" cy="958850"/>
          </a:xfrm>
        </p:spPr>
        <p:txBody>
          <a:bodyPr/>
          <a:lstStyle>
            <a:lvl1pPr marL="0" indent="0">
              <a:buFontTx/>
              <a:buNone/>
              <a:defRPr sz="2000">
                <a:solidFill>
                  <a:schemeClr val="tx2"/>
                </a:solidFill>
                <a:latin typeface="Arial" panose="020B0604020202020204" pitchFamily="34" charset="0"/>
                <a:cs typeface="Arial" panose="020B0604020202020204" pitchFamily="34" charset="0"/>
              </a:defRPr>
            </a:lvl1pPr>
            <a:lvl2pPr marL="457200" indent="0">
              <a:buFontTx/>
              <a:buNone/>
              <a:defRPr sz="2000">
                <a:solidFill>
                  <a:schemeClr val="tx2"/>
                </a:solidFill>
                <a:latin typeface="Arial" panose="020B0604020202020204" pitchFamily="34" charset="0"/>
                <a:cs typeface="Arial" panose="020B0604020202020204" pitchFamily="34" charset="0"/>
              </a:defRPr>
            </a:lvl2pPr>
            <a:lvl3pPr marL="914400" indent="0">
              <a:buFontTx/>
              <a:buNone/>
              <a:defRPr sz="2000">
                <a:solidFill>
                  <a:schemeClr val="tx2"/>
                </a:solidFill>
                <a:latin typeface="Arial" panose="020B0604020202020204" pitchFamily="34" charset="0"/>
                <a:cs typeface="Arial" panose="020B0604020202020204" pitchFamily="34" charset="0"/>
              </a:defRPr>
            </a:lvl3pPr>
            <a:lvl4pPr marL="1371600" indent="0">
              <a:buFontTx/>
              <a:buNone/>
              <a:defRPr sz="2000">
                <a:solidFill>
                  <a:schemeClr val="tx2"/>
                </a:solidFill>
                <a:latin typeface="Arial" panose="020B0604020202020204" pitchFamily="34" charset="0"/>
                <a:cs typeface="Arial" panose="020B0604020202020204" pitchFamily="34" charset="0"/>
              </a:defRPr>
            </a:lvl4pPr>
            <a:lvl5pPr marL="1828800" indent="0">
              <a:buFontTx/>
              <a:buNone/>
              <a:defRPr sz="2000">
                <a:solidFill>
                  <a:schemeClr val="tx2"/>
                </a:solidFill>
                <a:latin typeface="Arial" panose="020B0604020202020204" pitchFamily="34" charset="0"/>
                <a:cs typeface="Arial" panose="020B0604020202020204" pitchFamily="34" charset="0"/>
              </a:defRPr>
            </a:lvl5pPr>
          </a:lstStyle>
          <a:p>
            <a:pPr lvl="0"/>
            <a:r>
              <a:rPr lang="en-US" dirty="0"/>
              <a:t>Edit Master text styles</a:t>
            </a:r>
          </a:p>
          <a:p>
            <a:pPr lvl="1"/>
            <a:endParaRPr lang="en-US" dirty="0"/>
          </a:p>
        </p:txBody>
      </p:sp>
    </p:spTree>
    <p:extLst>
      <p:ext uri="{BB962C8B-B14F-4D97-AF65-F5344CB8AC3E}">
        <p14:creationId xmlns:p14="http://schemas.microsoft.com/office/powerpoint/2010/main" val="11017309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48EE9C5-22D4-4A49-8699-9DE1E0187B60}"/>
              </a:ext>
            </a:extLst>
          </p:cNvPr>
          <p:cNvSpPr>
            <a:spLocks noGrp="1"/>
          </p:cNvSpPr>
          <p:nvPr>
            <p:ph type="dt" sz="half" idx="10"/>
          </p:nvPr>
        </p:nvSpPr>
        <p:spPr/>
        <p:txBody>
          <a:bodyPr/>
          <a:lstStyle/>
          <a:p>
            <a:fld id="{F3A766EE-17B0-4F5A-AB9A-BE847EB07CAC}" type="datetimeFigureOut">
              <a:rPr lang="en-US" smtClean="0"/>
              <a:t>7/26/2021</a:t>
            </a:fld>
            <a:endParaRPr lang="en-US" dirty="0"/>
          </a:p>
        </p:txBody>
      </p:sp>
      <p:sp>
        <p:nvSpPr>
          <p:cNvPr id="3" name="Footer Placeholder 2">
            <a:extLst>
              <a:ext uri="{FF2B5EF4-FFF2-40B4-BE49-F238E27FC236}">
                <a16:creationId xmlns:a16="http://schemas.microsoft.com/office/drawing/2014/main" id="{D2734535-84DD-45C2-894B-76D18179C752}"/>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5402F965-E223-4761-80A2-2FC2A266C189}"/>
              </a:ext>
            </a:extLst>
          </p:cNvPr>
          <p:cNvSpPr>
            <a:spLocks noGrp="1"/>
          </p:cNvSpPr>
          <p:nvPr>
            <p:ph type="sldNum" sz="quarter" idx="12"/>
          </p:nvPr>
        </p:nvSpPr>
        <p:spPr/>
        <p:txBody>
          <a:bodyPr/>
          <a:lstStyle/>
          <a:p>
            <a:fld id="{DE472684-079E-4958-8A31-8453DFC24521}" type="slidenum">
              <a:rPr lang="en-US" smtClean="0"/>
              <a:t>‹#›</a:t>
            </a:fld>
            <a:endParaRPr lang="en-US" dirty="0"/>
          </a:p>
        </p:txBody>
      </p:sp>
    </p:spTree>
    <p:extLst>
      <p:ext uri="{BB962C8B-B14F-4D97-AF65-F5344CB8AC3E}">
        <p14:creationId xmlns:p14="http://schemas.microsoft.com/office/powerpoint/2010/main" val="399322594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6CC708-0C36-4DFC-A34F-E136117B5DD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D24F85C-37CC-4504-81C8-667FA432C1F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0B339AE-9192-4049-B1FF-1061808445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65793C5-5B44-4700-A920-A0DA677ADC65}"/>
              </a:ext>
            </a:extLst>
          </p:cNvPr>
          <p:cNvSpPr>
            <a:spLocks noGrp="1"/>
          </p:cNvSpPr>
          <p:nvPr>
            <p:ph type="dt" sz="half" idx="10"/>
          </p:nvPr>
        </p:nvSpPr>
        <p:spPr/>
        <p:txBody>
          <a:bodyPr/>
          <a:lstStyle/>
          <a:p>
            <a:fld id="{F3A766EE-17B0-4F5A-AB9A-BE847EB07CAC}" type="datetimeFigureOut">
              <a:rPr lang="en-US" smtClean="0"/>
              <a:t>7/26/2021</a:t>
            </a:fld>
            <a:endParaRPr lang="en-US" dirty="0"/>
          </a:p>
        </p:txBody>
      </p:sp>
      <p:sp>
        <p:nvSpPr>
          <p:cNvPr id="6" name="Footer Placeholder 5">
            <a:extLst>
              <a:ext uri="{FF2B5EF4-FFF2-40B4-BE49-F238E27FC236}">
                <a16:creationId xmlns:a16="http://schemas.microsoft.com/office/drawing/2014/main" id="{E3558D95-A902-427A-838E-AB3F926BAD90}"/>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BBFC314-6D07-4DB4-A80D-44FF88B516C8}"/>
              </a:ext>
            </a:extLst>
          </p:cNvPr>
          <p:cNvSpPr>
            <a:spLocks noGrp="1"/>
          </p:cNvSpPr>
          <p:nvPr>
            <p:ph type="sldNum" sz="quarter" idx="12"/>
          </p:nvPr>
        </p:nvSpPr>
        <p:spPr/>
        <p:txBody>
          <a:bodyPr/>
          <a:lstStyle/>
          <a:p>
            <a:fld id="{DE472684-079E-4958-8A31-8453DFC24521}" type="slidenum">
              <a:rPr lang="en-US" smtClean="0"/>
              <a:t>‹#›</a:t>
            </a:fld>
            <a:endParaRPr lang="en-US" dirty="0"/>
          </a:p>
        </p:txBody>
      </p:sp>
    </p:spTree>
    <p:extLst>
      <p:ext uri="{BB962C8B-B14F-4D97-AF65-F5344CB8AC3E}">
        <p14:creationId xmlns:p14="http://schemas.microsoft.com/office/powerpoint/2010/main" val="8293804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449579" y="6062486"/>
            <a:ext cx="327660" cy="593725"/>
          </a:xfrm>
          <a:custGeom>
            <a:avLst/>
            <a:gdLst/>
            <a:ahLst/>
            <a:cxnLst/>
            <a:rect l="l" t="t" r="r" b="b"/>
            <a:pathLst>
              <a:path w="327659" h="593725">
                <a:moveTo>
                  <a:pt x="327412" y="0"/>
                </a:moveTo>
                <a:lnTo>
                  <a:pt x="0" y="0"/>
                </a:lnTo>
                <a:lnTo>
                  <a:pt x="0" y="593265"/>
                </a:lnTo>
                <a:lnTo>
                  <a:pt x="121469" y="593265"/>
                </a:lnTo>
                <a:lnTo>
                  <a:pt x="111089" y="575431"/>
                </a:lnTo>
                <a:lnTo>
                  <a:pt x="101763" y="557144"/>
                </a:lnTo>
                <a:lnTo>
                  <a:pt x="93644" y="538554"/>
                </a:lnTo>
                <a:lnTo>
                  <a:pt x="86882" y="519813"/>
                </a:lnTo>
                <a:lnTo>
                  <a:pt x="75468" y="469225"/>
                </a:lnTo>
                <a:lnTo>
                  <a:pt x="72803" y="415991"/>
                </a:lnTo>
                <a:lnTo>
                  <a:pt x="77378" y="362606"/>
                </a:lnTo>
                <a:lnTo>
                  <a:pt x="87686" y="311564"/>
                </a:lnTo>
                <a:lnTo>
                  <a:pt x="102690" y="260497"/>
                </a:lnTo>
                <a:lnTo>
                  <a:pt x="120846" y="210550"/>
                </a:lnTo>
                <a:lnTo>
                  <a:pt x="141684" y="161634"/>
                </a:lnTo>
                <a:lnTo>
                  <a:pt x="164734" y="113660"/>
                </a:lnTo>
                <a:lnTo>
                  <a:pt x="189527" y="66538"/>
                </a:lnTo>
                <a:lnTo>
                  <a:pt x="215593" y="20178"/>
                </a:lnTo>
                <a:lnTo>
                  <a:pt x="327412" y="20178"/>
                </a:lnTo>
                <a:lnTo>
                  <a:pt x="327412" y="0"/>
                </a:lnTo>
                <a:close/>
              </a:path>
              <a:path w="327659" h="593725">
                <a:moveTo>
                  <a:pt x="327412" y="20178"/>
                </a:moveTo>
                <a:lnTo>
                  <a:pt x="215593" y="20178"/>
                </a:lnTo>
                <a:lnTo>
                  <a:pt x="215593" y="104130"/>
                </a:lnTo>
                <a:lnTo>
                  <a:pt x="205590" y="124935"/>
                </a:lnTo>
                <a:lnTo>
                  <a:pt x="185277" y="165647"/>
                </a:lnTo>
                <a:lnTo>
                  <a:pt x="157395" y="234507"/>
                </a:lnTo>
                <a:lnTo>
                  <a:pt x="140577" y="283312"/>
                </a:lnTo>
                <a:lnTo>
                  <a:pt x="127076" y="333329"/>
                </a:lnTo>
                <a:lnTo>
                  <a:pt x="118252" y="385012"/>
                </a:lnTo>
                <a:lnTo>
                  <a:pt x="116543" y="425676"/>
                </a:lnTo>
                <a:lnTo>
                  <a:pt x="117234" y="446195"/>
                </a:lnTo>
                <a:lnTo>
                  <a:pt x="126800" y="500073"/>
                </a:lnTo>
                <a:lnTo>
                  <a:pt x="154354" y="563917"/>
                </a:lnTo>
                <a:lnTo>
                  <a:pt x="172955" y="593265"/>
                </a:lnTo>
                <a:lnTo>
                  <a:pt x="200312" y="593265"/>
                </a:lnTo>
                <a:lnTo>
                  <a:pt x="190091" y="546938"/>
                </a:lnTo>
                <a:lnTo>
                  <a:pt x="186128" y="498976"/>
                </a:lnTo>
                <a:lnTo>
                  <a:pt x="187439" y="450297"/>
                </a:lnTo>
                <a:lnTo>
                  <a:pt x="193041" y="401819"/>
                </a:lnTo>
                <a:lnTo>
                  <a:pt x="201949" y="354462"/>
                </a:lnTo>
                <a:lnTo>
                  <a:pt x="213985" y="305920"/>
                </a:lnTo>
                <a:lnTo>
                  <a:pt x="327412" y="305920"/>
                </a:lnTo>
                <a:lnTo>
                  <a:pt x="327412" y="20178"/>
                </a:lnTo>
                <a:close/>
              </a:path>
              <a:path w="327659" h="593725">
                <a:moveTo>
                  <a:pt x="327412" y="305920"/>
                </a:moveTo>
                <a:lnTo>
                  <a:pt x="214789" y="305920"/>
                </a:lnTo>
                <a:lnTo>
                  <a:pt x="219929" y="326032"/>
                </a:lnTo>
                <a:lnTo>
                  <a:pt x="224541" y="346374"/>
                </a:lnTo>
                <a:lnTo>
                  <a:pt x="228701" y="366870"/>
                </a:lnTo>
                <a:lnTo>
                  <a:pt x="232484" y="387442"/>
                </a:lnTo>
                <a:lnTo>
                  <a:pt x="239766" y="438328"/>
                </a:lnTo>
                <a:lnTo>
                  <a:pt x="241842" y="491259"/>
                </a:lnTo>
                <a:lnTo>
                  <a:pt x="238032" y="543737"/>
                </a:lnTo>
                <a:lnTo>
                  <a:pt x="227658" y="593265"/>
                </a:lnTo>
                <a:lnTo>
                  <a:pt x="327412" y="593265"/>
                </a:lnTo>
                <a:lnTo>
                  <a:pt x="327412" y="305920"/>
                </a:lnTo>
                <a:close/>
              </a:path>
            </a:pathLst>
          </a:custGeom>
          <a:solidFill>
            <a:srgbClr val="1A478F"/>
          </a:solidFill>
        </p:spPr>
        <p:txBody>
          <a:bodyPr wrap="square" lIns="0" tIns="0" rIns="0" bIns="0" rtlCol="0"/>
          <a:lstStyle/>
          <a:p>
            <a:endParaRPr dirty="0"/>
          </a:p>
        </p:txBody>
      </p:sp>
      <p:pic>
        <p:nvPicPr>
          <p:cNvPr id="17" name="bg object 17"/>
          <p:cNvPicPr/>
          <p:nvPr/>
        </p:nvPicPr>
        <p:blipFill>
          <a:blip r:embed="rId2" cstate="print"/>
          <a:stretch>
            <a:fillRect/>
          </a:stretch>
        </p:blipFill>
        <p:spPr>
          <a:xfrm>
            <a:off x="834912" y="6368407"/>
            <a:ext cx="139175" cy="224386"/>
          </a:xfrm>
          <a:prstGeom prst="rect">
            <a:avLst/>
          </a:prstGeom>
        </p:spPr>
      </p:pic>
      <p:pic>
        <p:nvPicPr>
          <p:cNvPr id="18" name="bg object 18"/>
          <p:cNvPicPr/>
          <p:nvPr/>
        </p:nvPicPr>
        <p:blipFill>
          <a:blip r:embed="rId3" cstate="print"/>
          <a:stretch>
            <a:fillRect/>
          </a:stretch>
        </p:blipFill>
        <p:spPr>
          <a:xfrm>
            <a:off x="996607" y="6437006"/>
            <a:ext cx="116627" cy="154979"/>
          </a:xfrm>
          <a:prstGeom prst="rect">
            <a:avLst/>
          </a:prstGeom>
        </p:spPr>
      </p:pic>
      <p:pic>
        <p:nvPicPr>
          <p:cNvPr id="19" name="bg object 19"/>
          <p:cNvPicPr/>
          <p:nvPr/>
        </p:nvPicPr>
        <p:blipFill>
          <a:blip r:embed="rId4" cstate="print"/>
          <a:stretch>
            <a:fillRect/>
          </a:stretch>
        </p:blipFill>
        <p:spPr>
          <a:xfrm>
            <a:off x="1138195" y="6368407"/>
            <a:ext cx="139979" cy="224386"/>
          </a:xfrm>
          <a:prstGeom prst="rect">
            <a:avLst/>
          </a:prstGeom>
        </p:spPr>
      </p:pic>
      <p:pic>
        <p:nvPicPr>
          <p:cNvPr id="20" name="bg object 20"/>
          <p:cNvPicPr/>
          <p:nvPr/>
        </p:nvPicPr>
        <p:blipFill>
          <a:blip r:embed="rId5" cstate="print"/>
          <a:stretch>
            <a:fillRect/>
          </a:stretch>
        </p:blipFill>
        <p:spPr>
          <a:xfrm>
            <a:off x="1299086" y="6437006"/>
            <a:ext cx="112622" cy="154979"/>
          </a:xfrm>
          <a:prstGeom prst="rect">
            <a:avLst/>
          </a:prstGeom>
        </p:spPr>
      </p:pic>
      <p:sp>
        <p:nvSpPr>
          <p:cNvPr id="21" name="bg object 21"/>
          <p:cNvSpPr/>
          <p:nvPr/>
        </p:nvSpPr>
        <p:spPr>
          <a:xfrm>
            <a:off x="1437457" y="6371632"/>
            <a:ext cx="41910" cy="218440"/>
          </a:xfrm>
          <a:custGeom>
            <a:avLst/>
            <a:gdLst/>
            <a:ahLst/>
            <a:cxnLst/>
            <a:rect l="l" t="t" r="r" b="b"/>
            <a:pathLst>
              <a:path w="41909" h="218440">
                <a:moveTo>
                  <a:pt x="41834" y="0"/>
                </a:moveTo>
                <a:lnTo>
                  <a:pt x="0" y="0"/>
                </a:lnTo>
                <a:lnTo>
                  <a:pt x="0" y="217932"/>
                </a:lnTo>
                <a:lnTo>
                  <a:pt x="41834" y="217932"/>
                </a:lnTo>
                <a:lnTo>
                  <a:pt x="41834" y="0"/>
                </a:lnTo>
                <a:close/>
              </a:path>
            </a:pathLst>
          </a:custGeom>
          <a:solidFill>
            <a:srgbClr val="1A478F"/>
          </a:solidFill>
        </p:spPr>
        <p:txBody>
          <a:bodyPr wrap="square" lIns="0" tIns="0" rIns="0" bIns="0" rtlCol="0"/>
          <a:lstStyle/>
          <a:p>
            <a:endParaRPr dirty="0"/>
          </a:p>
        </p:txBody>
      </p:sp>
      <p:pic>
        <p:nvPicPr>
          <p:cNvPr id="22" name="bg object 22"/>
          <p:cNvPicPr/>
          <p:nvPr/>
        </p:nvPicPr>
        <p:blipFill>
          <a:blip r:embed="rId6" cstate="print"/>
          <a:stretch>
            <a:fillRect/>
          </a:stretch>
        </p:blipFill>
        <p:spPr>
          <a:xfrm>
            <a:off x="1505029" y="6368407"/>
            <a:ext cx="141555" cy="224386"/>
          </a:xfrm>
          <a:prstGeom prst="rect">
            <a:avLst/>
          </a:prstGeom>
        </p:spPr>
      </p:pic>
      <p:pic>
        <p:nvPicPr>
          <p:cNvPr id="23" name="bg object 23"/>
          <p:cNvPicPr/>
          <p:nvPr/>
        </p:nvPicPr>
        <p:blipFill>
          <a:blip r:embed="rId7" cstate="print"/>
          <a:stretch>
            <a:fillRect/>
          </a:stretch>
        </p:blipFill>
        <p:spPr>
          <a:xfrm>
            <a:off x="1671571" y="6437006"/>
            <a:ext cx="113459" cy="154979"/>
          </a:xfrm>
          <a:prstGeom prst="rect">
            <a:avLst/>
          </a:prstGeom>
        </p:spPr>
      </p:pic>
      <p:pic>
        <p:nvPicPr>
          <p:cNvPr id="24" name="bg object 24"/>
          <p:cNvPicPr/>
          <p:nvPr/>
        </p:nvPicPr>
        <p:blipFill>
          <a:blip r:embed="rId8" cstate="print"/>
          <a:stretch>
            <a:fillRect/>
          </a:stretch>
        </p:blipFill>
        <p:spPr>
          <a:xfrm>
            <a:off x="1805942" y="6437006"/>
            <a:ext cx="110992" cy="154979"/>
          </a:xfrm>
          <a:prstGeom prst="rect">
            <a:avLst/>
          </a:prstGeom>
        </p:spPr>
      </p:pic>
      <p:pic>
        <p:nvPicPr>
          <p:cNvPr id="25" name="bg object 25"/>
          <p:cNvPicPr/>
          <p:nvPr/>
        </p:nvPicPr>
        <p:blipFill>
          <a:blip r:embed="rId9" cstate="print"/>
          <a:stretch>
            <a:fillRect/>
          </a:stretch>
        </p:blipFill>
        <p:spPr>
          <a:xfrm>
            <a:off x="2007767" y="6367600"/>
            <a:ext cx="1592074" cy="297837"/>
          </a:xfrm>
          <a:prstGeom prst="rect">
            <a:avLst/>
          </a:prstGeom>
        </p:spPr>
      </p:pic>
      <p:pic>
        <p:nvPicPr>
          <p:cNvPr id="26" name="bg object 26"/>
          <p:cNvPicPr/>
          <p:nvPr/>
        </p:nvPicPr>
        <p:blipFill>
          <a:blip r:embed="rId10" cstate="print"/>
          <a:stretch>
            <a:fillRect/>
          </a:stretch>
        </p:blipFill>
        <p:spPr>
          <a:xfrm>
            <a:off x="10188418" y="6466821"/>
            <a:ext cx="1631969" cy="182455"/>
          </a:xfrm>
          <a:prstGeom prst="rect">
            <a:avLst/>
          </a:prstGeom>
        </p:spPr>
      </p:pic>
      <p:sp>
        <p:nvSpPr>
          <p:cNvPr id="2" name="Holder 2"/>
          <p:cNvSpPr>
            <a:spLocks noGrp="1"/>
          </p:cNvSpPr>
          <p:nvPr>
            <p:ph type="title"/>
          </p:nvPr>
        </p:nvSpPr>
        <p:spPr/>
        <p:txBody>
          <a:bodyPr lIns="0" tIns="0" rIns="0" bIns="0"/>
          <a:lstStyle>
            <a:lvl1pPr>
              <a:defRPr sz="4400" b="0" i="0">
                <a:solidFill>
                  <a:srgbClr val="555248"/>
                </a:solidFill>
                <a:latin typeface="Corbel"/>
                <a:cs typeface="Corbel"/>
              </a:defRPr>
            </a:lvl1pPr>
          </a:lstStyle>
          <a:p>
            <a:endParaRPr/>
          </a:p>
        </p:txBody>
      </p:sp>
      <p:sp>
        <p:nvSpPr>
          <p:cNvPr id="3" name="Holder 3"/>
          <p:cNvSpPr>
            <a:spLocks noGrp="1"/>
          </p:cNvSpPr>
          <p:nvPr>
            <p:ph sz="half" idx="2"/>
          </p:nvPr>
        </p:nvSpPr>
        <p:spPr>
          <a:xfrm>
            <a:off x="540207" y="1123569"/>
            <a:ext cx="5215890" cy="4337685"/>
          </a:xfrm>
          <a:prstGeom prst="rect">
            <a:avLst/>
          </a:prstGeom>
        </p:spPr>
        <p:txBody>
          <a:bodyPr wrap="square" lIns="0" tIns="0" rIns="0" bIns="0">
            <a:spAutoFit/>
          </a:bodyPr>
          <a:lstStyle>
            <a:lvl1pPr>
              <a:defRPr sz="2600" b="0" i="0">
                <a:solidFill>
                  <a:schemeClr val="tx1"/>
                </a:solidFill>
                <a:latin typeface="Arial"/>
                <a:cs typeface="Arial"/>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6/2021</a:t>
            </a:fld>
            <a:endParaRPr lang="en-US" dirty="0"/>
          </a:p>
        </p:txBody>
      </p:sp>
      <p:sp>
        <p:nvSpPr>
          <p:cNvPr id="7" name="Holder 7"/>
          <p:cNvSpPr>
            <a:spLocks noGrp="1"/>
          </p:cNvSpPr>
          <p:nvPr>
            <p:ph type="sldNum" sz="quarter" idx="7"/>
          </p:nvPr>
        </p:nvSpPr>
        <p:spPr/>
        <p:txBody>
          <a:bodyPr lIns="0" tIns="0" rIns="0" bIns="0"/>
          <a:lstStyle>
            <a:lvl1pPr>
              <a:defRPr sz="1200" b="0" i="0">
                <a:solidFill>
                  <a:srgbClr val="605352"/>
                </a:solidFill>
                <a:latin typeface="Arial"/>
                <a:cs typeface="Arial"/>
              </a:defRPr>
            </a:lvl1pPr>
          </a:lstStyle>
          <a:p>
            <a:pPr marL="38100">
              <a:lnSpc>
                <a:spcPts val="1425"/>
              </a:lnSpc>
            </a:pPr>
            <a:fld id="{81D60167-4931-47E6-BA6A-407CBD079E47}" type="slidenum">
              <a:rPr spc="-5" dirty="0"/>
              <a:t>‹#›</a:t>
            </a:fld>
            <a:endParaRPr spc="-5"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095A10-2CC7-44F2-981D-D7E37CC891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202706A-EC80-409C-BCAA-E139DFF0387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26D707D3-F3C0-4B3A-BBAD-91A8AD1A700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00F01C5-E33C-467E-AE84-D04196EB7A1F}"/>
              </a:ext>
            </a:extLst>
          </p:cNvPr>
          <p:cNvSpPr>
            <a:spLocks noGrp="1"/>
          </p:cNvSpPr>
          <p:nvPr>
            <p:ph type="dt" sz="half" idx="10"/>
          </p:nvPr>
        </p:nvSpPr>
        <p:spPr/>
        <p:txBody>
          <a:bodyPr/>
          <a:lstStyle/>
          <a:p>
            <a:fld id="{F3A766EE-17B0-4F5A-AB9A-BE847EB07CAC}" type="datetimeFigureOut">
              <a:rPr lang="en-US" smtClean="0"/>
              <a:t>7/26/2021</a:t>
            </a:fld>
            <a:endParaRPr lang="en-US" dirty="0"/>
          </a:p>
        </p:txBody>
      </p:sp>
      <p:sp>
        <p:nvSpPr>
          <p:cNvPr id="6" name="Footer Placeholder 5">
            <a:extLst>
              <a:ext uri="{FF2B5EF4-FFF2-40B4-BE49-F238E27FC236}">
                <a16:creationId xmlns:a16="http://schemas.microsoft.com/office/drawing/2014/main" id="{C32CBBE9-17A8-4459-980B-96BDB8AB11C9}"/>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AA13B984-3B07-4BF7-AAFB-D90D60CF18A2}"/>
              </a:ext>
            </a:extLst>
          </p:cNvPr>
          <p:cNvSpPr>
            <a:spLocks noGrp="1"/>
          </p:cNvSpPr>
          <p:nvPr>
            <p:ph type="sldNum" sz="quarter" idx="12"/>
          </p:nvPr>
        </p:nvSpPr>
        <p:spPr/>
        <p:txBody>
          <a:bodyPr/>
          <a:lstStyle/>
          <a:p>
            <a:fld id="{DE472684-079E-4958-8A31-8453DFC24521}" type="slidenum">
              <a:rPr lang="en-US" smtClean="0"/>
              <a:t>‹#›</a:t>
            </a:fld>
            <a:endParaRPr lang="en-US" dirty="0"/>
          </a:p>
        </p:txBody>
      </p:sp>
    </p:spTree>
    <p:extLst>
      <p:ext uri="{BB962C8B-B14F-4D97-AF65-F5344CB8AC3E}">
        <p14:creationId xmlns:p14="http://schemas.microsoft.com/office/powerpoint/2010/main" val="40787937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4FE0B8-2B7C-4CF7-B1BC-70A25E7CD4F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BDEA0AD-D11F-4894-A52D-3705A678955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76C5FB-4A0E-4E37-AB00-CD19E30A2131}"/>
              </a:ext>
            </a:extLst>
          </p:cNvPr>
          <p:cNvSpPr>
            <a:spLocks noGrp="1"/>
          </p:cNvSpPr>
          <p:nvPr>
            <p:ph type="dt" sz="half" idx="10"/>
          </p:nvPr>
        </p:nvSpPr>
        <p:spPr/>
        <p:txBody>
          <a:bodyPr/>
          <a:lstStyle/>
          <a:p>
            <a:fld id="{F3A766EE-17B0-4F5A-AB9A-BE847EB07CAC}" type="datetimeFigureOut">
              <a:rPr lang="en-US" smtClean="0"/>
              <a:t>7/26/2021</a:t>
            </a:fld>
            <a:endParaRPr lang="en-US" dirty="0"/>
          </a:p>
        </p:txBody>
      </p:sp>
      <p:sp>
        <p:nvSpPr>
          <p:cNvPr id="5" name="Footer Placeholder 4">
            <a:extLst>
              <a:ext uri="{FF2B5EF4-FFF2-40B4-BE49-F238E27FC236}">
                <a16:creationId xmlns:a16="http://schemas.microsoft.com/office/drawing/2014/main" id="{C4092C88-6FC4-4B25-A5C6-FF916E079D2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8519F23-F240-4767-9D84-CA912FE2BB1C}"/>
              </a:ext>
            </a:extLst>
          </p:cNvPr>
          <p:cNvSpPr>
            <a:spLocks noGrp="1"/>
          </p:cNvSpPr>
          <p:nvPr>
            <p:ph type="sldNum" sz="quarter" idx="12"/>
          </p:nvPr>
        </p:nvSpPr>
        <p:spPr/>
        <p:txBody>
          <a:bodyPr/>
          <a:lstStyle/>
          <a:p>
            <a:fld id="{DE472684-079E-4958-8A31-8453DFC24521}" type="slidenum">
              <a:rPr lang="en-US" smtClean="0"/>
              <a:t>‹#›</a:t>
            </a:fld>
            <a:endParaRPr lang="en-US" dirty="0"/>
          </a:p>
        </p:txBody>
      </p:sp>
    </p:spTree>
    <p:extLst>
      <p:ext uri="{BB962C8B-B14F-4D97-AF65-F5344CB8AC3E}">
        <p14:creationId xmlns:p14="http://schemas.microsoft.com/office/powerpoint/2010/main" val="13649319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A0CCE68-AAEF-483B-837D-4C3B7EDF543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303F6DD-4DDC-487E-882B-457A012C00A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A310583-86CF-4ED0-89A7-5B85A45B6C9C}"/>
              </a:ext>
            </a:extLst>
          </p:cNvPr>
          <p:cNvSpPr>
            <a:spLocks noGrp="1"/>
          </p:cNvSpPr>
          <p:nvPr>
            <p:ph type="dt" sz="half" idx="10"/>
          </p:nvPr>
        </p:nvSpPr>
        <p:spPr/>
        <p:txBody>
          <a:bodyPr/>
          <a:lstStyle/>
          <a:p>
            <a:fld id="{F3A766EE-17B0-4F5A-AB9A-BE847EB07CAC}" type="datetimeFigureOut">
              <a:rPr lang="en-US" smtClean="0"/>
              <a:t>7/26/2021</a:t>
            </a:fld>
            <a:endParaRPr lang="en-US" dirty="0"/>
          </a:p>
        </p:txBody>
      </p:sp>
      <p:sp>
        <p:nvSpPr>
          <p:cNvPr id="5" name="Footer Placeholder 4">
            <a:extLst>
              <a:ext uri="{FF2B5EF4-FFF2-40B4-BE49-F238E27FC236}">
                <a16:creationId xmlns:a16="http://schemas.microsoft.com/office/drawing/2014/main" id="{3C3C41A5-4E27-489E-ADF8-73A9106A1D1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BBB3B32-343B-4483-B560-8F923CDBACFF}"/>
              </a:ext>
            </a:extLst>
          </p:cNvPr>
          <p:cNvSpPr>
            <a:spLocks noGrp="1"/>
          </p:cNvSpPr>
          <p:nvPr>
            <p:ph type="sldNum" sz="quarter" idx="12"/>
          </p:nvPr>
        </p:nvSpPr>
        <p:spPr/>
        <p:txBody>
          <a:bodyPr/>
          <a:lstStyle/>
          <a:p>
            <a:fld id="{DE472684-079E-4958-8A31-8453DFC24521}" type="slidenum">
              <a:rPr lang="en-US" smtClean="0"/>
              <a:t>‹#›</a:t>
            </a:fld>
            <a:endParaRPr lang="en-US" dirty="0"/>
          </a:p>
        </p:txBody>
      </p:sp>
    </p:spTree>
    <p:extLst>
      <p:ext uri="{BB962C8B-B14F-4D97-AF65-F5344CB8AC3E}">
        <p14:creationId xmlns:p14="http://schemas.microsoft.com/office/powerpoint/2010/main" val="42723846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Title Slide ">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062367" y="2048450"/>
            <a:ext cx="9144000" cy="1076495"/>
          </a:xfrm>
        </p:spPr>
        <p:txBody>
          <a:bodyPr/>
          <a:lstStyle>
            <a:lvl1pPr marL="0" indent="0" algn="l">
              <a:buNone/>
              <a:defRPr sz="2400">
                <a:latin typeface="Segoe UI" panose="020B0502040204020203" pitchFamily="34" charset="0"/>
                <a:ea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a:p>
            <a:endParaRPr lang="en-US" dirty="0"/>
          </a:p>
          <a:p>
            <a:endParaRPr lang="en-US" dirty="0"/>
          </a:p>
        </p:txBody>
      </p:sp>
      <p:sp>
        <p:nvSpPr>
          <p:cNvPr id="14" name="Rectangle 13"/>
          <p:cNvSpPr/>
          <p:nvPr userDrawn="1"/>
        </p:nvSpPr>
        <p:spPr>
          <a:xfrm>
            <a:off x="1" y="6027939"/>
            <a:ext cx="9685537" cy="460414"/>
          </a:xfrm>
          <a:prstGeom prst="rect">
            <a:avLst/>
          </a:prstGeom>
          <a:solidFill>
            <a:srgbClr val="FFD04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4" name="Title 3"/>
          <p:cNvSpPr>
            <a:spLocks noGrp="1"/>
          </p:cNvSpPr>
          <p:nvPr>
            <p:ph type="title"/>
          </p:nvPr>
        </p:nvSpPr>
        <p:spPr>
          <a:xfrm>
            <a:off x="1003916" y="675860"/>
            <a:ext cx="10515600" cy="1325563"/>
          </a:xfrm>
        </p:spPr>
        <p:txBody>
          <a:bodyPr anchor="b" anchorCtr="0"/>
          <a:lstStyle>
            <a:lvl1pPr>
              <a:defRPr>
                <a:solidFill>
                  <a:srgbClr val="006369"/>
                </a:solidFill>
              </a:defRPr>
            </a:lvl1pPr>
          </a:lstStyle>
          <a:p>
            <a:r>
              <a:rPr lang="en-US" dirty="0"/>
              <a:t>Click to edit Master title style</a:t>
            </a:r>
          </a:p>
        </p:txBody>
      </p:sp>
      <p:cxnSp>
        <p:nvCxnSpPr>
          <p:cNvPr id="16" name="Straight Connector 15"/>
          <p:cNvCxnSpPr/>
          <p:nvPr userDrawn="1"/>
        </p:nvCxnSpPr>
        <p:spPr>
          <a:xfrm>
            <a:off x="9682140" y="5987598"/>
            <a:ext cx="0" cy="525294"/>
          </a:xfrm>
          <a:prstGeom prst="line">
            <a:avLst/>
          </a:prstGeom>
          <a:ln w="3175">
            <a:solidFill>
              <a:srgbClr val="D0D0D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4329024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062367" y="2048450"/>
            <a:ext cx="9144000" cy="1076495"/>
          </a:xfrm>
        </p:spPr>
        <p:txBody>
          <a:bodyPr/>
          <a:lstStyle>
            <a:lvl1pPr marL="0" indent="0" algn="l">
              <a:buNone/>
              <a:defRPr sz="2400">
                <a:latin typeface="Segoe UI" panose="020B0502040204020203" pitchFamily="34" charset="0"/>
                <a:ea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a:p>
            <a:endParaRPr lang="en-US" dirty="0"/>
          </a:p>
          <a:p>
            <a:endParaRPr lang="en-US" dirty="0"/>
          </a:p>
        </p:txBody>
      </p:sp>
      <p:sp>
        <p:nvSpPr>
          <p:cNvPr id="14" name="Rectangle 13"/>
          <p:cNvSpPr/>
          <p:nvPr userDrawn="1"/>
        </p:nvSpPr>
        <p:spPr>
          <a:xfrm>
            <a:off x="1" y="6027939"/>
            <a:ext cx="9685537" cy="460414"/>
          </a:xfrm>
          <a:prstGeom prst="rect">
            <a:avLst/>
          </a:prstGeom>
          <a:solidFill>
            <a:srgbClr val="FFD04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4" name="Title 3"/>
          <p:cNvSpPr>
            <a:spLocks noGrp="1"/>
          </p:cNvSpPr>
          <p:nvPr>
            <p:ph type="title"/>
          </p:nvPr>
        </p:nvSpPr>
        <p:spPr>
          <a:xfrm>
            <a:off x="1003916" y="675860"/>
            <a:ext cx="10515600" cy="1325563"/>
          </a:xfrm>
        </p:spPr>
        <p:txBody>
          <a:bodyPr anchor="b" anchorCtr="0"/>
          <a:lstStyle>
            <a:lvl1pPr>
              <a:defRPr>
                <a:solidFill>
                  <a:srgbClr val="006369"/>
                </a:solidFill>
              </a:defRPr>
            </a:lvl1pPr>
          </a:lstStyle>
          <a:p>
            <a:r>
              <a:rPr lang="en-US" dirty="0"/>
              <a:t>Click to edit Master title style</a:t>
            </a:r>
          </a:p>
        </p:txBody>
      </p:sp>
      <p:cxnSp>
        <p:nvCxnSpPr>
          <p:cNvPr id="16" name="Straight Connector 15"/>
          <p:cNvCxnSpPr/>
          <p:nvPr userDrawn="1"/>
        </p:nvCxnSpPr>
        <p:spPr>
          <a:xfrm>
            <a:off x="9682140" y="5987598"/>
            <a:ext cx="0" cy="525294"/>
          </a:xfrm>
          <a:prstGeom prst="line">
            <a:avLst/>
          </a:prstGeom>
          <a:ln w="3175">
            <a:solidFill>
              <a:srgbClr val="D0D0D2"/>
            </a:solidFill>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userDrawn="1"/>
        </p:nvPicPr>
        <p:blipFill>
          <a:blip r:embed="rId2"/>
          <a:stretch>
            <a:fillRect/>
          </a:stretch>
        </p:blipFill>
        <p:spPr>
          <a:xfrm>
            <a:off x="1093628" y="6172309"/>
            <a:ext cx="2316681" cy="195089"/>
          </a:xfrm>
          <a:prstGeom prst="rect">
            <a:avLst/>
          </a:prstGeom>
        </p:spPr>
      </p:pic>
      <p:pic>
        <p:nvPicPr>
          <p:cNvPr id="8" name="Picture 7"/>
          <p:cNvPicPr>
            <a:picLocks noChangeAspect="1"/>
          </p:cNvPicPr>
          <p:nvPr userDrawn="1"/>
        </p:nvPicPr>
        <p:blipFill>
          <a:blip r:embed="rId3"/>
          <a:stretch>
            <a:fillRect/>
          </a:stretch>
        </p:blipFill>
        <p:spPr>
          <a:xfrm>
            <a:off x="10114081" y="6032357"/>
            <a:ext cx="1658256" cy="457240"/>
          </a:xfrm>
          <a:prstGeom prst="rect">
            <a:avLst/>
          </a:prstGeom>
        </p:spPr>
      </p:pic>
    </p:spTree>
    <p:extLst>
      <p:ext uri="{BB962C8B-B14F-4D97-AF65-F5344CB8AC3E}">
        <p14:creationId xmlns:p14="http://schemas.microsoft.com/office/powerpoint/2010/main" val="426549654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Slide 1">
    <p:bg>
      <p:bgPr>
        <a:solidFill>
          <a:srgbClr val="00636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903" y="1141875"/>
            <a:ext cx="7027607" cy="1325563"/>
          </a:xfrm>
        </p:spPr>
        <p:txBody>
          <a:bodyPr/>
          <a:lstStyle>
            <a:lvl1pPr>
              <a:defRPr>
                <a:solidFill>
                  <a:schemeClr val="bg1"/>
                </a:solidFill>
              </a:defRPr>
            </a:lvl1pPr>
          </a:lstStyle>
          <a:p>
            <a:r>
              <a:rPr lang="en-US" dirty="0"/>
              <a:t>Divider Slide Title</a:t>
            </a:r>
          </a:p>
        </p:txBody>
      </p:sp>
      <p:sp>
        <p:nvSpPr>
          <p:cNvPr id="6" name="Rectangle 5"/>
          <p:cNvSpPr/>
          <p:nvPr userDrawn="1"/>
        </p:nvSpPr>
        <p:spPr>
          <a:xfrm>
            <a:off x="1" y="6027939"/>
            <a:ext cx="9685537" cy="460414"/>
          </a:xfrm>
          <a:prstGeom prst="rect">
            <a:avLst/>
          </a:prstGeom>
          <a:solidFill>
            <a:srgbClr val="FFD04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7" name="Picture 6"/>
          <p:cNvPicPr>
            <a:picLocks noChangeAspect="1"/>
          </p:cNvPicPr>
          <p:nvPr userDrawn="1"/>
        </p:nvPicPr>
        <p:blipFill>
          <a:blip r:embed="rId2"/>
          <a:stretch>
            <a:fillRect/>
          </a:stretch>
        </p:blipFill>
        <p:spPr>
          <a:xfrm>
            <a:off x="1093628" y="6172309"/>
            <a:ext cx="2316681" cy="195089"/>
          </a:xfrm>
          <a:prstGeom prst="rect">
            <a:avLst/>
          </a:prstGeom>
        </p:spPr>
      </p:pic>
      <p:sp>
        <p:nvSpPr>
          <p:cNvPr id="9" name="Rectangle 8"/>
          <p:cNvSpPr/>
          <p:nvPr userDrawn="1"/>
        </p:nvSpPr>
        <p:spPr>
          <a:xfrm>
            <a:off x="9674939" y="-9832"/>
            <a:ext cx="2517061"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p:cNvPicPr>
            <a:picLocks noChangeAspect="1"/>
          </p:cNvPicPr>
          <p:nvPr userDrawn="1"/>
        </p:nvPicPr>
        <p:blipFill>
          <a:blip r:embed="rId3"/>
          <a:stretch>
            <a:fillRect/>
          </a:stretch>
        </p:blipFill>
        <p:spPr>
          <a:xfrm>
            <a:off x="10114081" y="6032357"/>
            <a:ext cx="1658256" cy="457240"/>
          </a:xfrm>
          <a:prstGeom prst="rect">
            <a:avLst/>
          </a:prstGeom>
        </p:spPr>
      </p:pic>
    </p:spTree>
    <p:extLst>
      <p:ext uri="{BB962C8B-B14F-4D97-AF65-F5344CB8AC3E}">
        <p14:creationId xmlns:p14="http://schemas.microsoft.com/office/powerpoint/2010/main" val="42444083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Slide 2">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903" y="1141875"/>
            <a:ext cx="7027607" cy="1325563"/>
          </a:xfrm>
        </p:spPr>
        <p:txBody>
          <a:bodyPr/>
          <a:lstStyle>
            <a:lvl1pPr>
              <a:defRPr>
                <a:solidFill>
                  <a:schemeClr val="tx1"/>
                </a:solidFill>
              </a:defRPr>
            </a:lvl1pPr>
          </a:lstStyle>
          <a:p>
            <a:r>
              <a:rPr lang="en-US" dirty="0"/>
              <a:t>Divider Slide Title</a:t>
            </a:r>
          </a:p>
        </p:txBody>
      </p:sp>
      <p:sp>
        <p:nvSpPr>
          <p:cNvPr id="6" name="Rectangle 5"/>
          <p:cNvSpPr/>
          <p:nvPr userDrawn="1"/>
        </p:nvSpPr>
        <p:spPr>
          <a:xfrm>
            <a:off x="1" y="6027939"/>
            <a:ext cx="9685537" cy="460414"/>
          </a:xfrm>
          <a:prstGeom prst="rect">
            <a:avLst/>
          </a:prstGeom>
          <a:solidFill>
            <a:srgbClr val="FFD04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7" name="Picture 6"/>
          <p:cNvPicPr>
            <a:picLocks noChangeAspect="1"/>
          </p:cNvPicPr>
          <p:nvPr userDrawn="1"/>
        </p:nvPicPr>
        <p:blipFill>
          <a:blip r:embed="rId2"/>
          <a:stretch>
            <a:fillRect/>
          </a:stretch>
        </p:blipFill>
        <p:spPr>
          <a:xfrm>
            <a:off x="1093628" y="6172309"/>
            <a:ext cx="2316681" cy="195089"/>
          </a:xfrm>
          <a:prstGeom prst="rect">
            <a:avLst/>
          </a:prstGeom>
        </p:spPr>
      </p:pic>
      <p:sp>
        <p:nvSpPr>
          <p:cNvPr id="9" name="Rectangle 8"/>
          <p:cNvSpPr/>
          <p:nvPr userDrawn="1"/>
        </p:nvSpPr>
        <p:spPr>
          <a:xfrm>
            <a:off x="9674939" y="-9832"/>
            <a:ext cx="2517061"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p:cNvPicPr>
            <a:picLocks noChangeAspect="1"/>
          </p:cNvPicPr>
          <p:nvPr userDrawn="1"/>
        </p:nvPicPr>
        <p:blipFill>
          <a:blip r:embed="rId3"/>
          <a:stretch>
            <a:fillRect/>
          </a:stretch>
        </p:blipFill>
        <p:spPr>
          <a:xfrm>
            <a:off x="10114081" y="6032357"/>
            <a:ext cx="1658256" cy="457240"/>
          </a:xfrm>
          <a:prstGeom prst="rect">
            <a:avLst/>
          </a:prstGeom>
        </p:spPr>
      </p:pic>
    </p:spTree>
    <p:extLst>
      <p:ext uri="{BB962C8B-B14F-4D97-AF65-F5344CB8AC3E}">
        <p14:creationId xmlns:p14="http://schemas.microsoft.com/office/powerpoint/2010/main" val="23053213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965F35D-6605-443D-9F38-140776D68947}" type="datetime1">
              <a:rPr lang="en-US" smtClean="0"/>
              <a:t>7/26/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E94BA17-8AE8-4651-9FD9-8589E5D42325}" type="slidenum">
              <a:rPr lang="en-US" smtClean="0"/>
              <a:t>‹#›</a:t>
            </a:fld>
            <a:endParaRPr lang="en-US" dirty="0"/>
          </a:p>
        </p:txBody>
      </p:sp>
    </p:spTree>
    <p:extLst>
      <p:ext uri="{BB962C8B-B14F-4D97-AF65-F5344CB8AC3E}">
        <p14:creationId xmlns:p14="http://schemas.microsoft.com/office/powerpoint/2010/main" val="36166050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838200" y="1825625"/>
            <a:ext cx="5181600" cy="435133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66DB8819-B877-4AAF-AB71-63C59D44BF13}" type="datetime1">
              <a:rPr lang="en-US" smtClean="0"/>
              <a:t>7/26/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E94BA17-8AE8-4651-9FD9-8589E5D42325}" type="slidenum">
              <a:rPr lang="en-US" smtClean="0"/>
              <a:t>‹#›</a:t>
            </a:fld>
            <a:endParaRPr lang="en-US" dirty="0"/>
          </a:p>
        </p:txBody>
      </p:sp>
    </p:spTree>
    <p:extLst>
      <p:ext uri="{BB962C8B-B14F-4D97-AF65-F5344CB8AC3E}">
        <p14:creationId xmlns:p14="http://schemas.microsoft.com/office/powerpoint/2010/main" val="16132166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B54F1CE-82E5-4AA3-BFEA-EDE1D1DA8C85}" type="datetime1">
              <a:rPr lang="en-US" smtClean="0"/>
              <a:t>7/26/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5E94BA17-8AE8-4651-9FD9-8589E5D42325}" type="slidenum">
              <a:rPr lang="en-US" smtClean="0"/>
              <a:t>‹#›</a:t>
            </a:fld>
            <a:endParaRPr lang="en-US" dirty="0"/>
          </a:p>
        </p:txBody>
      </p:sp>
    </p:spTree>
    <p:extLst>
      <p:ext uri="{BB962C8B-B14F-4D97-AF65-F5344CB8AC3E}">
        <p14:creationId xmlns:p14="http://schemas.microsoft.com/office/powerpoint/2010/main" val="6975017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A6B727"/>
          </a:solidFill>
        </p:spPr>
        <p:txBody>
          <a:bodyPr wrap="square" lIns="0" tIns="0" rIns="0" bIns="0" rtlCol="0"/>
          <a:lstStyle/>
          <a:p>
            <a:endParaRPr dirty="0"/>
          </a:p>
        </p:txBody>
      </p:sp>
      <p:sp>
        <p:nvSpPr>
          <p:cNvPr id="17" name="bg object 17"/>
          <p:cNvSpPr/>
          <p:nvPr/>
        </p:nvSpPr>
        <p:spPr>
          <a:xfrm>
            <a:off x="231647" y="243840"/>
            <a:ext cx="11724640" cy="6377940"/>
          </a:xfrm>
          <a:custGeom>
            <a:avLst/>
            <a:gdLst/>
            <a:ahLst/>
            <a:cxnLst/>
            <a:rect l="l" t="t" r="r" b="b"/>
            <a:pathLst>
              <a:path w="11724640" h="6377940">
                <a:moveTo>
                  <a:pt x="0" y="6377939"/>
                </a:moveTo>
                <a:lnTo>
                  <a:pt x="11724132" y="6377939"/>
                </a:lnTo>
                <a:lnTo>
                  <a:pt x="11724132" y="0"/>
                </a:lnTo>
                <a:lnTo>
                  <a:pt x="0" y="0"/>
                </a:lnTo>
                <a:lnTo>
                  <a:pt x="0" y="6377939"/>
                </a:lnTo>
                <a:close/>
              </a:path>
            </a:pathLst>
          </a:custGeom>
          <a:ln w="12700">
            <a:solidFill>
              <a:srgbClr val="FFFFFF"/>
            </a:solidFill>
          </a:ln>
        </p:spPr>
        <p:txBody>
          <a:bodyPr wrap="square" lIns="0" tIns="0" rIns="0" bIns="0" rtlCol="0"/>
          <a:lstStyle/>
          <a:p>
            <a:endParaRPr dirty="0"/>
          </a:p>
        </p:txBody>
      </p:sp>
      <p:sp>
        <p:nvSpPr>
          <p:cNvPr id="2" name="Holder 2"/>
          <p:cNvSpPr>
            <a:spLocks noGrp="1"/>
          </p:cNvSpPr>
          <p:nvPr>
            <p:ph type="title"/>
          </p:nvPr>
        </p:nvSpPr>
        <p:spPr/>
        <p:txBody>
          <a:bodyPr lIns="0" tIns="0" rIns="0" bIns="0"/>
          <a:lstStyle>
            <a:lvl1pPr>
              <a:defRPr sz="4400" b="0" i="0">
                <a:solidFill>
                  <a:srgbClr val="555248"/>
                </a:solidFill>
                <a:latin typeface="Corbel"/>
                <a:cs typeface="Corbe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6/2021</a:t>
            </a:fld>
            <a:endParaRPr lang="en-US" dirty="0"/>
          </a:p>
        </p:txBody>
      </p:sp>
      <p:sp>
        <p:nvSpPr>
          <p:cNvPr id="5" name="Holder 5"/>
          <p:cNvSpPr>
            <a:spLocks noGrp="1"/>
          </p:cNvSpPr>
          <p:nvPr>
            <p:ph type="sldNum" sz="quarter" idx="7"/>
          </p:nvPr>
        </p:nvSpPr>
        <p:spPr/>
        <p:txBody>
          <a:bodyPr lIns="0" tIns="0" rIns="0" bIns="0"/>
          <a:lstStyle>
            <a:lvl1pPr>
              <a:defRPr sz="1200" b="0" i="0">
                <a:solidFill>
                  <a:srgbClr val="605352"/>
                </a:solidFill>
                <a:latin typeface="Arial"/>
                <a:cs typeface="Arial"/>
              </a:defRPr>
            </a:lvl1pPr>
          </a:lstStyle>
          <a:p>
            <a:pPr marL="38100">
              <a:lnSpc>
                <a:spcPts val="1425"/>
              </a:lnSpc>
            </a:pPr>
            <a:fld id="{81D60167-4931-47E6-BA6A-407CBD079E47}" type="slidenum">
              <a:rPr spc="-5" dirty="0"/>
              <a:t>‹#›</a:t>
            </a:fld>
            <a:endParaRPr spc="-5"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1AE2EBC-325E-46EC-87DD-6EC14BFC4DB2}" type="datetime1">
              <a:rPr lang="en-US" smtClean="0"/>
              <a:t>7/26/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5E94BA17-8AE8-4651-9FD9-8589E5D42325}" type="slidenum">
              <a:rPr lang="en-US" smtClean="0"/>
              <a:t>‹#›</a:t>
            </a:fld>
            <a:endParaRPr lang="en-US" dirty="0"/>
          </a:p>
        </p:txBody>
      </p:sp>
    </p:spTree>
    <p:extLst>
      <p:ext uri="{BB962C8B-B14F-4D97-AF65-F5344CB8AC3E}">
        <p14:creationId xmlns:p14="http://schemas.microsoft.com/office/powerpoint/2010/main" val="35944387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arge Photo ">
    <p:spTree>
      <p:nvGrpSpPr>
        <p:cNvPr id="1" name=""/>
        <p:cNvGrpSpPr/>
        <p:nvPr/>
      </p:nvGrpSpPr>
      <p:grpSpPr>
        <a:xfrm>
          <a:off x="0" y="0"/>
          <a:ext cx="0" cy="0"/>
          <a:chOff x="0" y="0"/>
          <a:chExt cx="0" cy="0"/>
        </a:xfrm>
      </p:grpSpPr>
      <p:sp>
        <p:nvSpPr>
          <p:cNvPr id="4" name="Picture Placeholder 2"/>
          <p:cNvSpPr>
            <a:spLocks noGrp="1" noChangeAspect="1"/>
          </p:cNvSpPr>
          <p:nvPr>
            <p:ph type="pic" idx="13"/>
          </p:nvPr>
        </p:nvSpPr>
        <p:spPr>
          <a:xfrm>
            <a:off x="0" y="1049311"/>
            <a:ext cx="12192000" cy="5811864"/>
          </a:xfrm>
          <a:prstGeom prst="rect">
            <a:avLst/>
          </a:prstGeom>
          <a:solidFill>
            <a:schemeClr val="bg2">
              <a:lumMod val="75000"/>
            </a:schemeClr>
          </a:solidFill>
          <a:ln>
            <a:noFill/>
          </a:ln>
        </p:spPr>
        <p:txBody>
          <a:bodyPr anchor="t">
            <a:normAutofit/>
          </a:bodyPr>
          <a:lstStyle>
            <a:lvl1pPr marL="0" indent="0" algn="ctr">
              <a:buNone/>
              <a:defRPr sz="1200" b="0" i="0">
                <a:solidFill>
                  <a:schemeClr val="bg1"/>
                </a:solidFill>
                <a:latin typeface="Arial" charset="0"/>
                <a:ea typeface="Arial" charset="0"/>
                <a:cs typeface="Arial" charset="0"/>
              </a:defRPr>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en-US" dirty="0"/>
          </a:p>
          <a:p>
            <a:r>
              <a:rPr lang="en-US" dirty="0"/>
              <a:t>Drag picture to placeholder or click icon to add</a:t>
            </a:r>
          </a:p>
        </p:txBody>
      </p:sp>
      <p:sp>
        <p:nvSpPr>
          <p:cNvPr id="3" name="Title 1"/>
          <p:cNvSpPr>
            <a:spLocks noGrp="1"/>
          </p:cNvSpPr>
          <p:nvPr>
            <p:ph type="title"/>
          </p:nvPr>
        </p:nvSpPr>
        <p:spPr>
          <a:xfrm>
            <a:off x="471256" y="97654"/>
            <a:ext cx="10515600" cy="909454"/>
          </a:xfrm>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a:xfrm>
            <a:off x="11304231" y="6374108"/>
            <a:ext cx="688760" cy="365125"/>
          </a:xfrm>
        </p:spPr>
        <p:txBody>
          <a:bodyPr/>
          <a:lstStyle/>
          <a:p>
            <a:fld id="{5E94BA17-8AE8-4651-9FD9-8589E5D42325}" type="slidenum">
              <a:rPr lang="en-US" smtClean="0"/>
              <a:t>‹#›</a:t>
            </a:fld>
            <a:endParaRPr lang="en-US" dirty="0"/>
          </a:p>
        </p:txBody>
      </p:sp>
    </p:spTree>
    <p:extLst>
      <p:ext uri="{BB962C8B-B14F-4D97-AF65-F5344CB8AC3E}">
        <p14:creationId xmlns:p14="http://schemas.microsoft.com/office/powerpoint/2010/main" val="42579090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ull Bleed Photo ">
    <p:spTree>
      <p:nvGrpSpPr>
        <p:cNvPr id="1" name=""/>
        <p:cNvGrpSpPr/>
        <p:nvPr/>
      </p:nvGrpSpPr>
      <p:grpSpPr>
        <a:xfrm>
          <a:off x="0" y="0"/>
          <a:ext cx="0" cy="0"/>
          <a:chOff x="0" y="0"/>
          <a:chExt cx="0" cy="0"/>
        </a:xfrm>
      </p:grpSpPr>
      <p:sp>
        <p:nvSpPr>
          <p:cNvPr id="4" name="Picture Placeholder 2"/>
          <p:cNvSpPr>
            <a:spLocks noGrp="1" noChangeAspect="1"/>
          </p:cNvSpPr>
          <p:nvPr>
            <p:ph type="pic" idx="13"/>
          </p:nvPr>
        </p:nvSpPr>
        <p:spPr>
          <a:xfrm>
            <a:off x="0" y="0"/>
            <a:ext cx="12192000" cy="6861175"/>
          </a:xfrm>
          <a:prstGeom prst="rect">
            <a:avLst/>
          </a:prstGeom>
          <a:solidFill>
            <a:schemeClr val="bg2">
              <a:lumMod val="75000"/>
            </a:schemeClr>
          </a:solidFill>
          <a:ln>
            <a:noFill/>
          </a:ln>
        </p:spPr>
        <p:txBody>
          <a:bodyPr anchor="t">
            <a:normAutofit/>
          </a:bodyPr>
          <a:lstStyle>
            <a:lvl1pPr marL="0" indent="0" algn="ctr">
              <a:buNone/>
              <a:defRPr sz="1200" b="0" i="0">
                <a:solidFill>
                  <a:schemeClr val="bg1"/>
                </a:solidFill>
                <a:latin typeface="Arial" charset="0"/>
                <a:ea typeface="Arial" charset="0"/>
                <a:cs typeface="Arial" charset="0"/>
              </a:defRPr>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en-US" dirty="0"/>
          </a:p>
          <a:p>
            <a:r>
              <a:rPr lang="en-US" dirty="0"/>
              <a:t>Drag picture to placeholder or click icon to add</a:t>
            </a:r>
          </a:p>
        </p:txBody>
      </p:sp>
      <p:sp>
        <p:nvSpPr>
          <p:cNvPr id="5" name="Slide Number Placeholder 4"/>
          <p:cNvSpPr>
            <a:spLocks noGrp="1"/>
          </p:cNvSpPr>
          <p:nvPr>
            <p:ph type="sldNum" sz="quarter" idx="12"/>
          </p:nvPr>
        </p:nvSpPr>
        <p:spPr>
          <a:xfrm>
            <a:off x="11304231" y="6374108"/>
            <a:ext cx="688760" cy="365125"/>
          </a:xfrm>
        </p:spPr>
        <p:txBody>
          <a:bodyPr/>
          <a:lstStyle/>
          <a:p>
            <a:fld id="{5E94BA17-8AE8-4651-9FD9-8589E5D42325}" type="slidenum">
              <a:rPr lang="en-US" smtClean="0"/>
              <a:t>‹#›</a:t>
            </a:fld>
            <a:endParaRPr lang="en-US" dirty="0"/>
          </a:p>
        </p:txBody>
      </p:sp>
      <p:sp>
        <p:nvSpPr>
          <p:cNvPr id="6" name="Title 1"/>
          <p:cNvSpPr>
            <a:spLocks noGrp="1"/>
          </p:cNvSpPr>
          <p:nvPr>
            <p:ph type="title"/>
          </p:nvPr>
        </p:nvSpPr>
        <p:spPr>
          <a:xfrm>
            <a:off x="471256" y="301848"/>
            <a:ext cx="10515600" cy="909454"/>
          </a:xfrm>
        </p:spPr>
        <p:txBody>
          <a:bodyPr/>
          <a:lstStyle/>
          <a:p>
            <a:r>
              <a:rPr lang="en-US"/>
              <a:t>Click to edit Master title style</a:t>
            </a:r>
            <a:endParaRPr lang="en-US" dirty="0"/>
          </a:p>
        </p:txBody>
      </p:sp>
    </p:spTree>
    <p:extLst>
      <p:ext uri="{BB962C8B-B14F-4D97-AF65-F5344CB8AC3E}">
        <p14:creationId xmlns:p14="http://schemas.microsoft.com/office/powerpoint/2010/main" val="45805268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and Photo ">
    <p:spTree>
      <p:nvGrpSpPr>
        <p:cNvPr id="1" name=""/>
        <p:cNvGrpSpPr/>
        <p:nvPr/>
      </p:nvGrpSpPr>
      <p:grpSpPr>
        <a:xfrm>
          <a:off x="0" y="0"/>
          <a:ext cx="0" cy="0"/>
          <a:chOff x="0" y="0"/>
          <a:chExt cx="0" cy="0"/>
        </a:xfrm>
      </p:grpSpPr>
      <p:sp>
        <p:nvSpPr>
          <p:cNvPr id="6" name="Picture Placeholder 2"/>
          <p:cNvSpPr>
            <a:spLocks noGrp="1" noChangeAspect="1"/>
          </p:cNvSpPr>
          <p:nvPr>
            <p:ph type="pic" idx="13"/>
          </p:nvPr>
        </p:nvSpPr>
        <p:spPr>
          <a:xfrm>
            <a:off x="5879167" y="1084826"/>
            <a:ext cx="6336508" cy="5191691"/>
          </a:xfrm>
          <a:prstGeom prst="rect">
            <a:avLst/>
          </a:prstGeom>
          <a:solidFill>
            <a:schemeClr val="bg2">
              <a:lumMod val="75000"/>
            </a:schemeClr>
          </a:solidFill>
          <a:ln>
            <a:solidFill>
              <a:schemeClr val="bg1"/>
            </a:solidFill>
          </a:ln>
        </p:spPr>
        <p:txBody>
          <a:bodyPr anchor="t">
            <a:normAutofit/>
          </a:bodyPr>
          <a:lstStyle>
            <a:lvl1pPr marL="0" indent="0" algn="ctr">
              <a:buNone/>
              <a:defRPr sz="1200" b="0" i="0">
                <a:solidFill>
                  <a:schemeClr val="bg1"/>
                </a:solidFill>
                <a:latin typeface="Arial" charset="0"/>
                <a:ea typeface="Arial" charset="0"/>
                <a:cs typeface="Arial" charset="0"/>
              </a:defRPr>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en-US" dirty="0"/>
          </a:p>
          <a:p>
            <a:r>
              <a:rPr lang="en-US" dirty="0"/>
              <a:t>Drag picture to placeholder or click icon to add</a:t>
            </a:r>
          </a:p>
        </p:txBody>
      </p:sp>
      <p:sp>
        <p:nvSpPr>
          <p:cNvPr id="7" name="Content Placeholder 2"/>
          <p:cNvSpPr>
            <a:spLocks noGrp="1"/>
          </p:cNvSpPr>
          <p:nvPr>
            <p:ph sz="half" idx="1"/>
          </p:nvPr>
        </p:nvSpPr>
        <p:spPr>
          <a:xfrm>
            <a:off x="838201" y="1541539"/>
            <a:ext cx="4227991" cy="435133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p:nvPr>
        </p:nvSpPr>
        <p:spPr>
          <a:xfrm>
            <a:off x="471256" y="186434"/>
            <a:ext cx="10515600" cy="909454"/>
          </a:xfrm>
        </p:spPr>
        <p:txBody>
          <a:bodyPr/>
          <a:lstStyle/>
          <a:p>
            <a:r>
              <a:rPr lang="en-US"/>
              <a:t>Click to edit Master title style</a:t>
            </a:r>
            <a:endParaRPr lang="en-US" dirty="0"/>
          </a:p>
        </p:txBody>
      </p:sp>
      <p:sp>
        <p:nvSpPr>
          <p:cNvPr id="2" name="Date Placeholder 1"/>
          <p:cNvSpPr>
            <a:spLocks noGrp="1"/>
          </p:cNvSpPr>
          <p:nvPr>
            <p:ph type="dt" sz="half" idx="14"/>
          </p:nvPr>
        </p:nvSpPr>
        <p:spPr/>
        <p:txBody>
          <a:bodyPr/>
          <a:lstStyle/>
          <a:p>
            <a:fld id="{62FE63C3-A73F-4097-86A9-7B28950712B1}" type="datetime1">
              <a:rPr lang="en-US" smtClean="0"/>
              <a:pPr/>
              <a:t>7/26/2021</a:t>
            </a:fld>
            <a:endParaRPr lang="en-US" dirty="0"/>
          </a:p>
        </p:txBody>
      </p:sp>
      <p:sp>
        <p:nvSpPr>
          <p:cNvPr id="3" name="Footer Placeholder 2"/>
          <p:cNvSpPr>
            <a:spLocks noGrp="1"/>
          </p:cNvSpPr>
          <p:nvPr>
            <p:ph type="ftr" sz="quarter" idx="15"/>
          </p:nvPr>
        </p:nvSpPr>
        <p:spPr/>
        <p:txBody>
          <a:bodyPr/>
          <a:lstStyle/>
          <a:p>
            <a:endParaRPr lang="en-US" dirty="0"/>
          </a:p>
        </p:txBody>
      </p:sp>
      <p:sp>
        <p:nvSpPr>
          <p:cNvPr id="4" name="Slide Number Placeholder 3"/>
          <p:cNvSpPr>
            <a:spLocks noGrp="1"/>
          </p:cNvSpPr>
          <p:nvPr>
            <p:ph type="sldNum" sz="quarter" idx="16"/>
          </p:nvPr>
        </p:nvSpPr>
        <p:spPr/>
        <p:txBody>
          <a:bodyPr/>
          <a:lstStyle/>
          <a:p>
            <a:fld id="{5E94BA17-8AE8-4651-9FD9-8589E5D42325}" type="slidenum">
              <a:rPr lang="en-US" smtClean="0"/>
              <a:pPr/>
              <a:t>‹#›</a:t>
            </a:fld>
            <a:endParaRPr lang="en-US" dirty="0"/>
          </a:p>
        </p:txBody>
      </p:sp>
    </p:spTree>
    <p:extLst>
      <p:ext uri="{BB962C8B-B14F-4D97-AF65-F5344CB8AC3E}">
        <p14:creationId xmlns:p14="http://schemas.microsoft.com/office/powerpoint/2010/main" val="57956093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and 3 Photos">
    <p:spTree>
      <p:nvGrpSpPr>
        <p:cNvPr id="1" name=""/>
        <p:cNvGrpSpPr/>
        <p:nvPr/>
      </p:nvGrpSpPr>
      <p:grpSpPr>
        <a:xfrm>
          <a:off x="0" y="0"/>
          <a:ext cx="0" cy="0"/>
          <a:chOff x="0" y="0"/>
          <a:chExt cx="0" cy="0"/>
        </a:xfrm>
      </p:grpSpPr>
      <p:sp>
        <p:nvSpPr>
          <p:cNvPr id="12" name="Picture Placeholder 2"/>
          <p:cNvSpPr>
            <a:spLocks noGrp="1" noChangeAspect="1"/>
          </p:cNvSpPr>
          <p:nvPr>
            <p:ph type="pic" idx="13"/>
          </p:nvPr>
        </p:nvSpPr>
        <p:spPr>
          <a:xfrm>
            <a:off x="6001963" y="614310"/>
            <a:ext cx="6190040" cy="2580217"/>
          </a:xfrm>
          <a:prstGeom prst="rect">
            <a:avLst/>
          </a:prstGeom>
          <a:solidFill>
            <a:schemeClr val="bg2">
              <a:lumMod val="75000"/>
            </a:schemeClr>
          </a:solidFill>
          <a:ln>
            <a:solidFill>
              <a:schemeClr val="bg1"/>
            </a:solidFill>
          </a:ln>
        </p:spPr>
        <p:txBody>
          <a:bodyPr anchor="t">
            <a:normAutofit/>
          </a:bodyPr>
          <a:lstStyle>
            <a:lvl1pPr marL="0" indent="0" algn="ctr">
              <a:buNone/>
              <a:defRPr sz="1200" b="0" i="0">
                <a:solidFill>
                  <a:schemeClr val="bg1"/>
                </a:solidFill>
                <a:latin typeface="Arial" charset="0"/>
                <a:ea typeface="Arial" charset="0"/>
                <a:cs typeface="Arial" charset="0"/>
              </a:defRPr>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en-US" dirty="0"/>
          </a:p>
          <a:p>
            <a:r>
              <a:rPr lang="en-US" dirty="0"/>
              <a:t>Drag picture to placeholder or click icon to add</a:t>
            </a:r>
          </a:p>
        </p:txBody>
      </p:sp>
      <p:sp>
        <p:nvSpPr>
          <p:cNvPr id="13" name="Picture Placeholder 2"/>
          <p:cNvSpPr>
            <a:spLocks noGrp="1" noChangeAspect="1"/>
          </p:cNvSpPr>
          <p:nvPr>
            <p:ph type="pic" idx="14"/>
          </p:nvPr>
        </p:nvSpPr>
        <p:spPr>
          <a:xfrm>
            <a:off x="6001963" y="3199309"/>
            <a:ext cx="3150855" cy="2499240"/>
          </a:xfrm>
          <a:prstGeom prst="rect">
            <a:avLst/>
          </a:prstGeom>
          <a:solidFill>
            <a:schemeClr val="bg2">
              <a:lumMod val="75000"/>
            </a:schemeClr>
          </a:solidFill>
          <a:ln>
            <a:solidFill>
              <a:schemeClr val="bg1"/>
            </a:solidFill>
          </a:ln>
        </p:spPr>
        <p:txBody>
          <a:bodyPr anchor="t">
            <a:normAutofit/>
          </a:bodyPr>
          <a:lstStyle>
            <a:lvl1pPr marL="0" indent="0" algn="ctr">
              <a:buNone/>
              <a:defRPr sz="1200" b="0" i="0">
                <a:solidFill>
                  <a:schemeClr val="bg1"/>
                </a:solidFill>
                <a:latin typeface="Arial" charset="0"/>
                <a:ea typeface="Arial" charset="0"/>
                <a:cs typeface="Arial" charset="0"/>
              </a:defRPr>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en-US" dirty="0"/>
          </a:p>
          <a:p>
            <a:r>
              <a:rPr lang="en-US" dirty="0"/>
              <a:t>Drag picture to placeholder or click icon to add</a:t>
            </a:r>
          </a:p>
        </p:txBody>
      </p:sp>
      <p:sp>
        <p:nvSpPr>
          <p:cNvPr id="14" name="Picture Placeholder 2"/>
          <p:cNvSpPr>
            <a:spLocks noGrp="1" noChangeAspect="1"/>
          </p:cNvSpPr>
          <p:nvPr>
            <p:ph type="pic" idx="15"/>
          </p:nvPr>
        </p:nvSpPr>
        <p:spPr>
          <a:xfrm>
            <a:off x="9138763" y="3199309"/>
            <a:ext cx="3053237" cy="2499239"/>
          </a:xfrm>
          <a:prstGeom prst="rect">
            <a:avLst/>
          </a:prstGeom>
          <a:solidFill>
            <a:schemeClr val="bg2">
              <a:lumMod val="75000"/>
            </a:schemeClr>
          </a:solidFill>
          <a:ln>
            <a:solidFill>
              <a:schemeClr val="bg1"/>
            </a:solidFill>
          </a:ln>
        </p:spPr>
        <p:txBody>
          <a:bodyPr anchor="t">
            <a:normAutofit/>
          </a:bodyPr>
          <a:lstStyle>
            <a:lvl1pPr marL="0" indent="0" algn="ctr">
              <a:buNone/>
              <a:defRPr sz="1200" b="0" i="0">
                <a:solidFill>
                  <a:schemeClr val="bg1"/>
                </a:solidFill>
                <a:latin typeface="Arial" charset="0"/>
                <a:ea typeface="Arial" charset="0"/>
                <a:cs typeface="Arial" charset="0"/>
              </a:defRPr>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en-US" dirty="0"/>
          </a:p>
          <a:p>
            <a:r>
              <a:rPr lang="en-US" dirty="0"/>
              <a:t>Drag picture to placeholder or click icon to add</a:t>
            </a:r>
          </a:p>
        </p:txBody>
      </p:sp>
      <p:sp>
        <p:nvSpPr>
          <p:cNvPr id="7" name="Content Placeholder 2"/>
          <p:cNvSpPr>
            <a:spLocks noGrp="1"/>
          </p:cNvSpPr>
          <p:nvPr>
            <p:ph sz="half" idx="1"/>
          </p:nvPr>
        </p:nvSpPr>
        <p:spPr>
          <a:xfrm>
            <a:off x="388398" y="1000002"/>
            <a:ext cx="4227991" cy="435133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12"/>
          </p:nvPr>
        </p:nvSpPr>
        <p:spPr>
          <a:xfrm>
            <a:off x="11304231" y="6374108"/>
            <a:ext cx="688760" cy="365125"/>
          </a:xfrm>
        </p:spPr>
        <p:txBody>
          <a:bodyPr/>
          <a:lstStyle/>
          <a:p>
            <a:fld id="{5E94BA17-8AE8-4651-9FD9-8589E5D42325}" type="slidenum">
              <a:rPr lang="en-US" smtClean="0"/>
              <a:t>‹#›</a:t>
            </a:fld>
            <a:endParaRPr lang="en-US" dirty="0"/>
          </a:p>
        </p:txBody>
      </p:sp>
      <p:sp>
        <p:nvSpPr>
          <p:cNvPr id="11" name="Date Placeholder 3"/>
          <p:cNvSpPr>
            <a:spLocks noGrp="1"/>
          </p:cNvSpPr>
          <p:nvPr>
            <p:ph type="dt" sz="half" idx="2"/>
          </p:nvPr>
        </p:nvSpPr>
        <p:spPr>
          <a:xfrm>
            <a:off x="210838" y="6356352"/>
            <a:ext cx="1706732" cy="365125"/>
          </a:xfrm>
          <a:prstGeom prst="rect">
            <a:avLst/>
          </a:prstGeom>
        </p:spPr>
        <p:txBody>
          <a:bodyPr vert="horz" lIns="91440" tIns="45720" rIns="91440" bIns="45720" rtlCol="0" anchor="ctr"/>
          <a:lstStyle>
            <a:lvl1pPr algn="l">
              <a:defRPr sz="1050">
                <a:solidFill>
                  <a:schemeClr val="tx1"/>
                </a:solidFill>
                <a:latin typeface="Segoe UI Semibold" panose="020B0702040204020203" pitchFamily="34" charset="0"/>
              </a:defRPr>
            </a:lvl1pPr>
          </a:lstStyle>
          <a:p>
            <a:fld id="{62FE63C3-A73F-4097-86A9-7B28950712B1}" type="datetime1">
              <a:rPr lang="en-US" smtClean="0"/>
              <a:pPr/>
              <a:t>7/26/2021</a:t>
            </a:fld>
            <a:endParaRPr lang="en-US" dirty="0"/>
          </a:p>
        </p:txBody>
      </p:sp>
      <p:sp>
        <p:nvSpPr>
          <p:cNvPr id="15" name="Footer Placeholder 4"/>
          <p:cNvSpPr>
            <a:spLocks noGrp="1"/>
          </p:cNvSpPr>
          <p:nvPr>
            <p:ph type="ftr" sz="quarter" idx="3"/>
          </p:nvPr>
        </p:nvSpPr>
        <p:spPr>
          <a:xfrm>
            <a:off x="3150828" y="6356352"/>
            <a:ext cx="4114800" cy="365125"/>
          </a:xfrm>
          <a:prstGeom prst="rect">
            <a:avLst/>
          </a:prstGeom>
        </p:spPr>
        <p:txBody>
          <a:bodyPr vert="horz" lIns="91440" tIns="45720" rIns="91440" bIns="45720" rtlCol="0" anchor="ctr"/>
          <a:lstStyle>
            <a:lvl1pPr algn="l">
              <a:defRPr sz="1100">
                <a:solidFill>
                  <a:schemeClr val="tx1">
                    <a:tint val="75000"/>
                  </a:schemeClr>
                </a:solidFill>
                <a:latin typeface="Segoe UI Semibold" panose="020B0702040204020203" pitchFamily="34" charset="0"/>
              </a:defRPr>
            </a:lvl1pPr>
          </a:lstStyle>
          <a:p>
            <a:endParaRPr lang="en-US" dirty="0"/>
          </a:p>
        </p:txBody>
      </p:sp>
    </p:spTree>
    <p:extLst>
      <p:ext uri="{BB962C8B-B14F-4D97-AF65-F5344CB8AC3E}">
        <p14:creationId xmlns:p14="http://schemas.microsoft.com/office/powerpoint/2010/main" val="29490435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hart ">
    <p:spTree>
      <p:nvGrpSpPr>
        <p:cNvPr id="1" name=""/>
        <p:cNvGrpSpPr/>
        <p:nvPr/>
      </p:nvGrpSpPr>
      <p:grpSpPr>
        <a:xfrm>
          <a:off x="0" y="0"/>
          <a:ext cx="0" cy="0"/>
          <a:chOff x="0" y="0"/>
          <a:chExt cx="0" cy="0"/>
        </a:xfrm>
      </p:grpSpPr>
      <p:sp>
        <p:nvSpPr>
          <p:cNvPr id="7" name="Content Placeholder 2"/>
          <p:cNvSpPr>
            <a:spLocks noGrp="1"/>
          </p:cNvSpPr>
          <p:nvPr>
            <p:ph sz="half" idx="1"/>
          </p:nvPr>
        </p:nvSpPr>
        <p:spPr>
          <a:xfrm>
            <a:off x="270029" y="1621438"/>
            <a:ext cx="4227991" cy="4351338"/>
          </a:xfrm>
        </p:spPr>
        <p:txBody>
          <a:bodyPr>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4"/>
          <p:cNvSpPr>
            <a:spLocks noGrp="1"/>
          </p:cNvSpPr>
          <p:nvPr>
            <p:ph type="sldNum" sz="quarter" idx="12"/>
          </p:nvPr>
        </p:nvSpPr>
        <p:spPr>
          <a:xfrm>
            <a:off x="11304231" y="6374108"/>
            <a:ext cx="688760" cy="365125"/>
          </a:xfrm>
        </p:spPr>
        <p:txBody>
          <a:bodyPr/>
          <a:lstStyle/>
          <a:p>
            <a:fld id="{5E94BA17-8AE8-4651-9FD9-8589E5D42325}" type="slidenum">
              <a:rPr lang="en-US" smtClean="0"/>
              <a:t>‹#›</a:t>
            </a:fld>
            <a:endParaRPr lang="en-US" dirty="0"/>
          </a:p>
        </p:txBody>
      </p:sp>
      <p:sp>
        <p:nvSpPr>
          <p:cNvPr id="6" name="Chart Placeholder 5"/>
          <p:cNvSpPr>
            <a:spLocks noGrp="1"/>
          </p:cNvSpPr>
          <p:nvPr>
            <p:ph type="chart" sz="quarter" idx="13"/>
          </p:nvPr>
        </p:nvSpPr>
        <p:spPr>
          <a:xfrm>
            <a:off x="4935986" y="1683711"/>
            <a:ext cx="6960093" cy="4042386"/>
          </a:xfrm>
          <a:solidFill>
            <a:schemeClr val="bg1">
              <a:lumMod val="75000"/>
            </a:schemeClr>
          </a:solidFill>
        </p:spPr>
        <p:txBody>
          <a:bodyPr/>
          <a:lstStyle>
            <a:lvl1pPr marL="0" indent="0">
              <a:buNone/>
              <a:defRPr/>
            </a:lvl1pPr>
          </a:lstStyle>
          <a:p>
            <a:endParaRPr lang="en-US" dirty="0"/>
          </a:p>
        </p:txBody>
      </p:sp>
      <p:sp>
        <p:nvSpPr>
          <p:cNvPr id="15" name="Title 1"/>
          <p:cNvSpPr>
            <a:spLocks noGrp="1"/>
          </p:cNvSpPr>
          <p:nvPr>
            <p:ph type="title"/>
          </p:nvPr>
        </p:nvSpPr>
        <p:spPr>
          <a:xfrm>
            <a:off x="471256" y="186434"/>
            <a:ext cx="10515600" cy="909454"/>
          </a:xfrm>
        </p:spPr>
        <p:txBody>
          <a:bodyPr/>
          <a:lstStyle/>
          <a:p>
            <a:r>
              <a:rPr lang="en-US"/>
              <a:t>Click to edit Master title style</a:t>
            </a:r>
            <a:endParaRPr lang="en-US" dirty="0"/>
          </a:p>
        </p:txBody>
      </p:sp>
      <p:sp>
        <p:nvSpPr>
          <p:cNvPr id="16" name="Date Placeholder 3"/>
          <p:cNvSpPr>
            <a:spLocks noGrp="1"/>
          </p:cNvSpPr>
          <p:nvPr>
            <p:ph type="dt" sz="half" idx="2"/>
          </p:nvPr>
        </p:nvSpPr>
        <p:spPr>
          <a:xfrm>
            <a:off x="210838" y="6356352"/>
            <a:ext cx="1706732" cy="365125"/>
          </a:xfrm>
          <a:prstGeom prst="rect">
            <a:avLst/>
          </a:prstGeom>
        </p:spPr>
        <p:txBody>
          <a:bodyPr vert="horz" lIns="91440" tIns="45720" rIns="91440" bIns="45720" rtlCol="0" anchor="ctr"/>
          <a:lstStyle>
            <a:lvl1pPr algn="l">
              <a:defRPr sz="1050">
                <a:solidFill>
                  <a:schemeClr val="tx1"/>
                </a:solidFill>
                <a:latin typeface="Segoe UI Semibold" panose="020B0702040204020203" pitchFamily="34" charset="0"/>
              </a:defRPr>
            </a:lvl1pPr>
          </a:lstStyle>
          <a:p>
            <a:fld id="{62FE63C3-A73F-4097-86A9-7B28950712B1}" type="datetime1">
              <a:rPr lang="en-US" smtClean="0"/>
              <a:pPr/>
              <a:t>7/26/2021</a:t>
            </a:fld>
            <a:endParaRPr lang="en-US" dirty="0"/>
          </a:p>
        </p:txBody>
      </p:sp>
      <p:sp>
        <p:nvSpPr>
          <p:cNvPr id="17" name="Footer Placeholder 4"/>
          <p:cNvSpPr>
            <a:spLocks noGrp="1"/>
          </p:cNvSpPr>
          <p:nvPr>
            <p:ph type="ftr" sz="quarter" idx="3"/>
          </p:nvPr>
        </p:nvSpPr>
        <p:spPr>
          <a:xfrm>
            <a:off x="3150828" y="6356352"/>
            <a:ext cx="4114800" cy="365125"/>
          </a:xfrm>
          <a:prstGeom prst="rect">
            <a:avLst/>
          </a:prstGeom>
        </p:spPr>
        <p:txBody>
          <a:bodyPr vert="horz" lIns="91440" tIns="45720" rIns="91440" bIns="45720" rtlCol="0" anchor="ctr"/>
          <a:lstStyle>
            <a:lvl1pPr algn="l">
              <a:defRPr sz="1100">
                <a:solidFill>
                  <a:schemeClr val="tx1">
                    <a:tint val="75000"/>
                  </a:schemeClr>
                </a:solidFill>
                <a:latin typeface="Segoe UI Semibold" panose="020B0702040204020203" pitchFamily="34" charset="0"/>
              </a:defRPr>
            </a:lvl1pPr>
          </a:lstStyle>
          <a:p>
            <a:endParaRPr lang="en-US" dirty="0"/>
          </a:p>
        </p:txBody>
      </p:sp>
    </p:spTree>
    <p:extLst>
      <p:ext uri="{BB962C8B-B14F-4D97-AF65-F5344CB8AC3E}">
        <p14:creationId xmlns:p14="http://schemas.microsoft.com/office/powerpoint/2010/main" val="39942667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0" y="3747052"/>
            <a:ext cx="12192000" cy="31109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2051" name="Picture 3" descr="C:\Users\SRosas\Desktop\PPT design\crya.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 y="2445028"/>
            <a:ext cx="3758388" cy="4412973"/>
          </a:xfrm>
          <a:prstGeom prst="rect">
            <a:avLst/>
          </a:prstGeom>
          <a:noFill/>
          <a:extLst>
            <a:ext uri="{909E8E84-426E-40dd-AFC4-6F175D3DCCD1}">
              <a14:hiddenFill xmlns:a14="http://schemas.microsoft.com/office/drawing/2010/main" xmlns="">
                <a:solidFill>
                  <a:srgbClr val="FFFFFF"/>
                </a:solidFill>
              </a14:hiddenFill>
            </a:ext>
          </a:extLst>
        </p:spPr>
      </p:pic>
      <p:pic>
        <p:nvPicPr>
          <p:cNvPr id="2050" name="Picture 2" descr="C:\Users\SRosas\Desktop\PPT design\Assets_1\471792155_5.jpg"/>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4666347" y="1"/>
            <a:ext cx="7525653" cy="6857999"/>
          </a:xfrm>
          <a:prstGeom prst="rect">
            <a:avLst/>
          </a:prstGeom>
          <a:noFill/>
          <a:extLst>
            <a:ext uri="{909E8E84-426E-40dd-AFC4-6F175D3DCCD1}">
              <a14:hiddenFill xmlns:a14="http://schemas.microsoft.com/office/drawing/2010/main" xmlns="">
                <a:solidFill>
                  <a:srgbClr val="FFFFFF"/>
                </a:solidFill>
              </a14:hiddenFill>
            </a:ext>
          </a:extLst>
        </p:spPr>
      </p:pic>
      <p:sp>
        <p:nvSpPr>
          <p:cNvPr id="3" name="Subtitle 2"/>
          <p:cNvSpPr>
            <a:spLocks noGrp="1"/>
          </p:cNvSpPr>
          <p:nvPr userDrawn="1">
            <p:ph type="subTitle" idx="1"/>
          </p:nvPr>
        </p:nvSpPr>
        <p:spPr>
          <a:xfrm>
            <a:off x="1017273" y="3987577"/>
            <a:ext cx="7078919" cy="729467"/>
          </a:xfrm>
        </p:spPr>
        <p:txBody>
          <a:bodyPr>
            <a:normAutofit/>
          </a:bodyPr>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2" name="Title 1"/>
          <p:cNvSpPr>
            <a:spLocks noGrp="1"/>
          </p:cNvSpPr>
          <p:nvPr userDrawn="1">
            <p:ph type="ctrTitle"/>
          </p:nvPr>
        </p:nvSpPr>
        <p:spPr>
          <a:xfrm>
            <a:off x="1019420" y="3171451"/>
            <a:ext cx="7069248" cy="792566"/>
          </a:xfrm>
        </p:spPr>
        <p:txBody>
          <a:bodyPr anchor="b" anchorCtr="0">
            <a:normAutofit/>
          </a:bodyPr>
          <a:lstStyle>
            <a:lvl1pPr algn="l">
              <a:defRPr sz="4000" b="1" cap="none" baseline="0">
                <a:solidFill>
                  <a:srgbClr val="004B91"/>
                </a:solidFill>
              </a:defRPr>
            </a:lvl1pPr>
          </a:lstStyle>
          <a:p>
            <a:r>
              <a:rPr lang="en-US"/>
              <a:t>Click to edit Master title style</a:t>
            </a:r>
          </a:p>
        </p:txBody>
      </p:sp>
      <p:sp>
        <p:nvSpPr>
          <p:cNvPr id="8" name="Date Placeholder 3"/>
          <p:cNvSpPr>
            <a:spLocks noGrp="1"/>
          </p:cNvSpPr>
          <p:nvPr>
            <p:ph type="dt" sz="half" idx="2"/>
          </p:nvPr>
        </p:nvSpPr>
        <p:spPr>
          <a:xfrm>
            <a:off x="6897223" y="6513381"/>
            <a:ext cx="1493743" cy="269738"/>
          </a:xfrm>
          <a:prstGeom prst="rect">
            <a:avLst/>
          </a:prstGeom>
        </p:spPr>
        <p:txBody>
          <a:bodyPr vert="horz" lIns="91440" tIns="45720" rIns="91440" bIns="45720" rtlCol="0" anchor="ctr"/>
          <a:lstStyle>
            <a:lvl1pPr algn="ctr">
              <a:defRPr sz="1200">
                <a:solidFill>
                  <a:srgbClr val="615452"/>
                </a:solidFill>
                <a:latin typeface="Arial" pitchFamily="34" charset="0"/>
                <a:cs typeface="Arial" pitchFamily="34" charset="0"/>
              </a:defRPr>
            </a:lvl1pPr>
          </a:lstStyle>
          <a:p>
            <a:r>
              <a:rPr lang="en-US" dirty="0"/>
              <a:t>1/28/2020</a:t>
            </a:r>
          </a:p>
        </p:txBody>
      </p:sp>
      <p:pic>
        <p:nvPicPr>
          <p:cNvPr id="11" name="Picture 10"/>
          <p:cNvPicPr>
            <a:picLocks noChangeAspect="1"/>
          </p:cNvPicPr>
          <p:nvPr userDrawn="1"/>
        </p:nvPicPr>
        <p:blipFill>
          <a:blip r:embed="rId4"/>
          <a:stretch>
            <a:fillRect/>
          </a:stretch>
        </p:blipFill>
        <p:spPr>
          <a:xfrm>
            <a:off x="1030997" y="692903"/>
            <a:ext cx="2783353" cy="1277144"/>
          </a:xfrm>
          <a:prstGeom prst="rect">
            <a:avLst/>
          </a:prstGeom>
        </p:spPr>
      </p:pic>
    </p:spTree>
    <p:extLst>
      <p:ext uri="{BB962C8B-B14F-4D97-AF65-F5344CB8AC3E}">
        <p14:creationId xmlns:p14="http://schemas.microsoft.com/office/powerpoint/2010/main" val="136234710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400" cap="none" baseline="0"/>
            </a:lvl1pPr>
          </a:lstStyle>
          <a:p>
            <a:r>
              <a:rPr lang="en-US"/>
              <a:t>Click to edit Master title style</a:t>
            </a:r>
          </a:p>
        </p:txBody>
      </p:sp>
      <p:sp>
        <p:nvSpPr>
          <p:cNvPr id="3" name="Content Placeholder 2"/>
          <p:cNvSpPr>
            <a:spLocks noGrp="1"/>
          </p:cNvSpPr>
          <p:nvPr>
            <p:ph idx="1"/>
          </p:nvPr>
        </p:nvSpPr>
        <p:spPr>
          <a:xfrm>
            <a:off x="609600" y="1437158"/>
            <a:ext cx="10972800" cy="42904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2"/>
          </p:nvPr>
        </p:nvSpPr>
        <p:spPr>
          <a:xfrm>
            <a:off x="6897223" y="6513381"/>
            <a:ext cx="1493743" cy="269738"/>
          </a:xfrm>
          <a:prstGeom prst="rect">
            <a:avLst/>
          </a:prstGeom>
        </p:spPr>
        <p:txBody>
          <a:bodyPr vert="horz" lIns="91440" tIns="45720" rIns="91440" bIns="45720" rtlCol="0" anchor="ctr"/>
          <a:lstStyle>
            <a:lvl1pPr algn="ctr">
              <a:defRPr sz="1200">
                <a:solidFill>
                  <a:srgbClr val="615452"/>
                </a:solidFill>
                <a:latin typeface="Arial" pitchFamily="34" charset="0"/>
                <a:cs typeface="Arial" pitchFamily="34" charset="0"/>
              </a:defRPr>
            </a:lvl1pPr>
          </a:lstStyle>
          <a:p>
            <a:r>
              <a:rPr lang="en-US" dirty="0"/>
              <a:t>1/28/2020</a:t>
            </a:r>
          </a:p>
        </p:txBody>
      </p:sp>
    </p:spTree>
    <p:extLst>
      <p:ext uri="{BB962C8B-B14F-4D97-AF65-F5344CB8AC3E}">
        <p14:creationId xmlns:p14="http://schemas.microsoft.com/office/powerpoint/2010/main" val="156008755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3814047"/>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313860"/>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Date Placeholder 3"/>
          <p:cNvSpPr>
            <a:spLocks noGrp="1"/>
          </p:cNvSpPr>
          <p:nvPr>
            <p:ph type="dt" sz="half" idx="2"/>
          </p:nvPr>
        </p:nvSpPr>
        <p:spPr>
          <a:xfrm>
            <a:off x="6897223" y="6513381"/>
            <a:ext cx="1493743" cy="269738"/>
          </a:xfrm>
          <a:prstGeom prst="rect">
            <a:avLst/>
          </a:prstGeom>
        </p:spPr>
        <p:txBody>
          <a:bodyPr vert="horz" lIns="91440" tIns="45720" rIns="91440" bIns="45720" rtlCol="0" anchor="ctr"/>
          <a:lstStyle>
            <a:lvl1pPr algn="ctr">
              <a:defRPr sz="1200">
                <a:solidFill>
                  <a:srgbClr val="615452"/>
                </a:solidFill>
                <a:latin typeface="Arial" pitchFamily="34" charset="0"/>
                <a:cs typeface="Arial" pitchFamily="34" charset="0"/>
              </a:defRPr>
            </a:lvl1pPr>
          </a:lstStyle>
          <a:p>
            <a:r>
              <a:rPr lang="en-US" dirty="0"/>
              <a:t>1/28/2020</a:t>
            </a:r>
          </a:p>
        </p:txBody>
      </p:sp>
    </p:spTree>
    <p:extLst>
      <p:ext uri="{BB962C8B-B14F-4D97-AF65-F5344CB8AC3E}">
        <p14:creationId xmlns:p14="http://schemas.microsoft.com/office/powerpoint/2010/main" val="219663943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0"/>
            <a:ext cx="5384800" cy="417760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0"/>
            <a:ext cx="5384800" cy="417760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p:cNvSpPr>
            <a:spLocks noGrp="1"/>
          </p:cNvSpPr>
          <p:nvPr>
            <p:ph type="dt" sz="half" idx="10"/>
          </p:nvPr>
        </p:nvSpPr>
        <p:spPr>
          <a:xfrm>
            <a:off x="6897223" y="6513381"/>
            <a:ext cx="1493743" cy="269738"/>
          </a:xfrm>
          <a:prstGeom prst="rect">
            <a:avLst/>
          </a:prstGeom>
        </p:spPr>
        <p:txBody>
          <a:bodyPr vert="horz" lIns="91440" tIns="45720" rIns="91440" bIns="45720" rtlCol="0" anchor="ctr"/>
          <a:lstStyle>
            <a:lvl1pPr algn="ctr">
              <a:defRPr sz="1200">
                <a:solidFill>
                  <a:srgbClr val="615452"/>
                </a:solidFill>
                <a:latin typeface="Arial" pitchFamily="34" charset="0"/>
                <a:cs typeface="Arial" pitchFamily="34" charset="0"/>
              </a:defRPr>
            </a:lvl1pPr>
          </a:lstStyle>
          <a:p>
            <a:r>
              <a:rPr lang="en-US" dirty="0"/>
              <a:t>1/28/2020</a:t>
            </a:r>
          </a:p>
        </p:txBody>
      </p:sp>
    </p:spTree>
    <p:extLst>
      <p:ext uri="{BB962C8B-B14F-4D97-AF65-F5344CB8AC3E}">
        <p14:creationId xmlns:p14="http://schemas.microsoft.com/office/powerpoint/2010/main" val="41227926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449579" y="6062486"/>
            <a:ext cx="327660" cy="593725"/>
          </a:xfrm>
          <a:custGeom>
            <a:avLst/>
            <a:gdLst/>
            <a:ahLst/>
            <a:cxnLst/>
            <a:rect l="l" t="t" r="r" b="b"/>
            <a:pathLst>
              <a:path w="327659" h="593725">
                <a:moveTo>
                  <a:pt x="327412" y="0"/>
                </a:moveTo>
                <a:lnTo>
                  <a:pt x="0" y="0"/>
                </a:lnTo>
                <a:lnTo>
                  <a:pt x="0" y="593265"/>
                </a:lnTo>
                <a:lnTo>
                  <a:pt x="121469" y="593265"/>
                </a:lnTo>
                <a:lnTo>
                  <a:pt x="111089" y="575431"/>
                </a:lnTo>
                <a:lnTo>
                  <a:pt x="101763" y="557144"/>
                </a:lnTo>
                <a:lnTo>
                  <a:pt x="93644" y="538554"/>
                </a:lnTo>
                <a:lnTo>
                  <a:pt x="86882" y="519813"/>
                </a:lnTo>
                <a:lnTo>
                  <a:pt x="75468" y="469225"/>
                </a:lnTo>
                <a:lnTo>
                  <a:pt x="72803" y="415991"/>
                </a:lnTo>
                <a:lnTo>
                  <a:pt x="77378" y="362606"/>
                </a:lnTo>
                <a:lnTo>
                  <a:pt x="87686" y="311564"/>
                </a:lnTo>
                <a:lnTo>
                  <a:pt x="102690" y="260497"/>
                </a:lnTo>
                <a:lnTo>
                  <a:pt x="120846" y="210550"/>
                </a:lnTo>
                <a:lnTo>
                  <a:pt x="141684" y="161634"/>
                </a:lnTo>
                <a:lnTo>
                  <a:pt x="164734" y="113660"/>
                </a:lnTo>
                <a:lnTo>
                  <a:pt x="189527" y="66538"/>
                </a:lnTo>
                <a:lnTo>
                  <a:pt x="215593" y="20178"/>
                </a:lnTo>
                <a:lnTo>
                  <a:pt x="327412" y="20178"/>
                </a:lnTo>
                <a:lnTo>
                  <a:pt x="327412" y="0"/>
                </a:lnTo>
                <a:close/>
              </a:path>
              <a:path w="327659" h="593725">
                <a:moveTo>
                  <a:pt x="327412" y="20178"/>
                </a:moveTo>
                <a:lnTo>
                  <a:pt x="215593" y="20178"/>
                </a:lnTo>
                <a:lnTo>
                  <a:pt x="215593" y="104130"/>
                </a:lnTo>
                <a:lnTo>
                  <a:pt x="205590" y="124935"/>
                </a:lnTo>
                <a:lnTo>
                  <a:pt x="185277" y="165647"/>
                </a:lnTo>
                <a:lnTo>
                  <a:pt x="157395" y="234507"/>
                </a:lnTo>
                <a:lnTo>
                  <a:pt x="140577" y="283312"/>
                </a:lnTo>
                <a:lnTo>
                  <a:pt x="127076" y="333329"/>
                </a:lnTo>
                <a:lnTo>
                  <a:pt x="118252" y="385012"/>
                </a:lnTo>
                <a:lnTo>
                  <a:pt x="116543" y="425676"/>
                </a:lnTo>
                <a:lnTo>
                  <a:pt x="117234" y="446195"/>
                </a:lnTo>
                <a:lnTo>
                  <a:pt x="126800" y="500073"/>
                </a:lnTo>
                <a:lnTo>
                  <a:pt x="154354" y="563917"/>
                </a:lnTo>
                <a:lnTo>
                  <a:pt x="172955" y="593265"/>
                </a:lnTo>
                <a:lnTo>
                  <a:pt x="200312" y="593265"/>
                </a:lnTo>
                <a:lnTo>
                  <a:pt x="190091" y="546938"/>
                </a:lnTo>
                <a:lnTo>
                  <a:pt x="186128" y="498976"/>
                </a:lnTo>
                <a:lnTo>
                  <a:pt x="187439" y="450297"/>
                </a:lnTo>
                <a:lnTo>
                  <a:pt x="193041" y="401819"/>
                </a:lnTo>
                <a:lnTo>
                  <a:pt x="201949" y="354462"/>
                </a:lnTo>
                <a:lnTo>
                  <a:pt x="213985" y="305920"/>
                </a:lnTo>
                <a:lnTo>
                  <a:pt x="327412" y="305920"/>
                </a:lnTo>
                <a:lnTo>
                  <a:pt x="327412" y="20178"/>
                </a:lnTo>
                <a:close/>
              </a:path>
              <a:path w="327659" h="593725">
                <a:moveTo>
                  <a:pt x="327412" y="305920"/>
                </a:moveTo>
                <a:lnTo>
                  <a:pt x="214789" y="305920"/>
                </a:lnTo>
                <a:lnTo>
                  <a:pt x="219929" y="326032"/>
                </a:lnTo>
                <a:lnTo>
                  <a:pt x="224541" y="346374"/>
                </a:lnTo>
                <a:lnTo>
                  <a:pt x="228701" y="366870"/>
                </a:lnTo>
                <a:lnTo>
                  <a:pt x="232484" y="387442"/>
                </a:lnTo>
                <a:lnTo>
                  <a:pt x="239766" y="438328"/>
                </a:lnTo>
                <a:lnTo>
                  <a:pt x="241842" y="491259"/>
                </a:lnTo>
                <a:lnTo>
                  <a:pt x="238032" y="543737"/>
                </a:lnTo>
                <a:lnTo>
                  <a:pt x="227658" y="593265"/>
                </a:lnTo>
                <a:lnTo>
                  <a:pt x="327412" y="593265"/>
                </a:lnTo>
                <a:lnTo>
                  <a:pt x="327412" y="305920"/>
                </a:lnTo>
                <a:close/>
              </a:path>
            </a:pathLst>
          </a:custGeom>
          <a:solidFill>
            <a:srgbClr val="1A478F"/>
          </a:solidFill>
        </p:spPr>
        <p:txBody>
          <a:bodyPr wrap="square" lIns="0" tIns="0" rIns="0" bIns="0" rtlCol="0"/>
          <a:lstStyle/>
          <a:p>
            <a:endParaRPr dirty="0"/>
          </a:p>
        </p:txBody>
      </p:sp>
      <p:pic>
        <p:nvPicPr>
          <p:cNvPr id="17" name="bg object 17"/>
          <p:cNvPicPr/>
          <p:nvPr/>
        </p:nvPicPr>
        <p:blipFill>
          <a:blip r:embed="rId2" cstate="print"/>
          <a:stretch>
            <a:fillRect/>
          </a:stretch>
        </p:blipFill>
        <p:spPr>
          <a:xfrm>
            <a:off x="834912" y="6368407"/>
            <a:ext cx="139175" cy="224386"/>
          </a:xfrm>
          <a:prstGeom prst="rect">
            <a:avLst/>
          </a:prstGeom>
        </p:spPr>
      </p:pic>
      <p:pic>
        <p:nvPicPr>
          <p:cNvPr id="18" name="bg object 18"/>
          <p:cNvPicPr/>
          <p:nvPr/>
        </p:nvPicPr>
        <p:blipFill>
          <a:blip r:embed="rId3" cstate="print"/>
          <a:stretch>
            <a:fillRect/>
          </a:stretch>
        </p:blipFill>
        <p:spPr>
          <a:xfrm>
            <a:off x="996607" y="6437006"/>
            <a:ext cx="116627" cy="154979"/>
          </a:xfrm>
          <a:prstGeom prst="rect">
            <a:avLst/>
          </a:prstGeom>
        </p:spPr>
      </p:pic>
      <p:pic>
        <p:nvPicPr>
          <p:cNvPr id="19" name="bg object 19"/>
          <p:cNvPicPr/>
          <p:nvPr/>
        </p:nvPicPr>
        <p:blipFill>
          <a:blip r:embed="rId4" cstate="print"/>
          <a:stretch>
            <a:fillRect/>
          </a:stretch>
        </p:blipFill>
        <p:spPr>
          <a:xfrm>
            <a:off x="1138195" y="6368407"/>
            <a:ext cx="139979" cy="224386"/>
          </a:xfrm>
          <a:prstGeom prst="rect">
            <a:avLst/>
          </a:prstGeom>
        </p:spPr>
      </p:pic>
      <p:pic>
        <p:nvPicPr>
          <p:cNvPr id="20" name="bg object 20"/>
          <p:cNvPicPr/>
          <p:nvPr/>
        </p:nvPicPr>
        <p:blipFill>
          <a:blip r:embed="rId5" cstate="print"/>
          <a:stretch>
            <a:fillRect/>
          </a:stretch>
        </p:blipFill>
        <p:spPr>
          <a:xfrm>
            <a:off x="1299086" y="6437006"/>
            <a:ext cx="112622" cy="154979"/>
          </a:xfrm>
          <a:prstGeom prst="rect">
            <a:avLst/>
          </a:prstGeom>
        </p:spPr>
      </p:pic>
      <p:sp>
        <p:nvSpPr>
          <p:cNvPr id="21" name="bg object 21"/>
          <p:cNvSpPr/>
          <p:nvPr/>
        </p:nvSpPr>
        <p:spPr>
          <a:xfrm>
            <a:off x="1437457" y="6371632"/>
            <a:ext cx="41910" cy="218440"/>
          </a:xfrm>
          <a:custGeom>
            <a:avLst/>
            <a:gdLst/>
            <a:ahLst/>
            <a:cxnLst/>
            <a:rect l="l" t="t" r="r" b="b"/>
            <a:pathLst>
              <a:path w="41909" h="218440">
                <a:moveTo>
                  <a:pt x="41834" y="0"/>
                </a:moveTo>
                <a:lnTo>
                  <a:pt x="0" y="0"/>
                </a:lnTo>
                <a:lnTo>
                  <a:pt x="0" y="217932"/>
                </a:lnTo>
                <a:lnTo>
                  <a:pt x="41834" y="217932"/>
                </a:lnTo>
                <a:lnTo>
                  <a:pt x="41834" y="0"/>
                </a:lnTo>
                <a:close/>
              </a:path>
            </a:pathLst>
          </a:custGeom>
          <a:solidFill>
            <a:srgbClr val="1A478F"/>
          </a:solidFill>
        </p:spPr>
        <p:txBody>
          <a:bodyPr wrap="square" lIns="0" tIns="0" rIns="0" bIns="0" rtlCol="0"/>
          <a:lstStyle/>
          <a:p>
            <a:endParaRPr dirty="0"/>
          </a:p>
        </p:txBody>
      </p:sp>
      <p:pic>
        <p:nvPicPr>
          <p:cNvPr id="22" name="bg object 22"/>
          <p:cNvPicPr/>
          <p:nvPr/>
        </p:nvPicPr>
        <p:blipFill>
          <a:blip r:embed="rId6" cstate="print"/>
          <a:stretch>
            <a:fillRect/>
          </a:stretch>
        </p:blipFill>
        <p:spPr>
          <a:xfrm>
            <a:off x="1505029" y="6368407"/>
            <a:ext cx="141555" cy="224386"/>
          </a:xfrm>
          <a:prstGeom prst="rect">
            <a:avLst/>
          </a:prstGeom>
        </p:spPr>
      </p:pic>
      <p:pic>
        <p:nvPicPr>
          <p:cNvPr id="23" name="bg object 23"/>
          <p:cNvPicPr/>
          <p:nvPr/>
        </p:nvPicPr>
        <p:blipFill>
          <a:blip r:embed="rId7" cstate="print"/>
          <a:stretch>
            <a:fillRect/>
          </a:stretch>
        </p:blipFill>
        <p:spPr>
          <a:xfrm>
            <a:off x="1671571" y="6437006"/>
            <a:ext cx="113459" cy="154979"/>
          </a:xfrm>
          <a:prstGeom prst="rect">
            <a:avLst/>
          </a:prstGeom>
        </p:spPr>
      </p:pic>
      <p:pic>
        <p:nvPicPr>
          <p:cNvPr id="24" name="bg object 24"/>
          <p:cNvPicPr/>
          <p:nvPr/>
        </p:nvPicPr>
        <p:blipFill>
          <a:blip r:embed="rId8" cstate="print"/>
          <a:stretch>
            <a:fillRect/>
          </a:stretch>
        </p:blipFill>
        <p:spPr>
          <a:xfrm>
            <a:off x="1805942" y="6437006"/>
            <a:ext cx="110992" cy="154979"/>
          </a:xfrm>
          <a:prstGeom prst="rect">
            <a:avLst/>
          </a:prstGeom>
        </p:spPr>
      </p:pic>
      <p:pic>
        <p:nvPicPr>
          <p:cNvPr id="25" name="bg object 25"/>
          <p:cNvPicPr/>
          <p:nvPr/>
        </p:nvPicPr>
        <p:blipFill>
          <a:blip r:embed="rId9" cstate="print"/>
          <a:stretch>
            <a:fillRect/>
          </a:stretch>
        </p:blipFill>
        <p:spPr>
          <a:xfrm>
            <a:off x="2007767" y="6367600"/>
            <a:ext cx="1592074" cy="297837"/>
          </a:xfrm>
          <a:prstGeom prst="rect">
            <a:avLst/>
          </a:prstGeom>
        </p:spPr>
      </p:pic>
      <p:pic>
        <p:nvPicPr>
          <p:cNvPr id="26" name="bg object 26"/>
          <p:cNvPicPr/>
          <p:nvPr/>
        </p:nvPicPr>
        <p:blipFill>
          <a:blip r:embed="rId10" cstate="print"/>
          <a:stretch>
            <a:fillRect/>
          </a:stretch>
        </p:blipFill>
        <p:spPr>
          <a:xfrm>
            <a:off x="10188418" y="6466821"/>
            <a:ext cx="1631969" cy="182455"/>
          </a:xfrm>
          <a:prstGeom prst="rect">
            <a:avLst/>
          </a:prstGeom>
        </p:spPr>
      </p:pic>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6/2021</a:t>
            </a:fld>
            <a:endParaRPr lang="en-US" dirty="0"/>
          </a:p>
        </p:txBody>
      </p:sp>
      <p:sp>
        <p:nvSpPr>
          <p:cNvPr id="4" name="Holder 4"/>
          <p:cNvSpPr>
            <a:spLocks noGrp="1"/>
          </p:cNvSpPr>
          <p:nvPr>
            <p:ph type="sldNum" sz="quarter" idx="7"/>
          </p:nvPr>
        </p:nvSpPr>
        <p:spPr/>
        <p:txBody>
          <a:bodyPr lIns="0" tIns="0" rIns="0" bIns="0"/>
          <a:lstStyle>
            <a:lvl1pPr>
              <a:defRPr sz="1200" b="0" i="0">
                <a:solidFill>
                  <a:srgbClr val="605352"/>
                </a:solidFill>
                <a:latin typeface="Arial"/>
                <a:cs typeface="Arial"/>
              </a:defRPr>
            </a:lvl1pPr>
          </a:lstStyle>
          <a:p>
            <a:pPr marL="38100">
              <a:lnSpc>
                <a:spcPts val="1425"/>
              </a:lnSpc>
            </a:pPr>
            <a:fld id="{81D60167-4931-47E6-BA6A-407CBD079E47}" type="slidenum">
              <a:rPr spc="-5" dirty="0"/>
              <a:t>‹#›</a:t>
            </a:fld>
            <a:endParaRPr spc="-5"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6"/>
            <a:ext cx="5386917" cy="364312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6"/>
            <a:ext cx="5389033" cy="364312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3"/>
          <p:cNvSpPr>
            <a:spLocks noGrp="1"/>
          </p:cNvSpPr>
          <p:nvPr>
            <p:ph type="dt" sz="half" idx="10"/>
          </p:nvPr>
        </p:nvSpPr>
        <p:spPr>
          <a:xfrm>
            <a:off x="6897223" y="6513381"/>
            <a:ext cx="1493743" cy="269738"/>
          </a:xfrm>
          <a:prstGeom prst="rect">
            <a:avLst/>
          </a:prstGeom>
        </p:spPr>
        <p:txBody>
          <a:bodyPr vert="horz" lIns="91440" tIns="45720" rIns="91440" bIns="45720" rtlCol="0" anchor="ctr"/>
          <a:lstStyle>
            <a:lvl1pPr algn="ctr">
              <a:defRPr sz="1200">
                <a:solidFill>
                  <a:srgbClr val="615452"/>
                </a:solidFill>
                <a:latin typeface="Arial" pitchFamily="34" charset="0"/>
                <a:cs typeface="Arial" pitchFamily="34" charset="0"/>
              </a:defRPr>
            </a:lvl1pPr>
          </a:lstStyle>
          <a:p>
            <a:r>
              <a:rPr lang="en-US" dirty="0"/>
              <a:t>1/28/2020</a:t>
            </a:r>
          </a:p>
        </p:txBody>
      </p:sp>
    </p:spTree>
    <p:extLst>
      <p:ext uri="{BB962C8B-B14F-4D97-AF65-F5344CB8AC3E}">
        <p14:creationId xmlns:p14="http://schemas.microsoft.com/office/powerpoint/2010/main" val="15617935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2"/>
          </p:nvPr>
        </p:nvSpPr>
        <p:spPr>
          <a:xfrm>
            <a:off x="6897223" y="6513381"/>
            <a:ext cx="1493743" cy="269738"/>
          </a:xfrm>
          <a:prstGeom prst="rect">
            <a:avLst/>
          </a:prstGeom>
        </p:spPr>
        <p:txBody>
          <a:bodyPr vert="horz" lIns="91440" tIns="45720" rIns="91440" bIns="45720" rtlCol="0" anchor="ctr"/>
          <a:lstStyle>
            <a:lvl1pPr algn="ctr">
              <a:defRPr sz="1200">
                <a:solidFill>
                  <a:srgbClr val="615452"/>
                </a:solidFill>
                <a:latin typeface="Arial" pitchFamily="34" charset="0"/>
                <a:cs typeface="Arial" pitchFamily="34" charset="0"/>
              </a:defRPr>
            </a:lvl1pPr>
          </a:lstStyle>
          <a:p>
            <a:r>
              <a:rPr lang="en-US" dirty="0"/>
              <a:t>1/28/2020</a:t>
            </a:r>
          </a:p>
        </p:txBody>
      </p:sp>
    </p:spTree>
    <p:extLst>
      <p:ext uri="{BB962C8B-B14F-4D97-AF65-F5344CB8AC3E}">
        <p14:creationId xmlns:p14="http://schemas.microsoft.com/office/powerpoint/2010/main" val="334241830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Date Placeholder 3"/>
          <p:cNvSpPr>
            <a:spLocks noGrp="1"/>
          </p:cNvSpPr>
          <p:nvPr>
            <p:ph type="dt" sz="half" idx="2"/>
          </p:nvPr>
        </p:nvSpPr>
        <p:spPr>
          <a:xfrm>
            <a:off x="6897223" y="6513381"/>
            <a:ext cx="1493743" cy="269738"/>
          </a:xfrm>
          <a:prstGeom prst="rect">
            <a:avLst/>
          </a:prstGeom>
        </p:spPr>
        <p:txBody>
          <a:bodyPr vert="horz" lIns="91440" tIns="45720" rIns="91440" bIns="45720" rtlCol="0" anchor="ctr"/>
          <a:lstStyle>
            <a:lvl1pPr algn="ctr">
              <a:defRPr sz="1200">
                <a:solidFill>
                  <a:srgbClr val="615452"/>
                </a:solidFill>
                <a:latin typeface="Arial" pitchFamily="34" charset="0"/>
                <a:cs typeface="Arial" pitchFamily="34" charset="0"/>
              </a:defRPr>
            </a:lvl1pPr>
          </a:lstStyle>
          <a:p>
            <a:r>
              <a:rPr lang="en-US" dirty="0"/>
              <a:t>1/28/2020</a:t>
            </a:r>
          </a:p>
        </p:txBody>
      </p:sp>
    </p:spTree>
    <p:extLst>
      <p:ext uri="{BB962C8B-B14F-4D97-AF65-F5344CB8AC3E}">
        <p14:creationId xmlns:p14="http://schemas.microsoft.com/office/powerpoint/2010/main" val="171450434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76815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2"/>
            <a:ext cx="4011084" cy="432260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Date Placeholder 3"/>
          <p:cNvSpPr>
            <a:spLocks noGrp="1"/>
          </p:cNvSpPr>
          <p:nvPr>
            <p:ph type="dt" sz="half" idx="10"/>
          </p:nvPr>
        </p:nvSpPr>
        <p:spPr>
          <a:xfrm>
            <a:off x="6897223" y="6513381"/>
            <a:ext cx="1493743" cy="269738"/>
          </a:xfrm>
          <a:prstGeom prst="rect">
            <a:avLst/>
          </a:prstGeom>
        </p:spPr>
        <p:txBody>
          <a:bodyPr vert="horz" lIns="91440" tIns="45720" rIns="91440" bIns="45720" rtlCol="0" anchor="ctr"/>
          <a:lstStyle>
            <a:lvl1pPr algn="ctr">
              <a:defRPr sz="1200">
                <a:solidFill>
                  <a:srgbClr val="615452"/>
                </a:solidFill>
                <a:latin typeface="Arial" pitchFamily="34" charset="0"/>
                <a:cs typeface="Arial" pitchFamily="34" charset="0"/>
              </a:defRPr>
            </a:lvl1pPr>
          </a:lstStyle>
          <a:p>
            <a:r>
              <a:rPr lang="en-US" dirty="0"/>
              <a:t>1/28/2020</a:t>
            </a:r>
          </a:p>
        </p:txBody>
      </p:sp>
    </p:spTree>
    <p:extLst>
      <p:ext uri="{BB962C8B-B14F-4D97-AF65-F5344CB8AC3E}">
        <p14:creationId xmlns:p14="http://schemas.microsoft.com/office/powerpoint/2010/main" val="28318341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389717" y="5367339"/>
            <a:ext cx="7315200" cy="58139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Date Placeholder 3"/>
          <p:cNvSpPr>
            <a:spLocks noGrp="1"/>
          </p:cNvSpPr>
          <p:nvPr>
            <p:ph type="dt" sz="half" idx="10"/>
          </p:nvPr>
        </p:nvSpPr>
        <p:spPr>
          <a:xfrm>
            <a:off x="6897223" y="6513381"/>
            <a:ext cx="1493743" cy="269738"/>
          </a:xfrm>
          <a:prstGeom prst="rect">
            <a:avLst/>
          </a:prstGeom>
        </p:spPr>
        <p:txBody>
          <a:bodyPr vert="horz" lIns="91440" tIns="45720" rIns="91440" bIns="45720" rtlCol="0" anchor="ctr"/>
          <a:lstStyle>
            <a:lvl1pPr algn="ctr">
              <a:defRPr sz="1200">
                <a:solidFill>
                  <a:srgbClr val="615452"/>
                </a:solidFill>
                <a:latin typeface="Arial" pitchFamily="34" charset="0"/>
                <a:cs typeface="Arial" pitchFamily="34" charset="0"/>
              </a:defRPr>
            </a:lvl1pPr>
          </a:lstStyle>
          <a:p>
            <a:r>
              <a:rPr lang="en-US" dirty="0"/>
              <a:t>1/28/2020</a:t>
            </a:r>
          </a:p>
        </p:txBody>
      </p:sp>
    </p:spTree>
    <p:extLst>
      <p:ext uri="{BB962C8B-B14F-4D97-AF65-F5344CB8AC3E}">
        <p14:creationId xmlns:p14="http://schemas.microsoft.com/office/powerpoint/2010/main" val="264386446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Bullet Slide - MCR 2016">
    <p:bg>
      <p:bgRef idx="1001">
        <a:schemeClr val="bg1"/>
      </p:bgRef>
    </p:bg>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838200" y="1104900"/>
            <a:ext cx="10642600" cy="4953000"/>
          </a:xfrm>
        </p:spPr>
        <p:txBody>
          <a:bodyPr/>
          <a:lstStyle>
            <a:lvl1pPr marL="259775" indent="-259775">
              <a:defRPr/>
            </a:lvl1pPr>
            <a:lvl2pPr marL="571506" indent="-259775">
              <a:defRPr/>
            </a:lvl2pPr>
            <a:lvl3pPr marL="883236" indent="-264105">
              <a:defRPr/>
            </a:lvl3pPr>
            <a:lvl4pPr marL="1194966" indent="-259775">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3243390"/>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Page - MCR 2016">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lick to Add Title</a:t>
            </a:r>
          </a:p>
        </p:txBody>
      </p:sp>
      <p:sp>
        <p:nvSpPr>
          <p:cNvPr id="5" name="Text Placeholder 4"/>
          <p:cNvSpPr>
            <a:spLocks noGrp="1"/>
          </p:cNvSpPr>
          <p:nvPr>
            <p:ph type="body" sz="quarter" idx="10" hasCustomPrompt="1"/>
          </p:nvPr>
        </p:nvSpPr>
        <p:spPr>
          <a:xfrm>
            <a:off x="838201" y="5282803"/>
            <a:ext cx="10514060" cy="492622"/>
          </a:xfrm>
        </p:spPr>
        <p:txBody>
          <a:bodyPr/>
          <a:lstStyle>
            <a:lvl1pPr>
              <a:defRPr baseline="0"/>
            </a:lvl1pPr>
          </a:lstStyle>
          <a:p>
            <a:pPr lvl="0"/>
            <a:r>
              <a:rPr lang="en-US"/>
              <a:t>Click to Add Date</a:t>
            </a:r>
          </a:p>
        </p:txBody>
      </p:sp>
      <p:sp>
        <p:nvSpPr>
          <p:cNvPr id="3" name="Date Placeholder 2">
            <a:extLst>
              <a:ext uri="{FF2B5EF4-FFF2-40B4-BE49-F238E27FC236}">
                <a16:creationId xmlns:a16="http://schemas.microsoft.com/office/drawing/2014/main" id="{E3AEA439-FF87-426C-917C-54570F0CECED}"/>
              </a:ext>
            </a:extLst>
          </p:cNvPr>
          <p:cNvSpPr>
            <a:spLocks noGrp="1"/>
          </p:cNvSpPr>
          <p:nvPr>
            <p:ph type="dt" sz="half" idx="11"/>
          </p:nvPr>
        </p:nvSpPr>
        <p:spPr/>
        <p:txBody>
          <a:bodyPr/>
          <a:lstStyle/>
          <a:p>
            <a:r>
              <a:rPr lang="en-US" dirty="0"/>
              <a:t>1/28/2020</a:t>
            </a:r>
          </a:p>
        </p:txBody>
      </p:sp>
    </p:spTree>
    <p:extLst>
      <p:ext uri="{BB962C8B-B14F-4D97-AF65-F5344CB8AC3E}">
        <p14:creationId xmlns:p14="http://schemas.microsoft.com/office/powerpoint/2010/main" val="76423429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1746" name="Rectangle 2"/>
          <p:cNvSpPr>
            <a:spLocks noChangeArrowheads="1"/>
          </p:cNvSpPr>
          <p:nvPr userDrawn="1"/>
        </p:nvSpPr>
        <p:spPr bwMode="auto">
          <a:xfrm>
            <a:off x="0" y="0"/>
            <a:ext cx="3048001" cy="655320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353" dirty="0"/>
          </a:p>
        </p:txBody>
      </p:sp>
      <p:sp>
        <p:nvSpPr>
          <p:cNvPr id="31750" name="Rectangle 6"/>
          <p:cNvSpPr>
            <a:spLocks noGrp="1" noChangeArrowheads="1"/>
          </p:cNvSpPr>
          <p:nvPr>
            <p:ph type="ctrTitle"/>
          </p:nvPr>
        </p:nvSpPr>
        <p:spPr>
          <a:xfrm>
            <a:off x="3556002" y="1828801"/>
            <a:ext cx="8026399" cy="1470026"/>
          </a:xfrm>
        </p:spPr>
        <p:txBody>
          <a:bodyPr/>
          <a:lstStyle>
            <a:lvl1pPr>
              <a:defRPr lang="en-US" altLang="en-US" sz="3137" b="1" i="1" kern="1200" noProof="0" dirty="0">
                <a:solidFill>
                  <a:srgbClr val="000066"/>
                </a:solidFill>
                <a:latin typeface="+mj-lt"/>
                <a:ea typeface="+mn-ea"/>
                <a:cs typeface="+mn-cs"/>
              </a:defRPr>
            </a:lvl1pPr>
          </a:lstStyle>
          <a:p>
            <a:pPr lvl="0"/>
            <a:r>
              <a:rPr lang="en-US" altLang="en-US" noProof="0"/>
              <a:t>Click to edit Master title style</a:t>
            </a:r>
            <a:endParaRPr lang="en-US" altLang="en-US" noProof="0" dirty="0"/>
          </a:p>
        </p:txBody>
      </p:sp>
      <p:sp>
        <p:nvSpPr>
          <p:cNvPr id="31751" name="Rectangle 7"/>
          <p:cNvSpPr>
            <a:spLocks noGrp="1" noChangeArrowheads="1"/>
          </p:cNvSpPr>
          <p:nvPr>
            <p:ph type="subTitle" idx="1"/>
          </p:nvPr>
        </p:nvSpPr>
        <p:spPr>
          <a:xfrm>
            <a:off x="3556001" y="3863487"/>
            <a:ext cx="8331200" cy="1752600"/>
          </a:xfrm>
        </p:spPr>
        <p:txBody>
          <a:bodyPr/>
          <a:lstStyle>
            <a:lvl1pPr marL="0" indent="0">
              <a:buFontTx/>
              <a:buNone/>
              <a:defRPr sz="2353">
                <a:solidFill>
                  <a:srgbClr val="0D3F8B"/>
                </a:solidFill>
              </a:defRPr>
            </a:lvl1pPr>
          </a:lstStyle>
          <a:p>
            <a:pPr lvl="0"/>
            <a:r>
              <a:rPr lang="en-US" altLang="en-US" noProof="0"/>
              <a:t>Click to edit Master subtitle style</a:t>
            </a:r>
            <a:endParaRPr lang="en-US" altLang="en-US" noProof="0" dirty="0"/>
          </a:p>
        </p:txBody>
      </p:sp>
      <p:grpSp>
        <p:nvGrpSpPr>
          <p:cNvPr id="8" name="Group 7"/>
          <p:cNvGrpSpPr/>
          <p:nvPr userDrawn="1"/>
        </p:nvGrpSpPr>
        <p:grpSpPr>
          <a:xfrm flipH="1" flipV="1">
            <a:off x="0" y="6478211"/>
            <a:ext cx="12192000" cy="74991"/>
            <a:chOff x="921099" y="3276599"/>
            <a:chExt cx="6400800" cy="149978"/>
          </a:xfrm>
        </p:grpSpPr>
        <p:sp>
          <p:nvSpPr>
            <p:cNvPr id="9" name="Right Triangle 8"/>
            <p:cNvSpPr/>
            <p:nvPr/>
          </p:nvSpPr>
          <p:spPr>
            <a:xfrm>
              <a:off x="921099" y="3276600"/>
              <a:ext cx="6400800" cy="149977"/>
            </a:xfrm>
            <a:prstGeom prst="r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53" dirty="0"/>
            </a:p>
          </p:txBody>
        </p:sp>
        <p:sp>
          <p:nvSpPr>
            <p:cNvPr id="10" name="Right Triangle 9"/>
            <p:cNvSpPr/>
            <p:nvPr/>
          </p:nvSpPr>
          <p:spPr>
            <a:xfrm flipH="1" flipV="1">
              <a:off x="921099" y="3276599"/>
              <a:ext cx="6400800" cy="149977"/>
            </a:xfrm>
            <a:prstGeom prst="rtTriangle">
              <a:avLst/>
            </a:prstGeom>
            <a:solidFill>
              <a:srgbClr val="49AF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353" dirty="0"/>
            </a:p>
          </p:txBody>
        </p:sp>
      </p:grpSp>
      <p:grpSp>
        <p:nvGrpSpPr>
          <p:cNvPr id="11" name="Group 10"/>
          <p:cNvGrpSpPr/>
          <p:nvPr userDrawn="1"/>
        </p:nvGrpSpPr>
        <p:grpSpPr>
          <a:xfrm rot="5400000" flipV="1">
            <a:off x="-33991" y="3193022"/>
            <a:ext cx="6478214" cy="92168"/>
            <a:chOff x="921099" y="3276599"/>
            <a:chExt cx="6400800" cy="149978"/>
          </a:xfrm>
        </p:grpSpPr>
        <p:sp>
          <p:nvSpPr>
            <p:cNvPr id="12" name="Right Triangle 11"/>
            <p:cNvSpPr/>
            <p:nvPr/>
          </p:nvSpPr>
          <p:spPr>
            <a:xfrm>
              <a:off x="921099" y="3276600"/>
              <a:ext cx="6400800" cy="149977"/>
            </a:xfrm>
            <a:prstGeom prst="r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53" dirty="0"/>
            </a:p>
          </p:txBody>
        </p:sp>
        <p:sp>
          <p:nvSpPr>
            <p:cNvPr id="13" name="Right Triangle 12"/>
            <p:cNvSpPr/>
            <p:nvPr/>
          </p:nvSpPr>
          <p:spPr>
            <a:xfrm flipH="1" flipV="1">
              <a:off x="921099" y="3276599"/>
              <a:ext cx="6400800" cy="149977"/>
            </a:xfrm>
            <a:prstGeom prst="rtTriangle">
              <a:avLst/>
            </a:prstGeom>
            <a:solidFill>
              <a:srgbClr val="49AF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353" dirty="0"/>
            </a:p>
          </p:txBody>
        </p:sp>
      </p:grpSp>
      <p:sp>
        <p:nvSpPr>
          <p:cNvPr id="15" name="Rectangle 12"/>
          <p:cNvSpPr>
            <a:spLocks noChangeArrowheads="1"/>
          </p:cNvSpPr>
          <p:nvPr userDrawn="1"/>
        </p:nvSpPr>
        <p:spPr bwMode="auto">
          <a:xfrm>
            <a:off x="0" y="6553200"/>
            <a:ext cx="12192000" cy="304800"/>
          </a:xfrm>
          <a:prstGeom prst="rect">
            <a:avLst/>
          </a:prstGeom>
          <a:noFill/>
          <a:ln>
            <a:noFill/>
          </a:ln>
          <a:effectLst/>
        </p:spPr>
        <p:txBody>
          <a:bodyPr wrap="none" anchor="ctr"/>
          <a:lstStyle/>
          <a:p>
            <a:pPr algn="ctr"/>
            <a:endParaRPr lang="en-US" altLang="en-US" sz="883" b="1" i="1" dirty="0">
              <a:solidFill>
                <a:schemeClr val="tx1"/>
              </a:solidFill>
              <a:latin typeface="Helvetica" pitchFamily="34" charset="0"/>
            </a:endParaRPr>
          </a:p>
        </p:txBody>
      </p:sp>
      <p:sp>
        <p:nvSpPr>
          <p:cNvPr id="21" name="Rectangle 12"/>
          <p:cNvSpPr>
            <a:spLocks noChangeArrowheads="1"/>
          </p:cNvSpPr>
          <p:nvPr userDrawn="1"/>
        </p:nvSpPr>
        <p:spPr bwMode="auto">
          <a:xfrm>
            <a:off x="0" y="6553199"/>
            <a:ext cx="12192000" cy="304800"/>
          </a:xfrm>
          <a:prstGeom prst="rect">
            <a:avLst/>
          </a:prstGeom>
          <a:noFill/>
          <a:ln>
            <a:noFill/>
          </a:ln>
          <a:effectLst/>
        </p:spPr>
        <p:txBody>
          <a:bodyPr wrap="none" anchor="ctr"/>
          <a:lstStyle/>
          <a:p>
            <a:pPr algn="ctr"/>
            <a:r>
              <a:rPr lang="en-US" altLang="en-US" sz="883" b="1" i="1" dirty="0">
                <a:solidFill>
                  <a:srgbClr val="08112D"/>
                </a:solidFill>
                <a:latin typeface="Helvetica" pitchFamily="34" charset="0"/>
              </a:rPr>
              <a:t>© 2021 The Mendota Group,</a:t>
            </a:r>
            <a:r>
              <a:rPr lang="en-US" altLang="en-US" sz="883" b="1" i="1" baseline="0" dirty="0">
                <a:solidFill>
                  <a:srgbClr val="08112D"/>
                </a:solidFill>
                <a:latin typeface="Helvetica" pitchFamily="34" charset="0"/>
              </a:rPr>
              <a:t> LLC</a:t>
            </a:r>
            <a:r>
              <a:rPr lang="en-US" altLang="en-US" sz="883" b="1" i="1" dirty="0">
                <a:solidFill>
                  <a:srgbClr val="08112D"/>
                </a:solidFill>
                <a:latin typeface="Helvetica" pitchFamily="34" charset="0"/>
              </a:rPr>
              <a:t>.</a:t>
            </a:r>
          </a:p>
          <a:p>
            <a:pPr algn="ctr"/>
            <a:r>
              <a:rPr lang="en-US" altLang="en-US" sz="883" b="1" i="1" dirty="0">
                <a:solidFill>
                  <a:srgbClr val="08112D"/>
                </a:solidFill>
                <a:latin typeface="Helvetica" pitchFamily="34" charset="0"/>
              </a:rPr>
              <a:t>Confidential &amp; Proprietary</a:t>
            </a:r>
          </a:p>
        </p:txBody>
      </p:sp>
      <p:pic>
        <p:nvPicPr>
          <p:cNvPr id="3" name="Picture 2">
            <a:extLst>
              <a:ext uri="{FF2B5EF4-FFF2-40B4-BE49-F238E27FC236}">
                <a16:creationId xmlns:a16="http://schemas.microsoft.com/office/drawing/2014/main" id="{CBF49834-90CD-4DAF-ACE5-A0764B11E39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3291" y="2498970"/>
            <a:ext cx="1691406" cy="1555261"/>
          </a:xfrm>
          <a:prstGeom prst="rect">
            <a:avLst/>
          </a:prstGeom>
        </p:spPr>
      </p:pic>
    </p:spTree>
    <p:extLst>
      <p:ext uri="{BB962C8B-B14F-4D97-AF65-F5344CB8AC3E}">
        <p14:creationId xmlns:p14="http://schemas.microsoft.com/office/powerpoint/2010/main" val="25223625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66"/>
                </a:solidFill>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64985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3922"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1961"/>
            </a:lvl1pPr>
            <a:lvl2pPr marL="448258" indent="0">
              <a:buNone/>
              <a:defRPr sz="1764"/>
            </a:lvl2pPr>
            <a:lvl3pPr marL="896517" indent="0">
              <a:buNone/>
              <a:defRPr sz="1569"/>
            </a:lvl3pPr>
            <a:lvl4pPr marL="1344775" indent="0">
              <a:buNone/>
              <a:defRPr sz="1373"/>
            </a:lvl4pPr>
            <a:lvl5pPr marL="1793034" indent="0">
              <a:buNone/>
              <a:defRPr sz="1373"/>
            </a:lvl5pPr>
            <a:lvl6pPr marL="2241292" indent="0">
              <a:buNone/>
              <a:defRPr sz="1373"/>
            </a:lvl6pPr>
            <a:lvl7pPr marL="2689551" indent="0">
              <a:buNone/>
              <a:defRPr sz="1373"/>
            </a:lvl7pPr>
            <a:lvl8pPr marL="3137809" indent="0">
              <a:buNone/>
              <a:defRPr sz="1373"/>
            </a:lvl8pPr>
            <a:lvl9pPr marL="3586067" indent="0">
              <a:buNone/>
              <a:defRPr sz="1373"/>
            </a:lvl9pPr>
          </a:lstStyle>
          <a:p>
            <a:pPr lvl="0"/>
            <a:r>
              <a:rPr lang="en-US"/>
              <a:t>Click to edit Master text styles</a:t>
            </a:r>
          </a:p>
        </p:txBody>
      </p:sp>
    </p:spTree>
    <p:extLst>
      <p:ext uri="{BB962C8B-B14F-4D97-AF65-F5344CB8AC3E}">
        <p14:creationId xmlns:p14="http://schemas.microsoft.com/office/powerpoint/2010/main" val="21275284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CR Title Page 202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Add Title</a:t>
            </a:r>
          </a:p>
        </p:txBody>
      </p:sp>
      <p:sp>
        <p:nvSpPr>
          <p:cNvPr id="5" name="Text Placeholder 4"/>
          <p:cNvSpPr>
            <a:spLocks noGrp="1"/>
          </p:cNvSpPr>
          <p:nvPr>
            <p:ph type="body" sz="quarter" idx="10" hasCustomPrompt="1"/>
          </p:nvPr>
        </p:nvSpPr>
        <p:spPr>
          <a:xfrm>
            <a:off x="838200" y="5282803"/>
            <a:ext cx="10514061" cy="492622"/>
          </a:xfrm>
        </p:spPr>
        <p:txBody>
          <a:bodyPr/>
          <a:lstStyle>
            <a:lvl1pPr>
              <a:defRPr baseline="0"/>
            </a:lvl1pPr>
          </a:lstStyle>
          <a:p>
            <a:pPr lvl="0"/>
            <a:r>
              <a:rPr lang="en-US" dirty="0"/>
              <a:t>Click to Add Date</a:t>
            </a:r>
          </a:p>
        </p:txBody>
      </p:sp>
    </p:spTree>
    <p:extLst>
      <p:ext uri="{BB962C8B-B14F-4D97-AF65-F5344CB8AC3E}">
        <p14:creationId xmlns:p14="http://schemas.microsoft.com/office/powerpoint/2010/main" val="19413357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03201" y="914400"/>
            <a:ext cx="5791200" cy="5562600"/>
          </a:xfrm>
        </p:spPr>
        <p:txBody>
          <a:bodyPr/>
          <a:lstStyle>
            <a:lvl1pPr>
              <a:defRPr sz="2157"/>
            </a:lvl1pPr>
            <a:lvl2pPr>
              <a:defRPr sz="1961"/>
            </a:lvl2pPr>
            <a:lvl3pPr>
              <a:defRPr sz="1764"/>
            </a:lvl3pPr>
            <a:lvl4pPr>
              <a:defRPr sz="1569"/>
            </a:lvl4pPr>
            <a:lvl5pPr>
              <a:defRPr sz="1569"/>
            </a:lvl5pPr>
            <a:lvl6pPr>
              <a:defRPr sz="1764"/>
            </a:lvl6pPr>
            <a:lvl7pPr>
              <a:defRPr sz="1764"/>
            </a:lvl7pPr>
            <a:lvl8pPr>
              <a:defRPr sz="1764"/>
            </a:lvl8pPr>
            <a:lvl9pPr>
              <a:defRPr sz="176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2" y="914400"/>
            <a:ext cx="5791200" cy="5562600"/>
          </a:xfrm>
        </p:spPr>
        <p:txBody>
          <a:bodyPr/>
          <a:lstStyle>
            <a:lvl1pPr>
              <a:defRPr sz="2157"/>
            </a:lvl1pPr>
            <a:lvl2pPr>
              <a:defRPr sz="1961"/>
            </a:lvl2pPr>
            <a:lvl3pPr>
              <a:defRPr sz="1764"/>
            </a:lvl3pPr>
            <a:lvl4pPr>
              <a:defRPr sz="1569"/>
            </a:lvl4pPr>
            <a:lvl5pPr>
              <a:defRPr sz="1569"/>
            </a:lvl5pPr>
            <a:lvl6pPr>
              <a:defRPr sz="1764"/>
            </a:lvl6pPr>
            <a:lvl7pPr>
              <a:defRPr sz="1764"/>
            </a:lvl7pPr>
            <a:lvl8pPr>
              <a:defRPr sz="1764"/>
            </a:lvl8pPr>
            <a:lvl9pPr>
              <a:defRPr sz="176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8695761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563563"/>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1" y="1535115"/>
            <a:ext cx="5386918" cy="639763"/>
          </a:xfrm>
        </p:spPr>
        <p:txBody>
          <a:bodyPr anchor="b"/>
          <a:lstStyle>
            <a:lvl1pPr marL="0" indent="0">
              <a:buNone/>
              <a:defRPr sz="2353" b="1"/>
            </a:lvl1pPr>
            <a:lvl2pPr marL="448258" indent="0">
              <a:buNone/>
              <a:defRPr sz="1961" b="1"/>
            </a:lvl2pPr>
            <a:lvl3pPr marL="896517" indent="0">
              <a:buNone/>
              <a:defRPr sz="1764" b="1"/>
            </a:lvl3pPr>
            <a:lvl4pPr marL="1344775" indent="0">
              <a:buNone/>
              <a:defRPr sz="1569" b="1"/>
            </a:lvl4pPr>
            <a:lvl5pPr marL="1793034" indent="0">
              <a:buNone/>
              <a:defRPr sz="1569" b="1"/>
            </a:lvl5pPr>
            <a:lvl6pPr marL="2241292" indent="0">
              <a:buNone/>
              <a:defRPr sz="1569" b="1"/>
            </a:lvl6pPr>
            <a:lvl7pPr marL="2689551" indent="0">
              <a:buNone/>
              <a:defRPr sz="1569" b="1"/>
            </a:lvl7pPr>
            <a:lvl8pPr marL="3137809" indent="0">
              <a:buNone/>
              <a:defRPr sz="1569" b="1"/>
            </a:lvl8pPr>
            <a:lvl9pPr marL="3586067" indent="0">
              <a:buNone/>
              <a:defRPr sz="1569" b="1"/>
            </a:lvl9pPr>
          </a:lstStyle>
          <a:p>
            <a:pPr lvl="0"/>
            <a:r>
              <a:rPr lang="en-US"/>
              <a:t>Click to edit Master text styles</a:t>
            </a:r>
          </a:p>
        </p:txBody>
      </p:sp>
      <p:sp>
        <p:nvSpPr>
          <p:cNvPr id="4" name="Content Placeholder 3"/>
          <p:cNvSpPr>
            <a:spLocks noGrp="1"/>
          </p:cNvSpPr>
          <p:nvPr>
            <p:ph sz="half" idx="2"/>
          </p:nvPr>
        </p:nvSpPr>
        <p:spPr>
          <a:xfrm>
            <a:off x="609601" y="2174875"/>
            <a:ext cx="5386918" cy="3951288"/>
          </a:xfrm>
        </p:spPr>
        <p:txBody>
          <a:bodyPr/>
          <a:lstStyle>
            <a:lvl1pPr>
              <a:defRPr sz="2353"/>
            </a:lvl1pPr>
            <a:lvl2pPr>
              <a:defRPr sz="1961"/>
            </a:lvl2pPr>
            <a:lvl3pPr>
              <a:defRPr sz="1764"/>
            </a:lvl3pPr>
            <a:lvl4pPr>
              <a:defRPr sz="1569"/>
            </a:lvl4pPr>
            <a:lvl5pPr>
              <a:defRPr sz="1569"/>
            </a:lvl5pPr>
            <a:lvl6pPr>
              <a:defRPr sz="1569"/>
            </a:lvl6pPr>
            <a:lvl7pPr>
              <a:defRPr sz="1569"/>
            </a:lvl7pPr>
            <a:lvl8pPr>
              <a:defRPr sz="1569"/>
            </a:lvl8pPr>
            <a:lvl9pPr>
              <a:defRPr sz="156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535115"/>
            <a:ext cx="5389033" cy="639763"/>
          </a:xfrm>
        </p:spPr>
        <p:txBody>
          <a:bodyPr anchor="b"/>
          <a:lstStyle>
            <a:lvl1pPr marL="0" indent="0">
              <a:buNone/>
              <a:defRPr sz="2353" b="1"/>
            </a:lvl1pPr>
            <a:lvl2pPr marL="448258" indent="0">
              <a:buNone/>
              <a:defRPr sz="1961" b="1"/>
            </a:lvl2pPr>
            <a:lvl3pPr marL="896517" indent="0">
              <a:buNone/>
              <a:defRPr sz="1764" b="1"/>
            </a:lvl3pPr>
            <a:lvl4pPr marL="1344775" indent="0">
              <a:buNone/>
              <a:defRPr sz="1569" b="1"/>
            </a:lvl4pPr>
            <a:lvl5pPr marL="1793034" indent="0">
              <a:buNone/>
              <a:defRPr sz="1569" b="1"/>
            </a:lvl5pPr>
            <a:lvl6pPr marL="2241292" indent="0">
              <a:buNone/>
              <a:defRPr sz="1569" b="1"/>
            </a:lvl6pPr>
            <a:lvl7pPr marL="2689551" indent="0">
              <a:buNone/>
              <a:defRPr sz="1569" b="1"/>
            </a:lvl7pPr>
            <a:lvl8pPr marL="3137809" indent="0">
              <a:buNone/>
              <a:defRPr sz="1569" b="1"/>
            </a:lvl8pPr>
            <a:lvl9pPr marL="3586067" indent="0">
              <a:buNone/>
              <a:defRPr sz="1569" b="1"/>
            </a:lvl9pPr>
          </a:lstStyle>
          <a:p>
            <a:pPr lvl="0"/>
            <a:r>
              <a:rPr lang="en-US"/>
              <a:t>Click to edit Master text styles</a:t>
            </a:r>
          </a:p>
        </p:txBody>
      </p:sp>
      <p:sp>
        <p:nvSpPr>
          <p:cNvPr id="6" name="Content Placeholder 5"/>
          <p:cNvSpPr>
            <a:spLocks noGrp="1"/>
          </p:cNvSpPr>
          <p:nvPr>
            <p:ph sz="quarter" idx="4"/>
          </p:nvPr>
        </p:nvSpPr>
        <p:spPr>
          <a:xfrm>
            <a:off x="6193370" y="2174875"/>
            <a:ext cx="5389033" cy="3951288"/>
          </a:xfrm>
        </p:spPr>
        <p:txBody>
          <a:bodyPr/>
          <a:lstStyle>
            <a:lvl1pPr>
              <a:defRPr sz="2353"/>
            </a:lvl1pPr>
            <a:lvl2pPr>
              <a:defRPr sz="1961"/>
            </a:lvl2pPr>
            <a:lvl3pPr>
              <a:defRPr sz="1764"/>
            </a:lvl3pPr>
            <a:lvl4pPr>
              <a:defRPr sz="1569"/>
            </a:lvl4pPr>
            <a:lvl5pPr>
              <a:defRPr sz="1569"/>
            </a:lvl5pPr>
            <a:lvl6pPr>
              <a:defRPr sz="1569"/>
            </a:lvl6pPr>
            <a:lvl7pPr>
              <a:defRPr sz="1569"/>
            </a:lvl7pPr>
            <a:lvl8pPr>
              <a:defRPr sz="1569"/>
            </a:lvl8pPr>
            <a:lvl9pPr>
              <a:defRPr sz="156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772513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979022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407651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4" y="273050"/>
            <a:ext cx="4011084" cy="1162050"/>
          </a:xfrm>
        </p:spPr>
        <p:txBody>
          <a:bodyPr/>
          <a:lstStyle>
            <a:lvl1pPr algn="l">
              <a:defRPr sz="1961" b="1"/>
            </a:lvl1pPr>
          </a:lstStyle>
          <a:p>
            <a:r>
              <a:rPr lang="en-US"/>
              <a:t>Click to edit Master title style</a:t>
            </a:r>
          </a:p>
        </p:txBody>
      </p:sp>
      <p:sp>
        <p:nvSpPr>
          <p:cNvPr id="3" name="Content Placeholder 2"/>
          <p:cNvSpPr>
            <a:spLocks noGrp="1"/>
          </p:cNvSpPr>
          <p:nvPr>
            <p:ph idx="1"/>
          </p:nvPr>
        </p:nvSpPr>
        <p:spPr>
          <a:xfrm>
            <a:off x="4766735" y="273053"/>
            <a:ext cx="6815666" cy="5853113"/>
          </a:xfrm>
        </p:spPr>
        <p:txBody>
          <a:bodyPr/>
          <a:lstStyle>
            <a:lvl1pPr>
              <a:defRPr sz="3137"/>
            </a:lvl1pPr>
            <a:lvl2pPr>
              <a:defRPr sz="2745"/>
            </a:lvl2pPr>
            <a:lvl3pPr>
              <a:defRPr sz="2353"/>
            </a:lvl3pPr>
            <a:lvl4pPr>
              <a:defRPr sz="1961"/>
            </a:lvl4pPr>
            <a:lvl5pPr>
              <a:defRPr sz="1961"/>
            </a:lvl5pPr>
            <a:lvl6pPr>
              <a:defRPr sz="1961"/>
            </a:lvl6pPr>
            <a:lvl7pPr>
              <a:defRPr sz="1961"/>
            </a:lvl7pPr>
            <a:lvl8pPr>
              <a:defRPr sz="1961"/>
            </a:lvl8pPr>
            <a:lvl9pPr>
              <a:defRPr sz="196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4" y="1435103"/>
            <a:ext cx="4011084" cy="4691063"/>
          </a:xfrm>
        </p:spPr>
        <p:txBody>
          <a:bodyPr/>
          <a:lstStyle>
            <a:lvl1pPr marL="0" indent="0">
              <a:buNone/>
              <a:defRPr sz="1373"/>
            </a:lvl1pPr>
            <a:lvl2pPr marL="448258" indent="0">
              <a:buNone/>
              <a:defRPr sz="1177"/>
            </a:lvl2pPr>
            <a:lvl3pPr marL="896517" indent="0">
              <a:buNone/>
              <a:defRPr sz="981"/>
            </a:lvl3pPr>
            <a:lvl4pPr marL="1344775" indent="0">
              <a:buNone/>
              <a:defRPr sz="883"/>
            </a:lvl4pPr>
            <a:lvl5pPr marL="1793034" indent="0">
              <a:buNone/>
              <a:defRPr sz="883"/>
            </a:lvl5pPr>
            <a:lvl6pPr marL="2241292" indent="0">
              <a:buNone/>
              <a:defRPr sz="883"/>
            </a:lvl6pPr>
            <a:lvl7pPr marL="2689551" indent="0">
              <a:buNone/>
              <a:defRPr sz="883"/>
            </a:lvl7pPr>
            <a:lvl8pPr marL="3137809" indent="0">
              <a:buNone/>
              <a:defRPr sz="883"/>
            </a:lvl8pPr>
            <a:lvl9pPr marL="3586067" indent="0">
              <a:buNone/>
              <a:defRPr sz="883"/>
            </a:lvl9pPr>
          </a:lstStyle>
          <a:p>
            <a:pPr lvl="0"/>
            <a:r>
              <a:rPr lang="en-US"/>
              <a:t>Click to edit Master text styles</a:t>
            </a:r>
          </a:p>
        </p:txBody>
      </p:sp>
    </p:spTree>
    <p:extLst>
      <p:ext uri="{BB962C8B-B14F-4D97-AF65-F5344CB8AC3E}">
        <p14:creationId xmlns:p14="http://schemas.microsoft.com/office/powerpoint/2010/main" val="59978942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9" y="4800601"/>
            <a:ext cx="7315200" cy="566739"/>
          </a:xfrm>
        </p:spPr>
        <p:txBody>
          <a:bodyPr/>
          <a:lstStyle>
            <a:lvl1pPr algn="l">
              <a:defRPr sz="1961" b="1"/>
            </a:lvl1pPr>
          </a:lstStyle>
          <a:p>
            <a:r>
              <a:rPr lang="en-US"/>
              <a:t>Click to edit Master title style</a:t>
            </a:r>
          </a:p>
        </p:txBody>
      </p:sp>
      <p:sp>
        <p:nvSpPr>
          <p:cNvPr id="3" name="Picture Placeholder 2"/>
          <p:cNvSpPr>
            <a:spLocks noGrp="1"/>
          </p:cNvSpPr>
          <p:nvPr>
            <p:ph type="pic" idx="1"/>
          </p:nvPr>
        </p:nvSpPr>
        <p:spPr>
          <a:xfrm>
            <a:off x="2389719" y="612775"/>
            <a:ext cx="7315200" cy="4114800"/>
          </a:xfrm>
        </p:spPr>
        <p:txBody>
          <a:bodyPr/>
          <a:lstStyle>
            <a:lvl1pPr marL="0" indent="0">
              <a:buNone/>
              <a:defRPr sz="3137"/>
            </a:lvl1pPr>
            <a:lvl2pPr marL="448258" indent="0">
              <a:buNone/>
              <a:defRPr sz="2745"/>
            </a:lvl2pPr>
            <a:lvl3pPr marL="896517" indent="0">
              <a:buNone/>
              <a:defRPr sz="2353"/>
            </a:lvl3pPr>
            <a:lvl4pPr marL="1344775" indent="0">
              <a:buNone/>
              <a:defRPr sz="1961"/>
            </a:lvl4pPr>
            <a:lvl5pPr marL="1793034" indent="0">
              <a:buNone/>
              <a:defRPr sz="1961"/>
            </a:lvl5pPr>
            <a:lvl6pPr marL="2241292" indent="0">
              <a:buNone/>
              <a:defRPr sz="1961"/>
            </a:lvl6pPr>
            <a:lvl7pPr marL="2689551" indent="0">
              <a:buNone/>
              <a:defRPr sz="1961"/>
            </a:lvl7pPr>
            <a:lvl8pPr marL="3137809" indent="0">
              <a:buNone/>
              <a:defRPr sz="1961"/>
            </a:lvl8pPr>
            <a:lvl9pPr marL="3586067" indent="0">
              <a:buNone/>
              <a:defRPr sz="1961"/>
            </a:lvl9pPr>
          </a:lstStyle>
          <a:p>
            <a:r>
              <a:rPr lang="en-US" dirty="0"/>
              <a:t>Click icon to add picture</a:t>
            </a:r>
          </a:p>
        </p:txBody>
      </p:sp>
      <p:sp>
        <p:nvSpPr>
          <p:cNvPr id="4" name="Text Placeholder 3"/>
          <p:cNvSpPr>
            <a:spLocks noGrp="1"/>
          </p:cNvSpPr>
          <p:nvPr>
            <p:ph type="body" sz="half" idx="2"/>
          </p:nvPr>
        </p:nvSpPr>
        <p:spPr>
          <a:xfrm>
            <a:off x="2389719" y="5367338"/>
            <a:ext cx="7315200" cy="804863"/>
          </a:xfrm>
        </p:spPr>
        <p:txBody>
          <a:bodyPr/>
          <a:lstStyle>
            <a:lvl1pPr marL="0" indent="0">
              <a:buNone/>
              <a:defRPr sz="1373"/>
            </a:lvl1pPr>
            <a:lvl2pPr marL="448258" indent="0">
              <a:buNone/>
              <a:defRPr sz="1177"/>
            </a:lvl2pPr>
            <a:lvl3pPr marL="896517" indent="0">
              <a:buNone/>
              <a:defRPr sz="981"/>
            </a:lvl3pPr>
            <a:lvl4pPr marL="1344775" indent="0">
              <a:buNone/>
              <a:defRPr sz="883"/>
            </a:lvl4pPr>
            <a:lvl5pPr marL="1793034" indent="0">
              <a:buNone/>
              <a:defRPr sz="883"/>
            </a:lvl5pPr>
            <a:lvl6pPr marL="2241292" indent="0">
              <a:buNone/>
              <a:defRPr sz="883"/>
            </a:lvl6pPr>
            <a:lvl7pPr marL="2689551" indent="0">
              <a:buNone/>
              <a:defRPr sz="883"/>
            </a:lvl7pPr>
            <a:lvl8pPr marL="3137809" indent="0">
              <a:buNone/>
              <a:defRPr sz="883"/>
            </a:lvl8pPr>
            <a:lvl9pPr marL="3586067" indent="0">
              <a:buNone/>
              <a:defRPr sz="883"/>
            </a:lvl9pPr>
          </a:lstStyle>
          <a:p>
            <a:pPr lvl="0"/>
            <a:r>
              <a:rPr lang="en-US"/>
              <a:t>Click to edit Master text styles</a:t>
            </a:r>
          </a:p>
        </p:txBody>
      </p:sp>
    </p:spTree>
    <p:extLst>
      <p:ext uri="{BB962C8B-B14F-4D97-AF65-F5344CB8AC3E}">
        <p14:creationId xmlns:p14="http://schemas.microsoft.com/office/powerpoint/2010/main" val="3022036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052827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2402" y="76200"/>
            <a:ext cx="2946400" cy="64008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03201" y="76200"/>
            <a:ext cx="8636000" cy="64008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974016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2" name="Picture 1" descr="ColorBlue_bar_top-12.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2"/>
            <a:ext cx="12192000"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5"/>
          <p:cNvSpPr txBox="1">
            <a:spLocks/>
          </p:cNvSpPr>
          <p:nvPr userDrawn="1"/>
        </p:nvSpPr>
        <p:spPr bwMode="auto">
          <a:xfrm>
            <a:off x="10759019" y="6492970"/>
            <a:ext cx="1500716"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fld id="{FD7B720C-F98A-44EF-809C-B225C8B671C0}" type="slidenum">
              <a:rPr lang="en-US" altLang="en-US" sz="900" smtClean="0">
                <a:solidFill>
                  <a:srgbClr val="7F7F7F"/>
                </a:solidFill>
                <a:latin typeface="Arial" pitchFamily="34" charset="0"/>
                <a:cs typeface="Arial" pitchFamily="34" charset="0"/>
              </a:rPr>
              <a:pPr algn="ctr" eaLnBrk="1" hangingPunct="1"/>
              <a:t>‹#›</a:t>
            </a:fld>
            <a:endParaRPr lang="en-US" altLang="en-US" sz="900" dirty="0">
              <a:solidFill>
                <a:srgbClr val="7F7F7F"/>
              </a:solidFill>
              <a:latin typeface="Arial" pitchFamily="34" charset="0"/>
              <a:cs typeface="Arial" pitchFamily="34" charset="0"/>
            </a:endParaRPr>
          </a:p>
        </p:txBody>
      </p:sp>
      <p:sp>
        <p:nvSpPr>
          <p:cNvPr id="4" name="Title 3"/>
          <p:cNvSpPr>
            <a:spLocks noGrp="1"/>
          </p:cNvSpPr>
          <p:nvPr>
            <p:ph type="title"/>
          </p:nvPr>
        </p:nvSpPr>
        <p:spPr>
          <a:xfrm>
            <a:off x="1615044" y="132137"/>
            <a:ext cx="10058400" cy="731520"/>
          </a:xfrm>
          <a:prstGeom prst="rect">
            <a:avLst/>
          </a:prstGeom>
        </p:spPr>
        <p:txBody>
          <a:bodyPr anchor="ctr"/>
          <a:lstStyle>
            <a:lvl1pPr algn="l">
              <a:defRPr sz="2800" b="1">
                <a:solidFill>
                  <a:schemeClr val="bg1"/>
                </a:solidFill>
                <a:latin typeface="+mj-lt"/>
              </a:defRPr>
            </a:lvl1pPr>
          </a:lstStyle>
          <a:p>
            <a:r>
              <a:rPr lang="en-US" dirty="0"/>
              <a:t>Click to edit Master title style</a:t>
            </a:r>
          </a:p>
        </p:txBody>
      </p:sp>
      <p:sp>
        <p:nvSpPr>
          <p:cNvPr id="5" name="Text Placeholder 10"/>
          <p:cNvSpPr>
            <a:spLocks noGrp="1"/>
          </p:cNvSpPr>
          <p:nvPr>
            <p:ph type="body" sz="quarter" idx="10"/>
          </p:nvPr>
        </p:nvSpPr>
        <p:spPr>
          <a:xfrm>
            <a:off x="1211267" y="1828249"/>
            <a:ext cx="9753600" cy="1496828"/>
          </a:xfrm>
          <a:prstGeom prst="rect">
            <a:avLst/>
          </a:prstGeom>
        </p:spPr>
        <p:txBody>
          <a:bodyPr/>
          <a:lstStyle>
            <a:lvl1pPr marL="285750" indent="-285750">
              <a:buFont typeface="Arial" panose="020B0604020202020204" pitchFamily="34" charset="0"/>
              <a:buChar char="•"/>
              <a:defRPr sz="1800" baseline="0">
                <a:solidFill>
                  <a:srgbClr val="000000"/>
                </a:solidFill>
                <a:latin typeface="Arial" panose="020B0604020202020204" pitchFamily="34" charset="0"/>
                <a:cs typeface="Arial" panose="020B0604020202020204" pitchFamily="34" charset="0"/>
              </a:defRPr>
            </a:lvl1pPr>
            <a:lvl2pPr>
              <a:defRPr sz="1800">
                <a:solidFill>
                  <a:srgbClr val="000000"/>
                </a:solidFill>
              </a:defRPr>
            </a:lvl2pPr>
            <a:lvl3pPr>
              <a:defRPr sz="1800">
                <a:solidFill>
                  <a:srgbClr val="000000"/>
                </a:solidFill>
              </a:defRPr>
            </a:lvl3pPr>
            <a:lvl4pPr>
              <a:defRPr sz="1800">
                <a:solidFill>
                  <a:srgbClr val="000000"/>
                </a:solidFill>
              </a:defRPr>
            </a:lvl4pPr>
            <a:lvl5pPr>
              <a:defRPr sz="1800">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14"/>
          <p:cNvSpPr>
            <a:spLocks noGrp="1"/>
          </p:cNvSpPr>
          <p:nvPr>
            <p:ph type="body" sz="quarter" idx="11"/>
          </p:nvPr>
        </p:nvSpPr>
        <p:spPr>
          <a:xfrm>
            <a:off x="1211267" y="1279024"/>
            <a:ext cx="9753600" cy="457200"/>
          </a:xfrm>
          <a:prstGeom prst="rect">
            <a:avLst/>
          </a:prstGeom>
        </p:spPr>
        <p:txBody>
          <a:bodyPr/>
          <a:lstStyle>
            <a:lvl1pPr marL="0" indent="0">
              <a:buNone/>
              <a:defRPr sz="1800" b="1">
                <a:solidFill>
                  <a:schemeClr val="accent2"/>
                </a:solidFill>
                <a:latin typeface="Arial" panose="020B0604020202020204" pitchFamily="34" charset="0"/>
                <a:cs typeface="Arial" panose="020B0604020202020204" pitchFamily="34" charset="0"/>
              </a:defRPr>
            </a:lvl1pPr>
          </a:lstStyle>
          <a:p>
            <a:pPr lvl="0"/>
            <a:r>
              <a:rPr lang="en-US" dirty="0"/>
              <a:t>Click to edit Master text styles</a:t>
            </a:r>
          </a:p>
          <a:p>
            <a:pPr lvl="0"/>
            <a:endParaRPr lang="en-US" dirty="0"/>
          </a:p>
        </p:txBody>
      </p:sp>
      <p:pic>
        <p:nvPicPr>
          <p:cNvPr id="7" name="Picture 6">
            <a:extLst>
              <a:ext uri="{FF2B5EF4-FFF2-40B4-BE49-F238E27FC236}">
                <a16:creationId xmlns:a16="http://schemas.microsoft.com/office/drawing/2014/main" id="{7794E5E6-D3C8-4634-A5FD-E81F62096F7F}"/>
              </a:ext>
            </a:extLst>
          </p:cNvPr>
          <p:cNvPicPr>
            <a:picLocks noChangeAspect="1"/>
          </p:cNvPicPr>
          <p:nvPr userDrawn="1"/>
        </p:nvPicPr>
        <p:blipFill>
          <a:blip r:embed="rId3"/>
          <a:stretch>
            <a:fillRect/>
          </a:stretch>
        </p:blipFill>
        <p:spPr>
          <a:xfrm>
            <a:off x="279936" y="158936"/>
            <a:ext cx="673947" cy="739591"/>
          </a:xfrm>
          <a:prstGeom prst="rect">
            <a:avLst/>
          </a:prstGeom>
        </p:spPr>
      </p:pic>
    </p:spTree>
    <p:extLst>
      <p:ext uri="{BB962C8B-B14F-4D97-AF65-F5344CB8AC3E}">
        <p14:creationId xmlns:p14="http://schemas.microsoft.com/office/powerpoint/2010/main" val="297915111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371601"/>
            <a:ext cx="10464800" cy="1927225"/>
          </a:xfrm>
        </p:spPr>
        <p:txBody>
          <a:bodyPr anchor="b">
            <a:noAutofit/>
          </a:bodyPr>
          <a:lstStyle>
            <a:lvl1pPr>
              <a:defRPr sz="5400" cap="all" baseline="0"/>
            </a:lvl1pPr>
          </a:lstStyle>
          <a:p>
            <a:r>
              <a:rPr lang="en-US" dirty="0"/>
              <a:t>Click to edit Master title style</a:t>
            </a:r>
          </a:p>
        </p:txBody>
      </p:sp>
      <p:sp>
        <p:nvSpPr>
          <p:cNvPr id="3" name="Subtitle 2"/>
          <p:cNvSpPr>
            <a:spLocks noGrp="1"/>
          </p:cNvSpPr>
          <p:nvPr>
            <p:ph type="subTitle" idx="1"/>
          </p:nvPr>
        </p:nvSpPr>
        <p:spPr>
          <a:xfrm>
            <a:off x="914400" y="3505200"/>
            <a:ext cx="8534400" cy="1752600"/>
          </a:xfrm>
        </p:spPr>
        <p:txBody>
          <a:bodyPr/>
          <a:lstStyle>
            <a:lvl1pPr marL="0" indent="0" algn="l">
              <a:buNone/>
              <a:defRPr>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FC749014-DC69-476D-BF37-5BB2AAA7EF43}" type="datetime1">
              <a:rPr lang="en-US" smtClean="0"/>
              <a:t>7/26/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255D0D3-81C0-41DB-A22D-2F0682AD2CFD}" type="slidenum">
              <a:rPr lang="en-US" smtClean="0"/>
              <a:t>‹#›</a:t>
            </a:fld>
            <a:endParaRPr lang="en-US" dirty="0"/>
          </a:p>
        </p:txBody>
      </p:sp>
      <p:cxnSp>
        <p:nvCxnSpPr>
          <p:cNvPr id="8" name="Straight Connector 7"/>
          <p:cNvCxnSpPr/>
          <p:nvPr/>
        </p:nvCxnSpPr>
        <p:spPr>
          <a:xfrm>
            <a:off x="914400" y="3398520"/>
            <a:ext cx="10464800"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2743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MCR Section Break 2021">
    <p:bg>
      <p:bgPr>
        <a:gradFill flip="none" rotWithShape="1">
          <a:gsLst>
            <a:gs pos="47000">
              <a:schemeClr val="bg1">
                <a:lumMod val="10000"/>
                <a:lumOff val="90000"/>
                <a:alpha val="0"/>
              </a:schemeClr>
            </a:gs>
            <a:gs pos="43000">
              <a:schemeClr val="bg1">
                <a:alpha val="0"/>
              </a:schemeClr>
            </a:gs>
            <a:gs pos="0">
              <a:schemeClr val="accent1">
                <a:lumMod val="100000"/>
              </a:schemeClr>
            </a:gs>
            <a:gs pos="100000">
              <a:schemeClr val="accent1">
                <a:lumMod val="71000"/>
              </a:schemeClr>
            </a:gs>
          </a:gsLst>
          <a:lin ang="54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1"/>
                </a:solidFill>
              </a:defRPr>
            </a:lvl1pPr>
          </a:lstStyle>
          <a:p>
            <a:r>
              <a:rPr lang="en-US" dirty="0"/>
              <a:t>Click to Add Section Title</a:t>
            </a:r>
          </a:p>
        </p:txBody>
      </p:sp>
    </p:spTree>
    <p:extLst>
      <p:ext uri="{BB962C8B-B14F-4D97-AF65-F5344CB8AC3E}">
        <p14:creationId xmlns:p14="http://schemas.microsoft.com/office/powerpoint/2010/main" val="190285823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51E9741-5776-4A42-8442-05948ACBA12C}" type="datetimeFigureOut">
              <a:rPr lang="en-US" smtClean="0"/>
              <a:t>7/26/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255D0D3-81C0-41DB-A22D-2F0682AD2CFD}" type="slidenum">
              <a:rPr lang="en-US" smtClean="0"/>
              <a:t>‹#›</a:t>
            </a:fld>
            <a:endParaRPr lang="en-US" dirty="0"/>
          </a:p>
        </p:txBody>
      </p:sp>
    </p:spTree>
    <p:extLst>
      <p:ext uri="{BB962C8B-B14F-4D97-AF65-F5344CB8AC3E}">
        <p14:creationId xmlns:p14="http://schemas.microsoft.com/office/powerpoint/2010/main" val="72565263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A65F275-095D-B647-82BC-3D75DBE434FD}"/>
              </a:ext>
            </a:extLst>
          </p:cNvPr>
          <p:cNvSpPr txBox="1"/>
          <p:nvPr userDrawn="1"/>
        </p:nvSpPr>
        <p:spPr>
          <a:xfrm>
            <a:off x="11706048" y="6529149"/>
            <a:ext cx="341760" cy="246221"/>
          </a:xfrm>
          <a:prstGeom prst="rect">
            <a:avLst/>
          </a:prstGeom>
          <a:noFill/>
        </p:spPr>
        <p:txBody>
          <a:bodyPr wrap="none" rtlCol="0">
            <a:spAutoFit/>
          </a:bodyPr>
          <a:lstStyle/>
          <a:p>
            <a:fld id="{8A9C26BD-B65B-0247-8C97-B9322C3DB165}" type="slidenum">
              <a:rPr lang="en-US" sz="1000" baseline="0" smtClean="0">
                <a:solidFill>
                  <a:schemeClr val="tx1"/>
                </a:solidFill>
                <a:latin typeface="Arial" panose="020B0604020202020204" pitchFamily="34" charset="0"/>
              </a:rPr>
              <a:t>‹#›</a:t>
            </a:fld>
            <a:endParaRPr lang="en-US" sz="1000" baseline="0" dirty="0">
              <a:solidFill>
                <a:schemeClr val="tx1"/>
              </a:solidFill>
              <a:latin typeface="Arial" panose="020B0604020202020204" pitchFamily="34" charset="0"/>
            </a:endParaRPr>
          </a:p>
        </p:txBody>
      </p:sp>
    </p:spTree>
    <p:extLst>
      <p:ext uri="{BB962C8B-B14F-4D97-AF65-F5344CB8AC3E}">
        <p14:creationId xmlns:p14="http://schemas.microsoft.com/office/powerpoint/2010/main" val="307152611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Maste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1CD760F-0CDC-3D42-BE2B-CC928E67D64D}"/>
              </a:ext>
            </a:extLst>
          </p:cNvPr>
          <p:cNvSpPr/>
          <p:nvPr userDrawn="1"/>
        </p:nvSpPr>
        <p:spPr>
          <a:xfrm>
            <a:off x="0" y="6446520"/>
            <a:ext cx="12192000" cy="411480"/>
          </a:xfrm>
          <a:prstGeom prst="rect">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0499D8D0-8B88-C748-9E4B-31ABE846E279}"/>
              </a:ext>
            </a:extLst>
          </p:cNvPr>
          <p:cNvSpPr txBox="1"/>
          <p:nvPr userDrawn="1"/>
        </p:nvSpPr>
        <p:spPr>
          <a:xfrm>
            <a:off x="11706048" y="6529149"/>
            <a:ext cx="341760" cy="246221"/>
          </a:xfrm>
          <a:prstGeom prst="rect">
            <a:avLst/>
          </a:prstGeom>
          <a:noFill/>
        </p:spPr>
        <p:txBody>
          <a:bodyPr wrap="none" rtlCol="0">
            <a:spAutoFit/>
          </a:bodyPr>
          <a:lstStyle/>
          <a:p>
            <a:fld id="{8A9C26BD-B65B-0247-8C97-B9322C3DB165}" type="slidenum">
              <a:rPr lang="en-US" sz="1000" baseline="0" smtClean="0">
                <a:solidFill>
                  <a:schemeClr val="bg1"/>
                </a:solidFill>
                <a:latin typeface="Arial" panose="020B0604020202020204" pitchFamily="34" charset="0"/>
              </a:rPr>
              <a:t>‹#›</a:t>
            </a:fld>
            <a:endParaRPr lang="en-US" sz="1000" baseline="0" dirty="0">
              <a:solidFill>
                <a:schemeClr val="bg1"/>
              </a:solidFill>
              <a:latin typeface="Arial" panose="020B0604020202020204" pitchFamily="34" charset="0"/>
            </a:endParaRPr>
          </a:p>
        </p:txBody>
      </p:sp>
      <p:cxnSp>
        <p:nvCxnSpPr>
          <p:cNvPr id="9" name="Straight Connector 8">
            <a:extLst>
              <a:ext uri="{FF2B5EF4-FFF2-40B4-BE49-F238E27FC236}">
                <a16:creationId xmlns:a16="http://schemas.microsoft.com/office/drawing/2014/main" id="{B990391C-F287-3943-B915-9AE0611D15F3}"/>
              </a:ext>
            </a:extLst>
          </p:cNvPr>
          <p:cNvCxnSpPr>
            <a:cxnSpLocks/>
          </p:cNvCxnSpPr>
          <p:nvPr userDrawn="1"/>
        </p:nvCxnSpPr>
        <p:spPr>
          <a:xfrm>
            <a:off x="11606773" y="6511896"/>
            <a:ext cx="0" cy="27699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descr="SDG&amp;E Logo">
            <a:extLst>
              <a:ext uri="{FF2B5EF4-FFF2-40B4-BE49-F238E27FC236}">
                <a16:creationId xmlns:a16="http://schemas.microsoft.com/office/drawing/2014/main" id="{17140A44-14FA-B14E-8ADC-759F4642634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658769" y="392535"/>
            <a:ext cx="948004" cy="557491"/>
          </a:xfrm>
          <a:prstGeom prst="rect">
            <a:avLst/>
          </a:prstGeom>
        </p:spPr>
      </p:pic>
    </p:spTree>
    <p:extLst>
      <p:ext uri="{BB962C8B-B14F-4D97-AF65-F5344CB8AC3E}">
        <p14:creationId xmlns:p14="http://schemas.microsoft.com/office/powerpoint/2010/main" val="151859472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Slide-2">
    <p:spTree>
      <p:nvGrpSpPr>
        <p:cNvPr id="1" name=""/>
        <p:cNvGrpSpPr/>
        <p:nvPr/>
      </p:nvGrpSpPr>
      <p:grpSpPr>
        <a:xfrm>
          <a:off x="0" y="0"/>
          <a:ext cx="0" cy="0"/>
          <a:chOff x="0" y="0"/>
          <a:chExt cx="0" cy="0"/>
        </a:xfrm>
      </p:grpSpPr>
      <p:pic>
        <p:nvPicPr>
          <p:cNvPr id="6" name="Picture 5" descr="Panoramic view of La Jolla Cove and surrounding hills">
            <a:extLst>
              <a:ext uri="{FF2B5EF4-FFF2-40B4-BE49-F238E27FC236}">
                <a16:creationId xmlns:a16="http://schemas.microsoft.com/office/drawing/2014/main" id="{3AE346E0-05E7-0C40-B13F-14291D9BA23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347"/>
            <a:ext cx="12192000" cy="6854653"/>
          </a:xfrm>
          <a:prstGeom prst="rect">
            <a:avLst/>
          </a:prstGeom>
        </p:spPr>
      </p:pic>
      <p:sp>
        <p:nvSpPr>
          <p:cNvPr id="7" name="TextBox 6">
            <a:extLst>
              <a:ext uri="{FF2B5EF4-FFF2-40B4-BE49-F238E27FC236}">
                <a16:creationId xmlns:a16="http://schemas.microsoft.com/office/drawing/2014/main" id="{3888BB9A-101F-A642-AE9E-9DB33A6B01A2}"/>
              </a:ext>
            </a:extLst>
          </p:cNvPr>
          <p:cNvSpPr txBox="1"/>
          <p:nvPr userDrawn="1"/>
        </p:nvSpPr>
        <p:spPr>
          <a:xfrm>
            <a:off x="11706048" y="6529149"/>
            <a:ext cx="341760" cy="246221"/>
          </a:xfrm>
          <a:prstGeom prst="rect">
            <a:avLst/>
          </a:prstGeom>
          <a:noFill/>
        </p:spPr>
        <p:txBody>
          <a:bodyPr wrap="none" rtlCol="0">
            <a:spAutoFit/>
          </a:bodyPr>
          <a:lstStyle/>
          <a:p>
            <a:fld id="{8A9C26BD-B65B-0247-8C97-B9322C3DB165}" type="slidenum">
              <a:rPr lang="en-US" sz="1000" baseline="0" smtClean="0">
                <a:solidFill>
                  <a:schemeClr val="bg1"/>
                </a:solidFill>
                <a:latin typeface="Arial" panose="020B0604020202020204" pitchFamily="34" charset="0"/>
              </a:rPr>
              <a:t>‹#›</a:t>
            </a:fld>
            <a:endParaRPr lang="en-US" sz="1000" baseline="0" dirty="0">
              <a:solidFill>
                <a:schemeClr val="bg1"/>
              </a:solidFill>
              <a:latin typeface="Arial" panose="020B0604020202020204" pitchFamily="34" charset="0"/>
            </a:endParaRPr>
          </a:p>
        </p:txBody>
      </p:sp>
      <p:cxnSp>
        <p:nvCxnSpPr>
          <p:cNvPr id="8" name="Straight Connector 7">
            <a:extLst>
              <a:ext uri="{FF2B5EF4-FFF2-40B4-BE49-F238E27FC236}">
                <a16:creationId xmlns:a16="http://schemas.microsoft.com/office/drawing/2014/main" id="{9B329E96-6471-B049-9BEC-0FCADB3B98FF}"/>
              </a:ext>
            </a:extLst>
          </p:cNvPr>
          <p:cNvCxnSpPr>
            <a:cxnSpLocks/>
          </p:cNvCxnSpPr>
          <p:nvPr userDrawn="1"/>
        </p:nvCxnSpPr>
        <p:spPr>
          <a:xfrm>
            <a:off x="11606773" y="6511896"/>
            <a:ext cx="0" cy="27699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9" descr="SDG&amp;E Logo">
            <a:extLst>
              <a:ext uri="{FF2B5EF4-FFF2-40B4-BE49-F238E27FC236}">
                <a16:creationId xmlns:a16="http://schemas.microsoft.com/office/drawing/2014/main" id="{A7282F68-088E-B744-B5CA-F7336AD39EA1}"/>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0661904" y="393192"/>
            <a:ext cx="938784" cy="552069"/>
          </a:xfrm>
          <a:prstGeom prst="rect">
            <a:avLst/>
          </a:prstGeom>
        </p:spPr>
      </p:pic>
    </p:spTree>
    <p:extLst>
      <p:ext uri="{BB962C8B-B14F-4D97-AF65-F5344CB8AC3E}">
        <p14:creationId xmlns:p14="http://schemas.microsoft.com/office/powerpoint/2010/main" val="232399849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Heading Paragraph Blue Side Bar w/Logo">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2BADDF6-3834-2F4C-A085-1078EB8B8CE2}"/>
              </a:ext>
            </a:extLst>
          </p:cNvPr>
          <p:cNvSpPr/>
          <p:nvPr userDrawn="1"/>
        </p:nvSpPr>
        <p:spPr>
          <a:xfrm>
            <a:off x="9448800" y="-3352"/>
            <a:ext cx="2743200" cy="6861352"/>
          </a:xfrm>
          <a:prstGeom prst="rect">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2A16E9E5-DD7C-B748-94F9-5B2D1BB41A43}"/>
              </a:ext>
            </a:extLst>
          </p:cNvPr>
          <p:cNvSpPr txBox="1"/>
          <p:nvPr userDrawn="1"/>
        </p:nvSpPr>
        <p:spPr>
          <a:xfrm>
            <a:off x="11706048" y="6529149"/>
            <a:ext cx="341760" cy="246221"/>
          </a:xfrm>
          <a:prstGeom prst="rect">
            <a:avLst/>
          </a:prstGeom>
          <a:noFill/>
        </p:spPr>
        <p:txBody>
          <a:bodyPr wrap="none" rtlCol="0">
            <a:spAutoFit/>
          </a:bodyPr>
          <a:lstStyle/>
          <a:p>
            <a:fld id="{8A9C26BD-B65B-0247-8C97-B9322C3DB165}" type="slidenum">
              <a:rPr lang="en-US" sz="1000" baseline="0" smtClean="0">
                <a:solidFill>
                  <a:schemeClr val="bg1"/>
                </a:solidFill>
                <a:latin typeface="Arial" panose="020B0604020202020204" pitchFamily="34" charset="0"/>
              </a:rPr>
              <a:t>‹#›</a:t>
            </a:fld>
            <a:endParaRPr lang="en-US" sz="1000" baseline="0" dirty="0">
              <a:solidFill>
                <a:schemeClr val="bg1"/>
              </a:solidFill>
              <a:latin typeface="Arial" panose="020B0604020202020204" pitchFamily="34" charset="0"/>
            </a:endParaRPr>
          </a:p>
        </p:txBody>
      </p:sp>
      <p:cxnSp>
        <p:nvCxnSpPr>
          <p:cNvPr id="9" name="Straight Connector 8">
            <a:extLst>
              <a:ext uri="{FF2B5EF4-FFF2-40B4-BE49-F238E27FC236}">
                <a16:creationId xmlns:a16="http://schemas.microsoft.com/office/drawing/2014/main" id="{58F12E3B-689B-8D4C-A804-425924F6275D}"/>
              </a:ext>
            </a:extLst>
          </p:cNvPr>
          <p:cNvCxnSpPr>
            <a:cxnSpLocks/>
          </p:cNvCxnSpPr>
          <p:nvPr userDrawn="1"/>
        </p:nvCxnSpPr>
        <p:spPr>
          <a:xfrm>
            <a:off x="11606773" y="6511896"/>
            <a:ext cx="0" cy="27699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descr="SDG&amp;E Logo">
            <a:extLst>
              <a:ext uri="{FF2B5EF4-FFF2-40B4-BE49-F238E27FC236}">
                <a16:creationId xmlns:a16="http://schemas.microsoft.com/office/drawing/2014/main" id="{F1F74392-5CC8-BF4E-B362-AE09DB12F9D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661904" y="393192"/>
            <a:ext cx="938784" cy="552069"/>
          </a:xfrm>
          <a:prstGeom prst="rect">
            <a:avLst/>
          </a:prstGeom>
        </p:spPr>
      </p:pic>
    </p:spTree>
    <p:extLst>
      <p:ext uri="{BB962C8B-B14F-4D97-AF65-F5344CB8AC3E}">
        <p14:creationId xmlns:p14="http://schemas.microsoft.com/office/powerpoint/2010/main" val="131077637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Heading + Paragraph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B1DB4D-1657-4800-B9ED-2B852D48F5A5}"/>
              </a:ext>
            </a:extLst>
          </p:cNvPr>
          <p:cNvSpPr/>
          <p:nvPr userDrawn="1"/>
        </p:nvSpPr>
        <p:spPr>
          <a:xfrm>
            <a:off x="8260755" y="0"/>
            <a:ext cx="3931245" cy="6857999"/>
          </a:xfrm>
          <a:prstGeom prst="rect">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3C16C4BC-1A17-3E4A-BB04-686740CBE33F}"/>
              </a:ext>
            </a:extLst>
          </p:cNvPr>
          <p:cNvSpPr txBox="1"/>
          <p:nvPr userDrawn="1"/>
        </p:nvSpPr>
        <p:spPr>
          <a:xfrm>
            <a:off x="11706048" y="6529149"/>
            <a:ext cx="341760" cy="246221"/>
          </a:xfrm>
          <a:prstGeom prst="rect">
            <a:avLst/>
          </a:prstGeom>
          <a:noFill/>
        </p:spPr>
        <p:txBody>
          <a:bodyPr wrap="none" rtlCol="0">
            <a:spAutoFit/>
          </a:bodyPr>
          <a:lstStyle/>
          <a:p>
            <a:fld id="{8A9C26BD-B65B-0247-8C97-B9322C3DB165}" type="slidenum">
              <a:rPr lang="en-US" sz="1000" baseline="0" smtClean="0">
                <a:solidFill>
                  <a:schemeClr val="bg1"/>
                </a:solidFill>
                <a:latin typeface="Arial" panose="020B0604020202020204" pitchFamily="34" charset="0"/>
              </a:rPr>
              <a:t>‹#›</a:t>
            </a:fld>
            <a:endParaRPr lang="en-US" sz="1000" baseline="0" dirty="0">
              <a:solidFill>
                <a:schemeClr val="bg1"/>
              </a:solidFill>
              <a:latin typeface="Arial" panose="020B0604020202020204" pitchFamily="34" charset="0"/>
            </a:endParaRPr>
          </a:p>
        </p:txBody>
      </p:sp>
      <p:cxnSp>
        <p:nvCxnSpPr>
          <p:cNvPr id="8" name="Straight Connector 7">
            <a:extLst>
              <a:ext uri="{FF2B5EF4-FFF2-40B4-BE49-F238E27FC236}">
                <a16:creationId xmlns:a16="http://schemas.microsoft.com/office/drawing/2014/main" id="{BC25D7F9-8BF0-0749-9DC9-F117910B311D}"/>
              </a:ext>
            </a:extLst>
          </p:cNvPr>
          <p:cNvCxnSpPr>
            <a:cxnSpLocks/>
          </p:cNvCxnSpPr>
          <p:nvPr userDrawn="1"/>
        </p:nvCxnSpPr>
        <p:spPr>
          <a:xfrm>
            <a:off x="11606773" y="6511896"/>
            <a:ext cx="0" cy="27699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SDG&amp;E Logo">
            <a:extLst>
              <a:ext uri="{FF2B5EF4-FFF2-40B4-BE49-F238E27FC236}">
                <a16:creationId xmlns:a16="http://schemas.microsoft.com/office/drawing/2014/main" id="{629E1F10-E234-3041-B836-0558806E558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661904" y="393192"/>
            <a:ext cx="938784" cy="552069"/>
          </a:xfrm>
          <a:prstGeom prst="rect">
            <a:avLst/>
          </a:prstGeom>
        </p:spPr>
      </p:pic>
    </p:spTree>
    <p:extLst>
      <p:ext uri="{BB962C8B-B14F-4D97-AF65-F5344CB8AC3E}">
        <p14:creationId xmlns:p14="http://schemas.microsoft.com/office/powerpoint/2010/main" val="38970003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 Boxes">
    <p:spTree>
      <p:nvGrpSpPr>
        <p:cNvPr id="1" name=""/>
        <p:cNvGrpSpPr/>
        <p:nvPr/>
      </p:nvGrpSpPr>
      <p:grpSpPr>
        <a:xfrm>
          <a:off x="0" y="0"/>
          <a:ext cx="0" cy="0"/>
          <a:chOff x="0" y="0"/>
          <a:chExt cx="0" cy="0"/>
        </a:xfrm>
      </p:grpSpPr>
      <p:pic>
        <p:nvPicPr>
          <p:cNvPr id="3" name="Picture 2" descr="Two linemen standing near a power pole">
            <a:extLst>
              <a:ext uri="{FF2B5EF4-FFF2-40B4-BE49-F238E27FC236}">
                <a16:creationId xmlns:a16="http://schemas.microsoft.com/office/drawing/2014/main" id="{F8D9A3D6-775B-EC44-B7D6-13A5B797D9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88" y="0"/>
            <a:ext cx="12189023" cy="6858000"/>
          </a:xfrm>
          <a:prstGeom prst="rect">
            <a:avLst/>
          </a:prstGeom>
        </p:spPr>
      </p:pic>
      <p:sp>
        <p:nvSpPr>
          <p:cNvPr id="6" name="TextBox 5">
            <a:extLst>
              <a:ext uri="{FF2B5EF4-FFF2-40B4-BE49-F238E27FC236}">
                <a16:creationId xmlns:a16="http://schemas.microsoft.com/office/drawing/2014/main" id="{6B522D31-C8A5-E646-A391-CDFB7B45B4A4}"/>
              </a:ext>
            </a:extLst>
          </p:cNvPr>
          <p:cNvSpPr txBox="1"/>
          <p:nvPr userDrawn="1"/>
        </p:nvSpPr>
        <p:spPr>
          <a:xfrm>
            <a:off x="11706048" y="6529149"/>
            <a:ext cx="341760" cy="246221"/>
          </a:xfrm>
          <a:prstGeom prst="rect">
            <a:avLst/>
          </a:prstGeom>
          <a:noFill/>
        </p:spPr>
        <p:txBody>
          <a:bodyPr wrap="none" rtlCol="0">
            <a:spAutoFit/>
          </a:bodyPr>
          <a:lstStyle/>
          <a:p>
            <a:fld id="{8A9C26BD-B65B-0247-8C97-B9322C3DB165}" type="slidenum">
              <a:rPr lang="en-US" sz="1000" baseline="0" smtClean="0">
                <a:solidFill>
                  <a:schemeClr val="bg1"/>
                </a:solidFill>
                <a:latin typeface="Arial" panose="020B0604020202020204" pitchFamily="34" charset="0"/>
              </a:rPr>
              <a:t>‹#›</a:t>
            </a:fld>
            <a:endParaRPr lang="en-US" sz="1000" baseline="0" dirty="0">
              <a:solidFill>
                <a:schemeClr val="bg1"/>
              </a:solidFill>
              <a:latin typeface="Arial" panose="020B0604020202020204" pitchFamily="34" charset="0"/>
            </a:endParaRPr>
          </a:p>
        </p:txBody>
      </p:sp>
      <p:cxnSp>
        <p:nvCxnSpPr>
          <p:cNvPr id="7" name="Straight Connector 6">
            <a:extLst>
              <a:ext uri="{FF2B5EF4-FFF2-40B4-BE49-F238E27FC236}">
                <a16:creationId xmlns:a16="http://schemas.microsoft.com/office/drawing/2014/main" id="{E14375CE-1232-F347-8F6A-C53AD7203396}"/>
              </a:ext>
            </a:extLst>
          </p:cNvPr>
          <p:cNvCxnSpPr>
            <a:cxnSpLocks/>
          </p:cNvCxnSpPr>
          <p:nvPr userDrawn="1"/>
        </p:nvCxnSpPr>
        <p:spPr>
          <a:xfrm>
            <a:off x="11606773" y="6511896"/>
            <a:ext cx="0" cy="27699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SDG&amp;E Logo">
            <a:extLst>
              <a:ext uri="{FF2B5EF4-FFF2-40B4-BE49-F238E27FC236}">
                <a16:creationId xmlns:a16="http://schemas.microsoft.com/office/drawing/2014/main" id="{AF863D30-D69F-5345-8D2C-EB8BE3A6BE90}"/>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0658769" y="392535"/>
            <a:ext cx="948004" cy="557491"/>
          </a:xfrm>
          <a:prstGeom prst="rect">
            <a:avLst/>
          </a:prstGeom>
        </p:spPr>
      </p:pic>
    </p:spTree>
    <p:extLst>
      <p:ext uri="{BB962C8B-B14F-4D97-AF65-F5344CB8AC3E}">
        <p14:creationId xmlns:p14="http://schemas.microsoft.com/office/powerpoint/2010/main" val="312874093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losing Slide + Contact">
    <p:spTree>
      <p:nvGrpSpPr>
        <p:cNvPr id="1" name=""/>
        <p:cNvGrpSpPr/>
        <p:nvPr/>
      </p:nvGrpSpPr>
      <p:grpSpPr>
        <a:xfrm>
          <a:off x="0" y="0"/>
          <a:ext cx="0" cy="0"/>
          <a:chOff x="0" y="0"/>
          <a:chExt cx="0" cy="0"/>
        </a:xfrm>
      </p:grpSpPr>
      <p:pic>
        <p:nvPicPr>
          <p:cNvPr id="9" name="Picture 8" descr="A solar panel grid in a field of flowers">
            <a:extLst>
              <a:ext uri="{FF2B5EF4-FFF2-40B4-BE49-F238E27FC236}">
                <a16:creationId xmlns:a16="http://schemas.microsoft.com/office/drawing/2014/main" id="{C2B396EE-4287-A944-B952-0A64EC64E55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347"/>
            <a:ext cx="12192000" cy="6854653"/>
          </a:xfrm>
          <a:prstGeom prst="rect">
            <a:avLst/>
          </a:prstGeom>
        </p:spPr>
      </p:pic>
      <p:sp>
        <p:nvSpPr>
          <p:cNvPr id="6" name="TextBox 5">
            <a:extLst>
              <a:ext uri="{FF2B5EF4-FFF2-40B4-BE49-F238E27FC236}">
                <a16:creationId xmlns:a16="http://schemas.microsoft.com/office/drawing/2014/main" id="{8D254715-2542-D943-9600-92763B0304F8}"/>
              </a:ext>
            </a:extLst>
          </p:cNvPr>
          <p:cNvSpPr txBox="1"/>
          <p:nvPr userDrawn="1"/>
        </p:nvSpPr>
        <p:spPr>
          <a:xfrm>
            <a:off x="11706048" y="6529149"/>
            <a:ext cx="341760" cy="246221"/>
          </a:xfrm>
          <a:prstGeom prst="rect">
            <a:avLst/>
          </a:prstGeom>
          <a:noFill/>
        </p:spPr>
        <p:txBody>
          <a:bodyPr wrap="none" rtlCol="0">
            <a:spAutoFit/>
          </a:bodyPr>
          <a:lstStyle/>
          <a:p>
            <a:fld id="{8A9C26BD-B65B-0247-8C97-B9322C3DB165}" type="slidenum">
              <a:rPr lang="en-US" sz="1000" baseline="0" smtClean="0">
                <a:solidFill>
                  <a:schemeClr val="bg1"/>
                </a:solidFill>
                <a:latin typeface="Arial" panose="020B0604020202020204" pitchFamily="34" charset="0"/>
              </a:rPr>
              <a:t>‹#›</a:t>
            </a:fld>
            <a:endParaRPr lang="en-US" sz="1000" baseline="0" dirty="0">
              <a:solidFill>
                <a:schemeClr val="bg1"/>
              </a:solidFill>
              <a:latin typeface="Arial" panose="020B0604020202020204" pitchFamily="34" charset="0"/>
            </a:endParaRPr>
          </a:p>
        </p:txBody>
      </p:sp>
      <p:cxnSp>
        <p:nvCxnSpPr>
          <p:cNvPr id="7" name="Straight Connector 6">
            <a:extLst>
              <a:ext uri="{FF2B5EF4-FFF2-40B4-BE49-F238E27FC236}">
                <a16:creationId xmlns:a16="http://schemas.microsoft.com/office/drawing/2014/main" id="{96BAD41A-D9DB-C247-9BD9-BD1341C36C7A}"/>
              </a:ext>
            </a:extLst>
          </p:cNvPr>
          <p:cNvCxnSpPr>
            <a:cxnSpLocks/>
          </p:cNvCxnSpPr>
          <p:nvPr userDrawn="1"/>
        </p:nvCxnSpPr>
        <p:spPr>
          <a:xfrm>
            <a:off x="11606773" y="6511896"/>
            <a:ext cx="0" cy="27699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Picture 7" descr="SDG&amp;E Logo">
            <a:extLst>
              <a:ext uri="{FF2B5EF4-FFF2-40B4-BE49-F238E27FC236}">
                <a16:creationId xmlns:a16="http://schemas.microsoft.com/office/drawing/2014/main" id="{1C394BD2-D973-764D-8203-D8676C7FA3DB}"/>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0661904" y="393192"/>
            <a:ext cx="938784" cy="552069"/>
          </a:xfrm>
          <a:prstGeom prst="rect">
            <a:avLst/>
          </a:prstGeom>
        </p:spPr>
      </p:pic>
    </p:spTree>
    <p:extLst>
      <p:ext uri="{BB962C8B-B14F-4D97-AF65-F5344CB8AC3E}">
        <p14:creationId xmlns:p14="http://schemas.microsoft.com/office/powerpoint/2010/main" val="98469413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062367" y="2048450"/>
            <a:ext cx="9144000" cy="1076495"/>
          </a:xfrm>
        </p:spPr>
        <p:txBody>
          <a:bodyPr/>
          <a:lstStyle>
            <a:lvl1pPr marL="0" indent="0" algn="l">
              <a:buNone/>
              <a:defRPr sz="2400">
                <a:latin typeface="Segoe UI" panose="020B0502040204020203" pitchFamily="34" charset="0"/>
                <a:ea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a:p>
            <a:endParaRPr lang="en-US"/>
          </a:p>
          <a:p>
            <a:endParaRPr lang="en-US"/>
          </a:p>
        </p:txBody>
      </p:sp>
      <p:sp>
        <p:nvSpPr>
          <p:cNvPr id="14" name="Rectangle 13"/>
          <p:cNvSpPr/>
          <p:nvPr userDrawn="1"/>
        </p:nvSpPr>
        <p:spPr>
          <a:xfrm>
            <a:off x="1" y="6027939"/>
            <a:ext cx="9685537" cy="460414"/>
          </a:xfrm>
          <a:prstGeom prst="rect">
            <a:avLst/>
          </a:prstGeom>
          <a:solidFill>
            <a:srgbClr val="FFD04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4" name="Title 3"/>
          <p:cNvSpPr>
            <a:spLocks noGrp="1"/>
          </p:cNvSpPr>
          <p:nvPr>
            <p:ph type="title"/>
          </p:nvPr>
        </p:nvSpPr>
        <p:spPr>
          <a:xfrm>
            <a:off x="1003916" y="675860"/>
            <a:ext cx="10515600" cy="1325563"/>
          </a:xfrm>
        </p:spPr>
        <p:txBody>
          <a:bodyPr anchor="b" anchorCtr="0"/>
          <a:lstStyle>
            <a:lvl1pPr>
              <a:defRPr>
                <a:solidFill>
                  <a:srgbClr val="006369"/>
                </a:solidFill>
              </a:defRPr>
            </a:lvl1pPr>
          </a:lstStyle>
          <a:p>
            <a:r>
              <a:rPr lang="en-US"/>
              <a:t>Click to edit Master title style</a:t>
            </a:r>
          </a:p>
        </p:txBody>
      </p:sp>
      <p:cxnSp>
        <p:nvCxnSpPr>
          <p:cNvPr id="16" name="Straight Connector 15"/>
          <p:cNvCxnSpPr/>
          <p:nvPr userDrawn="1"/>
        </p:nvCxnSpPr>
        <p:spPr>
          <a:xfrm>
            <a:off x="9682140" y="5987598"/>
            <a:ext cx="0" cy="525294"/>
          </a:xfrm>
          <a:prstGeom prst="line">
            <a:avLst/>
          </a:prstGeom>
          <a:ln w="3175">
            <a:solidFill>
              <a:srgbClr val="D0D0D2"/>
            </a:solidFil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userDrawn="1"/>
        </p:nvPicPr>
        <p:blipFill>
          <a:blip r:embed="rId2"/>
          <a:stretch>
            <a:fillRect/>
          </a:stretch>
        </p:blipFill>
        <p:spPr>
          <a:xfrm>
            <a:off x="10114081" y="6032357"/>
            <a:ext cx="1658256" cy="457240"/>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35471" y="6157445"/>
            <a:ext cx="2230211" cy="197634"/>
          </a:xfrm>
          <a:prstGeom prst="rect">
            <a:avLst/>
          </a:prstGeom>
        </p:spPr>
      </p:pic>
    </p:spTree>
    <p:extLst>
      <p:ext uri="{BB962C8B-B14F-4D97-AF65-F5344CB8AC3E}">
        <p14:creationId xmlns:p14="http://schemas.microsoft.com/office/powerpoint/2010/main" val="125807557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ivider Slide 1">
    <p:bg>
      <p:bgPr>
        <a:solidFill>
          <a:srgbClr val="006369"/>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903" y="1141875"/>
            <a:ext cx="7027607" cy="1325563"/>
          </a:xfrm>
        </p:spPr>
        <p:txBody>
          <a:bodyPr/>
          <a:lstStyle>
            <a:lvl1pPr>
              <a:defRPr>
                <a:solidFill>
                  <a:schemeClr val="bg1"/>
                </a:solidFill>
              </a:defRPr>
            </a:lvl1pPr>
          </a:lstStyle>
          <a:p>
            <a:r>
              <a:rPr lang="en-US"/>
              <a:t>Divider Slide Title</a:t>
            </a:r>
          </a:p>
        </p:txBody>
      </p:sp>
      <p:sp>
        <p:nvSpPr>
          <p:cNvPr id="6" name="Rectangle 5"/>
          <p:cNvSpPr/>
          <p:nvPr userDrawn="1"/>
        </p:nvSpPr>
        <p:spPr>
          <a:xfrm>
            <a:off x="1" y="6027939"/>
            <a:ext cx="9685537" cy="460414"/>
          </a:xfrm>
          <a:prstGeom prst="rect">
            <a:avLst/>
          </a:prstGeom>
          <a:solidFill>
            <a:srgbClr val="FFD04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9" name="Rectangle 8"/>
          <p:cNvSpPr/>
          <p:nvPr userDrawn="1"/>
        </p:nvSpPr>
        <p:spPr>
          <a:xfrm>
            <a:off x="9674939" y="-9832"/>
            <a:ext cx="2517061"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p:cNvPicPr>
            <a:picLocks noChangeAspect="1"/>
          </p:cNvPicPr>
          <p:nvPr userDrawn="1"/>
        </p:nvPicPr>
        <p:blipFill>
          <a:blip r:embed="rId2"/>
          <a:stretch>
            <a:fillRect/>
          </a:stretch>
        </p:blipFill>
        <p:spPr>
          <a:xfrm>
            <a:off x="10114081" y="6032357"/>
            <a:ext cx="1658256" cy="457240"/>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35471" y="6157445"/>
            <a:ext cx="2230211" cy="197634"/>
          </a:xfrm>
          <a:prstGeom prst="rect">
            <a:avLst/>
          </a:prstGeom>
        </p:spPr>
      </p:pic>
    </p:spTree>
    <p:extLst>
      <p:ext uri="{BB962C8B-B14F-4D97-AF65-F5344CB8AC3E}">
        <p14:creationId xmlns:p14="http://schemas.microsoft.com/office/powerpoint/2010/main" val="15205158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MCR Bullet Slide 2021">
    <p:bg>
      <p:bgRef idx="1001">
        <a:schemeClr val="bg1"/>
      </p:bgRef>
    </p:bg>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838201" y="1104900"/>
            <a:ext cx="10642600" cy="4953000"/>
          </a:xfrm>
        </p:spPr>
        <p:txBody>
          <a:bodyPr>
            <a:normAutofit/>
          </a:bodyPr>
          <a:lstStyle>
            <a:lvl1pPr marL="267891" indent="-267891">
              <a:lnSpc>
                <a:spcPct val="114000"/>
              </a:lnSpc>
              <a:spcBef>
                <a:spcPts val="1688"/>
              </a:spcBef>
              <a:defRPr sz="2250"/>
            </a:lvl1pPr>
            <a:lvl2pPr marL="589359" indent="-267891">
              <a:lnSpc>
                <a:spcPct val="114000"/>
              </a:lnSpc>
              <a:spcBef>
                <a:spcPts val="1688"/>
              </a:spcBef>
              <a:defRPr sz="2063"/>
            </a:lvl2pPr>
            <a:lvl3pPr marL="910828" indent="-272356">
              <a:lnSpc>
                <a:spcPct val="114000"/>
              </a:lnSpc>
              <a:spcBef>
                <a:spcPts val="1688"/>
              </a:spcBef>
              <a:defRPr sz="1875"/>
            </a:lvl3pPr>
            <a:lvl4pPr marL="1232297" indent="-267891">
              <a:lnSpc>
                <a:spcPct val="114000"/>
              </a:lnSpc>
              <a:spcBef>
                <a:spcPts val="1688"/>
              </a:spcBef>
              <a:defRPr sz="1875"/>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itle 5"/>
          <p:cNvSpPr>
            <a:spLocks noGrp="1"/>
          </p:cNvSpPr>
          <p:nvPr>
            <p:ph type="title" hasCustomPrompt="1"/>
          </p:nvPr>
        </p:nvSpPr>
        <p:spPr/>
        <p:txBody>
          <a:bodyPr>
            <a:normAutofit/>
          </a:bodyPr>
          <a:lstStyle>
            <a:lvl1pPr>
              <a:defRPr sz="2250"/>
            </a:lvl1pPr>
          </a:lstStyle>
          <a:p>
            <a:r>
              <a:rPr lang="en-US" dirty="0"/>
              <a:t>Click to edit header</a:t>
            </a:r>
          </a:p>
        </p:txBody>
      </p:sp>
    </p:spTree>
    <p:extLst>
      <p:ext uri="{BB962C8B-B14F-4D97-AF65-F5344CB8AC3E}">
        <p14:creationId xmlns:p14="http://schemas.microsoft.com/office/powerpoint/2010/main" val="449747158"/>
      </p:ext>
    </p:extLst>
  </p:cSld>
  <p:clrMapOvr>
    <a:overrideClrMapping bg1="lt1" tx1="dk1" bg2="lt2" tx2="dk2" accent1="accent1" accent2="accent2" accent3="accent3" accent4="accent4" accent5="accent5" accent6="accent6" hlink="hlink" folHlink="folHlink"/>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ivider Slide 2">
    <p:bg>
      <p:bgPr>
        <a:solidFill>
          <a:schemeClr val="bg1">
            <a:lumMod val="8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903" y="1141875"/>
            <a:ext cx="7027607" cy="1325563"/>
          </a:xfrm>
        </p:spPr>
        <p:txBody>
          <a:bodyPr/>
          <a:lstStyle>
            <a:lvl1pPr>
              <a:defRPr>
                <a:solidFill>
                  <a:schemeClr val="tx1"/>
                </a:solidFill>
              </a:defRPr>
            </a:lvl1pPr>
          </a:lstStyle>
          <a:p>
            <a:r>
              <a:rPr lang="en-US"/>
              <a:t>Divider Slide Title</a:t>
            </a:r>
          </a:p>
        </p:txBody>
      </p:sp>
      <p:sp>
        <p:nvSpPr>
          <p:cNvPr id="6" name="Rectangle 5"/>
          <p:cNvSpPr/>
          <p:nvPr userDrawn="1"/>
        </p:nvSpPr>
        <p:spPr>
          <a:xfrm>
            <a:off x="1" y="6027939"/>
            <a:ext cx="9685537" cy="460414"/>
          </a:xfrm>
          <a:prstGeom prst="rect">
            <a:avLst/>
          </a:prstGeom>
          <a:solidFill>
            <a:srgbClr val="FFD04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9" name="Rectangle 8"/>
          <p:cNvSpPr/>
          <p:nvPr userDrawn="1"/>
        </p:nvSpPr>
        <p:spPr>
          <a:xfrm>
            <a:off x="9674939" y="-9832"/>
            <a:ext cx="2517061" cy="685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p:cNvPicPr>
            <a:picLocks noChangeAspect="1"/>
          </p:cNvPicPr>
          <p:nvPr userDrawn="1"/>
        </p:nvPicPr>
        <p:blipFill>
          <a:blip r:embed="rId2"/>
          <a:stretch>
            <a:fillRect/>
          </a:stretch>
        </p:blipFill>
        <p:spPr>
          <a:xfrm>
            <a:off x="10114081" y="6032357"/>
            <a:ext cx="1658256" cy="457240"/>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35471" y="6157445"/>
            <a:ext cx="2230211" cy="197634"/>
          </a:xfrm>
          <a:prstGeom prst="rect">
            <a:avLst/>
          </a:prstGeom>
        </p:spPr>
      </p:pic>
    </p:spTree>
    <p:extLst>
      <p:ext uri="{BB962C8B-B14F-4D97-AF65-F5344CB8AC3E}">
        <p14:creationId xmlns:p14="http://schemas.microsoft.com/office/powerpoint/2010/main" val="278275759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965F35D-6605-443D-9F38-140776D68947}" type="datetime1">
              <a:rPr lang="en-US" smtClean="0"/>
              <a:t>7/26/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E94BA17-8AE8-4651-9FD9-8589E5D42325}" type="slidenum">
              <a:rPr lang="en-US" smtClean="0"/>
              <a:t>‹#›</a:t>
            </a:fld>
            <a:endParaRPr lang="en-US" dirty="0"/>
          </a:p>
        </p:txBody>
      </p:sp>
    </p:spTree>
    <p:extLst>
      <p:ext uri="{BB962C8B-B14F-4D97-AF65-F5344CB8AC3E}">
        <p14:creationId xmlns:p14="http://schemas.microsoft.com/office/powerpoint/2010/main" val="265882981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6DB8819-B877-4AAF-AB71-63C59D44BF13}" type="datetime1">
              <a:rPr lang="en-US" smtClean="0"/>
              <a:t>7/26/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E94BA17-8AE8-4651-9FD9-8589E5D42325}" type="slidenum">
              <a:rPr lang="en-US" smtClean="0"/>
              <a:t>‹#›</a:t>
            </a:fld>
            <a:endParaRPr lang="en-US" dirty="0"/>
          </a:p>
        </p:txBody>
      </p:sp>
    </p:spTree>
    <p:extLst>
      <p:ext uri="{BB962C8B-B14F-4D97-AF65-F5344CB8AC3E}">
        <p14:creationId xmlns:p14="http://schemas.microsoft.com/office/powerpoint/2010/main" val="231071466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BB54F1CE-82E5-4AA3-BFEA-EDE1D1DA8C85}" type="datetime1">
              <a:rPr lang="en-US" smtClean="0"/>
              <a:t>7/26/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5E94BA17-8AE8-4651-9FD9-8589E5D42325}" type="slidenum">
              <a:rPr lang="en-US" smtClean="0"/>
              <a:t>‹#›</a:t>
            </a:fld>
            <a:endParaRPr lang="en-US" dirty="0"/>
          </a:p>
        </p:txBody>
      </p:sp>
    </p:spTree>
    <p:extLst>
      <p:ext uri="{BB962C8B-B14F-4D97-AF65-F5344CB8AC3E}">
        <p14:creationId xmlns:p14="http://schemas.microsoft.com/office/powerpoint/2010/main" val="72937462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1AE2EBC-325E-46EC-87DD-6EC14BFC4DB2}" type="datetime1">
              <a:rPr lang="en-US" smtClean="0"/>
              <a:t>7/26/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5E94BA17-8AE8-4651-9FD9-8589E5D42325}" type="slidenum">
              <a:rPr lang="en-US" smtClean="0"/>
              <a:t>‹#›</a:t>
            </a:fld>
            <a:endParaRPr lang="en-US" dirty="0"/>
          </a:p>
        </p:txBody>
      </p:sp>
    </p:spTree>
    <p:extLst>
      <p:ext uri="{BB962C8B-B14F-4D97-AF65-F5344CB8AC3E}">
        <p14:creationId xmlns:p14="http://schemas.microsoft.com/office/powerpoint/2010/main" val="148248045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Large Photo ">
    <p:spTree>
      <p:nvGrpSpPr>
        <p:cNvPr id="1" name=""/>
        <p:cNvGrpSpPr/>
        <p:nvPr/>
      </p:nvGrpSpPr>
      <p:grpSpPr>
        <a:xfrm>
          <a:off x="0" y="0"/>
          <a:ext cx="0" cy="0"/>
          <a:chOff x="0" y="0"/>
          <a:chExt cx="0" cy="0"/>
        </a:xfrm>
      </p:grpSpPr>
      <p:sp>
        <p:nvSpPr>
          <p:cNvPr id="4" name="Picture Placeholder 2"/>
          <p:cNvSpPr>
            <a:spLocks noGrp="1" noChangeAspect="1"/>
          </p:cNvSpPr>
          <p:nvPr>
            <p:ph type="pic" idx="13"/>
          </p:nvPr>
        </p:nvSpPr>
        <p:spPr>
          <a:xfrm>
            <a:off x="0" y="1049311"/>
            <a:ext cx="12192000" cy="5811864"/>
          </a:xfrm>
          <a:prstGeom prst="rect">
            <a:avLst/>
          </a:prstGeom>
          <a:solidFill>
            <a:schemeClr val="bg2">
              <a:lumMod val="75000"/>
            </a:schemeClr>
          </a:solidFill>
          <a:ln>
            <a:noFill/>
          </a:ln>
        </p:spPr>
        <p:txBody>
          <a:bodyPr anchor="t">
            <a:normAutofit/>
          </a:bodyPr>
          <a:lstStyle>
            <a:lvl1pPr marL="0" indent="0" algn="ctr">
              <a:buNone/>
              <a:defRPr sz="1200" b="0" i="0">
                <a:solidFill>
                  <a:schemeClr val="bg1"/>
                </a:solidFill>
                <a:latin typeface="Arial" charset="0"/>
                <a:ea typeface="Arial" charset="0"/>
                <a:cs typeface="Arial" charset="0"/>
              </a:defRPr>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en-US" dirty="0"/>
          </a:p>
          <a:p>
            <a:r>
              <a:rPr lang="en-US" dirty="0"/>
              <a:t>Drag picture to placeholder or click icon to add</a:t>
            </a:r>
          </a:p>
        </p:txBody>
      </p:sp>
      <p:sp>
        <p:nvSpPr>
          <p:cNvPr id="3" name="Title 1"/>
          <p:cNvSpPr>
            <a:spLocks noGrp="1"/>
          </p:cNvSpPr>
          <p:nvPr>
            <p:ph type="title"/>
          </p:nvPr>
        </p:nvSpPr>
        <p:spPr>
          <a:xfrm>
            <a:off x="471256" y="97654"/>
            <a:ext cx="10515600" cy="909454"/>
          </a:xfrm>
        </p:spPr>
        <p:txBody>
          <a:bodyPr/>
          <a:lstStyle/>
          <a:p>
            <a:r>
              <a:rPr lang="en-US"/>
              <a:t>Click to edit Master title style</a:t>
            </a:r>
          </a:p>
        </p:txBody>
      </p:sp>
      <p:sp>
        <p:nvSpPr>
          <p:cNvPr id="5" name="Slide Number Placeholder 4"/>
          <p:cNvSpPr>
            <a:spLocks noGrp="1"/>
          </p:cNvSpPr>
          <p:nvPr>
            <p:ph type="sldNum" sz="quarter" idx="12"/>
          </p:nvPr>
        </p:nvSpPr>
        <p:spPr>
          <a:xfrm>
            <a:off x="11304231" y="6374108"/>
            <a:ext cx="688760" cy="365125"/>
          </a:xfrm>
        </p:spPr>
        <p:txBody>
          <a:bodyPr/>
          <a:lstStyle/>
          <a:p>
            <a:fld id="{5E94BA17-8AE8-4651-9FD9-8589E5D42325}" type="slidenum">
              <a:rPr lang="en-US" smtClean="0"/>
              <a:t>‹#›</a:t>
            </a:fld>
            <a:endParaRPr lang="en-US" dirty="0"/>
          </a:p>
        </p:txBody>
      </p:sp>
    </p:spTree>
    <p:extLst>
      <p:ext uri="{BB962C8B-B14F-4D97-AF65-F5344CB8AC3E}">
        <p14:creationId xmlns:p14="http://schemas.microsoft.com/office/powerpoint/2010/main" val="114718382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Full Bleed Photo ">
    <p:spTree>
      <p:nvGrpSpPr>
        <p:cNvPr id="1" name=""/>
        <p:cNvGrpSpPr/>
        <p:nvPr/>
      </p:nvGrpSpPr>
      <p:grpSpPr>
        <a:xfrm>
          <a:off x="0" y="0"/>
          <a:ext cx="0" cy="0"/>
          <a:chOff x="0" y="0"/>
          <a:chExt cx="0" cy="0"/>
        </a:xfrm>
      </p:grpSpPr>
      <p:sp>
        <p:nvSpPr>
          <p:cNvPr id="4" name="Picture Placeholder 2"/>
          <p:cNvSpPr>
            <a:spLocks noGrp="1" noChangeAspect="1"/>
          </p:cNvSpPr>
          <p:nvPr>
            <p:ph type="pic" idx="13"/>
          </p:nvPr>
        </p:nvSpPr>
        <p:spPr>
          <a:xfrm>
            <a:off x="0" y="0"/>
            <a:ext cx="12192000" cy="6861175"/>
          </a:xfrm>
          <a:prstGeom prst="rect">
            <a:avLst/>
          </a:prstGeom>
          <a:solidFill>
            <a:schemeClr val="bg2">
              <a:lumMod val="75000"/>
            </a:schemeClr>
          </a:solidFill>
          <a:ln>
            <a:noFill/>
          </a:ln>
        </p:spPr>
        <p:txBody>
          <a:bodyPr anchor="t">
            <a:normAutofit/>
          </a:bodyPr>
          <a:lstStyle>
            <a:lvl1pPr marL="0" indent="0" algn="ctr">
              <a:buNone/>
              <a:defRPr sz="1200" b="0" i="0">
                <a:solidFill>
                  <a:schemeClr val="bg1"/>
                </a:solidFill>
                <a:latin typeface="Arial" charset="0"/>
                <a:ea typeface="Arial" charset="0"/>
                <a:cs typeface="Arial" charset="0"/>
              </a:defRPr>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en-US" dirty="0"/>
          </a:p>
          <a:p>
            <a:r>
              <a:rPr lang="en-US" dirty="0"/>
              <a:t>Drag picture to placeholder or click icon to add</a:t>
            </a:r>
          </a:p>
        </p:txBody>
      </p:sp>
      <p:sp>
        <p:nvSpPr>
          <p:cNvPr id="5" name="Slide Number Placeholder 4"/>
          <p:cNvSpPr>
            <a:spLocks noGrp="1"/>
          </p:cNvSpPr>
          <p:nvPr>
            <p:ph type="sldNum" sz="quarter" idx="12"/>
          </p:nvPr>
        </p:nvSpPr>
        <p:spPr>
          <a:xfrm>
            <a:off x="11304231" y="6374108"/>
            <a:ext cx="688760" cy="365125"/>
          </a:xfrm>
        </p:spPr>
        <p:txBody>
          <a:bodyPr/>
          <a:lstStyle/>
          <a:p>
            <a:fld id="{5E94BA17-8AE8-4651-9FD9-8589E5D42325}" type="slidenum">
              <a:rPr lang="en-US" smtClean="0"/>
              <a:t>‹#›</a:t>
            </a:fld>
            <a:endParaRPr lang="en-US" dirty="0"/>
          </a:p>
        </p:txBody>
      </p:sp>
      <p:sp>
        <p:nvSpPr>
          <p:cNvPr id="6" name="Title 1"/>
          <p:cNvSpPr>
            <a:spLocks noGrp="1"/>
          </p:cNvSpPr>
          <p:nvPr>
            <p:ph type="title"/>
          </p:nvPr>
        </p:nvSpPr>
        <p:spPr>
          <a:xfrm>
            <a:off x="471256" y="301848"/>
            <a:ext cx="10515600" cy="909454"/>
          </a:xfrm>
        </p:spPr>
        <p:txBody>
          <a:bodyPr/>
          <a:lstStyle/>
          <a:p>
            <a:r>
              <a:rPr lang="en-US"/>
              <a:t>Click to edit Master title style</a:t>
            </a:r>
          </a:p>
        </p:txBody>
      </p:sp>
    </p:spTree>
    <p:extLst>
      <p:ext uri="{BB962C8B-B14F-4D97-AF65-F5344CB8AC3E}">
        <p14:creationId xmlns:p14="http://schemas.microsoft.com/office/powerpoint/2010/main" val="120964588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xt and Photo ">
    <p:spTree>
      <p:nvGrpSpPr>
        <p:cNvPr id="1" name=""/>
        <p:cNvGrpSpPr/>
        <p:nvPr/>
      </p:nvGrpSpPr>
      <p:grpSpPr>
        <a:xfrm>
          <a:off x="0" y="0"/>
          <a:ext cx="0" cy="0"/>
          <a:chOff x="0" y="0"/>
          <a:chExt cx="0" cy="0"/>
        </a:xfrm>
      </p:grpSpPr>
      <p:sp>
        <p:nvSpPr>
          <p:cNvPr id="6" name="Picture Placeholder 2"/>
          <p:cNvSpPr>
            <a:spLocks noGrp="1" noChangeAspect="1"/>
          </p:cNvSpPr>
          <p:nvPr>
            <p:ph type="pic" idx="13"/>
          </p:nvPr>
        </p:nvSpPr>
        <p:spPr>
          <a:xfrm>
            <a:off x="5879167" y="1084826"/>
            <a:ext cx="6336508" cy="5191691"/>
          </a:xfrm>
          <a:prstGeom prst="rect">
            <a:avLst/>
          </a:prstGeom>
          <a:solidFill>
            <a:schemeClr val="bg2">
              <a:lumMod val="75000"/>
            </a:schemeClr>
          </a:solidFill>
          <a:ln>
            <a:solidFill>
              <a:schemeClr val="bg1"/>
            </a:solidFill>
          </a:ln>
        </p:spPr>
        <p:txBody>
          <a:bodyPr anchor="t">
            <a:normAutofit/>
          </a:bodyPr>
          <a:lstStyle>
            <a:lvl1pPr marL="0" indent="0" algn="ctr">
              <a:buNone/>
              <a:defRPr sz="1200" b="0" i="0">
                <a:solidFill>
                  <a:schemeClr val="bg1"/>
                </a:solidFill>
                <a:latin typeface="Arial" charset="0"/>
                <a:ea typeface="Arial" charset="0"/>
                <a:cs typeface="Arial" charset="0"/>
              </a:defRPr>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en-US" dirty="0"/>
          </a:p>
          <a:p>
            <a:r>
              <a:rPr lang="en-US" dirty="0"/>
              <a:t>Drag picture to placeholder or click icon to add</a:t>
            </a:r>
          </a:p>
        </p:txBody>
      </p:sp>
      <p:sp>
        <p:nvSpPr>
          <p:cNvPr id="7" name="Content Placeholder 2"/>
          <p:cNvSpPr>
            <a:spLocks noGrp="1"/>
          </p:cNvSpPr>
          <p:nvPr>
            <p:ph sz="half" idx="1"/>
          </p:nvPr>
        </p:nvSpPr>
        <p:spPr>
          <a:xfrm>
            <a:off x="838201" y="1541539"/>
            <a:ext cx="4227991" cy="435133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p:cNvSpPr>
            <a:spLocks noGrp="1"/>
          </p:cNvSpPr>
          <p:nvPr>
            <p:ph type="title"/>
          </p:nvPr>
        </p:nvSpPr>
        <p:spPr>
          <a:xfrm>
            <a:off x="471256" y="186434"/>
            <a:ext cx="10515600" cy="909454"/>
          </a:xfrm>
        </p:spPr>
        <p:txBody>
          <a:bodyPr/>
          <a:lstStyle/>
          <a:p>
            <a:r>
              <a:rPr lang="en-US"/>
              <a:t>Click to edit Master title style</a:t>
            </a:r>
          </a:p>
        </p:txBody>
      </p:sp>
      <p:sp>
        <p:nvSpPr>
          <p:cNvPr id="2" name="Date Placeholder 1"/>
          <p:cNvSpPr>
            <a:spLocks noGrp="1"/>
          </p:cNvSpPr>
          <p:nvPr>
            <p:ph type="dt" sz="half" idx="14"/>
          </p:nvPr>
        </p:nvSpPr>
        <p:spPr/>
        <p:txBody>
          <a:bodyPr/>
          <a:lstStyle/>
          <a:p>
            <a:fld id="{62FE63C3-A73F-4097-86A9-7B28950712B1}" type="datetime1">
              <a:rPr lang="en-US" smtClean="0"/>
              <a:pPr/>
              <a:t>7/26/2021</a:t>
            </a:fld>
            <a:endParaRPr lang="en-US" dirty="0"/>
          </a:p>
        </p:txBody>
      </p:sp>
      <p:sp>
        <p:nvSpPr>
          <p:cNvPr id="3" name="Footer Placeholder 2"/>
          <p:cNvSpPr>
            <a:spLocks noGrp="1"/>
          </p:cNvSpPr>
          <p:nvPr>
            <p:ph type="ftr" sz="quarter" idx="15"/>
          </p:nvPr>
        </p:nvSpPr>
        <p:spPr/>
        <p:txBody>
          <a:bodyPr/>
          <a:lstStyle/>
          <a:p>
            <a:endParaRPr lang="en-US" dirty="0"/>
          </a:p>
        </p:txBody>
      </p:sp>
      <p:sp>
        <p:nvSpPr>
          <p:cNvPr id="4" name="Slide Number Placeholder 3"/>
          <p:cNvSpPr>
            <a:spLocks noGrp="1"/>
          </p:cNvSpPr>
          <p:nvPr>
            <p:ph type="sldNum" sz="quarter" idx="16"/>
          </p:nvPr>
        </p:nvSpPr>
        <p:spPr/>
        <p:txBody>
          <a:bodyPr/>
          <a:lstStyle/>
          <a:p>
            <a:fld id="{5E94BA17-8AE8-4651-9FD9-8589E5D42325}" type="slidenum">
              <a:rPr lang="en-US" smtClean="0"/>
              <a:pPr/>
              <a:t>‹#›</a:t>
            </a:fld>
            <a:endParaRPr lang="en-US" dirty="0"/>
          </a:p>
        </p:txBody>
      </p:sp>
    </p:spTree>
    <p:extLst>
      <p:ext uri="{BB962C8B-B14F-4D97-AF65-F5344CB8AC3E}">
        <p14:creationId xmlns:p14="http://schemas.microsoft.com/office/powerpoint/2010/main" val="56858991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 and 3 Photos">
    <p:spTree>
      <p:nvGrpSpPr>
        <p:cNvPr id="1" name=""/>
        <p:cNvGrpSpPr/>
        <p:nvPr/>
      </p:nvGrpSpPr>
      <p:grpSpPr>
        <a:xfrm>
          <a:off x="0" y="0"/>
          <a:ext cx="0" cy="0"/>
          <a:chOff x="0" y="0"/>
          <a:chExt cx="0" cy="0"/>
        </a:xfrm>
      </p:grpSpPr>
      <p:sp>
        <p:nvSpPr>
          <p:cNvPr id="12" name="Picture Placeholder 2"/>
          <p:cNvSpPr>
            <a:spLocks noGrp="1" noChangeAspect="1"/>
          </p:cNvSpPr>
          <p:nvPr>
            <p:ph type="pic" idx="13"/>
          </p:nvPr>
        </p:nvSpPr>
        <p:spPr>
          <a:xfrm>
            <a:off x="6001963" y="614310"/>
            <a:ext cx="6190040" cy="2580217"/>
          </a:xfrm>
          <a:prstGeom prst="rect">
            <a:avLst/>
          </a:prstGeom>
          <a:solidFill>
            <a:schemeClr val="bg2">
              <a:lumMod val="75000"/>
            </a:schemeClr>
          </a:solidFill>
          <a:ln>
            <a:solidFill>
              <a:schemeClr val="bg1"/>
            </a:solidFill>
          </a:ln>
        </p:spPr>
        <p:txBody>
          <a:bodyPr anchor="t">
            <a:normAutofit/>
          </a:bodyPr>
          <a:lstStyle>
            <a:lvl1pPr marL="0" indent="0" algn="ctr">
              <a:buNone/>
              <a:defRPr sz="1200" b="0" i="0">
                <a:solidFill>
                  <a:schemeClr val="bg1"/>
                </a:solidFill>
                <a:latin typeface="Arial" charset="0"/>
                <a:ea typeface="Arial" charset="0"/>
                <a:cs typeface="Arial" charset="0"/>
              </a:defRPr>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en-US" dirty="0"/>
          </a:p>
          <a:p>
            <a:r>
              <a:rPr lang="en-US" dirty="0"/>
              <a:t>Drag picture to placeholder or click icon to add</a:t>
            </a:r>
          </a:p>
        </p:txBody>
      </p:sp>
      <p:sp>
        <p:nvSpPr>
          <p:cNvPr id="13" name="Picture Placeholder 2"/>
          <p:cNvSpPr>
            <a:spLocks noGrp="1" noChangeAspect="1"/>
          </p:cNvSpPr>
          <p:nvPr>
            <p:ph type="pic" idx="14"/>
          </p:nvPr>
        </p:nvSpPr>
        <p:spPr>
          <a:xfrm>
            <a:off x="6001963" y="3199309"/>
            <a:ext cx="3150855" cy="2499240"/>
          </a:xfrm>
          <a:prstGeom prst="rect">
            <a:avLst/>
          </a:prstGeom>
          <a:solidFill>
            <a:schemeClr val="bg2">
              <a:lumMod val="75000"/>
            </a:schemeClr>
          </a:solidFill>
          <a:ln>
            <a:solidFill>
              <a:schemeClr val="bg1"/>
            </a:solidFill>
          </a:ln>
        </p:spPr>
        <p:txBody>
          <a:bodyPr anchor="t">
            <a:normAutofit/>
          </a:bodyPr>
          <a:lstStyle>
            <a:lvl1pPr marL="0" indent="0" algn="ctr">
              <a:buNone/>
              <a:defRPr sz="1200" b="0" i="0">
                <a:solidFill>
                  <a:schemeClr val="bg1"/>
                </a:solidFill>
                <a:latin typeface="Arial" charset="0"/>
                <a:ea typeface="Arial" charset="0"/>
                <a:cs typeface="Arial" charset="0"/>
              </a:defRPr>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en-US" dirty="0"/>
          </a:p>
          <a:p>
            <a:r>
              <a:rPr lang="en-US" dirty="0"/>
              <a:t>Drag picture to placeholder or click icon to add</a:t>
            </a:r>
          </a:p>
        </p:txBody>
      </p:sp>
      <p:sp>
        <p:nvSpPr>
          <p:cNvPr id="14" name="Picture Placeholder 2"/>
          <p:cNvSpPr>
            <a:spLocks noGrp="1" noChangeAspect="1"/>
          </p:cNvSpPr>
          <p:nvPr>
            <p:ph type="pic" idx="15"/>
          </p:nvPr>
        </p:nvSpPr>
        <p:spPr>
          <a:xfrm>
            <a:off x="9138763" y="3199309"/>
            <a:ext cx="3053237" cy="2499239"/>
          </a:xfrm>
          <a:prstGeom prst="rect">
            <a:avLst/>
          </a:prstGeom>
          <a:solidFill>
            <a:schemeClr val="bg2">
              <a:lumMod val="75000"/>
            </a:schemeClr>
          </a:solidFill>
          <a:ln>
            <a:solidFill>
              <a:schemeClr val="bg1"/>
            </a:solidFill>
          </a:ln>
        </p:spPr>
        <p:txBody>
          <a:bodyPr anchor="t">
            <a:normAutofit/>
          </a:bodyPr>
          <a:lstStyle>
            <a:lvl1pPr marL="0" indent="0" algn="ctr">
              <a:buNone/>
              <a:defRPr sz="1200" b="0" i="0">
                <a:solidFill>
                  <a:schemeClr val="bg1"/>
                </a:solidFill>
                <a:latin typeface="Arial" charset="0"/>
                <a:ea typeface="Arial" charset="0"/>
                <a:cs typeface="Arial" charset="0"/>
              </a:defRPr>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en-US" dirty="0"/>
          </a:p>
          <a:p>
            <a:r>
              <a:rPr lang="en-US" dirty="0"/>
              <a:t>Drag picture to placeholder or click icon to add</a:t>
            </a:r>
          </a:p>
        </p:txBody>
      </p:sp>
      <p:sp>
        <p:nvSpPr>
          <p:cNvPr id="7" name="Content Placeholder 2"/>
          <p:cNvSpPr>
            <a:spLocks noGrp="1"/>
          </p:cNvSpPr>
          <p:nvPr>
            <p:ph sz="half" idx="1"/>
          </p:nvPr>
        </p:nvSpPr>
        <p:spPr>
          <a:xfrm>
            <a:off x="388398" y="1000002"/>
            <a:ext cx="4227991" cy="435133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4"/>
          <p:cNvSpPr>
            <a:spLocks noGrp="1"/>
          </p:cNvSpPr>
          <p:nvPr>
            <p:ph type="sldNum" sz="quarter" idx="12"/>
          </p:nvPr>
        </p:nvSpPr>
        <p:spPr>
          <a:xfrm>
            <a:off x="11304231" y="6374108"/>
            <a:ext cx="688760" cy="365125"/>
          </a:xfrm>
        </p:spPr>
        <p:txBody>
          <a:bodyPr/>
          <a:lstStyle/>
          <a:p>
            <a:fld id="{5E94BA17-8AE8-4651-9FD9-8589E5D42325}" type="slidenum">
              <a:rPr lang="en-US" smtClean="0"/>
              <a:t>‹#›</a:t>
            </a:fld>
            <a:endParaRPr lang="en-US" dirty="0"/>
          </a:p>
        </p:txBody>
      </p:sp>
      <p:sp>
        <p:nvSpPr>
          <p:cNvPr id="11" name="Date Placeholder 3"/>
          <p:cNvSpPr>
            <a:spLocks noGrp="1"/>
          </p:cNvSpPr>
          <p:nvPr>
            <p:ph type="dt" sz="half" idx="2"/>
          </p:nvPr>
        </p:nvSpPr>
        <p:spPr>
          <a:xfrm>
            <a:off x="210838" y="6356352"/>
            <a:ext cx="1706732" cy="365125"/>
          </a:xfrm>
          <a:prstGeom prst="rect">
            <a:avLst/>
          </a:prstGeom>
        </p:spPr>
        <p:txBody>
          <a:bodyPr vert="horz" lIns="91440" tIns="45720" rIns="91440" bIns="45720" rtlCol="0" anchor="ctr"/>
          <a:lstStyle>
            <a:lvl1pPr algn="l">
              <a:defRPr sz="1050">
                <a:solidFill>
                  <a:schemeClr val="tx1"/>
                </a:solidFill>
                <a:latin typeface="Segoe UI Semibold" panose="020B0702040204020203" pitchFamily="34" charset="0"/>
              </a:defRPr>
            </a:lvl1pPr>
          </a:lstStyle>
          <a:p>
            <a:fld id="{62FE63C3-A73F-4097-86A9-7B28950712B1}" type="datetime1">
              <a:rPr lang="en-US" smtClean="0"/>
              <a:pPr/>
              <a:t>7/26/2021</a:t>
            </a:fld>
            <a:endParaRPr lang="en-US" dirty="0"/>
          </a:p>
        </p:txBody>
      </p:sp>
      <p:sp>
        <p:nvSpPr>
          <p:cNvPr id="15" name="Footer Placeholder 4"/>
          <p:cNvSpPr>
            <a:spLocks noGrp="1"/>
          </p:cNvSpPr>
          <p:nvPr>
            <p:ph type="ftr" sz="quarter" idx="3"/>
          </p:nvPr>
        </p:nvSpPr>
        <p:spPr>
          <a:xfrm>
            <a:off x="3150828" y="6356352"/>
            <a:ext cx="4114800" cy="365125"/>
          </a:xfrm>
          <a:prstGeom prst="rect">
            <a:avLst/>
          </a:prstGeom>
        </p:spPr>
        <p:txBody>
          <a:bodyPr vert="horz" lIns="91440" tIns="45720" rIns="91440" bIns="45720" rtlCol="0" anchor="ctr"/>
          <a:lstStyle>
            <a:lvl1pPr algn="l">
              <a:defRPr sz="1100">
                <a:solidFill>
                  <a:schemeClr val="tx1">
                    <a:tint val="75000"/>
                  </a:schemeClr>
                </a:solidFill>
                <a:latin typeface="Segoe UI Semibold" panose="020B0702040204020203" pitchFamily="34" charset="0"/>
              </a:defRPr>
            </a:lvl1pPr>
          </a:lstStyle>
          <a:p>
            <a:endParaRPr lang="en-US" dirty="0"/>
          </a:p>
        </p:txBody>
      </p:sp>
    </p:spTree>
    <p:extLst>
      <p:ext uri="{BB962C8B-B14F-4D97-AF65-F5344CB8AC3E}">
        <p14:creationId xmlns:p14="http://schemas.microsoft.com/office/powerpoint/2010/main" val="336206841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hart ">
    <p:spTree>
      <p:nvGrpSpPr>
        <p:cNvPr id="1" name=""/>
        <p:cNvGrpSpPr/>
        <p:nvPr/>
      </p:nvGrpSpPr>
      <p:grpSpPr>
        <a:xfrm>
          <a:off x="0" y="0"/>
          <a:ext cx="0" cy="0"/>
          <a:chOff x="0" y="0"/>
          <a:chExt cx="0" cy="0"/>
        </a:xfrm>
      </p:grpSpPr>
      <p:sp>
        <p:nvSpPr>
          <p:cNvPr id="7" name="Content Placeholder 2"/>
          <p:cNvSpPr>
            <a:spLocks noGrp="1"/>
          </p:cNvSpPr>
          <p:nvPr>
            <p:ph sz="half" idx="1"/>
          </p:nvPr>
        </p:nvSpPr>
        <p:spPr>
          <a:xfrm>
            <a:off x="270029" y="1621438"/>
            <a:ext cx="4227991" cy="435133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4"/>
          <p:cNvSpPr>
            <a:spLocks noGrp="1"/>
          </p:cNvSpPr>
          <p:nvPr>
            <p:ph type="sldNum" sz="quarter" idx="12"/>
          </p:nvPr>
        </p:nvSpPr>
        <p:spPr>
          <a:xfrm>
            <a:off x="11304231" y="6374108"/>
            <a:ext cx="688760" cy="365125"/>
          </a:xfrm>
        </p:spPr>
        <p:txBody>
          <a:bodyPr/>
          <a:lstStyle/>
          <a:p>
            <a:fld id="{5E94BA17-8AE8-4651-9FD9-8589E5D42325}" type="slidenum">
              <a:rPr lang="en-US" smtClean="0"/>
              <a:t>‹#›</a:t>
            </a:fld>
            <a:endParaRPr lang="en-US" dirty="0"/>
          </a:p>
        </p:txBody>
      </p:sp>
      <p:sp>
        <p:nvSpPr>
          <p:cNvPr id="6" name="Chart Placeholder 5"/>
          <p:cNvSpPr>
            <a:spLocks noGrp="1"/>
          </p:cNvSpPr>
          <p:nvPr>
            <p:ph type="chart" sz="quarter" idx="13"/>
          </p:nvPr>
        </p:nvSpPr>
        <p:spPr>
          <a:xfrm>
            <a:off x="4935986" y="1683711"/>
            <a:ext cx="6960093" cy="4042386"/>
          </a:xfrm>
          <a:solidFill>
            <a:schemeClr val="bg1">
              <a:lumMod val="75000"/>
            </a:schemeClr>
          </a:solidFill>
        </p:spPr>
        <p:txBody>
          <a:bodyPr/>
          <a:lstStyle>
            <a:lvl1pPr marL="0" indent="0">
              <a:buNone/>
              <a:defRPr/>
            </a:lvl1pPr>
          </a:lstStyle>
          <a:p>
            <a:endParaRPr lang="en-US" dirty="0"/>
          </a:p>
        </p:txBody>
      </p:sp>
      <p:sp>
        <p:nvSpPr>
          <p:cNvPr id="15" name="Title 1"/>
          <p:cNvSpPr>
            <a:spLocks noGrp="1"/>
          </p:cNvSpPr>
          <p:nvPr>
            <p:ph type="title"/>
          </p:nvPr>
        </p:nvSpPr>
        <p:spPr>
          <a:xfrm>
            <a:off x="471256" y="186434"/>
            <a:ext cx="10515600" cy="909454"/>
          </a:xfrm>
        </p:spPr>
        <p:txBody>
          <a:bodyPr/>
          <a:lstStyle/>
          <a:p>
            <a:r>
              <a:rPr lang="en-US"/>
              <a:t>Click to edit Master title style</a:t>
            </a:r>
          </a:p>
        </p:txBody>
      </p:sp>
      <p:sp>
        <p:nvSpPr>
          <p:cNvPr id="16" name="Date Placeholder 3"/>
          <p:cNvSpPr>
            <a:spLocks noGrp="1"/>
          </p:cNvSpPr>
          <p:nvPr>
            <p:ph type="dt" sz="half" idx="2"/>
          </p:nvPr>
        </p:nvSpPr>
        <p:spPr>
          <a:xfrm>
            <a:off x="210838" y="6356352"/>
            <a:ext cx="1706732" cy="365125"/>
          </a:xfrm>
          <a:prstGeom prst="rect">
            <a:avLst/>
          </a:prstGeom>
        </p:spPr>
        <p:txBody>
          <a:bodyPr vert="horz" lIns="91440" tIns="45720" rIns="91440" bIns="45720" rtlCol="0" anchor="ctr"/>
          <a:lstStyle>
            <a:lvl1pPr algn="l">
              <a:defRPr sz="1050">
                <a:solidFill>
                  <a:schemeClr val="tx1"/>
                </a:solidFill>
                <a:latin typeface="Segoe UI Semibold" panose="020B0702040204020203" pitchFamily="34" charset="0"/>
              </a:defRPr>
            </a:lvl1pPr>
          </a:lstStyle>
          <a:p>
            <a:fld id="{62FE63C3-A73F-4097-86A9-7B28950712B1}" type="datetime1">
              <a:rPr lang="en-US" smtClean="0"/>
              <a:pPr/>
              <a:t>7/26/2021</a:t>
            </a:fld>
            <a:endParaRPr lang="en-US" dirty="0"/>
          </a:p>
        </p:txBody>
      </p:sp>
      <p:sp>
        <p:nvSpPr>
          <p:cNvPr id="17" name="Footer Placeholder 4"/>
          <p:cNvSpPr>
            <a:spLocks noGrp="1"/>
          </p:cNvSpPr>
          <p:nvPr>
            <p:ph type="ftr" sz="quarter" idx="3"/>
          </p:nvPr>
        </p:nvSpPr>
        <p:spPr>
          <a:xfrm>
            <a:off x="3150828" y="6356352"/>
            <a:ext cx="4114800" cy="365125"/>
          </a:xfrm>
          <a:prstGeom prst="rect">
            <a:avLst/>
          </a:prstGeom>
        </p:spPr>
        <p:txBody>
          <a:bodyPr vert="horz" lIns="91440" tIns="45720" rIns="91440" bIns="45720" rtlCol="0" anchor="ctr"/>
          <a:lstStyle>
            <a:lvl1pPr algn="l">
              <a:defRPr sz="1100">
                <a:solidFill>
                  <a:schemeClr val="tx1">
                    <a:tint val="75000"/>
                  </a:schemeClr>
                </a:solidFill>
                <a:latin typeface="Segoe UI Semibold" panose="020B0702040204020203" pitchFamily="34" charset="0"/>
              </a:defRPr>
            </a:lvl1pPr>
          </a:lstStyle>
          <a:p>
            <a:endParaRPr lang="en-US" dirty="0"/>
          </a:p>
        </p:txBody>
      </p:sp>
    </p:spTree>
    <p:extLst>
      <p:ext uri="{BB962C8B-B14F-4D97-AF65-F5344CB8AC3E}">
        <p14:creationId xmlns:p14="http://schemas.microsoft.com/office/powerpoint/2010/main" val="3734134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MCR Graphic Slide 202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header</a:t>
            </a:r>
          </a:p>
        </p:txBody>
      </p:sp>
      <p:sp>
        <p:nvSpPr>
          <p:cNvPr id="5" name="Text Placeholder 4"/>
          <p:cNvSpPr>
            <a:spLocks noGrp="1"/>
          </p:cNvSpPr>
          <p:nvPr>
            <p:ph type="body" sz="quarter" idx="11" hasCustomPrompt="1"/>
          </p:nvPr>
        </p:nvSpPr>
        <p:spPr>
          <a:xfrm>
            <a:off x="1662546" y="1104901"/>
            <a:ext cx="8866909" cy="433388"/>
          </a:xfrm>
        </p:spPr>
        <p:txBody>
          <a:bodyPr anchor="t"/>
          <a:lstStyle>
            <a:lvl1pPr marL="0" indent="0" algn="ctr">
              <a:buNone/>
              <a:defRPr b="1" i="1" baseline="0"/>
            </a:lvl1pPr>
          </a:lstStyle>
          <a:p>
            <a:pPr lvl="0"/>
            <a:r>
              <a:rPr lang="en-US" dirty="0"/>
              <a:t>Click to Add Title</a:t>
            </a:r>
          </a:p>
        </p:txBody>
      </p:sp>
    </p:spTree>
    <p:extLst>
      <p:ext uri="{BB962C8B-B14F-4D97-AF65-F5344CB8AC3E}">
        <p14:creationId xmlns:p14="http://schemas.microsoft.com/office/powerpoint/2010/main" val="300463350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2" name="Picture 1" descr="ColorBlue_bar_top-12.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2"/>
            <a:ext cx="12192000"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5"/>
          <p:cNvSpPr txBox="1">
            <a:spLocks/>
          </p:cNvSpPr>
          <p:nvPr userDrawn="1"/>
        </p:nvSpPr>
        <p:spPr bwMode="auto">
          <a:xfrm>
            <a:off x="10759019" y="6492970"/>
            <a:ext cx="1500716"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fld id="{FD7B720C-F98A-44EF-809C-B225C8B671C0}" type="slidenum">
              <a:rPr lang="en-US" altLang="en-US" sz="900" smtClean="0">
                <a:solidFill>
                  <a:srgbClr val="7F7F7F"/>
                </a:solidFill>
                <a:latin typeface="Arial" pitchFamily="34" charset="0"/>
                <a:cs typeface="Arial" pitchFamily="34" charset="0"/>
              </a:rPr>
              <a:pPr algn="ctr" eaLnBrk="1" hangingPunct="1"/>
              <a:t>‹#›</a:t>
            </a:fld>
            <a:endParaRPr lang="en-US" altLang="en-US" sz="900" dirty="0">
              <a:solidFill>
                <a:srgbClr val="7F7F7F"/>
              </a:solidFill>
              <a:latin typeface="Arial" pitchFamily="34" charset="0"/>
              <a:cs typeface="Arial" pitchFamily="34" charset="0"/>
            </a:endParaRPr>
          </a:p>
        </p:txBody>
      </p:sp>
      <p:sp>
        <p:nvSpPr>
          <p:cNvPr id="4" name="Title 3"/>
          <p:cNvSpPr>
            <a:spLocks noGrp="1"/>
          </p:cNvSpPr>
          <p:nvPr>
            <p:ph type="title"/>
          </p:nvPr>
        </p:nvSpPr>
        <p:spPr>
          <a:xfrm>
            <a:off x="1615044" y="132137"/>
            <a:ext cx="10058400" cy="731520"/>
          </a:xfrm>
          <a:prstGeom prst="rect">
            <a:avLst/>
          </a:prstGeom>
        </p:spPr>
        <p:txBody>
          <a:bodyPr anchor="ctr"/>
          <a:lstStyle>
            <a:lvl1pPr algn="l">
              <a:defRPr sz="2800" b="1">
                <a:solidFill>
                  <a:schemeClr val="bg1"/>
                </a:solidFill>
                <a:latin typeface="+mj-lt"/>
              </a:defRPr>
            </a:lvl1pPr>
          </a:lstStyle>
          <a:p>
            <a:r>
              <a:rPr lang="en-US" dirty="0"/>
              <a:t>Click to edit Master title style</a:t>
            </a:r>
          </a:p>
        </p:txBody>
      </p:sp>
      <p:sp>
        <p:nvSpPr>
          <p:cNvPr id="5" name="Text Placeholder 10"/>
          <p:cNvSpPr>
            <a:spLocks noGrp="1"/>
          </p:cNvSpPr>
          <p:nvPr>
            <p:ph type="body" sz="quarter" idx="10"/>
          </p:nvPr>
        </p:nvSpPr>
        <p:spPr>
          <a:xfrm>
            <a:off x="1211267" y="1828249"/>
            <a:ext cx="9753600" cy="1496828"/>
          </a:xfrm>
          <a:prstGeom prst="rect">
            <a:avLst/>
          </a:prstGeom>
        </p:spPr>
        <p:txBody>
          <a:bodyPr/>
          <a:lstStyle>
            <a:lvl1pPr marL="285750" indent="-285750">
              <a:buFont typeface="Arial" panose="020B0604020202020204" pitchFamily="34" charset="0"/>
              <a:buChar char="•"/>
              <a:defRPr sz="1800" baseline="0">
                <a:solidFill>
                  <a:srgbClr val="000000"/>
                </a:solidFill>
                <a:latin typeface="Arial" panose="020B0604020202020204" pitchFamily="34" charset="0"/>
                <a:cs typeface="Arial" panose="020B0604020202020204" pitchFamily="34" charset="0"/>
              </a:defRPr>
            </a:lvl1pPr>
            <a:lvl2pPr>
              <a:defRPr sz="1800">
                <a:solidFill>
                  <a:srgbClr val="000000"/>
                </a:solidFill>
              </a:defRPr>
            </a:lvl2pPr>
            <a:lvl3pPr>
              <a:defRPr sz="1800">
                <a:solidFill>
                  <a:srgbClr val="000000"/>
                </a:solidFill>
              </a:defRPr>
            </a:lvl3pPr>
            <a:lvl4pPr>
              <a:defRPr sz="1800">
                <a:solidFill>
                  <a:srgbClr val="000000"/>
                </a:solidFill>
              </a:defRPr>
            </a:lvl4pPr>
            <a:lvl5pPr>
              <a:defRPr sz="1800">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Text Placeholder 14"/>
          <p:cNvSpPr>
            <a:spLocks noGrp="1"/>
          </p:cNvSpPr>
          <p:nvPr>
            <p:ph type="body" sz="quarter" idx="11"/>
          </p:nvPr>
        </p:nvSpPr>
        <p:spPr>
          <a:xfrm>
            <a:off x="1211267" y="1279024"/>
            <a:ext cx="9753600" cy="457200"/>
          </a:xfrm>
          <a:prstGeom prst="rect">
            <a:avLst/>
          </a:prstGeom>
        </p:spPr>
        <p:txBody>
          <a:bodyPr/>
          <a:lstStyle>
            <a:lvl1pPr marL="0" indent="0">
              <a:buNone/>
              <a:defRPr sz="1800" b="1">
                <a:solidFill>
                  <a:schemeClr val="accent2"/>
                </a:solidFill>
                <a:latin typeface="Arial" panose="020B0604020202020204" pitchFamily="34" charset="0"/>
                <a:cs typeface="Arial" panose="020B0604020202020204" pitchFamily="34" charset="0"/>
              </a:defRPr>
            </a:lvl1pPr>
          </a:lstStyle>
          <a:p>
            <a:pPr lvl="0"/>
            <a:r>
              <a:rPr lang="en-US" dirty="0"/>
              <a:t>Click to edit Master text styles</a:t>
            </a:r>
          </a:p>
          <a:p>
            <a:pPr lvl="0"/>
            <a:endParaRPr lang="en-US" dirty="0"/>
          </a:p>
        </p:txBody>
      </p:sp>
      <p:pic>
        <p:nvPicPr>
          <p:cNvPr id="7" name="Picture 6">
            <a:extLst>
              <a:ext uri="{FF2B5EF4-FFF2-40B4-BE49-F238E27FC236}">
                <a16:creationId xmlns:a16="http://schemas.microsoft.com/office/drawing/2014/main" id="{7794E5E6-D3C8-4634-A5FD-E81F62096F7F}"/>
              </a:ext>
            </a:extLst>
          </p:cNvPr>
          <p:cNvPicPr>
            <a:picLocks noChangeAspect="1"/>
          </p:cNvPicPr>
          <p:nvPr userDrawn="1"/>
        </p:nvPicPr>
        <p:blipFill>
          <a:blip r:embed="rId3"/>
          <a:stretch>
            <a:fillRect/>
          </a:stretch>
        </p:blipFill>
        <p:spPr>
          <a:xfrm>
            <a:off x="279936" y="158936"/>
            <a:ext cx="673947" cy="739591"/>
          </a:xfrm>
          <a:prstGeom prst="rect">
            <a:avLst/>
          </a:prstGeom>
        </p:spPr>
      </p:pic>
    </p:spTree>
    <p:extLst>
      <p:ext uri="{BB962C8B-B14F-4D97-AF65-F5344CB8AC3E}">
        <p14:creationId xmlns:p14="http://schemas.microsoft.com/office/powerpoint/2010/main" val="22612656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371601"/>
            <a:ext cx="10464800" cy="1927225"/>
          </a:xfrm>
        </p:spPr>
        <p:txBody>
          <a:bodyPr anchor="b">
            <a:noAutofit/>
          </a:bodyPr>
          <a:lstStyle>
            <a:lvl1pPr>
              <a:defRPr sz="5400" cap="all" baseline="0"/>
            </a:lvl1pPr>
          </a:lstStyle>
          <a:p>
            <a:r>
              <a:rPr lang="en-US" dirty="0"/>
              <a:t>Click to edit Master title style</a:t>
            </a:r>
          </a:p>
        </p:txBody>
      </p:sp>
      <p:sp>
        <p:nvSpPr>
          <p:cNvPr id="3" name="Subtitle 2"/>
          <p:cNvSpPr>
            <a:spLocks noGrp="1"/>
          </p:cNvSpPr>
          <p:nvPr>
            <p:ph type="subTitle" idx="1"/>
          </p:nvPr>
        </p:nvSpPr>
        <p:spPr>
          <a:xfrm>
            <a:off x="914400" y="3505200"/>
            <a:ext cx="8534400" cy="1752600"/>
          </a:xfrm>
        </p:spPr>
        <p:txBody>
          <a:bodyPr/>
          <a:lstStyle>
            <a:lvl1pPr marL="0" indent="0" algn="l">
              <a:buNone/>
              <a:defRPr>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FC749014-DC69-476D-BF37-5BB2AAA7EF43}" type="datetime1">
              <a:rPr lang="en-US" smtClean="0"/>
              <a:t>7/26/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255D0D3-81C0-41DB-A22D-2F0682AD2CFD}" type="slidenum">
              <a:rPr lang="en-US" smtClean="0"/>
              <a:t>‹#›</a:t>
            </a:fld>
            <a:endParaRPr lang="en-US" dirty="0"/>
          </a:p>
        </p:txBody>
      </p:sp>
      <p:cxnSp>
        <p:nvCxnSpPr>
          <p:cNvPr id="8" name="Straight Connector 7"/>
          <p:cNvCxnSpPr/>
          <p:nvPr/>
        </p:nvCxnSpPr>
        <p:spPr>
          <a:xfrm>
            <a:off x="914400" y="3398520"/>
            <a:ext cx="10464800"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922442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51E9741-5776-4A42-8442-05948ACBA12C}" type="datetimeFigureOut">
              <a:rPr lang="en-US" smtClean="0"/>
              <a:t>7/26/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255D0D3-81C0-41DB-A22D-2F0682AD2CFD}" type="slidenum">
              <a:rPr lang="en-US" smtClean="0"/>
              <a:t>‹#›</a:t>
            </a:fld>
            <a:endParaRPr lang="en-US" dirty="0"/>
          </a:p>
        </p:txBody>
      </p:sp>
    </p:spTree>
    <p:extLst>
      <p:ext uri="{BB962C8B-B14F-4D97-AF65-F5344CB8AC3E}">
        <p14:creationId xmlns:p14="http://schemas.microsoft.com/office/powerpoint/2010/main" val="309147195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PRG Section Seperator">
    <p:spTree>
      <p:nvGrpSpPr>
        <p:cNvPr id="1" name=""/>
        <p:cNvGrpSpPr/>
        <p:nvPr/>
      </p:nvGrpSpPr>
      <p:grpSpPr>
        <a:xfrm>
          <a:off x="0" y="0"/>
          <a:ext cx="0" cy="0"/>
          <a:chOff x="0" y="0"/>
          <a:chExt cx="0" cy="0"/>
        </a:xfrm>
      </p:grpSpPr>
      <p:pic>
        <p:nvPicPr>
          <p:cNvPr id="4" name="Picture 1" descr="Color_PPT_template-01.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a:extLst>
              <a:ext uri="{FF2B5EF4-FFF2-40B4-BE49-F238E27FC236}">
                <a16:creationId xmlns:a16="http://schemas.microsoft.com/office/drawing/2014/main" id="{B848BD9E-F092-4D8A-AF47-1BCF0608851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3" name="Title 2"/>
          <p:cNvSpPr>
            <a:spLocks noGrp="1"/>
          </p:cNvSpPr>
          <p:nvPr>
            <p:ph type="title"/>
          </p:nvPr>
        </p:nvSpPr>
        <p:spPr>
          <a:xfrm>
            <a:off x="609600" y="274638"/>
            <a:ext cx="10972800" cy="1143000"/>
          </a:xfrm>
          <a:prstGeom prst="rect">
            <a:avLst/>
          </a:prstGeom>
        </p:spPr>
        <p:txBody>
          <a:bodyPr vert="horz"/>
          <a:lstStyle/>
          <a:p>
            <a:r>
              <a:rPr lang="en-US"/>
              <a:t>Click to edit Master title style</a:t>
            </a:r>
          </a:p>
        </p:txBody>
      </p:sp>
    </p:spTree>
    <p:extLst>
      <p:ext uri="{BB962C8B-B14F-4D97-AF65-F5344CB8AC3E}">
        <p14:creationId xmlns:p14="http://schemas.microsoft.com/office/powerpoint/2010/main" val="35816909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A65F275-095D-B647-82BC-3D75DBE434FD}"/>
              </a:ext>
            </a:extLst>
          </p:cNvPr>
          <p:cNvSpPr txBox="1"/>
          <p:nvPr userDrawn="1"/>
        </p:nvSpPr>
        <p:spPr>
          <a:xfrm>
            <a:off x="11706048" y="6529149"/>
            <a:ext cx="341760" cy="246221"/>
          </a:xfrm>
          <a:prstGeom prst="rect">
            <a:avLst/>
          </a:prstGeom>
          <a:noFill/>
        </p:spPr>
        <p:txBody>
          <a:bodyPr wrap="none" rtlCol="0">
            <a:spAutoFit/>
          </a:bodyPr>
          <a:lstStyle/>
          <a:p>
            <a:fld id="{8A9C26BD-B65B-0247-8C97-B9322C3DB165}" type="slidenum">
              <a:rPr lang="en-US" sz="1000" baseline="0" smtClean="0">
                <a:solidFill>
                  <a:schemeClr val="tx1"/>
                </a:solidFill>
                <a:latin typeface="Arial" panose="020B0604020202020204" pitchFamily="34" charset="0"/>
              </a:rPr>
              <a:t>‹#›</a:t>
            </a:fld>
            <a:endParaRPr lang="en-US" sz="1000" baseline="0" dirty="0">
              <a:solidFill>
                <a:schemeClr val="tx1"/>
              </a:solidFill>
              <a:latin typeface="Arial" panose="020B0604020202020204" pitchFamily="34" charset="0"/>
            </a:endParaRPr>
          </a:p>
        </p:txBody>
      </p:sp>
    </p:spTree>
    <p:extLst>
      <p:ext uri="{BB962C8B-B14F-4D97-AF65-F5344CB8AC3E}">
        <p14:creationId xmlns:p14="http://schemas.microsoft.com/office/powerpoint/2010/main" val="296109089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Mast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0A15B2E-F95E-47A0-998F-57E97242BC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93815" y="373438"/>
            <a:ext cx="1527765" cy="864524"/>
          </a:xfrm>
          <a:prstGeom prst="rect">
            <a:avLst/>
          </a:prstGeom>
        </p:spPr>
      </p:pic>
      <p:sp>
        <p:nvSpPr>
          <p:cNvPr id="5" name="Rectangle 4">
            <a:extLst>
              <a:ext uri="{FF2B5EF4-FFF2-40B4-BE49-F238E27FC236}">
                <a16:creationId xmlns:a16="http://schemas.microsoft.com/office/drawing/2014/main" id="{01CD760F-0CDC-3D42-BE2B-CC928E67D64D}"/>
              </a:ext>
            </a:extLst>
          </p:cNvPr>
          <p:cNvSpPr/>
          <p:nvPr userDrawn="1"/>
        </p:nvSpPr>
        <p:spPr>
          <a:xfrm>
            <a:off x="0" y="6446520"/>
            <a:ext cx="12192000" cy="411480"/>
          </a:xfrm>
          <a:prstGeom prst="rect">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0499D8D0-8B88-C748-9E4B-31ABE846E279}"/>
              </a:ext>
            </a:extLst>
          </p:cNvPr>
          <p:cNvSpPr txBox="1"/>
          <p:nvPr userDrawn="1"/>
        </p:nvSpPr>
        <p:spPr>
          <a:xfrm>
            <a:off x="11706048" y="6529149"/>
            <a:ext cx="341760" cy="246221"/>
          </a:xfrm>
          <a:prstGeom prst="rect">
            <a:avLst/>
          </a:prstGeom>
          <a:noFill/>
        </p:spPr>
        <p:txBody>
          <a:bodyPr wrap="none" rtlCol="0">
            <a:spAutoFit/>
          </a:bodyPr>
          <a:lstStyle/>
          <a:p>
            <a:fld id="{8A9C26BD-B65B-0247-8C97-B9322C3DB165}" type="slidenum">
              <a:rPr lang="en-US" sz="1000" baseline="0" smtClean="0">
                <a:solidFill>
                  <a:schemeClr val="bg1"/>
                </a:solidFill>
                <a:latin typeface="Arial" panose="020B0604020202020204" pitchFamily="34" charset="0"/>
              </a:rPr>
              <a:t>‹#›</a:t>
            </a:fld>
            <a:endParaRPr lang="en-US" sz="1000" baseline="0" dirty="0">
              <a:solidFill>
                <a:schemeClr val="bg1"/>
              </a:solidFill>
              <a:latin typeface="Arial" panose="020B0604020202020204" pitchFamily="34" charset="0"/>
            </a:endParaRPr>
          </a:p>
        </p:txBody>
      </p:sp>
      <p:cxnSp>
        <p:nvCxnSpPr>
          <p:cNvPr id="9" name="Straight Connector 8">
            <a:extLst>
              <a:ext uri="{FF2B5EF4-FFF2-40B4-BE49-F238E27FC236}">
                <a16:creationId xmlns:a16="http://schemas.microsoft.com/office/drawing/2014/main" id="{B990391C-F287-3943-B915-9AE0611D15F3}"/>
              </a:ext>
            </a:extLst>
          </p:cNvPr>
          <p:cNvCxnSpPr>
            <a:cxnSpLocks/>
          </p:cNvCxnSpPr>
          <p:nvPr userDrawn="1"/>
        </p:nvCxnSpPr>
        <p:spPr>
          <a:xfrm>
            <a:off x="11606773" y="6511896"/>
            <a:ext cx="0" cy="27699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104922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Slide-2">
    <p:spTree>
      <p:nvGrpSpPr>
        <p:cNvPr id="1" name=""/>
        <p:cNvGrpSpPr/>
        <p:nvPr/>
      </p:nvGrpSpPr>
      <p:grpSpPr>
        <a:xfrm>
          <a:off x="0" y="0"/>
          <a:ext cx="0" cy="0"/>
          <a:chOff x="0" y="0"/>
          <a:chExt cx="0" cy="0"/>
        </a:xfrm>
      </p:grpSpPr>
      <p:pic>
        <p:nvPicPr>
          <p:cNvPr id="6" name="Picture 5" descr="A snow covered mountain&#10;&#10;Description automatically generated">
            <a:extLst>
              <a:ext uri="{FF2B5EF4-FFF2-40B4-BE49-F238E27FC236}">
                <a16:creationId xmlns:a16="http://schemas.microsoft.com/office/drawing/2014/main" id="{3AE346E0-05E7-0C40-B13F-14291D9BA23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347"/>
            <a:ext cx="12192000" cy="6854653"/>
          </a:xfrm>
          <a:prstGeom prst="rect">
            <a:avLst/>
          </a:prstGeom>
        </p:spPr>
      </p:pic>
      <p:pic>
        <p:nvPicPr>
          <p:cNvPr id="12" name="Picture 11">
            <a:extLst>
              <a:ext uri="{FF2B5EF4-FFF2-40B4-BE49-F238E27FC236}">
                <a16:creationId xmlns:a16="http://schemas.microsoft.com/office/drawing/2014/main" id="{A54D5F61-502D-433F-9B2D-A5A6D1042F0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96144" y="373438"/>
            <a:ext cx="1527048" cy="964451"/>
          </a:xfrm>
          <a:prstGeom prst="rect">
            <a:avLst/>
          </a:prstGeom>
        </p:spPr>
      </p:pic>
      <p:sp>
        <p:nvSpPr>
          <p:cNvPr id="7" name="TextBox 6">
            <a:extLst>
              <a:ext uri="{FF2B5EF4-FFF2-40B4-BE49-F238E27FC236}">
                <a16:creationId xmlns:a16="http://schemas.microsoft.com/office/drawing/2014/main" id="{3888BB9A-101F-A642-AE9E-9DB33A6B01A2}"/>
              </a:ext>
            </a:extLst>
          </p:cNvPr>
          <p:cNvSpPr txBox="1"/>
          <p:nvPr userDrawn="1"/>
        </p:nvSpPr>
        <p:spPr>
          <a:xfrm>
            <a:off x="11706048" y="6529149"/>
            <a:ext cx="341760" cy="246221"/>
          </a:xfrm>
          <a:prstGeom prst="rect">
            <a:avLst/>
          </a:prstGeom>
          <a:noFill/>
        </p:spPr>
        <p:txBody>
          <a:bodyPr wrap="none" rtlCol="0">
            <a:spAutoFit/>
          </a:bodyPr>
          <a:lstStyle/>
          <a:p>
            <a:fld id="{8A9C26BD-B65B-0247-8C97-B9322C3DB165}" type="slidenum">
              <a:rPr lang="en-US" sz="1000" baseline="0" smtClean="0">
                <a:solidFill>
                  <a:schemeClr val="bg1"/>
                </a:solidFill>
                <a:latin typeface="Arial" panose="020B0604020202020204" pitchFamily="34" charset="0"/>
              </a:rPr>
              <a:t>‹#›</a:t>
            </a:fld>
            <a:endParaRPr lang="en-US" sz="1000" baseline="0" dirty="0">
              <a:solidFill>
                <a:schemeClr val="bg1"/>
              </a:solidFill>
              <a:latin typeface="Arial" panose="020B0604020202020204" pitchFamily="34" charset="0"/>
            </a:endParaRPr>
          </a:p>
        </p:txBody>
      </p:sp>
      <p:cxnSp>
        <p:nvCxnSpPr>
          <p:cNvPr id="8" name="Straight Connector 7">
            <a:extLst>
              <a:ext uri="{FF2B5EF4-FFF2-40B4-BE49-F238E27FC236}">
                <a16:creationId xmlns:a16="http://schemas.microsoft.com/office/drawing/2014/main" id="{9B329E96-6471-B049-9BEC-0FCADB3B98FF}"/>
              </a:ext>
            </a:extLst>
          </p:cNvPr>
          <p:cNvCxnSpPr>
            <a:cxnSpLocks/>
          </p:cNvCxnSpPr>
          <p:nvPr userDrawn="1"/>
        </p:nvCxnSpPr>
        <p:spPr>
          <a:xfrm>
            <a:off x="11606773" y="6511896"/>
            <a:ext cx="0" cy="27699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036089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Heading Paragraph Blue Side Bar w/Logo">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2BADDF6-3834-2F4C-A085-1078EB8B8CE2}"/>
              </a:ext>
            </a:extLst>
          </p:cNvPr>
          <p:cNvSpPr/>
          <p:nvPr userDrawn="1"/>
        </p:nvSpPr>
        <p:spPr>
          <a:xfrm>
            <a:off x="9448800" y="-3352"/>
            <a:ext cx="2743200" cy="6861352"/>
          </a:xfrm>
          <a:prstGeom prst="rect">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a:extLst>
              <a:ext uri="{FF2B5EF4-FFF2-40B4-BE49-F238E27FC236}">
                <a16:creationId xmlns:a16="http://schemas.microsoft.com/office/drawing/2014/main" id="{05D530FF-0737-40A3-B6D5-37C61322223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96144" y="373438"/>
            <a:ext cx="1527048" cy="964451"/>
          </a:xfrm>
          <a:prstGeom prst="rect">
            <a:avLst/>
          </a:prstGeom>
        </p:spPr>
      </p:pic>
      <p:sp>
        <p:nvSpPr>
          <p:cNvPr id="8" name="TextBox 7">
            <a:extLst>
              <a:ext uri="{FF2B5EF4-FFF2-40B4-BE49-F238E27FC236}">
                <a16:creationId xmlns:a16="http://schemas.microsoft.com/office/drawing/2014/main" id="{2A16E9E5-DD7C-B748-94F9-5B2D1BB41A43}"/>
              </a:ext>
            </a:extLst>
          </p:cNvPr>
          <p:cNvSpPr txBox="1"/>
          <p:nvPr userDrawn="1"/>
        </p:nvSpPr>
        <p:spPr>
          <a:xfrm>
            <a:off x="11706048" y="6529149"/>
            <a:ext cx="341760" cy="246221"/>
          </a:xfrm>
          <a:prstGeom prst="rect">
            <a:avLst/>
          </a:prstGeom>
          <a:noFill/>
        </p:spPr>
        <p:txBody>
          <a:bodyPr wrap="none" rtlCol="0">
            <a:spAutoFit/>
          </a:bodyPr>
          <a:lstStyle/>
          <a:p>
            <a:fld id="{8A9C26BD-B65B-0247-8C97-B9322C3DB165}" type="slidenum">
              <a:rPr lang="en-US" sz="1000" baseline="0" smtClean="0">
                <a:solidFill>
                  <a:schemeClr val="bg1"/>
                </a:solidFill>
                <a:latin typeface="Arial" panose="020B0604020202020204" pitchFamily="34" charset="0"/>
              </a:rPr>
              <a:t>‹#›</a:t>
            </a:fld>
            <a:endParaRPr lang="en-US" sz="1000" baseline="0" dirty="0">
              <a:solidFill>
                <a:schemeClr val="bg1"/>
              </a:solidFill>
              <a:latin typeface="Arial" panose="020B0604020202020204" pitchFamily="34" charset="0"/>
            </a:endParaRPr>
          </a:p>
        </p:txBody>
      </p:sp>
      <p:cxnSp>
        <p:nvCxnSpPr>
          <p:cNvPr id="9" name="Straight Connector 8">
            <a:extLst>
              <a:ext uri="{FF2B5EF4-FFF2-40B4-BE49-F238E27FC236}">
                <a16:creationId xmlns:a16="http://schemas.microsoft.com/office/drawing/2014/main" id="{58F12E3B-689B-8D4C-A804-425924F6275D}"/>
              </a:ext>
            </a:extLst>
          </p:cNvPr>
          <p:cNvCxnSpPr>
            <a:cxnSpLocks/>
          </p:cNvCxnSpPr>
          <p:nvPr userDrawn="1"/>
        </p:nvCxnSpPr>
        <p:spPr>
          <a:xfrm>
            <a:off x="11606773" y="6511896"/>
            <a:ext cx="0" cy="27699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753718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Heading + Paragraph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B1DB4D-1657-4800-B9ED-2B852D48F5A5}"/>
              </a:ext>
            </a:extLst>
          </p:cNvPr>
          <p:cNvSpPr/>
          <p:nvPr userDrawn="1"/>
        </p:nvSpPr>
        <p:spPr>
          <a:xfrm>
            <a:off x="8260755" y="0"/>
            <a:ext cx="3931245" cy="6857999"/>
          </a:xfrm>
          <a:prstGeom prst="rect">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a:extLst>
              <a:ext uri="{FF2B5EF4-FFF2-40B4-BE49-F238E27FC236}">
                <a16:creationId xmlns:a16="http://schemas.microsoft.com/office/drawing/2014/main" id="{D62EEAAD-4656-46E7-8EF7-463F2C10E67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96144" y="373438"/>
            <a:ext cx="1527048" cy="964451"/>
          </a:xfrm>
          <a:prstGeom prst="rect">
            <a:avLst/>
          </a:prstGeom>
        </p:spPr>
      </p:pic>
      <p:sp>
        <p:nvSpPr>
          <p:cNvPr id="7" name="TextBox 6">
            <a:extLst>
              <a:ext uri="{FF2B5EF4-FFF2-40B4-BE49-F238E27FC236}">
                <a16:creationId xmlns:a16="http://schemas.microsoft.com/office/drawing/2014/main" id="{3C16C4BC-1A17-3E4A-BB04-686740CBE33F}"/>
              </a:ext>
            </a:extLst>
          </p:cNvPr>
          <p:cNvSpPr txBox="1"/>
          <p:nvPr userDrawn="1"/>
        </p:nvSpPr>
        <p:spPr>
          <a:xfrm>
            <a:off x="11706048" y="6529149"/>
            <a:ext cx="341760" cy="246221"/>
          </a:xfrm>
          <a:prstGeom prst="rect">
            <a:avLst/>
          </a:prstGeom>
          <a:noFill/>
        </p:spPr>
        <p:txBody>
          <a:bodyPr wrap="none" rtlCol="0">
            <a:spAutoFit/>
          </a:bodyPr>
          <a:lstStyle/>
          <a:p>
            <a:fld id="{8A9C26BD-B65B-0247-8C97-B9322C3DB165}" type="slidenum">
              <a:rPr lang="en-US" sz="1000" baseline="0" smtClean="0">
                <a:solidFill>
                  <a:schemeClr val="bg1"/>
                </a:solidFill>
                <a:latin typeface="Arial" panose="020B0604020202020204" pitchFamily="34" charset="0"/>
              </a:rPr>
              <a:t>‹#›</a:t>
            </a:fld>
            <a:endParaRPr lang="en-US" sz="1000" baseline="0" dirty="0">
              <a:solidFill>
                <a:schemeClr val="bg1"/>
              </a:solidFill>
              <a:latin typeface="Arial" panose="020B0604020202020204" pitchFamily="34" charset="0"/>
            </a:endParaRPr>
          </a:p>
        </p:txBody>
      </p:sp>
      <p:cxnSp>
        <p:nvCxnSpPr>
          <p:cNvPr id="8" name="Straight Connector 7">
            <a:extLst>
              <a:ext uri="{FF2B5EF4-FFF2-40B4-BE49-F238E27FC236}">
                <a16:creationId xmlns:a16="http://schemas.microsoft.com/office/drawing/2014/main" id="{BC25D7F9-8BF0-0749-9DC9-F117910B311D}"/>
              </a:ext>
            </a:extLst>
          </p:cNvPr>
          <p:cNvCxnSpPr>
            <a:cxnSpLocks/>
          </p:cNvCxnSpPr>
          <p:nvPr userDrawn="1"/>
        </p:nvCxnSpPr>
        <p:spPr>
          <a:xfrm>
            <a:off x="11606773" y="6511896"/>
            <a:ext cx="0" cy="27699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651484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ntent Boxes">
    <p:spTree>
      <p:nvGrpSpPr>
        <p:cNvPr id="1" name=""/>
        <p:cNvGrpSpPr/>
        <p:nvPr/>
      </p:nvGrpSpPr>
      <p:grpSpPr>
        <a:xfrm>
          <a:off x="0" y="0"/>
          <a:ext cx="0" cy="0"/>
          <a:chOff x="0" y="0"/>
          <a:chExt cx="0" cy="0"/>
        </a:xfrm>
      </p:grpSpPr>
      <p:pic>
        <p:nvPicPr>
          <p:cNvPr id="3" name="Picture 2" descr="A person standing next to a person&#10;&#10;Description automatically generated">
            <a:extLst>
              <a:ext uri="{FF2B5EF4-FFF2-40B4-BE49-F238E27FC236}">
                <a16:creationId xmlns:a16="http://schemas.microsoft.com/office/drawing/2014/main" id="{F8D9A3D6-775B-EC44-B7D6-13A5B797D9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88" y="0"/>
            <a:ext cx="12189023" cy="6858000"/>
          </a:xfrm>
          <a:prstGeom prst="rect">
            <a:avLst/>
          </a:prstGeom>
        </p:spPr>
      </p:pic>
      <p:pic>
        <p:nvPicPr>
          <p:cNvPr id="17" name="Picture 16">
            <a:extLst>
              <a:ext uri="{FF2B5EF4-FFF2-40B4-BE49-F238E27FC236}">
                <a16:creationId xmlns:a16="http://schemas.microsoft.com/office/drawing/2014/main" id="{1D3E289B-169F-4227-B242-B1A4A3BDE29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93815" y="373438"/>
            <a:ext cx="1527765" cy="864524"/>
          </a:xfrm>
          <a:prstGeom prst="rect">
            <a:avLst/>
          </a:prstGeom>
        </p:spPr>
      </p:pic>
      <p:sp>
        <p:nvSpPr>
          <p:cNvPr id="6" name="TextBox 5">
            <a:extLst>
              <a:ext uri="{FF2B5EF4-FFF2-40B4-BE49-F238E27FC236}">
                <a16:creationId xmlns:a16="http://schemas.microsoft.com/office/drawing/2014/main" id="{6B522D31-C8A5-E646-A391-CDFB7B45B4A4}"/>
              </a:ext>
            </a:extLst>
          </p:cNvPr>
          <p:cNvSpPr txBox="1"/>
          <p:nvPr userDrawn="1"/>
        </p:nvSpPr>
        <p:spPr>
          <a:xfrm>
            <a:off x="11706048" y="6529149"/>
            <a:ext cx="341760" cy="246221"/>
          </a:xfrm>
          <a:prstGeom prst="rect">
            <a:avLst/>
          </a:prstGeom>
          <a:noFill/>
        </p:spPr>
        <p:txBody>
          <a:bodyPr wrap="none" rtlCol="0">
            <a:spAutoFit/>
          </a:bodyPr>
          <a:lstStyle/>
          <a:p>
            <a:fld id="{8A9C26BD-B65B-0247-8C97-B9322C3DB165}" type="slidenum">
              <a:rPr lang="en-US" sz="1000" baseline="0" smtClean="0">
                <a:solidFill>
                  <a:schemeClr val="bg1"/>
                </a:solidFill>
                <a:latin typeface="Arial" panose="020B0604020202020204" pitchFamily="34" charset="0"/>
              </a:rPr>
              <a:t>‹#›</a:t>
            </a:fld>
            <a:endParaRPr lang="en-US" sz="1000" baseline="0" dirty="0">
              <a:solidFill>
                <a:schemeClr val="bg1"/>
              </a:solidFill>
              <a:latin typeface="Arial" panose="020B0604020202020204" pitchFamily="34" charset="0"/>
            </a:endParaRPr>
          </a:p>
        </p:txBody>
      </p:sp>
      <p:cxnSp>
        <p:nvCxnSpPr>
          <p:cNvPr id="7" name="Straight Connector 6">
            <a:extLst>
              <a:ext uri="{FF2B5EF4-FFF2-40B4-BE49-F238E27FC236}">
                <a16:creationId xmlns:a16="http://schemas.microsoft.com/office/drawing/2014/main" id="{E14375CE-1232-F347-8F6A-C53AD7203396}"/>
              </a:ext>
            </a:extLst>
          </p:cNvPr>
          <p:cNvCxnSpPr>
            <a:cxnSpLocks/>
          </p:cNvCxnSpPr>
          <p:nvPr userDrawn="1"/>
        </p:nvCxnSpPr>
        <p:spPr>
          <a:xfrm>
            <a:off x="11606773" y="6511896"/>
            <a:ext cx="0" cy="27699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9485257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70.xml"/><Relationship Id="rId2" Type="http://schemas.openxmlformats.org/officeDocument/2006/relationships/slideLayout" Target="../slideLayouts/slideLayout69.xml"/><Relationship Id="rId1" Type="http://schemas.openxmlformats.org/officeDocument/2006/relationships/slideLayout" Target="../slideLayouts/slideLayout68.xml"/><Relationship Id="rId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3" Type="http://schemas.openxmlformats.org/officeDocument/2006/relationships/slideLayout" Target="../slideLayouts/slideLayout73.xml"/><Relationship Id="rId7" Type="http://schemas.openxmlformats.org/officeDocument/2006/relationships/slideLayout" Target="../slideLayouts/slideLayout77.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5" Type="http://schemas.openxmlformats.org/officeDocument/2006/relationships/slideLayout" Target="../slideLayouts/slideLayout75.xml"/><Relationship Id="rId4" Type="http://schemas.openxmlformats.org/officeDocument/2006/relationships/slideLayout" Target="../slideLayouts/slideLayout7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theme" Target="../theme/theme12.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image" Target="../media/image36.png"/></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92.xml"/><Relationship Id="rId2" Type="http://schemas.openxmlformats.org/officeDocument/2006/relationships/slideLayout" Target="../slideLayouts/slideLayout91.xml"/><Relationship Id="rId1" Type="http://schemas.openxmlformats.org/officeDocument/2006/relationships/slideLayout" Target="../slideLayouts/slideLayout90.xml"/><Relationship Id="rId5" Type="http://schemas.openxmlformats.org/officeDocument/2006/relationships/theme" Target="../theme/theme13.xml"/><Relationship Id="rId4" Type="http://schemas.openxmlformats.org/officeDocument/2006/relationships/slideLayout" Target="../slideLayouts/slideLayout93.xml"/></Relationships>
</file>

<file path=ppt/slideMasters/_rels/slideMaster14.xml.rels><?xml version="1.0" encoding="UTF-8" standalone="yes"?>
<Relationships xmlns="http://schemas.openxmlformats.org/package/2006/relationships"><Relationship Id="rId8" Type="http://schemas.openxmlformats.org/officeDocument/2006/relationships/theme" Target="../theme/theme14.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5" Type="http://schemas.openxmlformats.org/officeDocument/2006/relationships/slideLayout" Target="../slideLayouts/slideLayout98.xml"/><Relationship Id="rId4" Type="http://schemas.openxmlformats.org/officeDocument/2006/relationships/slideLayout" Target="../slideLayouts/slideLayout9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theme" Target="../theme/theme15.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s>
</file>

<file path=ppt/slideMasters/_rels/slideMaster16.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gs" Target="../tags/tag6.xml"/><Relationship Id="rId18" Type="http://schemas.openxmlformats.org/officeDocument/2006/relationships/tags" Target="../tags/tag11.xml"/><Relationship Id="rId26" Type="http://schemas.openxmlformats.org/officeDocument/2006/relationships/tags" Target="../tags/tag19.xml"/><Relationship Id="rId39" Type="http://schemas.openxmlformats.org/officeDocument/2006/relationships/image" Target="../media/image43.jpeg"/><Relationship Id="rId3" Type="http://schemas.openxmlformats.org/officeDocument/2006/relationships/slideLayout" Target="../slideLayouts/slideLayout120.xml"/><Relationship Id="rId21" Type="http://schemas.openxmlformats.org/officeDocument/2006/relationships/tags" Target="../tags/tag14.xml"/><Relationship Id="rId34" Type="http://schemas.openxmlformats.org/officeDocument/2006/relationships/tags" Target="../tags/tag27.xml"/><Relationship Id="rId7" Type="http://schemas.openxmlformats.org/officeDocument/2006/relationships/vmlDrawing" Target="../drawings/vmlDrawing1.v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tags" Target="../tags/tag18.xml"/><Relationship Id="rId33" Type="http://schemas.openxmlformats.org/officeDocument/2006/relationships/tags" Target="../tags/tag26.xml"/><Relationship Id="rId38" Type="http://schemas.openxmlformats.org/officeDocument/2006/relationships/image" Target="../media/image42.emf"/><Relationship Id="rId2" Type="http://schemas.openxmlformats.org/officeDocument/2006/relationships/slideLayout" Target="../slideLayouts/slideLayout119.xml"/><Relationship Id="rId16" Type="http://schemas.openxmlformats.org/officeDocument/2006/relationships/tags" Target="../tags/tag9.xml"/><Relationship Id="rId20" Type="http://schemas.openxmlformats.org/officeDocument/2006/relationships/tags" Target="../tags/tag13.xml"/><Relationship Id="rId29" Type="http://schemas.openxmlformats.org/officeDocument/2006/relationships/tags" Target="../tags/tag22.xml"/><Relationship Id="rId1" Type="http://schemas.openxmlformats.org/officeDocument/2006/relationships/slideLayout" Target="../slideLayouts/slideLayout118.xml"/><Relationship Id="rId6" Type="http://schemas.openxmlformats.org/officeDocument/2006/relationships/theme" Target="../theme/theme16.xml"/><Relationship Id="rId11" Type="http://schemas.openxmlformats.org/officeDocument/2006/relationships/tags" Target="../tags/tag4.xml"/><Relationship Id="rId24" Type="http://schemas.openxmlformats.org/officeDocument/2006/relationships/tags" Target="../tags/tag17.xml"/><Relationship Id="rId32" Type="http://schemas.openxmlformats.org/officeDocument/2006/relationships/tags" Target="../tags/tag25.xml"/><Relationship Id="rId37" Type="http://schemas.openxmlformats.org/officeDocument/2006/relationships/oleObject" Target="../embeddings/oleObject1.bin"/><Relationship Id="rId5" Type="http://schemas.openxmlformats.org/officeDocument/2006/relationships/slideLayout" Target="../slideLayouts/slideLayout122.xml"/><Relationship Id="rId15" Type="http://schemas.openxmlformats.org/officeDocument/2006/relationships/tags" Target="../tags/tag8.xml"/><Relationship Id="rId23" Type="http://schemas.openxmlformats.org/officeDocument/2006/relationships/tags" Target="../tags/tag16.xml"/><Relationship Id="rId28" Type="http://schemas.openxmlformats.org/officeDocument/2006/relationships/tags" Target="../tags/tag21.xml"/><Relationship Id="rId36" Type="http://schemas.openxmlformats.org/officeDocument/2006/relationships/tags" Target="../tags/tag29.xml"/><Relationship Id="rId10" Type="http://schemas.openxmlformats.org/officeDocument/2006/relationships/tags" Target="../tags/tag3.xml"/><Relationship Id="rId19" Type="http://schemas.openxmlformats.org/officeDocument/2006/relationships/tags" Target="../tags/tag12.xml"/><Relationship Id="rId31" Type="http://schemas.openxmlformats.org/officeDocument/2006/relationships/tags" Target="../tags/tag24.xml"/><Relationship Id="rId4" Type="http://schemas.openxmlformats.org/officeDocument/2006/relationships/slideLayout" Target="../slideLayouts/slideLayout121.xml"/><Relationship Id="rId9" Type="http://schemas.openxmlformats.org/officeDocument/2006/relationships/tags" Target="../tags/tag2.xml"/><Relationship Id="rId14" Type="http://schemas.openxmlformats.org/officeDocument/2006/relationships/tags" Target="../tags/tag7.xml"/><Relationship Id="rId22" Type="http://schemas.openxmlformats.org/officeDocument/2006/relationships/tags" Target="../tags/tag15.xml"/><Relationship Id="rId27" Type="http://schemas.openxmlformats.org/officeDocument/2006/relationships/tags" Target="../tags/tag20.xml"/><Relationship Id="rId30" Type="http://schemas.openxmlformats.org/officeDocument/2006/relationships/tags" Target="../tags/tag23.xml"/><Relationship Id="rId35" Type="http://schemas.openxmlformats.org/officeDocument/2006/relationships/tags" Target="../tags/tag28.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slideLayout" Target="../slideLayouts/slideLayout148.xml"/><Relationship Id="rId39" Type="http://schemas.openxmlformats.org/officeDocument/2006/relationships/slideLayout" Target="../slideLayouts/slideLayout161.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34" Type="http://schemas.openxmlformats.org/officeDocument/2006/relationships/slideLayout" Target="../slideLayouts/slideLayout156.xml"/><Relationship Id="rId42" Type="http://schemas.openxmlformats.org/officeDocument/2006/relationships/theme" Target="../theme/theme17.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slideLayout" Target="../slideLayouts/slideLayout147.xml"/><Relationship Id="rId33" Type="http://schemas.openxmlformats.org/officeDocument/2006/relationships/slideLayout" Target="../slideLayouts/slideLayout155.xml"/><Relationship Id="rId38" Type="http://schemas.openxmlformats.org/officeDocument/2006/relationships/slideLayout" Target="../slideLayouts/slideLayout160.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29" Type="http://schemas.openxmlformats.org/officeDocument/2006/relationships/slideLayout" Target="../slideLayouts/slideLayout151.xml"/><Relationship Id="rId41" Type="http://schemas.openxmlformats.org/officeDocument/2006/relationships/slideLayout" Target="../slideLayouts/slideLayout163.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32" Type="http://schemas.openxmlformats.org/officeDocument/2006/relationships/slideLayout" Target="../slideLayouts/slideLayout154.xml"/><Relationship Id="rId37" Type="http://schemas.openxmlformats.org/officeDocument/2006/relationships/slideLayout" Target="../slideLayouts/slideLayout159.xml"/><Relationship Id="rId40" Type="http://schemas.openxmlformats.org/officeDocument/2006/relationships/slideLayout" Target="../slideLayouts/slideLayout162.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28" Type="http://schemas.openxmlformats.org/officeDocument/2006/relationships/slideLayout" Target="../slideLayouts/slideLayout150.xml"/><Relationship Id="rId36" Type="http://schemas.openxmlformats.org/officeDocument/2006/relationships/slideLayout" Target="../slideLayouts/slideLayout158.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31" Type="http://schemas.openxmlformats.org/officeDocument/2006/relationships/slideLayout" Target="../slideLayouts/slideLayout153.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slideLayout" Target="../slideLayouts/slideLayout149.xml"/><Relationship Id="rId30" Type="http://schemas.openxmlformats.org/officeDocument/2006/relationships/slideLayout" Target="../slideLayouts/slideLayout152.xml"/><Relationship Id="rId35" Type="http://schemas.openxmlformats.org/officeDocument/2006/relationships/slideLayout" Target="../slideLayouts/slideLayout15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71.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26" Type="http://schemas.openxmlformats.org/officeDocument/2006/relationships/slideLayout" Target="../slideLayouts/slideLayout189.xml"/><Relationship Id="rId3" Type="http://schemas.openxmlformats.org/officeDocument/2006/relationships/slideLayout" Target="../slideLayouts/slideLayout166.xml"/><Relationship Id="rId21" Type="http://schemas.openxmlformats.org/officeDocument/2006/relationships/slideLayout" Target="../slideLayouts/slideLayout184.xml"/><Relationship Id="rId7" Type="http://schemas.openxmlformats.org/officeDocument/2006/relationships/slideLayout" Target="../slideLayouts/slideLayout170.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0" Type="http://schemas.openxmlformats.org/officeDocument/2006/relationships/slideLayout" Target="../slideLayouts/slideLayout183.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24" Type="http://schemas.openxmlformats.org/officeDocument/2006/relationships/slideLayout" Target="../slideLayouts/slideLayout187.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10" Type="http://schemas.openxmlformats.org/officeDocument/2006/relationships/slideLayout" Target="../slideLayouts/slideLayout173.xml"/><Relationship Id="rId19" Type="http://schemas.openxmlformats.org/officeDocument/2006/relationships/slideLayout" Target="../slideLayouts/slideLayout182.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97.xml"/><Relationship Id="rId13" Type="http://schemas.openxmlformats.org/officeDocument/2006/relationships/slideLayout" Target="../slideLayouts/slideLayout202.xml"/><Relationship Id="rId3" Type="http://schemas.openxmlformats.org/officeDocument/2006/relationships/slideLayout" Target="../slideLayouts/slideLayout192.xml"/><Relationship Id="rId7" Type="http://schemas.openxmlformats.org/officeDocument/2006/relationships/slideLayout" Target="../slideLayouts/slideLayout196.xml"/><Relationship Id="rId12" Type="http://schemas.openxmlformats.org/officeDocument/2006/relationships/slideLayout" Target="../slideLayouts/slideLayout201.xml"/><Relationship Id="rId2" Type="http://schemas.openxmlformats.org/officeDocument/2006/relationships/slideLayout" Target="../slideLayouts/slideLayout191.xml"/><Relationship Id="rId16" Type="http://schemas.openxmlformats.org/officeDocument/2006/relationships/image" Target="../media/image67.png"/><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5" Type="http://schemas.openxmlformats.org/officeDocument/2006/relationships/slideLayout" Target="../slideLayouts/slideLayout194.xml"/><Relationship Id="rId15" Type="http://schemas.openxmlformats.org/officeDocument/2006/relationships/theme" Target="../theme/theme19.xml"/><Relationship Id="rId10" Type="http://schemas.openxmlformats.org/officeDocument/2006/relationships/slideLayout" Target="../slideLayouts/slideLayout199.xml"/><Relationship Id="rId4" Type="http://schemas.openxmlformats.org/officeDocument/2006/relationships/slideLayout" Target="../slideLayouts/slideLayout193.xml"/><Relationship Id="rId9" Type="http://schemas.openxmlformats.org/officeDocument/2006/relationships/slideLayout" Target="../slideLayouts/slideLayout198.xml"/><Relationship Id="rId14" Type="http://schemas.openxmlformats.org/officeDocument/2006/relationships/slideLayout" Target="../slideLayouts/slideLayout203.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4.png"/><Relationship Id="rId13" Type="http://schemas.microsoft.com/office/2007/relationships/hdphoto" Target="../media/hdphoto3.wdp"/><Relationship Id="rId3" Type="http://schemas.openxmlformats.org/officeDocument/2006/relationships/image" Target="../media/image10.jpeg"/><Relationship Id="rId7" Type="http://schemas.microsoft.com/office/2007/relationships/hdphoto" Target="../media/hdphoto1.wdp"/><Relationship Id="rId12" Type="http://schemas.openxmlformats.org/officeDocument/2006/relationships/image" Target="../media/image17.png"/><Relationship Id="rId2"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image" Target="../media/image13.png"/><Relationship Id="rId11" Type="http://schemas.openxmlformats.org/officeDocument/2006/relationships/image" Target="../media/image16.jpeg"/><Relationship Id="rId5" Type="http://schemas.openxmlformats.org/officeDocument/2006/relationships/image" Target="../media/image12.jpeg"/><Relationship Id="rId10" Type="http://schemas.openxmlformats.org/officeDocument/2006/relationships/image" Target="../media/image15.jpeg"/><Relationship Id="rId4" Type="http://schemas.openxmlformats.org/officeDocument/2006/relationships/image" Target="../media/image11.jpeg"/><Relationship Id="rId9" Type="http://schemas.microsoft.com/office/2007/relationships/hdphoto" Target="../media/hdphoto2.wdp"/></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11.xml"/><Relationship Id="rId13" Type="http://schemas.openxmlformats.org/officeDocument/2006/relationships/theme" Target="../theme/theme20.xml"/><Relationship Id="rId3" Type="http://schemas.openxmlformats.org/officeDocument/2006/relationships/slideLayout" Target="../slideLayouts/slideLayout206.xml"/><Relationship Id="rId7" Type="http://schemas.openxmlformats.org/officeDocument/2006/relationships/slideLayout" Target="../slideLayouts/slideLayout210.xml"/><Relationship Id="rId12" Type="http://schemas.openxmlformats.org/officeDocument/2006/relationships/slideLayout" Target="../slideLayouts/slideLayout215.xml"/><Relationship Id="rId2" Type="http://schemas.openxmlformats.org/officeDocument/2006/relationships/slideLayout" Target="../slideLayouts/slideLayout205.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slideLayout" Target="../slideLayouts/slideLayout214.xml"/><Relationship Id="rId5" Type="http://schemas.openxmlformats.org/officeDocument/2006/relationships/slideLayout" Target="../slideLayouts/slideLayout208.xml"/><Relationship Id="rId15" Type="http://schemas.openxmlformats.org/officeDocument/2006/relationships/image" Target="../media/image70.emf"/><Relationship Id="rId10" Type="http://schemas.openxmlformats.org/officeDocument/2006/relationships/slideLayout" Target="../slideLayouts/slideLayout213.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image" Target="../media/image69.emf"/></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23.xml"/><Relationship Id="rId13" Type="http://schemas.openxmlformats.org/officeDocument/2006/relationships/theme" Target="../theme/theme21.xml"/><Relationship Id="rId3" Type="http://schemas.openxmlformats.org/officeDocument/2006/relationships/slideLayout" Target="../slideLayouts/slideLayout218.xml"/><Relationship Id="rId7" Type="http://schemas.openxmlformats.org/officeDocument/2006/relationships/slideLayout" Target="../slideLayouts/slideLayout222.xml"/><Relationship Id="rId12" Type="http://schemas.openxmlformats.org/officeDocument/2006/relationships/slideLayout" Target="../slideLayouts/slideLayout227.xml"/><Relationship Id="rId2" Type="http://schemas.openxmlformats.org/officeDocument/2006/relationships/slideLayout" Target="../slideLayouts/slideLayout217.xml"/><Relationship Id="rId1" Type="http://schemas.openxmlformats.org/officeDocument/2006/relationships/slideLayout" Target="../slideLayouts/slideLayout216.xml"/><Relationship Id="rId6" Type="http://schemas.openxmlformats.org/officeDocument/2006/relationships/slideLayout" Target="../slideLayouts/slideLayout221.xml"/><Relationship Id="rId11" Type="http://schemas.openxmlformats.org/officeDocument/2006/relationships/slideLayout" Target="../slideLayouts/slideLayout226.xml"/><Relationship Id="rId5" Type="http://schemas.openxmlformats.org/officeDocument/2006/relationships/slideLayout" Target="../slideLayouts/slideLayout220.xml"/><Relationship Id="rId10" Type="http://schemas.openxmlformats.org/officeDocument/2006/relationships/slideLayout" Target="../slideLayouts/slideLayout225.xml"/><Relationship Id="rId4" Type="http://schemas.openxmlformats.org/officeDocument/2006/relationships/slideLayout" Target="../slideLayouts/slideLayout219.xml"/><Relationship Id="rId9" Type="http://schemas.openxmlformats.org/officeDocument/2006/relationships/slideLayout" Target="../slideLayouts/slideLayout224.xml"/><Relationship Id="rId14" Type="http://schemas.openxmlformats.org/officeDocument/2006/relationships/image" Target="../media/image73.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35.xml"/><Relationship Id="rId13" Type="http://schemas.openxmlformats.org/officeDocument/2006/relationships/theme" Target="../theme/theme22.xml"/><Relationship Id="rId3" Type="http://schemas.openxmlformats.org/officeDocument/2006/relationships/slideLayout" Target="../slideLayouts/slideLayout230.xml"/><Relationship Id="rId7" Type="http://schemas.openxmlformats.org/officeDocument/2006/relationships/slideLayout" Target="../slideLayouts/slideLayout234.xml"/><Relationship Id="rId12" Type="http://schemas.openxmlformats.org/officeDocument/2006/relationships/slideLayout" Target="../slideLayouts/slideLayout239.xml"/><Relationship Id="rId2" Type="http://schemas.openxmlformats.org/officeDocument/2006/relationships/slideLayout" Target="../slideLayouts/slideLayout229.x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1" Type="http://schemas.openxmlformats.org/officeDocument/2006/relationships/slideLayout" Target="../slideLayouts/slideLayout238.xml"/><Relationship Id="rId5" Type="http://schemas.openxmlformats.org/officeDocument/2006/relationships/slideLayout" Target="../slideLayouts/slideLayout232.xml"/><Relationship Id="rId10" Type="http://schemas.openxmlformats.org/officeDocument/2006/relationships/slideLayout" Target="../slideLayouts/slideLayout237.xml"/><Relationship Id="rId4" Type="http://schemas.openxmlformats.org/officeDocument/2006/relationships/slideLayout" Target="../slideLayouts/slideLayout231.xml"/><Relationship Id="rId9" Type="http://schemas.openxmlformats.org/officeDocument/2006/relationships/slideLayout" Target="../slideLayouts/slideLayout236.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47.xml"/><Relationship Id="rId13" Type="http://schemas.openxmlformats.org/officeDocument/2006/relationships/theme" Target="../theme/theme23.xml"/><Relationship Id="rId3" Type="http://schemas.openxmlformats.org/officeDocument/2006/relationships/slideLayout" Target="../slideLayouts/slideLayout242.xml"/><Relationship Id="rId7" Type="http://schemas.openxmlformats.org/officeDocument/2006/relationships/slideLayout" Target="../slideLayouts/slideLayout246.xml"/><Relationship Id="rId12" Type="http://schemas.openxmlformats.org/officeDocument/2006/relationships/slideLayout" Target="../slideLayouts/slideLayout251.xml"/><Relationship Id="rId2" Type="http://schemas.openxmlformats.org/officeDocument/2006/relationships/slideLayout" Target="../slideLayouts/slideLayout241.xml"/><Relationship Id="rId1" Type="http://schemas.openxmlformats.org/officeDocument/2006/relationships/slideLayout" Target="../slideLayouts/slideLayout240.xml"/><Relationship Id="rId6" Type="http://schemas.openxmlformats.org/officeDocument/2006/relationships/slideLayout" Target="../slideLayouts/slideLayout245.xml"/><Relationship Id="rId11" Type="http://schemas.openxmlformats.org/officeDocument/2006/relationships/slideLayout" Target="../slideLayouts/slideLayout250.xml"/><Relationship Id="rId5" Type="http://schemas.openxmlformats.org/officeDocument/2006/relationships/slideLayout" Target="../slideLayouts/slideLayout244.xml"/><Relationship Id="rId10" Type="http://schemas.openxmlformats.org/officeDocument/2006/relationships/slideLayout" Target="../slideLayouts/slideLayout249.xml"/><Relationship Id="rId4" Type="http://schemas.openxmlformats.org/officeDocument/2006/relationships/slideLayout" Target="../slideLayouts/slideLayout243.xml"/><Relationship Id="rId9" Type="http://schemas.openxmlformats.org/officeDocument/2006/relationships/slideLayout" Target="../slideLayouts/slideLayout248.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59.xml"/><Relationship Id="rId13" Type="http://schemas.openxmlformats.org/officeDocument/2006/relationships/slideLayout" Target="../slideLayouts/slideLayout264.xml"/><Relationship Id="rId18" Type="http://schemas.openxmlformats.org/officeDocument/2006/relationships/slideLayout" Target="../slideLayouts/slideLayout269.xml"/><Relationship Id="rId26" Type="http://schemas.openxmlformats.org/officeDocument/2006/relationships/slideLayout" Target="../slideLayouts/slideLayout277.xml"/><Relationship Id="rId3" Type="http://schemas.openxmlformats.org/officeDocument/2006/relationships/slideLayout" Target="../slideLayouts/slideLayout254.xml"/><Relationship Id="rId21" Type="http://schemas.openxmlformats.org/officeDocument/2006/relationships/slideLayout" Target="../slideLayouts/slideLayout272.xml"/><Relationship Id="rId7" Type="http://schemas.openxmlformats.org/officeDocument/2006/relationships/slideLayout" Target="../slideLayouts/slideLayout258.xml"/><Relationship Id="rId12" Type="http://schemas.openxmlformats.org/officeDocument/2006/relationships/slideLayout" Target="../slideLayouts/slideLayout263.xml"/><Relationship Id="rId17" Type="http://schemas.openxmlformats.org/officeDocument/2006/relationships/slideLayout" Target="../slideLayouts/slideLayout268.xml"/><Relationship Id="rId25" Type="http://schemas.openxmlformats.org/officeDocument/2006/relationships/slideLayout" Target="../slideLayouts/slideLayout276.xml"/><Relationship Id="rId2" Type="http://schemas.openxmlformats.org/officeDocument/2006/relationships/slideLayout" Target="../slideLayouts/slideLayout253.xml"/><Relationship Id="rId16" Type="http://schemas.openxmlformats.org/officeDocument/2006/relationships/slideLayout" Target="../slideLayouts/slideLayout267.xml"/><Relationship Id="rId20" Type="http://schemas.openxmlformats.org/officeDocument/2006/relationships/slideLayout" Target="../slideLayouts/slideLayout271.xml"/><Relationship Id="rId1" Type="http://schemas.openxmlformats.org/officeDocument/2006/relationships/slideLayout" Target="../slideLayouts/slideLayout252.xml"/><Relationship Id="rId6" Type="http://schemas.openxmlformats.org/officeDocument/2006/relationships/slideLayout" Target="../slideLayouts/slideLayout257.xml"/><Relationship Id="rId11" Type="http://schemas.openxmlformats.org/officeDocument/2006/relationships/slideLayout" Target="../slideLayouts/slideLayout262.xml"/><Relationship Id="rId24" Type="http://schemas.openxmlformats.org/officeDocument/2006/relationships/slideLayout" Target="../slideLayouts/slideLayout275.xml"/><Relationship Id="rId5" Type="http://schemas.openxmlformats.org/officeDocument/2006/relationships/slideLayout" Target="../slideLayouts/slideLayout256.xml"/><Relationship Id="rId15" Type="http://schemas.openxmlformats.org/officeDocument/2006/relationships/slideLayout" Target="../slideLayouts/slideLayout266.xml"/><Relationship Id="rId23" Type="http://schemas.openxmlformats.org/officeDocument/2006/relationships/slideLayout" Target="../slideLayouts/slideLayout274.xml"/><Relationship Id="rId28" Type="http://schemas.openxmlformats.org/officeDocument/2006/relationships/image" Target="../media/image77.jpeg"/><Relationship Id="rId10" Type="http://schemas.openxmlformats.org/officeDocument/2006/relationships/slideLayout" Target="../slideLayouts/slideLayout261.xml"/><Relationship Id="rId19" Type="http://schemas.openxmlformats.org/officeDocument/2006/relationships/slideLayout" Target="../slideLayouts/slideLayout270.xml"/><Relationship Id="rId4" Type="http://schemas.openxmlformats.org/officeDocument/2006/relationships/slideLayout" Target="../slideLayouts/slideLayout255.xml"/><Relationship Id="rId9" Type="http://schemas.openxmlformats.org/officeDocument/2006/relationships/slideLayout" Target="../slideLayouts/slideLayout260.xml"/><Relationship Id="rId14" Type="http://schemas.openxmlformats.org/officeDocument/2006/relationships/slideLayout" Target="../slideLayouts/slideLayout265.xml"/><Relationship Id="rId22" Type="http://schemas.openxmlformats.org/officeDocument/2006/relationships/slideLayout" Target="../slideLayouts/slideLayout273.xml"/><Relationship Id="rId27" Type="http://schemas.openxmlformats.org/officeDocument/2006/relationships/theme" Target="../theme/theme24.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theme" Target="../theme/theme3.xml"/><Relationship Id="rId1" Type="http://schemas.openxmlformats.org/officeDocument/2006/relationships/slideLayout" Target="../slideLayouts/slideLayout7.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5" Type="http://schemas.openxmlformats.org/officeDocument/2006/relationships/image" Target="../media/image18.pn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heme" Target="../theme/theme5.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theme" Target="../theme/theme6.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heme" Target="../theme/theme7.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image" Target="../media/image19.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image" Target="../media/image22.png"/><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8.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image" Target="../media/image23.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27.jpe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9.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1222044" y="869645"/>
            <a:ext cx="5191125" cy="697230"/>
          </a:xfrm>
          <a:prstGeom prst="rect">
            <a:avLst/>
          </a:prstGeom>
        </p:spPr>
        <p:txBody>
          <a:bodyPr wrap="square" lIns="0" tIns="0" rIns="0" bIns="0">
            <a:spAutoFit/>
          </a:bodyPr>
          <a:lstStyle>
            <a:lvl1pPr>
              <a:defRPr sz="4400" b="0" i="0">
                <a:solidFill>
                  <a:srgbClr val="555248"/>
                </a:solidFill>
                <a:latin typeface="Corbel"/>
                <a:cs typeface="Corbel"/>
              </a:defRPr>
            </a:lvl1pPr>
          </a:lstStyle>
          <a:p>
            <a:endParaRPr/>
          </a:p>
        </p:txBody>
      </p:sp>
      <p:sp>
        <p:nvSpPr>
          <p:cNvPr id="3" name="Holder 3"/>
          <p:cNvSpPr>
            <a:spLocks noGrp="1"/>
          </p:cNvSpPr>
          <p:nvPr>
            <p:ph type="body" idx="1"/>
          </p:nvPr>
        </p:nvSpPr>
        <p:spPr>
          <a:xfrm>
            <a:off x="1386458" y="1622297"/>
            <a:ext cx="9154160" cy="4359275"/>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7/26/2021</a:t>
            </a:fld>
            <a:endParaRPr lang="en-US" dirty="0"/>
          </a:p>
        </p:txBody>
      </p:sp>
      <p:sp>
        <p:nvSpPr>
          <p:cNvPr id="6" name="Holder 6"/>
          <p:cNvSpPr>
            <a:spLocks noGrp="1"/>
          </p:cNvSpPr>
          <p:nvPr>
            <p:ph type="sldNum" sz="quarter" idx="7"/>
          </p:nvPr>
        </p:nvSpPr>
        <p:spPr>
          <a:xfrm>
            <a:off x="5972302" y="6426615"/>
            <a:ext cx="247014" cy="196215"/>
          </a:xfrm>
          <a:prstGeom prst="rect">
            <a:avLst/>
          </a:prstGeom>
        </p:spPr>
        <p:txBody>
          <a:bodyPr wrap="square" lIns="0" tIns="0" rIns="0" bIns="0">
            <a:spAutoFit/>
          </a:bodyPr>
          <a:lstStyle>
            <a:lvl1pPr>
              <a:defRPr sz="1200" b="0" i="0">
                <a:solidFill>
                  <a:srgbClr val="605352"/>
                </a:solidFill>
                <a:latin typeface="Arial"/>
                <a:cs typeface="Arial"/>
              </a:defRPr>
            </a:lvl1pPr>
          </a:lstStyle>
          <a:p>
            <a:pPr marL="38100">
              <a:lnSpc>
                <a:spcPts val="1425"/>
              </a:lnSpc>
            </a:pPr>
            <a:fld id="{81D60167-4931-47E6-BA6A-407CBD079E47}" type="slidenum">
              <a:rPr spc="-5" dirty="0"/>
              <a:t>‹#›</a:t>
            </a:fld>
            <a:endParaRPr spc="-5"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Slide Number Placeholder 5"/>
          <p:cNvSpPr txBox="1">
            <a:spLocks/>
          </p:cNvSpPr>
          <p:nvPr userDrawn="1"/>
        </p:nvSpPr>
        <p:spPr bwMode="auto">
          <a:xfrm>
            <a:off x="10759019" y="6492970"/>
            <a:ext cx="1500716"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fld id="{FD7B720C-F98A-44EF-809C-B225C8B671C0}" type="slidenum">
              <a:rPr lang="en-US" altLang="en-US" sz="900" smtClean="0">
                <a:solidFill>
                  <a:srgbClr val="7F7F7F"/>
                </a:solidFill>
                <a:latin typeface="Arial" pitchFamily="34" charset="0"/>
                <a:cs typeface="Arial" pitchFamily="34" charset="0"/>
              </a:rPr>
              <a:pPr algn="ctr" eaLnBrk="1" hangingPunct="1"/>
              <a:t>‹#›</a:t>
            </a:fld>
            <a:endParaRPr lang="en-US" altLang="en-US" sz="900" dirty="0">
              <a:solidFill>
                <a:srgbClr val="7F7F7F"/>
              </a:solidFill>
              <a:latin typeface="Arial" pitchFamily="34" charset="0"/>
              <a:cs typeface="Arial" pitchFamily="34" charset="0"/>
            </a:endParaRPr>
          </a:p>
        </p:txBody>
      </p:sp>
    </p:spTree>
    <p:extLst>
      <p:ext uri="{BB962C8B-B14F-4D97-AF65-F5344CB8AC3E}">
        <p14:creationId xmlns:p14="http://schemas.microsoft.com/office/powerpoint/2010/main" val="3216262557"/>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Lst>
  <p:hf hdr="0" dt="0"/>
  <p:txStyles>
    <p:titleStyle>
      <a:lvl1pPr algn="ctr" defTabSz="457200" rtl="0" eaLnBrk="0" fontAlgn="base" hangingPunct="0">
        <a:spcBef>
          <a:spcPct val="0"/>
        </a:spcBef>
        <a:spcAft>
          <a:spcPct val="0"/>
        </a:spcAft>
        <a:defRPr sz="4400" kern="1200">
          <a:solidFill>
            <a:schemeClr val="tx1"/>
          </a:solidFill>
          <a:latin typeface="+mj-lt"/>
          <a:ea typeface="MS PGothic" pitchFamily="34" charset="-128"/>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0220256"/>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Lst>
  <p:txStyles>
    <p:titleStyle>
      <a:lvl1pPr algn="l" defTabSz="914400" rtl="0" eaLnBrk="1" latinLnBrk="0" hangingPunct="1">
        <a:lnSpc>
          <a:spcPct val="90000"/>
        </a:lnSpc>
        <a:spcBef>
          <a:spcPct val="0"/>
        </a:spcBef>
        <a:buNone/>
        <a:defRPr sz="4400" kern="1200" baseline="0">
          <a:solidFill>
            <a:schemeClr val="tx1"/>
          </a:solidFill>
          <a:latin typeface="Arial" panose="020B0604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kern="1200" baseline="0">
          <a:solidFill>
            <a:schemeClr val="tx1"/>
          </a:solidFill>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tx1"/>
          </a:solidFill>
          <a:latin typeface="Arial" panose="020B06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baseline="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210838" y="6356352"/>
            <a:ext cx="1706732" cy="365125"/>
          </a:xfrm>
          <a:prstGeom prst="rect">
            <a:avLst/>
          </a:prstGeom>
        </p:spPr>
        <p:txBody>
          <a:bodyPr vert="horz" lIns="91440" tIns="45720" rIns="91440" bIns="45720" rtlCol="0" anchor="ctr"/>
          <a:lstStyle>
            <a:lvl1pPr algn="l">
              <a:defRPr sz="1000">
                <a:solidFill>
                  <a:schemeClr val="tx1"/>
                </a:solidFill>
                <a:latin typeface="Segoe UI Semibold" panose="020B0702040204020203" pitchFamily="34" charset="0"/>
              </a:defRPr>
            </a:lvl1pPr>
          </a:lstStyle>
          <a:p>
            <a:fld id="{62FE63C3-A73F-4097-86A9-7B28950712B1}" type="datetime1">
              <a:rPr lang="en-US" smtClean="0"/>
              <a:pPr/>
              <a:t>7/26/2021</a:t>
            </a:fld>
            <a:endParaRPr lang="en-US" dirty="0"/>
          </a:p>
        </p:txBody>
      </p:sp>
      <p:sp>
        <p:nvSpPr>
          <p:cNvPr id="5" name="Footer Placeholder 4"/>
          <p:cNvSpPr>
            <a:spLocks noGrp="1"/>
          </p:cNvSpPr>
          <p:nvPr>
            <p:ph type="ftr" sz="quarter" idx="3"/>
          </p:nvPr>
        </p:nvSpPr>
        <p:spPr>
          <a:xfrm>
            <a:off x="3150828" y="6356352"/>
            <a:ext cx="4114800" cy="365125"/>
          </a:xfrm>
          <a:prstGeom prst="rect">
            <a:avLst/>
          </a:prstGeom>
        </p:spPr>
        <p:txBody>
          <a:bodyPr vert="horz" lIns="91440" tIns="45720" rIns="91440" bIns="45720" rtlCol="0" anchor="ctr"/>
          <a:lstStyle>
            <a:lvl1pPr algn="l">
              <a:defRPr sz="1000">
                <a:solidFill>
                  <a:schemeClr val="tx1">
                    <a:tint val="75000"/>
                  </a:schemeClr>
                </a:solidFill>
                <a:latin typeface="Segoe UI Semibold" panose="020B0702040204020203" pitchFamily="34" charset="0"/>
              </a:defRPr>
            </a:lvl1pPr>
          </a:lstStyle>
          <a:p>
            <a:endParaRPr lang="en-US" dirty="0"/>
          </a:p>
        </p:txBody>
      </p:sp>
      <p:sp>
        <p:nvSpPr>
          <p:cNvPr id="6" name="Slide Number Placeholder 5"/>
          <p:cNvSpPr>
            <a:spLocks noGrp="1"/>
          </p:cNvSpPr>
          <p:nvPr>
            <p:ph type="sldNum" sz="quarter" idx="4"/>
          </p:nvPr>
        </p:nvSpPr>
        <p:spPr>
          <a:xfrm>
            <a:off x="11304231" y="6374108"/>
            <a:ext cx="688760" cy="365125"/>
          </a:xfrm>
          <a:prstGeom prst="rect">
            <a:avLst/>
          </a:prstGeom>
        </p:spPr>
        <p:txBody>
          <a:bodyPr vert="horz" lIns="91440" tIns="45720" rIns="91440" bIns="45720" rtlCol="0" anchor="ctr"/>
          <a:lstStyle>
            <a:lvl1pPr algn="r">
              <a:defRPr sz="1200" b="1" i="0">
                <a:solidFill>
                  <a:schemeClr val="bg1">
                    <a:lumMod val="50000"/>
                  </a:schemeClr>
                </a:solidFill>
                <a:latin typeface="Open Sans"/>
                <a:ea typeface="Segoe UI" panose="020B0502040204020203" pitchFamily="34" charset="0"/>
                <a:cs typeface="Open Sans"/>
              </a:defRPr>
            </a:lvl1pPr>
          </a:lstStyle>
          <a:p>
            <a:fld id="{5E94BA17-8AE8-4651-9FD9-8589E5D42325}" type="slidenum">
              <a:rPr lang="en-US" smtClean="0"/>
              <a:pPr/>
              <a:t>‹#›</a:t>
            </a:fld>
            <a:endParaRPr lang="en-US" dirty="0"/>
          </a:p>
        </p:txBody>
      </p:sp>
      <p:cxnSp>
        <p:nvCxnSpPr>
          <p:cNvPr id="9" name="Straight Connector 8"/>
          <p:cNvCxnSpPr/>
          <p:nvPr userDrawn="1"/>
        </p:nvCxnSpPr>
        <p:spPr>
          <a:xfrm>
            <a:off x="11425131" y="6383045"/>
            <a:ext cx="0" cy="325158"/>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7" name="Rectangle 6"/>
          <p:cNvSpPr/>
          <p:nvPr userDrawn="1"/>
        </p:nvSpPr>
        <p:spPr>
          <a:xfrm>
            <a:off x="0" y="6795856"/>
            <a:ext cx="12192000" cy="7102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0" name="Picture 9"/>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9192405" y="6464424"/>
            <a:ext cx="1971862" cy="174740"/>
          </a:xfrm>
          <a:prstGeom prst="rect">
            <a:avLst/>
          </a:prstGeom>
        </p:spPr>
      </p:pic>
    </p:spTree>
    <p:extLst>
      <p:ext uri="{BB962C8B-B14F-4D97-AF65-F5344CB8AC3E}">
        <p14:creationId xmlns:p14="http://schemas.microsoft.com/office/powerpoint/2010/main" val="97027194"/>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Lst>
  <p:hf hdr="0" ftr="0" dt="0"/>
  <p:txStyles>
    <p:titleStyle>
      <a:lvl1pPr algn="l" defTabSz="914400" rtl="0" eaLnBrk="1" latinLnBrk="0" hangingPunct="1">
        <a:lnSpc>
          <a:spcPct val="90000"/>
        </a:lnSpc>
        <a:spcBef>
          <a:spcPct val="0"/>
        </a:spcBef>
        <a:buNone/>
        <a:defRPr sz="3200" kern="1200">
          <a:solidFill>
            <a:schemeClr val="tx1"/>
          </a:solidFill>
          <a:latin typeface="Segoe UI Light" panose="020B05020402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Slide Number Placeholder 5"/>
          <p:cNvSpPr txBox="1">
            <a:spLocks/>
          </p:cNvSpPr>
          <p:nvPr userDrawn="1"/>
        </p:nvSpPr>
        <p:spPr bwMode="auto">
          <a:xfrm>
            <a:off x="10759019" y="6492970"/>
            <a:ext cx="1500716"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algn="ctr" eaLnBrk="1" hangingPunct="1"/>
            <a:fld id="{FD7B720C-F98A-44EF-809C-B225C8B671C0}" type="slidenum">
              <a:rPr lang="en-US" altLang="en-US" sz="900" smtClean="0">
                <a:solidFill>
                  <a:srgbClr val="7F7F7F"/>
                </a:solidFill>
                <a:latin typeface="Arial" pitchFamily="34" charset="0"/>
                <a:cs typeface="Arial" pitchFamily="34" charset="0"/>
              </a:rPr>
              <a:pPr algn="ctr" eaLnBrk="1" hangingPunct="1"/>
              <a:t>‹#›</a:t>
            </a:fld>
            <a:endParaRPr lang="en-US" altLang="en-US" sz="900" dirty="0">
              <a:solidFill>
                <a:srgbClr val="7F7F7F"/>
              </a:solidFill>
              <a:latin typeface="Arial" pitchFamily="34" charset="0"/>
              <a:cs typeface="Arial" pitchFamily="34" charset="0"/>
            </a:endParaRPr>
          </a:p>
        </p:txBody>
      </p:sp>
    </p:spTree>
    <p:extLst>
      <p:ext uri="{BB962C8B-B14F-4D97-AF65-F5344CB8AC3E}">
        <p14:creationId xmlns:p14="http://schemas.microsoft.com/office/powerpoint/2010/main" val="3798480152"/>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Lst>
  <p:hf hdr="0" dt="0"/>
  <p:txStyles>
    <p:titleStyle>
      <a:lvl1pPr algn="ctr" defTabSz="457200" rtl="0" eaLnBrk="0" fontAlgn="base" hangingPunct="0">
        <a:spcBef>
          <a:spcPct val="0"/>
        </a:spcBef>
        <a:spcAft>
          <a:spcPct val="0"/>
        </a:spcAft>
        <a:defRPr sz="4400" kern="1200">
          <a:solidFill>
            <a:schemeClr val="tx1"/>
          </a:solidFill>
          <a:latin typeface="+mj-lt"/>
          <a:ea typeface="MS PGothic" pitchFamily="34" charset="-128"/>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8242532"/>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Lst>
  <p:hf sldNum="0" hdr="0" dt="0"/>
  <p:txStyles>
    <p:titleStyle>
      <a:lvl1pPr algn="l" defTabSz="914400" rtl="0" eaLnBrk="1" latinLnBrk="0" hangingPunct="1">
        <a:lnSpc>
          <a:spcPct val="90000"/>
        </a:lnSpc>
        <a:spcBef>
          <a:spcPct val="0"/>
        </a:spcBef>
        <a:buNone/>
        <a:defRPr sz="4400" kern="1200" baseline="0">
          <a:solidFill>
            <a:schemeClr val="tx1"/>
          </a:solidFill>
          <a:latin typeface="Arial" panose="020B0604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kern="1200" baseline="0">
          <a:solidFill>
            <a:schemeClr val="tx1"/>
          </a:solidFill>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tx1"/>
          </a:solidFill>
          <a:latin typeface="Arial" panose="020B06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baseline="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718072E-D1D7-4545-A663-5D77E6FF534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F784F84-4FE3-4DEC-BEEF-B1B70B40EE8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DC8F55-B296-416E-B021-2EF15B72606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a:extLst>
              <a:ext uri="{FF2B5EF4-FFF2-40B4-BE49-F238E27FC236}">
                <a16:creationId xmlns:a16="http://schemas.microsoft.com/office/drawing/2014/main" id="{DD9F3B00-0AAA-4E27-9EDB-0B0E5D42555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dirty="0"/>
              <a:t>Confidential- Do not duplicate or distribute without written permission from SDG&amp;E</a:t>
            </a:r>
          </a:p>
        </p:txBody>
      </p:sp>
      <p:sp>
        <p:nvSpPr>
          <p:cNvPr id="6" name="Slide Number Placeholder 5">
            <a:extLst>
              <a:ext uri="{FF2B5EF4-FFF2-40B4-BE49-F238E27FC236}">
                <a16:creationId xmlns:a16="http://schemas.microsoft.com/office/drawing/2014/main" id="{72AF6E59-BF67-455A-8251-3B256BAB3A3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247F9D-CB9E-4269-A85E-99144B77F124}" type="slidenum">
              <a:rPr lang="en-US" smtClean="0"/>
              <a:t>‹#›</a:t>
            </a:fld>
            <a:endParaRPr lang="en-US" dirty="0"/>
          </a:p>
        </p:txBody>
      </p:sp>
    </p:spTree>
    <p:extLst>
      <p:ext uri="{BB962C8B-B14F-4D97-AF65-F5344CB8AC3E}">
        <p14:creationId xmlns:p14="http://schemas.microsoft.com/office/powerpoint/2010/main" val="1785770035"/>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 id="2147483816" r:id="rId16"/>
    <p:sldLayoutId id="2147483817" r:id="rId17"/>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nvPr>
        </p:nvGraphicFramePr>
        <p:xfrm>
          <a:off x="0" y="2"/>
          <a:ext cx="215979" cy="161975"/>
        </p:xfrm>
        <a:graphic>
          <a:graphicData uri="http://schemas.openxmlformats.org/presentationml/2006/ole">
            <mc:AlternateContent xmlns:mc="http://schemas.openxmlformats.org/markup-compatibility/2006">
              <mc:Choice xmlns:v="urn:schemas-microsoft-com:vml" Requires="v">
                <p:oleObj spid="_x0000_s1026" name="think-cell Slide" r:id="rId37" imgW="270" imgH="270" progId="TCLayout.ActiveDocument.1">
                  <p:embed/>
                </p:oleObj>
              </mc:Choice>
              <mc:Fallback>
                <p:oleObj name="think-cell Slide" r:id="rId37" imgW="270" imgH="270" progId="TCLayout.ActiveDocument.1">
                  <p:embed/>
                  <p:pic>
                    <p:nvPicPr>
                      <p:cNvPr id="2" name="Object 1" hidden="1"/>
                      <p:cNvPicPr/>
                      <p:nvPr/>
                    </p:nvPicPr>
                    <p:blipFill>
                      <a:blip r:embed="rId38"/>
                      <a:stretch>
                        <a:fillRect/>
                      </a:stretch>
                    </p:blipFill>
                    <p:spPr>
                      <a:xfrm>
                        <a:off x="0" y="2"/>
                        <a:ext cx="215979" cy="161975"/>
                      </a:xfrm>
                      <a:prstGeom prst="rect">
                        <a:avLst/>
                      </a:prstGeom>
                    </p:spPr>
                  </p:pic>
                </p:oleObj>
              </mc:Fallback>
            </mc:AlternateContent>
          </a:graphicData>
        </a:graphic>
      </p:graphicFrame>
      <p:sp>
        <p:nvSpPr>
          <p:cNvPr id="6" name="Rectangle 5" hidden="1"/>
          <p:cNvSpPr/>
          <p:nvPr>
            <p:custDataLst>
              <p:tags r:id="rId9"/>
            </p:custDataLst>
          </p:nvPr>
        </p:nvSpPr>
        <p:spPr bwMode="auto">
          <a:xfrm>
            <a:off x="0" y="2"/>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632" dirty="0">
              <a:solidFill>
                <a:srgbClr val="000000"/>
              </a:solidFill>
              <a:sym typeface="Arial" panose="020B0604020202020204" pitchFamily="34" charset="0"/>
            </a:endParaRPr>
          </a:p>
        </p:txBody>
      </p:sp>
      <p:pic>
        <p:nvPicPr>
          <p:cNvPr id="58" name="Picture 57" descr="ColorBlue_bar_top-12.jpg">
            <a:extLst>
              <a:ext uri="{FF2B5EF4-FFF2-40B4-BE49-F238E27FC236}">
                <a16:creationId xmlns:a16="http://schemas.microsoft.com/office/drawing/2014/main" id="{CACD9791-DB7A-44B6-AD75-6A8FCD505460}"/>
              </a:ext>
            </a:extLst>
          </p:cNvPr>
          <p:cNvPicPr>
            <a:picLocks noChangeAspect="1"/>
          </p:cNvPicPr>
          <p:nvPr/>
        </p:nvPicPr>
        <p:blipFill rotWithShape="1">
          <a:blip r:embed="rId39" cstate="email">
            <a:extLst>
              <a:ext uri="{28A0092B-C50C-407E-A947-70E740481C1C}">
                <a14:useLocalDpi xmlns:a14="http://schemas.microsoft.com/office/drawing/2010/main"/>
              </a:ext>
            </a:extLst>
          </a:blip>
          <a:srcRect b="4462"/>
          <a:stretch/>
        </p:blipFill>
        <p:spPr bwMode="ltGray">
          <a:xfrm>
            <a:off x="0" y="0"/>
            <a:ext cx="12192000" cy="858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4" name="Working Draft" hidden="1"/>
          <p:cNvSpPr txBox="1">
            <a:spLocks noChangeArrowheads="1"/>
          </p:cNvSpPr>
          <p:nvPr/>
        </p:nvSpPr>
        <p:spPr bwMode="auto">
          <a:xfrm rot="5400000">
            <a:off x="11120744" y="1980948"/>
            <a:ext cx="195245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Last Modified 5/17/2018 11:06 PM Pacific Standard Time</a:t>
            </a:r>
            <a:endParaRPr lang="en-US" sz="1600" baseline="0" dirty="0">
              <a:solidFill>
                <a:srgbClr val="808080"/>
              </a:solidFill>
              <a:latin typeface="+mn-lt"/>
              <a:ea typeface="+mn-ea"/>
            </a:endParaRPr>
          </a:p>
        </p:txBody>
      </p:sp>
      <p:sp>
        <p:nvSpPr>
          <p:cNvPr id="1035" name="Printed" hidden="1"/>
          <p:cNvSpPr txBox="1">
            <a:spLocks noChangeArrowheads="1"/>
          </p:cNvSpPr>
          <p:nvPr/>
        </p:nvSpPr>
        <p:spPr bwMode="auto">
          <a:xfrm rot="5400000">
            <a:off x="11271426" y="4198928"/>
            <a:ext cx="1651093"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dirty="0">
                <a:solidFill>
                  <a:srgbClr val="808080"/>
                </a:solidFill>
                <a:latin typeface="+mn-lt"/>
                <a:ea typeface="+mn-ea"/>
              </a:rPr>
              <a:t>Printed 5/8/2018 8:53 AM Pacific Standard Time</a:t>
            </a:r>
            <a:endParaRPr lang="en-US" sz="1600" baseline="0" dirty="0">
              <a:solidFill>
                <a:srgbClr val="808080"/>
              </a:solidFill>
              <a:latin typeface="+mn-lt"/>
              <a:ea typeface="+mn-ea"/>
            </a:endParaRPr>
          </a:p>
        </p:txBody>
      </p:sp>
      <p:sp>
        <p:nvSpPr>
          <p:cNvPr id="19" name="Title Placeholder 2"/>
          <p:cNvSpPr>
            <a:spLocks noGrp="1" noChangeArrowheads="1"/>
          </p:cNvSpPr>
          <p:nvPr>
            <p:ph type="title"/>
          </p:nvPr>
        </p:nvSpPr>
        <p:spPr bwMode="auto">
          <a:xfrm>
            <a:off x="1571299" y="462366"/>
            <a:ext cx="1034554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auto">
          <a:xfrm>
            <a:off x="1629813" y="36365"/>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bg1"/>
                </a:solidFill>
                <a:latin typeface="+mn-lt"/>
                <a:ea typeface="+mn-ea"/>
              </a:rPr>
              <a:t>Tracker</a:t>
            </a:r>
          </a:p>
        </p:txBody>
      </p:sp>
      <p:sp>
        <p:nvSpPr>
          <p:cNvPr id="11" name="3. Unit of measure" hidden="1"/>
          <p:cNvSpPr txBox="1">
            <a:spLocks noChangeArrowheads="1"/>
          </p:cNvSpPr>
          <p:nvPr/>
        </p:nvSpPr>
        <p:spPr bwMode="auto">
          <a:xfrm>
            <a:off x="275168" y="891942"/>
            <a:ext cx="1164166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a:grpSpLocks/>
          </p:cNvGrpSpPr>
          <p:nvPr/>
        </p:nvGrpSpPr>
        <p:grpSpPr bwMode="auto">
          <a:xfrm>
            <a:off x="275171" y="6455202"/>
            <a:ext cx="11641668" cy="310888"/>
            <a:chOff x="119063" y="6326684"/>
            <a:chExt cx="8618537" cy="304699"/>
          </a:xfrm>
        </p:grpSpPr>
        <p:sp>
          <p:nvSpPr>
            <p:cNvPr id="13" name="4. Footnote"/>
            <p:cNvSpPr txBox="1">
              <a:spLocks noChangeArrowheads="1"/>
            </p:cNvSpPr>
            <p:nvPr/>
          </p:nvSpPr>
          <p:spPr bwMode="auto">
            <a:xfrm>
              <a:off x="119063" y="6326684"/>
              <a:ext cx="8618537" cy="12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84135" indent="-84135">
                <a:defRPr/>
              </a:pPr>
              <a:r>
                <a:rPr lang="en-US" sz="800" baseline="0" dirty="0">
                  <a:solidFill>
                    <a:schemeClr val="accent6"/>
                  </a:solidFill>
                  <a:latin typeface="+mn-lt"/>
                  <a:ea typeface="+mn-ea"/>
                </a:rPr>
                <a:t>1 Footnote</a:t>
              </a:r>
            </a:p>
          </p:txBody>
        </p:sp>
        <p:sp>
          <p:nvSpPr>
            <p:cNvPr id="14" name="5. Source"/>
            <p:cNvSpPr>
              <a:spLocks noChangeArrowheads="1"/>
            </p:cNvSpPr>
            <p:nvPr/>
          </p:nvSpPr>
          <p:spPr bwMode="auto">
            <a:xfrm>
              <a:off x="119063" y="6510723"/>
              <a:ext cx="8194270" cy="120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380981" indent="-380981" defTabSz="895306">
                <a:tabLst>
                  <a:tab pos="376220" algn="l"/>
                  <a:tab pos="630207" algn="l"/>
                </a:tabLst>
              </a:pPr>
              <a:r>
                <a:rPr lang="en-US" sz="800" baseline="0" dirty="0">
                  <a:solidFill>
                    <a:schemeClr val="accent6"/>
                  </a:solidFill>
                  <a:latin typeface="+mn-lt"/>
                  <a:ea typeface="+mn-ea"/>
                </a:rPr>
                <a:t>Source: Source</a:t>
              </a:r>
            </a:p>
          </p:txBody>
        </p:sp>
      </p:grpSp>
      <p:sp>
        <p:nvSpPr>
          <p:cNvPr id="3" name="Text Placeholder 2"/>
          <p:cNvSpPr>
            <a:spLocks noGrp="1"/>
          </p:cNvSpPr>
          <p:nvPr>
            <p:ph type="body" idx="1"/>
          </p:nvPr>
        </p:nvSpPr>
        <p:spPr bwMode="auto">
          <a:xfrm>
            <a:off x="1976208" y="2666369"/>
            <a:ext cx="5853024" cy="1231107"/>
          </a:xfrm>
          <a:prstGeom prst="rect">
            <a:avLst/>
          </a:prstGeom>
        </p:spPr>
        <p:txBody>
          <a:bodyPr vert="horz" lIns="0" tIns="0" rIns="0" bIns="0" rtlCol="0">
            <a:spAutoFit/>
          </a:bodyPr>
          <a:lstStyle/>
          <a:p>
            <a:pPr lvl="0" latinLnBrk="0"/>
            <a:r>
              <a:rPr lang="en-US" dirty="0"/>
              <a:t>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p>
        </p:txBody>
      </p:sp>
      <p:grpSp>
        <p:nvGrpSpPr>
          <p:cNvPr id="15" name="ACET" hidden="1"/>
          <p:cNvGrpSpPr>
            <a:grpSpLocks/>
          </p:cNvGrpSpPr>
          <p:nvPr/>
        </p:nvGrpSpPr>
        <p:grpSpPr bwMode="auto">
          <a:xfrm>
            <a:off x="1976207" y="2056401"/>
            <a:ext cx="5801189" cy="510219"/>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dirty="0">
                  <a:solidFill>
                    <a:srgbClr val="000000"/>
                  </a:solidFill>
                  <a:latin typeface="+mn-lt"/>
                  <a:ea typeface="+mn-ea"/>
                </a:rPr>
                <a:t>Title</a:t>
              </a:r>
            </a:p>
            <a:p>
              <a:r>
                <a:rPr lang="en-US" sz="1600" baseline="0" dirty="0">
                  <a:solidFill>
                    <a:schemeClr val="accent6"/>
                  </a:solidFill>
                  <a:latin typeface="+mn-lt"/>
                  <a:ea typeface="+mn-ea"/>
                </a:rPr>
                <a:t>Unit of measure</a:t>
              </a:r>
            </a:p>
          </p:txBody>
        </p:sp>
      </p:grpSp>
      <p:grpSp>
        <p:nvGrpSpPr>
          <p:cNvPr id="17" name="McKSticker" hidden="1"/>
          <p:cNvGrpSpPr/>
          <p:nvPr/>
        </p:nvGrpSpPr>
        <p:grpSpPr bwMode="auto">
          <a:xfrm>
            <a:off x="11414134" y="932464"/>
            <a:ext cx="473335" cy="150811"/>
            <a:chOff x="8392865" y="285750"/>
            <a:chExt cx="347914" cy="147809"/>
          </a:xfrm>
        </p:grpSpPr>
        <p:sp>
          <p:nvSpPr>
            <p:cNvPr id="20" name="StickerRectangle"/>
            <p:cNvSpPr>
              <a:spLocks noChangeArrowheads="1"/>
            </p:cNvSpPr>
            <p:nvPr/>
          </p:nvSpPr>
          <p:spPr bwMode="auto">
            <a:xfrm>
              <a:off x="8392865" y="285750"/>
              <a:ext cx="347914"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06">
                <a:buClr>
                  <a:srgbClr val="002960"/>
                </a:buClr>
              </a:pPr>
              <a:r>
                <a:rPr lang="en-US" sz="800"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auto">
            <a:xfrm>
              <a:off x="8392865" y="285750"/>
              <a:ext cx="0" cy="147809"/>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auto">
            <a:xfrm>
              <a:off x="8392865" y="433559"/>
              <a:ext cx="34791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59" name="LegendLines" hidden="1"/>
          <p:cNvGrpSpPr/>
          <p:nvPr/>
        </p:nvGrpSpPr>
        <p:grpSpPr bwMode="auto">
          <a:xfrm>
            <a:off x="10429386" y="932467"/>
            <a:ext cx="1364597" cy="741859"/>
            <a:chOff x="7607284" y="279400"/>
            <a:chExt cx="1003015" cy="727089"/>
          </a:xfrm>
        </p:grpSpPr>
        <p:sp>
          <p:nvSpPr>
            <p:cNvPr id="60" name="LineLegend1"/>
            <p:cNvSpPr>
              <a:spLocks noChangeShapeType="1"/>
            </p:cNvSpPr>
            <p:nvPr/>
          </p:nvSpPr>
          <p:spPr bwMode="auto">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baseline="0" dirty="0">
                <a:latin typeface="+mn-lt"/>
                <a:ea typeface="+mn-ea"/>
              </a:endParaRPr>
            </a:p>
          </p:txBody>
        </p:sp>
        <p:sp>
          <p:nvSpPr>
            <p:cNvPr id="61" name="LineLegend2"/>
            <p:cNvSpPr>
              <a:spLocks noChangeShapeType="1"/>
            </p:cNvSpPr>
            <p:nvPr/>
          </p:nvSpPr>
          <p:spPr bwMode="auto">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baseline="0" dirty="0">
                <a:latin typeface="+mn-lt"/>
                <a:ea typeface="+mn-ea"/>
              </a:endParaRPr>
            </a:p>
          </p:txBody>
        </p:sp>
        <p:sp>
          <p:nvSpPr>
            <p:cNvPr id="62" name="LineLegend3"/>
            <p:cNvSpPr>
              <a:spLocks noChangeShapeType="1"/>
            </p:cNvSpPr>
            <p:nvPr/>
          </p:nvSpPr>
          <p:spPr bwMode="auto">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baseline="0" dirty="0">
                <a:latin typeface="+mn-lt"/>
                <a:ea typeface="+mn-ea"/>
              </a:endParaRPr>
            </a:p>
          </p:txBody>
        </p:sp>
        <p:sp>
          <p:nvSpPr>
            <p:cNvPr id="100" name="Legend1"/>
            <p:cNvSpPr>
              <a:spLocks noChangeArrowheads="1"/>
            </p:cNvSpPr>
            <p:nvPr>
              <p:custDataLst>
                <p:tags r:id="rId34"/>
              </p:custDataLst>
            </p:nvPr>
          </p:nvSpPr>
          <p:spPr bwMode="auto">
            <a:xfrm>
              <a:off x="8235616" y="279400"/>
              <a:ext cx="374683"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06">
                <a:buClr>
                  <a:schemeClr val="tx2"/>
                </a:buClr>
              </a:pPr>
              <a:r>
                <a:rPr lang="en-US" sz="1200" baseline="0" dirty="0">
                  <a:latin typeface="+mn-lt"/>
                  <a:ea typeface="+mn-ea"/>
                </a:rPr>
                <a:t>Legend</a:t>
              </a:r>
            </a:p>
          </p:txBody>
        </p:sp>
        <p:sp>
          <p:nvSpPr>
            <p:cNvPr id="101" name="Legend2"/>
            <p:cNvSpPr>
              <a:spLocks noChangeArrowheads="1"/>
            </p:cNvSpPr>
            <p:nvPr>
              <p:custDataLst>
                <p:tags r:id="rId35"/>
              </p:custDataLst>
            </p:nvPr>
          </p:nvSpPr>
          <p:spPr bwMode="auto">
            <a:xfrm>
              <a:off x="8235616" y="546100"/>
              <a:ext cx="374683"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06">
                <a:buClr>
                  <a:schemeClr val="tx2"/>
                </a:buClr>
              </a:pPr>
              <a:r>
                <a:rPr lang="en-US" sz="1200" baseline="0" dirty="0">
                  <a:latin typeface="+mn-lt"/>
                  <a:ea typeface="+mn-ea"/>
                </a:rPr>
                <a:t>Legend</a:t>
              </a:r>
            </a:p>
          </p:txBody>
        </p:sp>
        <p:sp>
          <p:nvSpPr>
            <p:cNvPr id="102" name="Legend3"/>
            <p:cNvSpPr>
              <a:spLocks noChangeArrowheads="1"/>
            </p:cNvSpPr>
            <p:nvPr>
              <p:custDataLst>
                <p:tags r:id="rId36"/>
              </p:custDataLst>
            </p:nvPr>
          </p:nvSpPr>
          <p:spPr bwMode="auto">
            <a:xfrm>
              <a:off x="8235616" y="825500"/>
              <a:ext cx="374683" cy="180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06">
                <a:buClr>
                  <a:schemeClr val="tx2"/>
                </a:buClr>
              </a:pPr>
              <a:r>
                <a:rPr lang="en-US" sz="1200" baseline="0" dirty="0">
                  <a:latin typeface="+mn-lt"/>
                  <a:ea typeface="+mn-ea"/>
                </a:rPr>
                <a:t>Legend</a:t>
              </a:r>
            </a:p>
          </p:txBody>
        </p:sp>
      </p:grpSp>
      <p:grpSp>
        <p:nvGrpSpPr>
          <p:cNvPr id="103" name="LegendBoxes" hidden="1"/>
          <p:cNvGrpSpPr/>
          <p:nvPr/>
        </p:nvGrpSpPr>
        <p:grpSpPr bwMode="auto">
          <a:xfrm>
            <a:off x="10848380" y="932467"/>
            <a:ext cx="945599" cy="1021019"/>
            <a:chOff x="5894005" y="919828"/>
            <a:chExt cx="695041" cy="1000692"/>
          </a:xfrm>
        </p:grpSpPr>
        <p:sp>
          <p:nvSpPr>
            <p:cNvPr id="104" name="RectangleLegend1"/>
            <p:cNvSpPr>
              <a:spLocks noChangeArrowheads="1"/>
            </p:cNvSpPr>
            <p:nvPr/>
          </p:nvSpPr>
          <p:spPr bwMode="auto">
            <a:xfrm>
              <a:off x="5894005" y="947381"/>
              <a:ext cx="165100" cy="160338"/>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baseline="0" dirty="0">
                <a:latin typeface="+mn-lt"/>
                <a:ea typeface="+mn-ea"/>
              </a:endParaRPr>
            </a:p>
          </p:txBody>
        </p:sp>
        <p:sp>
          <p:nvSpPr>
            <p:cNvPr id="105" name="RectangleLegend2"/>
            <p:cNvSpPr>
              <a:spLocks noChangeArrowheads="1"/>
            </p:cNvSpPr>
            <p:nvPr/>
          </p:nvSpPr>
          <p:spPr bwMode="auto">
            <a:xfrm>
              <a:off x="5894005" y="1217256"/>
              <a:ext cx="165100" cy="160338"/>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baseline="0" dirty="0">
                <a:latin typeface="+mn-lt"/>
                <a:ea typeface="+mn-ea"/>
              </a:endParaRPr>
            </a:p>
          </p:txBody>
        </p:sp>
        <p:sp>
          <p:nvSpPr>
            <p:cNvPr id="106" name="RectangleLegend3"/>
            <p:cNvSpPr>
              <a:spLocks noChangeArrowheads="1"/>
            </p:cNvSpPr>
            <p:nvPr/>
          </p:nvSpPr>
          <p:spPr bwMode="auto">
            <a:xfrm>
              <a:off x="5894005" y="1488719"/>
              <a:ext cx="165100" cy="160338"/>
            </a:xfrm>
            <a:prstGeom prst="rect">
              <a:avLst/>
            </a:prstGeom>
            <a:solidFill>
              <a:schemeClr val="accent3"/>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baseline="0" dirty="0">
                <a:latin typeface="+mn-lt"/>
                <a:ea typeface="+mn-ea"/>
              </a:endParaRPr>
            </a:p>
          </p:txBody>
        </p:sp>
        <p:sp>
          <p:nvSpPr>
            <p:cNvPr id="107" name="RectangleLegend4"/>
            <p:cNvSpPr>
              <a:spLocks noChangeArrowheads="1"/>
            </p:cNvSpPr>
            <p:nvPr/>
          </p:nvSpPr>
          <p:spPr bwMode="auto">
            <a:xfrm>
              <a:off x="5894005" y="1760182"/>
              <a:ext cx="165100" cy="160338"/>
            </a:xfrm>
            <a:prstGeom prst="rect">
              <a:avLst/>
            </a:prstGeom>
            <a:solidFill>
              <a:schemeClr val="accent4"/>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baseline="0" dirty="0">
                <a:latin typeface="+mn-lt"/>
                <a:ea typeface="+mn-ea"/>
              </a:endParaRPr>
            </a:p>
          </p:txBody>
        </p:sp>
        <p:sp>
          <p:nvSpPr>
            <p:cNvPr id="108" name="Legend1"/>
            <p:cNvSpPr>
              <a:spLocks noChangeArrowheads="1"/>
            </p:cNvSpPr>
            <p:nvPr>
              <p:custDataLst>
                <p:tags r:id="rId30"/>
              </p:custDataLst>
            </p:nvPr>
          </p:nvSpPr>
          <p:spPr bwMode="auto">
            <a:xfrm>
              <a:off x="6214362" y="919828"/>
              <a:ext cx="374684" cy="18099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06">
                <a:buClr>
                  <a:schemeClr val="tx2"/>
                </a:buClr>
              </a:pPr>
              <a:r>
                <a:rPr lang="en-US" sz="1200" baseline="0" dirty="0">
                  <a:latin typeface="+mn-lt"/>
                  <a:ea typeface="+mn-ea"/>
                </a:rPr>
                <a:t>Legend</a:t>
              </a:r>
            </a:p>
          </p:txBody>
        </p:sp>
        <p:sp>
          <p:nvSpPr>
            <p:cNvPr id="109" name="Legend2"/>
            <p:cNvSpPr>
              <a:spLocks noChangeArrowheads="1"/>
            </p:cNvSpPr>
            <p:nvPr>
              <p:custDataLst>
                <p:tags r:id="rId31"/>
              </p:custDataLst>
            </p:nvPr>
          </p:nvSpPr>
          <p:spPr bwMode="auto">
            <a:xfrm>
              <a:off x="6214362" y="1189703"/>
              <a:ext cx="374684" cy="18099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06">
                <a:buClr>
                  <a:schemeClr val="tx2"/>
                </a:buClr>
              </a:pPr>
              <a:r>
                <a:rPr lang="en-US" sz="1200" baseline="0" dirty="0">
                  <a:latin typeface="+mn-lt"/>
                  <a:ea typeface="+mn-ea"/>
                </a:rPr>
                <a:t>Legend</a:t>
              </a:r>
            </a:p>
          </p:txBody>
        </p:sp>
        <p:sp>
          <p:nvSpPr>
            <p:cNvPr id="110" name="Legend3"/>
            <p:cNvSpPr>
              <a:spLocks noChangeArrowheads="1"/>
            </p:cNvSpPr>
            <p:nvPr>
              <p:custDataLst>
                <p:tags r:id="rId32"/>
              </p:custDataLst>
            </p:nvPr>
          </p:nvSpPr>
          <p:spPr bwMode="auto">
            <a:xfrm>
              <a:off x="6214362" y="1461165"/>
              <a:ext cx="374684" cy="18099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06">
                <a:buClr>
                  <a:schemeClr val="tx2"/>
                </a:buClr>
              </a:pPr>
              <a:r>
                <a:rPr lang="en-US" sz="1200" baseline="0" dirty="0">
                  <a:latin typeface="+mn-lt"/>
                  <a:ea typeface="+mn-ea"/>
                </a:rPr>
                <a:t>Legend</a:t>
              </a:r>
            </a:p>
          </p:txBody>
        </p:sp>
        <p:sp>
          <p:nvSpPr>
            <p:cNvPr id="111" name="Legend4"/>
            <p:cNvSpPr>
              <a:spLocks noChangeArrowheads="1"/>
            </p:cNvSpPr>
            <p:nvPr>
              <p:custDataLst>
                <p:tags r:id="rId33"/>
              </p:custDataLst>
            </p:nvPr>
          </p:nvSpPr>
          <p:spPr bwMode="auto">
            <a:xfrm>
              <a:off x="6214362" y="1732629"/>
              <a:ext cx="374684" cy="18099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06">
                <a:buClr>
                  <a:schemeClr val="tx2"/>
                </a:buClr>
              </a:pPr>
              <a:r>
                <a:rPr lang="en-US" sz="1200" baseline="0" dirty="0">
                  <a:latin typeface="+mn-lt"/>
                  <a:ea typeface="+mn-ea"/>
                </a:rPr>
                <a:t>Legend</a:t>
              </a:r>
            </a:p>
          </p:txBody>
        </p:sp>
      </p:grpSp>
      <p:grpSp>
        <p:nvGrpSpPr>
          <p:cNvPr id="112" name="LegendMoons" hidden="1"/>
          <p:cNvGrpSpPr/>
          <p:nvPr/>
        </p:nvGrpSpPr>
        <p:grpSpPr bwMode="auto">
          <a:xfrm>
            <a:off x="10757667" y="932470"/>
            <a:ext cx="1036311" cy="1340750"/>
            <a:chOff x="5894005" y="2695123"/>
            <a:chExt cx="761717" cy="1314057"/>
          </a:xfrm>
        </p:grpSpPr>
        <p:grpSp>
          <p:nvGrpSpPr>
            <p:cNvPr id="113" name="MoonLegend1"/>
            <p:cNvGrpSpPr>
              <a:grpSpLocks noChangeAspect="1"/>
            </p:cNvGrpSpPr>
            <p:nvPr>
              <p:custDataLst>
                <p:tags r:id="rId10"/>
              </p:custDataLst>
            </p:nvPr>
          </p:nvGrpSpPr>
          <p:grpSpPr bwMode="auto">
            <a:xfrm>
              <a:off x="5894005" y="2695123"/>
              <a:ext cx="209550" cy="209551"/>
              <a:chOff x="4533" y="183"/>
              <a:chExt cx="144" cy="144"/>
            </a:xfrm>
          </p:grpSpPr>
          <p:sp>
            <p:nvSpPr>
              <p:cNvPr id="131" name="Oval 130"/>
              <p:cNvSpPr>
                <a:spLocks noChangeAspect="1" noChangeArrowheads="1"/>
              </p:cNvSpPr>
              <p:nvPr>
                <p:custDataLst>
                  <p:tags r:id="rId28"/>
                </p:custDataLst>
              </p:nvPr>
            </p:nvSpPr>
            <p:spPr bwMode="auto">
              <a:xfrm>
                <a:off x="4533" y="183"/>
                <a:ext cx="144" cy="144"/>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baseline="0" dirty="0">
                  <a:latin typeface="+mn-lt"/>
                  <a:ea typeface="+mn-ea"/>
                </a:endParaRPr>
              </a:p>
            </p:txBody>
          </p:sp>
          <p:sp>
            <p:nvSpPr>
              <p:cNvPr id="132" name="Arc 131"/>
              <p:cNvSpPr>
                <a:spLocks noChangeAspect="1"/>
              </p:cNvSpPr>
              <p:nvPr>
                <p:custDataLst>
                  <p:tags r:id="rId29"/>
                </p:custDataLst>
              </p:nvPr>
            </p:nvSpPr>
            <p:spPr bwMode="auto">
              <a:xfrm>
                <a:off x="4533" y="183"/>
                <a:ext cx="144" cy="144"/>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baseline="0" dirty="0">
                  <a:latin typeface="+mn-lt"/>
                  <a:ea typeface="+mn-ea"/>
                </a:endParaRPr>
              </a:p>
            </p:txBody>
          </p:sp>
        </p:grpSp>
        <p:grpSp>
          <p:nvGrpSpPr>
            <p:cNvPr id="114" name="MoonLegend2"/>
            <p:cNvGrpSpPr>
              <a:grpSpLocks noChangeAspect="1"/>
            </p:cNvGrpSpPr>
            <p:nvPr>
              <p:custDataLst>
                <p:tags r:id="rId11"/>
              </p:custDataLst>
            </p:nvPr>
          </p:nvGrpSpPr>
          <p:grpSpPr bwMode="auto">
            <a:xfrm>
              <a:off x="5894005" y="2977103"/>
              <a:ext cx="209550" cy="209551"/>
              <a:chOff x="1694" y="2051"/>
              <a:chExt cx="160" cy="160"/>
            </a:xfrm>
          </p:grpSpPr>
          <p:sp>
            <p:nvSpPr>
              <p:cNvPr id="129" name="Oval 41"/>
              <p:cNvSpPr>
                <a:spLocks noChangeAspect="1" noChangeArrowheads="1"/>
              </p:cNvSpPr>
              <p:nvPr>
                <p:custDataLst>
                  <p:tags r:id="rId26"/>
                </p:custDataLst>
              </p:nvPr>
            </p:nvSpPr>
            <p:spPr bwMode="auto">
              <a:xfrm>
                <a:off x="1694" y="2051"/>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baseline="0" dirty="0">
                  <a:latin typeface="+mn-lt"/>
                  <a:ea typeface="+mn-ea"/>
                </a:endParaRPr>
              </a:p>
            </p:txBody>
          </p:sp>
          <p:sp>
            <p:nvSpPr>
              <p:cNvPr id="130" name="Arc 42"/>
              <p:cNvSpPr>
                <a:spLocks noChangeAspect="1"/>
              </p:cNvSpPr>
              <p:nvPr>
                <p:custDataLst>
                  <p:tags r:id="rId27"/>
                </p:custDataLst>
              </p:nvPr>
            </p:nvSpPr>
            <p:spPr bwMode="auto">
              <a:xfrm>
                <a:off x="1694" y="2051"/>
                <a:ext cx="160" cy="160"/>
              </a:xfrm>
              <a:prstGeom prst="arc">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baseline="0" dirty="0">
                  <a:latin typeface="+mn-lt"/>
                  <a:ea typeface="+mn-ea"/>
                </a:endParaRPr>
              </a:p>
            </p:txBody>
          </p:sp>
        </p:grpSp>
        <p:grpSp>
          <p:nvGrpSpPr>
            <p:cNvPr id="115" name="MoonLegend4"/>
            <p:cNvGrpSpPr>
              <a:grpSpLocks noChangeAspect="1"/>
            </p:cNvGrpSpPr>
            <p:nvPr>
              <p:custDataLst>
                <p:tags r:id="rId12"/>
              </p:custDataLst>
            </p:nvPr>
          </p:nvGrpSpPr>
          <p:grpSpPr bwMode="auto">
            <a:xfrm>
              <a:off x="5894005" y="3524395"/>
              <a:ext cx="209550" cy="209551"/>
              <a:chOff x="4495" y="1204"/>
              <a:chExt cx="160" cy="160"/>
            </a:xfrm>
          </p:grpSpPr>
          <p:sp>
            <p:nvSpPr>
              <p:cNvPr id="127" name="Oval 47"/>
              <p:cNvSpPr>
                <a:spLocks noChangeAspect="1" noChangeArrowheads="1"/>
              </p:cNvSpPr>
              <p:nvPr>
                <p:custDataLst>
                  <p:tags r:id="rId24"/>
                </p:custDataLst>
              </p:nvPr>
            </p:nvSpPr>
            <p:spPr bwMode="auto">
              <a:xfrm>
                <a:off x="4495" y="120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baseline="0" dirty="0">
                  <a:latin typeface="+mn-lt"/>
                  <a:ea typeface="+mn-ea"/>
                </a:endParaRPr>
              </a:p>
            </p:txBody>
          </p:sp>
          <p:sp>
            <p:nvSpPr>
              <p:cNvPr id="128" name="Arc 48"/>
              <p:cNvSpPr>
                <a:spLocks noChangeAspect="1"/>
              </p:cNvSpPr>
              <p:nvPr>
                <p:custDataLst>
                  <p:tags r:id="rId25"/>
                </p:custDataLst>
              </p:nvPr>
            </p:nvSpPr>
            <p:spPr bwMode="auto">
              <a:xfrm>
                <a:off x="4495" y="1204"/>
                <a:ext cx="160" cy="160"/>
              </a:xfrm>
              <a:prstGeom prst="arc">
                <a:avLst>
                  <a:gd name="adj1" fmla="val 16200000"/>
                  <a:gd name="adj2" fmla="val 108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baseline="0" dirty="0">
                  <a:latin typeface="+mn-lt"/>
                  <a:ea typeface="+mn-ea"/>
                </a:endParaRPr>
              </a:p>
            </p:txBody>
          </p:sp>
        </p:grpSp>
        <p:grpSp>
          <p:nvGrpSpPr>
            <p:cNvPr id="116" name="MoonLegend5"/>
            <p:cNvGrpSpPr>
              <a:grpSpLocks noChangeAspect="1"/>
            </p:cNvGrpSpPr>
            <p:nvPr>
              <p:custDataLst>
                <p:tags r:id="rId13"/>
              </p:custDataLst>
            </p:nvPr>
          </p:nvGrpSpPr>
          <p:grpSpPr bwMode="auto">
            <a:xfrm>
              <a:off x="5894005" y="3799629"/>
              <a:ext cx="209550" cy="209551"/>
              <a:chOff x="4495" y="1447"/>
              <a:chExt cx="160" cy="160"/>
            </a:xfrm>
          </p:grpSpPr>
          <p:sp>
            <p:nvSpPr>
              <p:cNvPr id="125" name="Oval 50"/>
              <p:cNvSpPr>
                <a:spLocks noChangeAspect="1" noChangeArrowheads="1"/>
              </p:cNvSpPr>
              <p:nvPr>
                <p:custDataLst>
                  <p:tags r:id="rId22"/>
                </p:custDataLst>
              </p:nvPr>
            </p:nvSpPr>
            <p:spPr bwMode="auto">
              <a:xfrm>
                <a:off x="4495" y="1447"/>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baseline="0" dirty="0">
                  <a:latin typeface="+mn-lt"/>
                  <a:ea typeface="+mn-ea"/>
                </a:endParaRPr>
              </a:p>
            </p:txBody>
          </p:sp>
          <p:sp>
            <p:nvSpPr>
              <p:cNvPr id="126" name="Oval 51"/>
              <p:cNvSpPr>
                <a:spLocks noChangeAspect="1" noChangeArrowheads="1"/>
              </p:cNvSpPr>
              <p:nvPr>
                <p:custDataLst>
                  <p:tags r:id="rId23"/>
                </p:custDataLst>
              </p:nvPr>
            </p:nvSpPr>
            <p:spPr bwMode="auto">
              <a:xfrm>
                <a:off x="4495" y="1447"/>
                <a:ext cx="160" cy="160"/>
              </a:xfrm>
              <a:prstGeom prst="arc">
                <a:avLst>
                  <a:gd name="adj1" fmla="val 16200000"/>
                  <a:gd name="adj2" fmla="val 162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baseline="0" dirty="0">
                  <a:latin typeface="+mn-lt"/>
                  <a:ea typeface="+mn-ea"/>
                </a:endParaRPr>
              </a:p>
            </p:txBody>
          </p:sp>
        </p:grpSp>
        <p:grpSp>
          <p:nvGrpSpPr>
            <p:cNvPr id="117" name="MoonLegend3"/>
            <p:cNvGrpSpPr>
              <a:grpSpLocks noChangeAspect="1"/>
            </p:cNvGrpSpPr>
            <p:nvPr>
              <p:custDataLst>
                <p:tags r:id="rId14"/>
              </p:custDataLst>
            </p:nvPr>
          </p:nvGrpSpPr>
          <p:grpSpPr bwMode="auto">
            <a:xfrm>
              <a:off x="5894005" y="3251543"/>
              <a:ext cx="209550" cy="209551"/>
              <a:chOff x="4495" y="1205"/>
              <a:chExt cx="160" cy="160"/>
            </a:xfrm>
          </p:grpSpPr>
          <p:sp>
            <p:nvSpPr>
              <p:cNvPr id="123" name="Oval 47"/>
              <p:cNvSpPr>
                <a:spLocks noChangeAspect="1" noChangeArrowheads="1"/>
              </p:cNvSpPr>
              <p:nvPr>
                <p:custDataLst>
                  <p:tags r:id="rId20"/>
                </p:custDataLst>
              </p:nvPr>
            </p:nvSpPr>
            <p:spPr bwMode="auto">
              <a:xfrm>
                <a:off x="4495" y="1205"/>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baseline="0" dirty="0">
                  <a:latin typeface="+mn-lt"/>
                  <a:ea typeface="+mn-ea"/>
                </a:endParaRPr>
              </a:p>
            </p:txBody>
          </p:sp>
          <p:sp>
            <p:nvSpPr>
              <p:cNvPr id="124" name="Arc 48"/>
              <p:cNvSpPr>
                <a:spLocks noChangeAspect="1"/>
              </p:cNvSpPr>
              <p:nvPr>
                <p:custDataLst>
                  <p:tags r:id="rId21"/>
                </p:custDataLst>
              </p:nvPr>
            </p:nvSpPr>
            <p:spPr bwMode="auto">
              <a:xfrm>
                <a:off x="4495" y="1205"/>
                <a:ext cx="160" cy="160"/>
              </a:xfrm>
              <a:prstGeom prst="arc">
                <a:avLst>
                  <a:gd name="adj1" fmla="val 16200000"/>
                  <a:gd name="adj2" fmla="val 5400000"/>
                </a:avLst>
              </a:prstGeom>
              <a:solidFill>
                <a:schemeClr val="accent4"/>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baseline="0" dirty="0">
                  <a:latin typeface="+mn-lt"/>
                  <a:ea typeface="+mn-ea"/>
                </a:endParaRPr>
              </a:p>
            </p:txBody>
          </p:sp>
        </p:grpSp>
        <p:sp>
          <p:nvSpPr>
            <p:cNvPr id="118" name="Legend1"/>
            <p:cNvSpPr>
              <a:spLocks noChangeArrowheads="1"/>
            </p:cNvSpPr>
            <p:nvPr>
              <p:custDataLst>
                <p:tags r:id="rId15"/>
              </p:custDataLst>
            </p:nvPr>
          </p:nvSpPr>
          <p:spPr bwMode="auto">
            <a:xfrm>
              <a:off x="6281038" y="2696542"/>
              <a:ext cx="374684" cy="18099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06">
                <a:buClr>
                  <a:schemeClr val="tx2"/>
                </a:buClr>
              </a:pPr>
              <a:r>
                <a:rPr lang="en-US" sz="1200" baseline="0" dirty="0">
                  <a:latin typeface="+mn-lt"/>
                  <a:ea typeface="+mn-ea"/>
                </a:rPr>
                <a:t>Legend</a:t>
              </a:r>
            </a:p>
          </p:txBody>
        </p:sp>
        <p:sp>
          <p:nvSpPr>
            <p:cNvPr id="119" name="Legend2"/>
            <p:cNvSpPr>
              <a:spLocks noChangeArrowheads="1"/>
            </p:cNvSpPr>
            <p:nvPr>
              <p:custDataLst>
                <p:tags r:id="rId16"/>
              </p:custDataLst>
            </p:nvPr>
          </p:nvSpPr>
          <p:spPr bwMode="auto">
            <a:xfrm>
              <a:off x="6281038" y="2974156"/>
              <a:ext cx="374684" cy="18099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06">
                <a:buClr>
                  <a:schemeClr val="tx2"/>
                </a:buClr>
              </a:pPr>
              <a:r>
                <a:rPr lang="en-US" sz="1200" baseline="0" dirty="0">
                  <a:latin typeface="+mn-lt"/>
                  <a:ea typeface="+mn-ea"/>
                </a:rPr>
                <a:t>Legend</a:t>
              </a:r>
            </a:p>
          </p:txBody>
        </p:sp>
        <p:sp>
          <p:nvSpPr>
            <p:cNvPr id="120" name="Legend3"/>
            <p:cNvSpPr>
              <a:spLocks noChangeArrowheads="1"/>
            </p:cNvSpPr>
            <p:nvPr>
              <p:custDataLst>
                <p:tags r:id="rId17"/>
              </p:custDataLst>
            </p:nvPr>
          </p:nvSpPr>
          <p:spPr bwMode="auto">
            <a:xfrm>
              <a:off x="6281038" y="3248596"/>
              <a:ext cx="374684" cy="18099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06">
                <a:buClr>
                  <a:schemeClr val="tx2"/>
                </a:buClr>
              </a:pPr>
              <a:r>
                <a:rPr lang="en-US" sz="1200" baseline="0" dirty="0">
                  <a:latin typeface="+mn-lt"/>
                  <a:ea typeface="+mn-ea"/>
                </a:rPr>
                <a:t>Legend</a:t>
              </a:r>
            </a:p>
          </p:txBody>
        </p:sp>
        <p:sp>
          <p:nvSpPr>
            <p:cNvPr id="121" name="Legend4"/>
            <p:cNvSpPr>
              <a:spLocks noChangeArrowheads="1"/>
            </p:cNvSpPr>
            <p:nvPr>
              <p:custDataLst>
                <p:tags r:id="rId18"/>
              </p:custDataLst>
            </p:nvPr>
          </p:nvSpPr>
          <p:spPr bwMode="auto">
            <a:xfrm>
              <a:off x="6281038" y="3521449"/>
              <a:ext cx="374684" cy="18099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06">
                <a:buClr>
                  <a:schemeClr val="tx2"/>
                </a:buClr>
              </a:pPr>
              <a:r>
                <a:rPr lang="en-US" sz="1200" baseline="0" dirty="0">
                  <a:latin typeface="+mn-lt"/>
                  <a:ea typeface="+mn-ea"/>
                </a:rPr>
                <a:t>Legend</a:t>
              </a:r>
            </a:p>
          </p:txBody>
        </p:sp>
        <p:sp>
          <p:nvSpPr>
            <p:cNvPr id="122" name="Legend5"/>
            <p:cNvSpPr>
              <a:spLocks noChangeArrowheads="1"/>
            </p:cNvSpPr>
            <p:nvPr>
              <p:custDataLst>
                <p:tags r:id="rId19"/>
              </p:custDataLst>
            </p:nvPr>
          </p:nvSpPr>
          <p:spPr bwMode="auto">
            <a:xfrm>
              <a:off x="6281038" y="3796682"/>
              <a:ext cx="374684" cy="18099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06">
                <a:buClr>
                  <a:schemeClr val="tx2"/>
                </a:buClr>
              </a:pPr>
              <a:r>
                <a:rPr lang="en-US" sz="1200" baseline="0" dirty="0">
                  <a:latin typeface="+mn-lt"/>
                  <a:ea typeface="+mn-ea"/>
                </a:rPr>
                <a:t>Legend</a:t>
              </a:r>
            </a:p>
          </p:txBody>
        </p:sp>
      </p:grpSp>
      <p:sp>
        <p:nvSpPr>
          <p:cNvPr id="63" name="Slide Number">
            <a:extLst>
              <a:ext uri="{FF2B5EF4-FFF2-40B4-BE49-F238E27FC236}">
                <a16:creationId xmlns:a16="http://schemas.microsoft.com/office/drawing/2014/main" id="{B06B155F-5F6D-4ECF-BB49-830B651967BE}"/>
              </a:ext>
            </a:extLst>
          </p:cNvPr>
          <p:cNvSpPr txBox="1">
            <a:spLocks/>
          </p:cNvSpPr>
          <p:nvPr/>
        </p:nvSpPr>
        <p:spPr bwMode="auto">
          <a:xfrm>
            <a:off x="11791805" y="6641720"/>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800" baseline="0" smtClean="0">
                <a:solidFill>
                  <a:srgbClr val="808080"/>
                </a:solidFill>
                <a:latin typeface="+mn-lt"/>
              </a:rPr>
              <a:pPr algn="r"/>
              <a:t>‹#›</a:t>
            </a:fld>
            <a:endParaRPr lang="en-US" sz="800" baseline="0" dirty="0">
              <a:solidFill>
                <a:srgbClr val="808080"/>
              </a:solidFill>
              <a:latin typeface="+mn-lt"/>
            </a:endParaRPr>
          </a:p>
        </p:txBody>
      </p:sp>
    </p:spTree>
    <p:extLst>
      <p:ext uri="{BB962C8B-B14F-4D97-AF65-F5344CB8AC3E}">
        <p14:creationId xmlns:p14="http://schemas.microsoft.com/office/powerpoint/2010/main" val="3919970919"/>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Lst>
  <p:hf hdr="0" ftr="0" dt="0"/>
  <p:txStyles>
    <p:titleStyle>
      <a:lvl1pPr algn="l" defTabSz="895306" rtl="0" eaLnBrk="1" fontAlgn="base" hangingPunct="1">
        <a:spcBef>
          <a:spcPct val="0"/>
        </a:spcBef>
        <a:spcAft>
          <a:spcPct val="0"/>
        </a:spcAft>
        <a:tabLst>
          <a:tab pos="269861" algn="l"/>
        </a:tabLst>
        <a:defRPr sz="2000" b="1" baseline="0">
          <a:solidFill>
            <a:schemeClr val="bg1"/>
          </a:solidFill>
          <a:latin typeface="+mj-lt"/>
          <a:ea typeface="+mj-ea"/>
          <a:cs typeface="+mj-cs"/>
        </a:defRPr>
      </a:lvl1pPr>
      <a:lvl2pPr algn="l" defTabSz="895306" rtl="0" eaLnBrk="1" fontAlgn="base" hangingPunct="1">
        <a:spcBef>
          <a:spcPct val="0"/>
        </a:spcBef>
        <a:spcAft>
          <a:spcPct val="0"/>
        </a:spcAft>
        <a:defRPr sz="1900" b="1">
          <a:solidFill>
            <a:schemeClr val="tx2"/>
          </a:solidFill>
          <a:latin typeface="Arial" charset="0"/>
        </a:defRPr>
      </a:lvl2pPr>
      <a:lvl3pPr algn="l" defTabSz="895306" rtl="0" eaLnBrk="1" fontAlgn="base" hangingPunct="1">
        <a:spcBef>
          <a:spcPct val="0"/>
        </a:spcBef>
        <a:spcAft>
          <a:spcPct val="0"/>
        </a:spcAft>
        <a:defRPr sz="1900" b="1">
          <a:solidFill>
            <a:schemeClr val="tx2"/>
          </a:solidFill>
          <a:latin typeface="Arial" charset="0"/>
        </a:defRPr>
      </a:lvl3pPr>
      <a:lvl4pPr algn="l" defTabSz="895306" rtl="0" eaLnBrk="1" fontAlgn="base" hangingPunct="1">
        <a:spcBef>
          <a:spcPct val="0"/>
        </a:spcBef>
        <a:spcAft>
          <a:spcPct val="0"/>
        </a:spcAft>
        <a:defRPr sz="1900" b="1">
          <a:solidFill>
            <a:schemeClr val="tx2"/>
          </a:solidFill>
          <a:latin typeface="Arial" charset="0"/>
        </a:defRPr>
      </a:lvl4pPr>
      <a:lvl5pPr algn="l" defTabSz="895306" rtl="0" eaLnBrk="1" fontAlgn="base" hangingPunct="1">
        <a:spcBef>
          <a:spcPct val="0"/>
        </a:spcBef>
        <a:spcAft>
          <a:spcPct val="0"/>
        </a:spcAft>
        <a:defRPr sz="1900" b="1">
          <a:solidFill>
            <a:schemeClr val="tx2"/>
          </a:solidFill>
          <a:latin typeface="Arial" charset="0"/>
        </a:defRPr>
      </a:lvl5pPr>
      <a:lvl6pPr marL="457178" algn="l" defTabSz="895306" rtl="0" eaLnBrk="1" fontAlgn="base" hangingPunct="1">
        <a:spcBef>
          <a:spcPct val="0"/>
        </a:spcBef>
        <a:spcAft>
          <a:spcPct val="0"/>
        </a:spcAft>
        <a:defRPr sz="1900" b="1">
          <a:solidFill>
            <a:schemeClr val="tx2"/>
          </a:solidFill>
          <a:latin typeface="Arial" charset="0"/>
        </a:defRPr>
      </a:lvl6pPr>
      <a:lvl7pPr marL="914354" algn="l" defTabSz="895306" rtl="0" eaLnBrk="1" fontAlgn="base" hangingPunct="1">
        <a:spcBef>
          <a:spcPct val="0"/>
        </a:spcBef>
        <a:spcAft>
          <a:spcPct val="0"/>
        </a:spcAft>
        <a:defRPr sz="1900" b="1">
          <a:solidFill>
            <a:schemeClr val="tx2"/>
          </a:solidFill>
          <a:latin typeface="Arial" charset="0"/>
        </a:defRPr>
      </a:lvl7pPr>
      <a:lvl8pPr marL="1371532" algn="l" defTabSz="895306" rtl="0" eaLnBrk="1" fontAlgn="base" hangingPunct="1">
        <a:spcBef>
          <a:spcPct val="0"/>
        </a:spcBef>
        <a:spcAft>
          <a:spcPct val="0"/>
        </a:spcAft>
        <a:defRPr sz="1900" b="1">
          <a:solidFill>
            <a:schemeClr val="tx2"/>
          </a:solidFill>
          <a:latin typeface="Arial" charset="0"/>
        </a:defRPr>
      </a:lvl8pPr>
      <a:lvl9pPr marL="1828709" algn="l" defTabSz="895306" rtl="0" eaLnBrk="1" fontAlgn="base" hangingPunct="1">
        <a:spcBef>
          <a:spcPct val="0"/>
        </a:spcBef>
        <a:spcAft>
          <a:spcPct val="0"/>
        </a:spcAft>
        <a:defRPr sz="1900" b="1">
          <a:solidFill>
            <a:schemeClr val="tx2"/>
          </a:solidFill>
          <a:latin typeface="Arial" charset="0"/>
        </a:defRPr>
      </a:lvl9pPr>
    </p:titleStyle>
    <p:bodyStyle>
      <a:lvl1pPr marL="0" indent="0" algn="l" defTabSz="89530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3666" indent="-192078" algn="l" defTabSz="89530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78" indent="-261925" algn="l" defTabSz="89530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31" indent="-155567" algn="l" defTabSz="89530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71" indent="-130167" algn="l" defTabSz="89530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71" indent="-130167" algn="l" defTabSz="89530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71" indent="-130167" algn="l" defTabSz="89530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71" indent="-130167" algn="l" defTabSz="89530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71" indent="-130167" algn="l" defTabSz="89530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82">
          <p15:clr>
            <a:srgbClr val="F26B43"/>
          </p15:clr>
        </p15:guide>
        <p15:guide id="2" pos="188">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ext Placeholder 2"/>
          <p:cNvSpPr>
            <a:spLocks noGrp="1"/>
          </p:cNvSpPr>
          <p:nvPr>
            <p:ph type="body" idx="1"/>
          </p:nvPr>
        </p:nvSpPr>
        <p:spPr bwMode="auto">
          <a:xfrm>
            <a:off x="609600" y="1252538"/>
            <a:ext cx="10972800" cy="448809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91440" bIns="0" numCol="1" anchor="t" anchorCtr="0" compatLnSpc="1">
            <a:prstTxWarp prst="textNoShape">
              <a:avLst/>
            </a:prstTxWarp>
            <a:normAutofit/>
          </a:bodyPr>
          <a:lstStyle/>
          <a:p>
            <a:pPr lvl="0"/>
            <a:r>
              <a:rPr lang="en-US" dirty="0"/>
              <a:t>Franklin Gothic Book, 28 </a:t>
            </a:r>
            <a:r>
              <a:rPr lang="en-US" dirty="0" err="1"/>
              <a:t>pt</a:t>
            </a:r>
            <a:r>
              <a:rPr lang="en-US" dirty="0"/>
              <a:t>, Dark Gray</a:t>
            </a:r>
          </a:p>
          <a:p>
            <a:pPr lvl="1"/>
            <a:r>
              <a:rPr lang="en-US" dirty="0"/>
              <a:t>Second level Bullet Style: 24pt </a:t>
            </a:r>
          </a:p>
          <a:p>
            <a:pPr lvl="2"/>
            <a:r>
              <a:rPr lang="en-US" dirty="0"/>
              <a:t>Third level Bullet Style: 24pt</a:t>
            </a:r>
          </a:p>
          <a:p>
            <a:pPr lvl="3"/>
            <a:r>
              <a:rPr lang="en-US" dirty="0"/>
              <a:t>Fourth level Bullet Style: 24pt</a:t>
            </a:r>
          </a:p>
          <a:p>
            <a:pPr lvl="4"/>
            <a:r>
              <a:rPr lang="en-US" dirty="0"/>
              <a:t>Fifth level Bullet Style: 24pt</a:t>
            </a:r>
          </a:p>
        </p:txBody>
      </p:sp>
      <p:sp>
        <p:nvSpPr>
          <p:cNvPr id="5" name="Footer Placeholder 4"/>
          <p:cNvSpPr>
            <a:spLocks noGrp="1"/>
          </p:cNvSpPr>
          <p:nvPr>
            <p:ph type="ftr" sz="quarter" idx="3"/>
          </p:nvPr>
        </p:nvSpPr>
        <p:spPr>
          <a:xfrm>
            <a:off x="6588998" y="6288088"/>
            <a:ext cx="3915833" cy="315912"/>
          </a:xfrm>
          <a:prstGeom prst="rect">
            <a:avLst/>
          </a:prstGeom>
        </p:spPr>
        <p:txBody>
          <a:bodyPr vert="horz" lIns="91440" tIns="45720" rIns="91440" bIns="45720" rtlCol="0" anchor="ctr"/>
          <a:lstStyle>
            <a:lvl1pPr algn="r" fontAlgn="auto">
              <a:spcBef>
                <a:spcPts val="0"/>
              </a:spcBef>
              <a:spcAft>
                <a:spcPts val="0"/>
              </a:spcAft>
              <a:defRPr sz="1000">
                <a:solidFill>
                  <a:schemeClr val="tx1">
                    <a:lumMod val="60000"/>
                    <a:lumOff val="40000"/>
                  </a:schemeClr>
                </a:solidFill>
                <a:latin typeface="+mn-lt"/>
                <a:ea typeface="+mn-ea"/>
                <a:cs typeface="Franklin Gothic Book"/>
              </a:defRPr>
            </a:lvl1pPr>
          </a:lstStyle>
          <a:p>
            <a:pPr>
              <a:defRPr/>
            </a:pPr>
            <a:r>
              <a:rPr lang="en-US" dirty="0"/>
              <a:t>CPUC Stakeholder Meeting</a:t>
            </a:r>
          </a:p>
        </p:txBody>
      </p:sp>
      <p:sp>
        <p:nvSpPr>
          <p:cNvPr id="6" name="Slide Number Placeholder 5"/>
          <p:cNvSpPr>
            <a:spLocks noGrp="1"/>
          </p:cNvSpPr>
          <p:nvPr>
            <p:ph type="sldNum" sz="quarter" idx="4"/>
          </p:nvPr>
        </p:nvSpPr>
        <p:spPr>
          <a:xfrm>
            <a:off x="11027859" y="6288089"/>
            <a:ext cx="554541" cy="331787"/>
          </a:xfrm>
          <a:prstGeom prst="rect">
            <a:avLst/>
          </a:prstGeom>
        </p:spPr>
        <p:txBody>
          <a:bodyPr vert="horz" lIns="91440" tIns="45720" rIns="91440" bIns="45720" rtlCol="0" anchor="ctr"/>
          <a:lstStyle>
            <a:lvl1pPr algn="r" fontAlgn="auto">
              <a:spcBef>
                <a:spcPts val="0"/>
              </a:spcBef>
              <a:spcAft>
                <a:spcPts val="0"/>
              </a:spcAft>
              <a:defRPr sz="1000">
                <a:solidFill>
                  <a:schemeClr val="bg2">
                    <a:lumMod val="65000"/>
                  </a:schemeClr>
                </a:solidFill>
                <a:latin typeface="+mn-lt"/>
                <a:ea typeface="+mn-ea"/>
                <a:cs typeface="Franklin Gothic Book"/>
              </a:defRPr>
            </a:lvl1pPr>
          </a:lstStyle>
          <a:p>
            <a:pPr>
              <a:defRPr/>
            </a:pPr>
            <a:fld id="{B22F7E1B-8261-CF40-A84F-BB5BFF025EC3}" type="slidenum">
              <a:rPr lang="en-US" smtClean="0"/>
              <a:pPr>
                <a:defRPr/>
              </a:pPr>
              <a:t>‹#›</a:t>
            </a:fld>
            <a:endParaRPr lang="en-US" dirty="0"/>
          </a:p>
        </p:txBody>
      </p:sp>
      <p:sp>
        <p:nvSpPr>
          <p:cNvPr id="1029" name="Title Placeholder 1"/>
          <p:cNvSpPr>
            <a:spLocks noGrp="1"/>
          </p:cNvSpPr>
          <p:nvPr>
            <p:ph type="title"/>
          </p:nvPr>
        </p:nvSpPr>
        <p:spPr bwMode="auto">
          <a:xfrm>
            <a:off x="609600" y="295220"/>
            <a:ext cx="10972800" cy="576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91440" bIns="0" numCol="1" anchor="b" anchorCtr="0" compatLnSpc="1">
            <a:prstTxWarp prst="textNoShape">
              <a:avLst/>
            </a:prstTxWarp>
          </a:bodyPr>
          <a:lstStyle/>
          <a:p>
            <a:pPr lvl="0"/>
            <a:r>
              <a:rPr lang="en-US" dirty="0"/>
              <a:t>Page Headline Style: </a:t>
            </a:r>
            <a:br>
              <a:rPr lang="en-US" dirty="0"/>
            </a:br>
            <a:r>
              <a:rPr lang="en-US" dirty="0"/>
              <a:t>Franklin Gothic Book, 32pt, Dark Blue</a:t>
            </a:r>
          </a:p>
        </p:txBody>
      </p:sp>
    </p:spTree>
    <p:extLst>
      <p:ext uri="{BB962C8B-B14F-4D97-AF65-F5344CB8AC3E}">
        <p14:creationId xmlns:p14="http://schemas.microsoft.com/office/powerpoint/2010/main" val="478176512"/>
      </p:ext>
    </p:extLst>
  </p:cSld>
  <p:clrMap bg1="lt1" tx1="dk1" bg2="lt2" tx2="dk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7" r:id="rId13"/>
    <p:sldLayoutId id="2147483838" r:id="rId14"/>
    <p:sldLayoutId id="2147483839" r:id="rId15"/>
    <p:sldLayoutId id="2147483840" r:id="rId16"/>
    <p:sldLayoutId id="2147483841" r:id="rId17"/>
    <p:sldLayoutId id="2147483842" r:id="rId18"/>
    <p:sldLayoutId id="2147483843" r:id="rId19"/>
    <p:sldLayoutId id="2147483844" r:id="rId20"/>
    <p:sldLayoutId id="2147483845" r:id="rId21"/>
    <p:sldLayoutId id="2147483846" r:id="rId22"/>
    <p:sldLayoutId id="2147483847" r:id="rId23"/>
    <p:sldLayoutId id="2147483848" r:id="rId24"/>
    <p:sldLayoutId id="2147483849" r:id="rId25"/>
    <p:sldLayoutId id="2147483850" r:id="rId26"/>
    <p:sldLayoutId id="2147483851" r:id="rId27"/>
    <p:sldLayoutId id="2147483852" r:id="rId28"/>
    <p:sldLayoutId id="2147483853" r:id="rId29"/>
    <p:sldLayoutId id="2147483854" r:id="rId30"/>
    <p:sldLayoutId id="2147483855" r:id="rId31"/>
    <p:sldLayoutId id="2147483856" r:id="rId32"/>
    <p:sldLayoutId id="2147483857" r:id="rId33"/>
    <p:sldLayoutId id="2147483858" r:id="rId34"/>
    <p:sldLayoutId id="2147483859" r:id="rId35"/>
    <p:sldLayoutId id="2147483860" r:id="rId36"/>
    <p:sldLayoutId id="2147483861" r:id="rId37"/>
    <p:sldLayoutId id="2147483862" r:id="rId38"/>
    <p:sldLayoutId id="2147483863" r:id="rId39"/>
    <p:sldLayoutId id="2147483864" r:id="rId40"/>
    <p:sldLayoutId id="2147483865" r:id="rId41"/>
  </p:sldLayoutIdLst>
  <p:hf hdr="0" dt="0"/>
  <p:txStyles>
    <p:titleStyle>
      <a:lvl1pPr algn="l" defTabSz="457200" rtl="0" eaLnBrk="1" fontAlgn="base" hangingPunct="1">
        <a:lnSpc>
          <a:spcPct val="90000"/>
        </a:lnSpc>
        <a:spcBef>
          <a:spcPct val="0"/>
        </a:spcBef>
        <a:spcAft>
          <a:spcPct val="0"/>
        </a:spcAft>
        <a:defRPr sz="3200" b="1" kern="1200">
          <a:solidFill>
            <a:schemeClr val="tx2"/>
          </a:solidFill>
          <a:latin typeface="+mn-lt"/>
          <a:ea typeface="ＭＳ Ｐゴシック" charset="0"/>
          <a:cs typeface="Franklin Gothic Book"/>
        </a:defRPr>
      </a:lvl1pPr>
      <a:lvl2pPr algn="l" defTabSz="457200" rtl="0" eaLnBrk="1" fontAlgn="base" hangingPunct="1">
        <a:spcBef>
          <a:spcPct val="0"/>
        </a:spcBef>
        <a:spcAft>
          <a:spcPct val="0"/>
        </a:spcAft>
        <a:defRPr sz="2400" b="1">
          <a:solidFill>
            <a:schemeClr val="tx2"/>
          </a:solidFill>
          <a:latin typeface="Franklin Gothic Book" charset="0"/>
          <a:ea typeface="ＭＳ Ｐゴシック" charset="0"/>
        </a:defRPr>
      </a:lvl2pPr>
      <a:lvl3pPr algn="l" defTabSz="457200" rtl="0" eaLnBrk="1" fontAlgn="base" hangingPunct="1">
        <a:spcBef>
          <a:spcPct val="0"/>
        </a:spcBef>
        <a:spcAft>
          <a:spcPct val="0"/>
        </a:spcAft>
        <a:defRPr sz="2400" b="1">
          <a:solidFill>
            <a:schemeClr val="tx2"/>
          </a:solidFill>
          <a:latin typeface="Franklin Gothic Book" charset="0"/>
          <a:ea typeface="ＭＳ Ｐゴシック" charset="0"/>
        </a:defRPr>
      </a:lvl3pPr>
      <a:lvl4pPr algn="l" defTabSz="457200" rtl="0" eaLnBrk="1" fontAlgn="base" hangingPunct="1">
        <a:spcBef>
          <a:spcPct val="0"/>
        </a:spcBef>
        <a:spcAft>
          <a:spcPct val="0"/>
        </a:spcAft>
        <a:defRPr sz="2400" b="1">
          <a:solidFill>
            <a:schemeClr val="tx2"/>
          </a:solidFill>
          <a:latin typeface="Franklin Gothic Book" charset="0"/>
          <a:ea typeface="ＭＳ Ｐゴシック" charset="0"/>
        </a:defRPr>
      </a:lvl4pPr>
      <a:lvl5pPr algn="l" defTabSz="457200" rtl="0" eaLnBrk="1" fontAlgn="base" hangingPunct="1">
        <a:spcBef>
          <a:spcPct val="0"/>
        </a:spcBef>
        <a:spcAft>
          <a:spcPct val="0"/>
        </a:spcAft>
        <a:defRPr sz="2400" b="1">
          <a:solidFill>
            <a:schemeClr val="tx2"/>
          </a:solidFill>
          <a:latin typeface="Franklin Gothic Book" charset="0"/>
          <a:ea typeface="ＭＳ Ｐゴシック" charset="0"/>
        </a:defRPr>
      </a:lvl5pPr>
      <a:lvl6pPr marL="457200" algn="l" defTabSz="457200" rtl="0" eaLnBrk="1" fontAlgn="base" hangingPunct="1">
        <a:spcBef>
          <a:spcPct val="0"/>
        </a:spcBef>
        <a:spcAft>
          <a:spcPct val="0"/>
        </a:spcAft>
        <a:defRPr sz="2400" b="1">
          <a:solidFill>
            <a:schemeClr val="tx2"/>
          </a:solidFill>
          <a:latin typeface="TradeGothic" charset="0"/>
          <a:ea typeface="ＭＳ Ｐゴシック" charset="0"/>
        </a:defRPr>
      </a:lvl6pPr>
      <a:lvl7pPr marL="914400" algn="l" defTabSz="457200" rtl="0" eaLnBrk="1" fontAlgn="base" hangingPunct="1">
        <a:spcBef>
          <a:spcPct val="0"/>
        </a:spcBef>
        <a:spcAft>
          <a:spcPct val="0"/>
        </a:spcAft>
        <a:defRPr sz="2400" b="1">
          <a:solidFill>
            <a:schemeClr val="tx2"/>
          </a:solidFill>
          <a:latin typeface="TradeGothic" charset="0"/>
          <a:ea typeface="ＭＳ Ｐゴシック" charset="0"/>
        </a:defRPr>
      </a:lvl7pPr>
      <a:lvl8pPr marL="1371600" algn="l" defTabSz="457200" rtl="0" eaLnBrk="1" fontAlgn="base" hangingPunct="1">
        <a:spcBef>
          <a:spcPct val="0"/>
        </a:spcBef>
        <a:spcAft>
          <a:spcPct val="0"/>
        </a:spcAft>
        <a:defRPr sz="2400" b="1">
          <a:solidFill>
            <a:schemeClr val="tx2"/>
          </a:solidFill>
          <a:latin typeface="TradeGothic" charset="0"/>
          <a:ea typeface="ＭＳ Ｐゴシック" charset="0"/>
        </a:defRPr>
      </a:lvl8pPr>
      <a:lvl9pPr marL="1828800" algn="l" defTabSz="457200" rtl="0" eaLnBrk="1" fontAlgn="base" hangingPunct="1">
        <a:spcBef>
          <a:spcPct val="0"/>
        </a:spcBef>
        <a:spcAft>
          <a:spcPct val="0"/>
        </a:spcAft>
        <a:defRPr sz="2400" b="1">
          <a:solidFill>
            <a:schemeClr val="tx2"/>
          </a:solidFill>
          <a:latin typeface="TradeGothic" charset="0"/>
          <a:ea typeface="ＭＳ Ｐゴシック" charset="0"/>
        </a:defRPr>
      </a:lvl9pPr>
    </p:titleStyle>
    <p:bodyStyle>
      <a:lvl1pPr marL="285750" indent="-285750" algn="l" defTabSz="457200" rtl="0" eaLnBrk="1" fontAlgn="base" hangingPunct="1">
        <a:lnSpc>
          <a:spcPct val="110000"/>
        </a:lnSpc>
        <a:spcBef>
          <a:spcPct val="20000"/>
        </a:spcBef>
        <a:spcAft>
          <a:spcPct val="0"/>
        </a:spcAft>
        <a:buClr>
          <a:schemeClr val="accent1"/>
        </a:buClr>
        <a:buFont typeface="Wingdings" charset="2"/>
        <a:buChar char="§"/>
        <a:defRPr sz="2800" kern="1200">
          <a:solidFill>
            <a:schemeClr val="tx1"/>
          </a:solidFill>
          <a:latin typeface="+mn-lt"/>
          <a:ea typeface="ＭＳ Ｐゴシック" charset="0"/>
          <a:cs typeface="Franklin Gothic Book"/>
        </a:defRPr>
      </a:lvl1pPr>
      <a:lvl2pPr marL="742950" indent="-285750" algn="l" defTabSz="457200" rtl="0" eaLnBrk="1" fontAlgn="base" hangingPunct="1">
        <a:lnSpc>
          <a:spcPct val="110000"/>
        </a:lnSpc>
        <a:spcBef>
          <a:spcPct val="20000"/>
        </a:spcBef>
        <a:spcAft>
          <a:spcPct val="0"/>
        </a:spcAft>
        <a:buClr>
          <a:schemeClr val="accent2"/>
        </a:buClr>
        <a:buFont typeface="Wingdings" charset="2"/>
        <a:buChar char="§"/>
        <a:defRPr sz="2400" kern="1200">
          <a:solidFill>
            <a:schemeClr val="tx1"/>
          </a:solidFill>
          <a:latin typeface="+mn-lt"/>
          <a:ea typeface="ＭＳ Ｐゴシック" charset="0"/>
          <a:cs typeface="Franklin Gothic Book"/>
        </a:defRPr>
      </a:lvl2pPr>
      <a:lvl3pPr marL="1200150" indent="-285750" algn="l" defTabSz="457200" rtl="0" eaLnBrk="1" fontAlgn="base" hangingPunct="1">
        <a:lnSpc>
          <a:spcPct val="110000"/>
        </a:lnSpc>
        <a:spcBef>
          <a:spcPct val="20000"/>
        </a:spcBef>
        <a:spcAft>
          <a:spcPct val="0"/>
        </a:spcAft>
        <a:buClr>
          <a:schemeClr val="accent3"/>
        </a:buClr>
        <a:buFont typeface="Wingdings" charset="2"/>
        <a:buChar char="§"/>
        <a:defRPr sz="2400" kern="1200">
          <a:solidFill>
            <a:schemeClr val="tx1"/>
          </a:solidFill>
          <a:latin typeface="+mn-lt"/>
          <a:ea typeface="ＭＳ Ｐゴシック" charset="0"/>
          <a:cs typeface="Franklin Gothic Book"/>
        </a:defRPr>
      </a:lvl3pPr>
      <a:lvl4pPr marL="1657350" indent="-285750" algn="l" defTabSz="457200" rtl="0" eaLnBrk="1" fontAlgn="base" hangingPunct="1">
        <a:lnSpc>
          <a:spcPct val="110000"/>
        </a:lnSpc>
        <a:spcBef>
          <a:spcPct val="20000"/>
        </a:spcBef>
        <a:spcAft>
          <a:spcPct val="0"/>
        </a:spcAft>
        <a:buClr>
          <a:schemeClr val="accent4"/>
        </a:buClr>
        <a:buFont typeface="Wingdings" charset="2"/>
        <a:buChar char="§"/>
        <a:defRPr sz="2400" kern="1200">
          <a:solidFill>
            <a:schemeClr val="tx1"/>
          </a:solidFill>
          <a:latin typeface="+mn-lt"/>
          <a:ea typeface="ＭＳ Ｐゴシック" charset="0"/>
          <a:cs typeface="Franklin Gothic Book"/>
        </a:defRPr>
      </a:lvl4pPr>
      <a:lvl5pPr marL="2114550" indent="-285750" algn="l" defTabSz="457200" rtl="0" eaLnBrk="1" fontAlgn="base" hangingPunct="1">
        <a:lnSpc>
          <a:spcPct val="110000"/>
        </a:lnSpc>
        <a:spcBef>
          <a:spcPct val="20000"/>
        </a:spcBef>
        <a:spcAft>
          <a:spcPct val="0"/>
        </a:spcAft>
        <a:buClr>
          <a:schemeClr val="accent5"/>
        </a:buClr>
        <a:buFont typeface="Wingdings" charset="2"/>
        <a:buChar char="§"/>
        <a:defRPr sz="2400" kern="1200">
          <a:solidFill>
            <a:schemeClr val="tx1"/>
          </a:solidFill>
          <a:latin typeface="+mn-lt"/>
          <a:ea typeface="ＭＳ Ｐゴシック" charset="0"/>
          <a:cs typeface="Franklin Gothic Book"/>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548">
          <p15:clr>
            <a:srgbClr val="F26B43"/>
          </p15:clr>
        </p15:guide>
        <p15:guide id="6" orient="horz" pos="785">
          <p15:clr>
            <a:srgbClr val="F26B43"/>
          </p15:clr>
        </p15:guide>
        <p15:guide id="7" orient="horz" pos="3620">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9"/>
            <a:ext cx="10515600" cy="1325563"/>
          </a:xfrm>
          <a:prstGeom prst="rect">
            <a:avLst/>
          </a:prstGeom>
        </p:spPr>
        <p:txBody>
          <a:bodyPr vert="horz" lIns="182843" tIns="91422" rIns="182843" bIns="91422"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182843" tIns="91422" rIns="182843" bIns="9142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Box 9"/>
          <p:cNvSpPr txBox="1"/>
          <p:nvPr userDrawn="1"/>
        </p:nvSpPr>
        <p:spPr>
          <a:xfrm>
            <a:off x="10963138" y="6311896"/>
            <a:ext cx="412257" cy="246203"/>
          </a:xfrm>
          <a:prstGeom prst="rect">
            <a:avLst/>
          </a:prstGeom>
          <a:solidFill>
            <a:schemeClr val="bg1"/>
          </a:solidFill>
        </p:spPr>
        <p:txBody>
          <a:bodyPr wrap="none" lIns="91422" tIns="45711" rIns="91422" bIns="45711" rtlCol="0">
            <a:spAutoFit/>
          </a:bodyPr>
          <a:lstStyle/>
          <a:p>
            <a:pPr algn="ctr"/>
            <a:fld id="{260E2A6B-A809-4840-BF14-8648BC0BDF87}" type="slidenum">
              <a:rPr lang="id-ID" sz="1000" b="0" i="0" smtClean="0">
                <a:solidFill>
                  <a:schemeClr val="tx1"/>
                </a:solidFill>
                <a:latin typeface="Arial Regular" charset="0"/>
                <a:ea typeface="Arial Regular" charset="0"/>
                <a:cs typeface="Arial Regular" charset="0"/>
              </a:rPr>
              <a:pPr algn="ctr"/>
              <a:t>‹#›</a:t>
            </a:fld>
            <a:r>
              <a:rPr lang="id-ID" sz="1000" b="0" i="0">
                <a:solidFill>
                  <a:schemeClr val="tx1"/>
                </a:solidFill>
                <a:latin typeface="Arial Regular" charset="0"/>
                <a:ea typeface="Arial Regular" charset="0"/>
                <a:cs typeface="Arial Regular" charset="0"/>
              </a:rPr>
              <a:t>  </a:t>
            </a:r>
          </a:p>
        </p:txBody>
      </p:sp>
    </p:spTree>
    <p:extLst>
      <p:ext uri="{BB962C8B-B14F-4D97-AF65-F5344CB8AC3E}">
        <p14:creationId xmlns:p14="http://schemas.microsoft.com/office/powerpoint/2010/main" val="523999360"/>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 id="2147483870" r:id="rId4"/>
    <p:sldLayoutId id="2147483871" r:id="rId5"/>
    <p:sldLayoutId id="2147483872" r:id="rId6"/>
    <p:sldLayoutId id="2147483873" r:id="rId7"/>
    <p:sldLayoutId id="2147483874" r:id="rId8"/>
    <p:sldLayoutId id="2147483875" r:id="rId9"/>
    <p:sldLayoutId id="2147483876" r:id="rId10"/>
    <p:sldLayoutId id="2147483877" r:id="rId11"/>
    <p:sldLayoutId id="2147483878" r:id="rId12"/>
    <p:sldLayoutId id="2147483879" r:id="rId13"/>
    <p:sldLayoutId id="2147483880" r:id="rId14"/>
    <p:sldLayoutId id="2147483881" r:id="rId15"/>
    <p:sldLayoutId id="2147483882" r:id="rId16"/>
    <p:sldLayoutId id="2147483883" r:id="rId17"/>
    <p:sldLayoutId id="2147483884" r:id="rId18"/>
    <p:sldLayoutId id="2147483885" r:id="rId19"/>
    <p:sldLayoutId id="2147483886" r:id="rId20"/>
    <p:sldLayoutId id="2147483887" r:id="rId21"/>
    <p:sldLayoutId id="2147483888" r:id="rId22"/>
    <p:sldLayoutId id="2147483889" r:id="rId23"/>
    <p:sldLayoutId id="2147483890" r:id="rId24"/>
    <p:sldLayoutId id="2147483891" r:id="rId25"/>
    <p:sldLayoutId id="2147483892" r:id="rId26"/>
  </p:sldLayoutIdLst>
  <p:hf hdr="0" ftr="0" dt="0"/>
  <p:txStyles>
    <p:titleStyle>
      <a:lvl1pPr algn="l" defTabSz="914217" rtl="0" eaLnBrk="1" latinLnBrk="0" hangingPunct="1">
        <a:lnSpc>
          <a:spcPct val="90000"/>
        </a:lnSpc>
        <a:spcBef>
          <a:spcPct val="0"/>
        </a:spcBef>
        <a:buNone/>
        <a:defRPr lang="en-US" sz="3000" b="0" i="0" kern="1200">
          <a:solidFill>
            <a:schemeClr val="tx1"/>
          </a:solidFill>
          <a:latin typeface="+mj-lt"/>
          <a:ea typeface="Arial Regular" charset="0"/>
          <a:cs typeface="Arial Regular" charset="0"/>
        </a:defRPr>
      </a:lvl1pPr>
    </p:titleStyle>
    <p:bodyStyle>
      <a:lvl1pPr marL="228555" indent="-228555" algn="l" defTabSz="914217" rtl="0" eaLnBrk="1" latinLnBrk="0" hangingPunct="1">
        <a:lnSpc>
          <a:spcPct val="90000"/>
        </a:lnSpc>
        <a:spcBef>
          <a:spcPts val="1000"/>
        </a:spcBef>
        <a:buFont typeface="Arial" panose="020B0604020202020204" pitchFamily="34" charset="0"/>
        <a:buChar char="•"/>
        <a:defRPr lang="en-US" sz="2400" b="0" i="0" kern="1200" dirty="0" smtClean="0">
          <a:solidFill>
            <a:schemeClr val="tx1"/>
          </a:solidFill>
          <a:effectLst/>
          <a:latin typeface="+mj-lt"/>
          <a:ea typeface="Arial Regular" charset="0"/>
          <a:cs typeface="Arial Regular" charset="0"/>
        </a:defRPr>
      </a:lvl1pPr>
      <a:lvl2pPr marL="685663" indent="-228555" algn="l" defTabSz="914217" rtl="0" eaLnBrk="1" latinLnBrk="0" hangingPunct="1">
        <a:lnSpc>
          <a:spcPct val="90000"/>
        </a:lnSpc>
        <a:spcBef>
          <a:spcPts val="500"/>
        </a:spcBef>
        <a:buFont typeface="Arial" panose="020B0604020202020204" pitchFamily="34" charset="0"/>
        <a:buChar char="•"/>
        <a:defRPr lang="en-US" sz="2000" b="0" i="0" kern="1200" dirty="0" smtClean="0">
          <a:solidFill>
            <a:schemeClr val="tx1"/>
          </a:solidFill>
          <a:effectLst/>
          <a:latin typeface="+mj-lt"/>
          <a:ea typeface="Arial Regular" charset="0"/>
          <a:cs typeface="Arial Regular" charset="0"/>
        </a:defRPr>
      </a:lvl2pPr>
      <a:lvl3pPr marL="1142772" indent="-228555" algn="l" defTabSz="914217" rtl="0" eaLnBrk="1" latinLnBrk="0" hangingPunct="1">
        <a:lnSpc>
          <a:spcPct val="90000"/>
        </a:lnSpc>
        <a:spcBef>
          <a:spcPts val="500"/>
        </a:spcBef>
        <a:buFont typeface="Arial" panose="020B0604020202020204" pitchFamily="34" charset="0"/>
        <a:buChar char="•"/>
        <a:defRPr lang="en-US" sz="1800" b="0" i="0" kern="1200" dirty="0" smtClean="0">
          <a:solidFill>
            <a:schemeClr val="tx1"/>
          </a:solidFill>
          <a:effectLst/>
          <a:latin typeface="+mj-lt"/>
          <a:ea typeface="Arial Regular" charset="0"/>
          <a:cs typeface="Arial Regular" charset="0"/>
        </a:defRPr>
      </a:lvl3pPr>
      <a:lvl4pPr marL="1599880" indent="-228555" algn="l" defTabSz="914217" rtl="0" eaLnBrk="1" latinLnBrk="0" hangingPunct="1">
        <a:lnSpc>
          <a:spcPct val="90000"/>
        </a:lnSpc>
        <a:spcBef>
          <a:spcPts val="500"/>
        </a:spcBef>
        <a:buFont typeface="Arial" panose="020B0604020202020204" pitchFamily="34" charset="0"/>
        <a:buChar char="•"/>
        <a:defRPr lang="en-US" sz="1600" b="0" i="0" kern="1200" dirty="0" smtClean="0">
          <a:solidFill>
            <a:schemeClr val="tx1"/>
          </a:solidFill>
          <a:effectLst/>
          <a:latin typeface="+mj-lt"/>
          <a:ea typeface="Arial Regular" charset="0"/>
          <a:cs typeface="Arial Regular" charset="0"/>
        </a:defRPr>
      </a:lvl4pPr>
      <a:lvl5pPr marL="2056989" indent="-228555" algn="l" defTabSz="914217" rtl="0" eaLnBrk="1" latinLnBrk="0" hangingPunct="1">
        <a:lnSpc>
          <a:spcPct val="90000"/>
        </a:lnSpc>
        <a:spcBef>
          <a:spcPts val="500"/>
        </a:spcBef>
        <a:buFont typeface="Arial" panose="020B0604020202020204" pitchFamily="34" charset="0"/>
        <a:buChar char="•"/>
        <a:defRPr lang="en-US" sz="1600" b="0" i="0" kern="1200" dirty="0">
          <a:solidFill>
            <a:schemeClr val="tx1"/>
          </a:solidFill>
          <a:effectLst/>
          <a:latin typeface="+mj-lt"/>
          <a:ea typeface="Arial Regular" charset="0"/>
          <a:cs typeface="Arial Regular" charset="0"/>
        </a:defRPr>
      </a:lvl5pPr>
      <a:lvl6pPr marL="2514097"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5"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2"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9" algn="l" defTabSz="914217"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8"/>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210838" y="6356353"/>
            <a:ext cx="1706732" cy="365125"/>
          </a:xfrm>
          <a:prstGeom prst="rect">
            <a:avLst/>
          </a:prstGeom>
        </p:spPr>
        <p:txBody>
          <a:bodyPr vert="horz" lIns="91440" tIns="45720" rIns="91440" bIns="45720" rtlCol="0" anchor="ctr"/>
          <a:lstStyle>
            <a:lvl1pPr algn="l">
              <a:defRPr sz="1000">
                <a:solidFill>
                  <a:schemeClr val="tx1"/>
                </a:solidFill>
                <a:latin typeface="Segoe UI Semibold" panose="020B0702040204020203" pitchFamily="34" charset="0"/>
              </a:defRPr>
            </a:lvl1pPr>
          </a:lstStyle>
          <a:p>
            <a:fld id="{62FE63C3-A73F-4097-86A9-7B28950712B1}" type="datetime1">
              <a:rPr lang="en-US" smtClean="0"/>
              <a:pPr/>
              <a:t>7/26/2021</a:t>
            </a:fld>
            <a:endParaRPr lang="en-US" dirty="0"/>
          </a:p>
        </p:txBody>
      </p:sp>
      <p:sp>
        <p:nvSpPr>
          <p:cNvPr id="5" name="Footer Placeholder 4"/>
          <p:cNvSpPr>
            <a:spLocks noGrp="1"/>
          </p:cNvSpPr>
          <p:nvPr>
            <p:ph type="ftr" sz="quarter" idx="3"/>
          </p:nvPr>
        </p:nvSpPr>
        <p:spPr>
          <a:xfrm>
            <a:off x="3150828" y="6356353"/>
            <a:ext cx="4114800" cy="365125"/>
          </a:xfrm>
          <a:prstGeom prst="rect">
            <a:avLst/>
          </a:prstGeom>
        </p:spPr>
        <p:txBody>
          <a:bodyPr vert="horz" lIns="91440" tIns="45720" rIns="91440" bIns="45720" rtlCol="0" anchor="ctr"/>
          <a:lstStyle>
            <a:lvl1pPr algn="l">
              <a:defRPr sz="1000">
                <a:solidFill>
                  <a:schemeClr val="tx1">
                    <a:tint val="75000"/>
                  </a:schemeClr>
                </a:solidFill>
                <a:latin typeface="Segoe UI Semibold" panose="020B0702040204020203" pitchFamily="34" charset="0"/>
              </a:defRPr>
            </a:lvl1pPr>
          </a:lstStyle>
          <a:p>
            <a:endParaRPr lang="en-US" dirty="0"/>
          </a:p>
        </p:txBody>
      </p:sp>
      <p:sp>
        <p:nvSpPr>
          <p:cNvPr id="6" name="Slide Number Placeholder 5"/>
          <p:cNvSpPr>
            <a:spLocks noGrp="1"/>
          </p:cNvSpPr>
          <p:nvPr>
            <p:ph type="sldNum" sz="quarter" idx="4"/>
          </p:nvPr>
        </p:nvSpPr>
        <p:spPr>
          <a:xfrm>
            <a:off x="11304231" y="6374109"/>
            <a:ext cx="688760" cy="365125"/>
          </a:xfrm>
          <a:prstGeom prst="rect">
            <a:avLst/>
          </a:prstGeom>
        </p:spPr>
        <p:txBody>
          <a:bodyPr vert="horz" lIns="91440" tIns="45720" rIns="91440" bIns="45720" rtlCol="0" anchor="ctr"/>
          <a:lstStyle>
            <a:lvl1pPr algn="r">
              <a:defRPr sz="1200" b="1" i="0">
                <a:solidFill>
                  <a:schemeClr val="bg1">
                    <a:lumMod val="50000"/>
                  </a:schemeClr>
                </a:solidFill>
                <a:latin typeface="Open Sans"/>
                <a:ea typeface="Segoe UI" panose="020B0502040204020203" pitchFamily="34" charset="0"/>
                <a:cs typeface="Open Sans"/>
              </a:defRPr>
            </a:lvl1pPr>
          </a:lstStyle>
          <a:p>
            <a:fld id="{5E94BA17-8AE8-4651-9FD9-8589E5D42325}" type="slidenum">
              <a:rPr lang="en-US" smtClean="0"/>
              <a:pPr/>
              <a:t>‹#›</a:t>
            </a:fld>
            <a:endParaRPr lang="en-US" dirty="0"/>
          </a:p>
        </p:txBody>
      </p:sp>
      <p:cxnSp>
        <p:nvCxnSpPr>
          <p:cNvPr id="9" name="Straight Connector 8"/>
          <p:cNvCxnSpPr/>
          <p:nvPr userDrawn="1"/>
        </p:nvCxnSpPr>
        <p:spPr>
          <a:xfrm>
            <a:off x="11425131" y="6383045"/>
            <a:ext cx="0" cy="325158"/>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7" name="Rectangle 6"/>
          <p:cNvSpPr/>
          <p:nvPr userDrawn="1"/>
        </p:nvSpPr>
        <p:spPr>
          <a:xfrm>
            <a:off x="0" y="6795857"/>
            <a:ext cx="12192000" cy="7102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0" name="Picture 9"/>
          <p:cNvPicPr>
            <a:picLocks noChangeAspect="1"/>
          </p:cNvPicPr>
          <p:nvPr userDrawn="1"/>
        </p:nvPicPr>
        <p:blipFill>
          <a:blip r:embed="rId16" cstate="email">
            <a:extLst>
              <a:ext uri="{28A0092B-C50C-407E-A947-70E740481C1C}">
                <a14:useLocalDpi xmlns:a14="http://schemas.microsoft.com/office/drawing/2010/main" val="0"/>
              </a:ext>
            </a:extLst>
          </a:blip>
          <a:stretch>
            <a:fillRect/>
          </a:stretch>
        </p:blipFill>
        <p:spPr>
          <a:xfrm>
            <a:off x="9192405" y="6464424"/>
            <a:ext cx="1971862" cy="174740"/>
          </a:xfrm>
          <a:prstGeom prst="rect">
            <a:avLst/>
          </a:prstGeom>
        </p:spPr>
      </p:pic>
    </p:spTree>
    <p:extLst>
      <p:ext uri="{BB962C8B-B14F-4D97-AF65-F5344CB8AC3E}">
        <p14:creationId xmlns:p14="http://schemas.microsoft.com/office/powerpoint/2010/main" val="4217746090"/>
      </p:ext>
    </p:extLst>
  </p:cSld>
  <p:clrMap bg1="lt1" tx1="dk1" bg2="lt2" tx2="dk2" accent1="accent1" accent2="accent2" accent3="accent3" accent4="accent4" accent5="accent5" accent6="accent6" hlink="hlink" folHlink="folHlink"/>
  <p:sldLayoutIdLst>
    <p:sldLayoutId id="2147483894" r:id="rId1"/>
    <p:sldLayoutId id="2147483895" r:id="rId2"/>
    <p:sldLayoutId id="2147483896" r:id="rId3"/>
    <p:sldLayoutId id="2147483897" r:id="rId4"/>
    <p:sldLayoutId id="2147483898" r:id="rId5"/>
    <p:sldLayoutId id="2147483899" r:id="rId6"/>
    <p:sldLayoutId id="2147483900" r:id="rId7"/>
    <p:sldLayoutId id="2147483901" r:id="rId8"/>
    <p:sldLayoutId id="2147483902" r:id="rId9"/>
    <p:sldLayoutId id="2147483903" r:id="rId10"/>
    <p:sldLayoutId id="2147483904" r:id="rId11"/>
    <p:sldLayoutId id="2147483905" r:id="rId12"/>
    <p:sldLayoutId id="2147483906" r:id="rId13"/>
    <p:sldLayoutId id="2147483907" r:id="rId14"/>
  </p:sldLayoutIdLst>
  <p:hf hdr="0" ftr="0" dt="0"/>
  <p:txStyles>
    <p:titleStyle>
      <a:lvl1pPr algn="l" defTabSz="914172" rtl="0" eaLnBrk="1" latinLnBrk="0" hangingPunct="1">
        <a:lnSpc>
          <a:spcPct val="90000"/>
        </a:lnSpc>
        <a:spcBef>
          <a:spcPct val="0"/>
        </a:spcBef>
        <a:buNone/>
        <a:defRPr sz="3199" kern="1200">
          <a:solidFill>
            <a:schemeClr val="tx1"/>
          </a:solidFill>
          <a:latin typeface="Segoe UI Light" panose="020B0502040204020203" pitchFamily="34" charset="0"/>
          <a:ea typeface="+mj-ea"/>
          <a:cs typeface="+mj-cs"/>
        </a:defRPr>
      </a:lvl1pPr>
    </p:titleStyle>
    <p:bodyStyle>
      <a:lvl1pPr marL="228543" indent="-228543" algn="l" defTabSz="914172" rtl="0" eaLnBrk="1" latinLnBrk="0" hangingPunct="1">
        <a:lnSpc>
          <a:spcPct val="90000"/>
        </a:lnSpc>
        <a:spcBef>
          <a:spcPts val="1000"/>
        </a:spcBef>
        <a:buFont typeface="Arial" panose="020B0604020202020204" pitchFamily="34" charset="0"/>
        <a:buChar char="•"/>
        <a:defRPr sz="24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685629" indent="-228543" algn="l" defTabSz="914172"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1142715"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1599800" indent="-228543" algn="l" defTabSz="914172" rtl="0" eaLnBrk="1" latinLnBrk="0" hangingPunct="1">
        <a:lnSpc>
          <a:spcPct val="90000"/>
        </a:lnSpc>
        <a:spcBef>
          <a:spcPts val="500"/>
        </a:spcBef>
        <a:buFont typeface="Arial" panose="020B0604020202020204" pitchFamily="34" charset="0"/>
        <a:buChar char="•"/>
        <a:defRPr sz="16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2056886" indent="-228543" algn="l" defTabSz="914172" rtl="0" eaLnBrk="1" latinLnBrk="0" hangingPunct="1">
        <a:lnSpc>
          <a:spcPct val="90000"/>
        </a:lnSpc>
        <a:spcBef>
          <a:spcPts val="500"/>
        </a:spcBef>
        <a:buFont typeface="Arial" panose="020B0604020202020204" pitchFamily="34" charset="0"/>
        <a:buChar char="•"/>
        <a:defRPr sz="16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descr="A picture containing cage&#10;&#10;Description automatically generated">
            <a:extLst>
              <a:ext uri="{FF2B5EF4-FFF2-40B4-BE49-F238E27FC236}">
                <a16:creationId xmlns:a16="http://schemas.microsoft.com/office/drawing/2014/main" id="{853EEEDA-CBE0-4EF5-B315-0700D60FE893}"/>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24667" b="1429"/>
          <a:stretch/>
        </p:blipFill>
        <p:spPr>
          <a:xfrm>
            <a:off x="1917819" y="1212133"/>
            <a:ext cx="1439896" cy="942975"/>
          </a:xfrm>
          <a:prstGeom prst="rect">
            <a:avLst/>
          </a:prstGeom>
        </p:spPr>
      </p:pic>
      <p:pic>
        <p:nvPicPr>
          <p:cNvPr id="16" name="Picture 15" descr="A picture containing outdoor, pylon, building, sitting&#10;&#10;Description automatically generated">
            <a:extLst>
              <a:ext uri="{FF2B5EF4-FFF2-40B4-BE49-F238E27FC236}">
                <a16:creationId xmlns:a16="http://schemas.microsoft.com/office/drawing/2014/main" id="{2E54E91A-B814-4B33-B622-46F9F990C8C1}"/>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7946"/>
          <a:stretch/>
        </p:blipFill>
        <p:spPr>
          <a:xfrm>
            <a:off x="7014766" y="1212133"/>
            <a:ext cx="1505979" cy="942975"/>
          </a:xfrm>
          <a:prstGeom prst="rect">
            <a:avLst/>
          </a:prstGeom>
        </p:spPr>
      </p:pic>
      <p:sp>
        <p:nvSpPr>
          <p:cNvPr id="2" name="Title Placeholder 1"/>
          <p:cNvSpPr>
            <a:spLocks noGrp="1"/>
          </p:cNvSpPr>
          <p:nvPr>
            <p:ph type="title"/>
          </p:nvPr>
        </p:nvSpPr>
        <p:spPr>
          <a:xfrm>
            <a:off x="838200" y="2368153"/>
            <a:ext cx="10515600" cy="528450"/>
          </a:xfrm>
          <a:prstGeom prst="rect">
            <a:avLst/>
          </a:prstGeom>
        </p:spPr>
        <p:txBody>
          <a:bodyPr vert="horz" lIns="91440" tIns="45720" rIns="91440" bIns="45720" rtlCol="0" anchor="t">
            <a:noAutofit/>
          </a:bodyPr>
          <a:lstStyle/>
          <a:p>
            <a:r>
              <a:rPr lang="en-US" dirty="0"/>
              <a:t>Click to Add Title</a:t>
            </a:r>
          </a:p>
        </p:txBody>
      </p:sp>
      <p:sp>
        <p:nvSpPr>
          <p:cNvPr id="3" name="Text Placeholder 2"/>
          <p:cNvSpPr>
            <a:spLocks noGrp="1"/>
          </p:cNvSpPr>
          <p:nvPr>
            <p:ph type="body" idx="1"/>
          </p:nvPr>
        </p:nvSpPr>
        <p:spPr>
          <a:xfrm>
            <a:off x="838200" y="5335794"/>
            <a:ext cx="10515600" cy="570155"/>
          </a:xfrm>
          <a:prstGeom prst="rect">
            <a:avLst/>
          </a:prstGeom>
        </p:spPr>
        <p:txBody>
          <a:bodyPr vert="horz" lIns="91440" tIns="45720" rIns="91440" bIns="45720" rtlCol="0" anchor="ctr">
            <a:normAutofit/>
          </a:bodyPr>
          <a:lstStyle/>
          <a:p>
            <a:pPr lvl="0"/>
            <a:r>
              <a:rPr lang="en-US" dirty="0"/>
              <a:t>Click to Add Date</a:t>
            </a:r>
          </a:p>
        </p:txBody>
      </p:sp>
      <p:pic>
        <p:nvPicPr>
          <p:cNvPr id="6" name="Pictur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1212133"/>
            <a:ext cx="1990029" cy="942975"/>
          </a:xfrm>
          <a:prstGeom prst="rect">
            <a:avLst/>
          </a:prstGeom>
        </p:spPr>
      </p:pic>
      <p:pic>
        <p:nvPicPr>
          <p:cNvPr id="19" name="Picture 18" descr="A picture containing outdoor, grass, yellow, flower&#10;&#10;Description automatically generated">
            <a:extLst>
              <a:ext uri="{FF2B5EF4-FFF2-40B4-BE49-F238E27FC236}">
                <a16:creationId xmlns:a16="http://schemas.microsoft.com/office/drawing/2014/main" id="{5504E9E2-763B-4557-B13E-09658FFF4E3B}"/>
              </a:ext>
            </a:extLst>
          </p:cNvPr>
          <p:cNvPicPr>
            <a:picLocks noChangeAspect="1"/>
          </p:cNvPicPr>
          <p:nvPr userDrawn="1"/>
        </p:nvPicPr>
        <p:blipFill rotWithShape="1">
          <a:blip r:embed="rId6" cstate="print">
            <a:extLst>
              <a:ext uri="{BEBA8EAE-BF5A-486C-A8C5-ECC9F3942E4B}">
                <a14:imgProps xmlns:a14="http://schemas.microsoft.com/office/drawing/2010/main">
                  <a14:imgLayer r:embed="rId7">
                    <a14:imgEffect>
                      <a14:saturation sat="200000"/>
                    </a14:imgEffect>
                  </a14:imgLayer>
                </a14:imgProps>
              </a:ext>
              <a:ext uri="{28A0092B-C50C-407E-A947-70E740481C1C}">
                <a14:useLocalDpi xmlns:a14="http://schemas.microsoft.com/office/drawing/2010/main" val="0"/>
              </a:ext>
            </a:extLst>
          </a:blip>
          <a:srcRect l="-1571" t="14300" b="773"/>
          <a:stretch/>
        </p:blipFill>
        <p:spPr>
          <a:xfrm>
            <a:off x="5735783" y="1212133"/>
            <a:ext cx="1307641" cy="942975"/>
          </a:xfrm>
          <a:prstGeom prst="rect">
            <a:avLst/>
          </a:prstGeom>
        </p:spPr>
      </p:pic>
      <p:pic>
        <p:nvPicPr>
          <p:cNvPr id="23" name="Picture 22" descr="A windmill and a sunset in the background&#10;&#10;Description automatically generated">
            <a:extLst>
              <a:ext uri="{FF2B5EF4-FFF2-40B4-BE49-F238E27FC236}">
                <a16:creationId xmlns:a16="http://schemas.microsoft.com/office/drawing/2014/main" id="{65F0CF0D-9B01-4329-AF59-B558F562FC0F}"/>
              </a:ext>
            </a:extLst>
          </p:cNvPr>
          <p:cNvPicPr>
            <a:picLocks noChangeAspect="1"/>
          </p:cNvPicPr>
          <p:nvPr userDrawn="1"/>
        </p:nvPicPr>
        <p:blipFill rotWithShape="1">
          <a:blip r:embed="rId8" cstate="print">
            <a:extLst>
              <a:ext uri="{BEBA8EAE-BF5A-486C-A8C5-ECC9F3942E4B}">
                <a14:imgProps xmlns:a14="http://schemas.microsoft.com/office/drawing/2010/main">
                  <a14:imgLayer r:embed="rId9">
                    <a14:imgEffect>
                      <a14:saturation sat="33000"/>
                    </a14:imgEffect>
                  </a14:imgLayer>
                </a14:imgProps>
              </a:ext>
              <a:ext uri="{28A0092B-C50C-407E-A947-70E740481C1C}">
                <a14:useLocalDpi xmlns:a14="http://schemas.microsoft.com/office/drawing/2010/main" val="0"/>
              </a:ext>
            </a:extLst>
          </a:blip>
          <a:srcRect l="5527" r="22599"/>
          <a:stretch/>
        </p:blipFill>
        <p:spPr>
          <a:xfrm>
            <a:off x="4468860" y="1212133"/>
            <a:ext cx="1314413" cy="942975"/>
          </a:xfrm>
          <a:prstGeom prst="rect">
            <a:avLst/>
          </a:prstGeom>
        </p:spPr>
      </p:pic>
      <p:pic>
        <p:nvPicPr>
          <p:cNvPr id="25" name="Picture 24">
            <a:extLst>
              <a:ext uri="{FF2B5EF4-FFF2-40B4-BE49-F238E27FC236}">
                <a16:creationId xmlns:a16="http://schemas.microsoft.com/office/drawing/2014/main" id="{55C83555-184E-4F74-B38D-A85104D7DB60}"/>
              </a:ext>
            </a:extLst>
          </p:cNvPr>
          <p:cNvPicPr>
            <a:picLocks noChangeAspect="1"/>
          </p:cNvPicPr>
          <p:nvPr userDrawn="1"/>
        </p:nvPicPr>
        <p:blipFill rotWithShape="1">
          <a:blip r:embed="rId10" cstate="print">
            <a:extLst>
              <a:ext uri="{28A0092B-C50C-407E-A947-70E740481C1C}">
                <a14:useLocalDpi xmlns:a14="http://schemas.microsoft.com/office/drawing/2010/main" val="0"/>
              </a:ext>
            </a:extLst>
          </a:blip>
          <a:srcRect l="4483" r="3673"/>
          <a:stretch/>
        </p:blipFill>
        <p:spPr>
          <a:xfrm>
            <a:off x="10534075" y="1212133"/>
            <a:ext cx="1674202" cy="942975"/>
          </a:xfrm>
          <a:prstGeom prst="rect">
            <a:avLst/>
          </a:prstGeom>
        </p:spPr>
      </p:pic>
      <p:pic>
        <p:nvPicPr>
          <p:cNvPr id="27" name="Picture 26" descr="A picture containing object, water, boat, cup&#10;&#10;Description automatically generated">
            <a:extLst>
              <a:ext uri="{FF2B5EF4-FFF2-40B4-BE49-F238E27FC236}">
                <a16:creationId xmlns:a16="http://schemas.microsoft.com/office/drawing/2014/main" id="{F71C0CE8-2387-472D-B5BA-D4A894E5AFC4}"/>
              </a:ext>
            </a:extLst>
          </p:cNvPr>
          <p:cNvPicPr>
            <a:picLocks noChangeAspect="1"/>
          </p:cNvPicPr>
          <p:nvPr userDrawn="1"/>
        </p:nvPicPr>
        <p:blipFill rotWithShape="1">
          <a:blip r:embed="rId11" cstate="print">
            <a:extLst>
              <a:ext uri="{28A0092B-C50C-407E-A947-70E740481C1C}">
                <a14:useLocalDpi xmlns:a14="http://schemas.microsoft.com/office/drawing/2010/main" val="0"/>
              </a:ext>
            </a:extLst>
          </a:blip>
          <a:srcRect l="3074" t="14474"/>
          <a:stretch/>
        </p:blipFill>
        <p:spPr>
          <a:xfrm>
            <a:off x="8497453" y="1212133"/>
            <a:ext cx="2070296" cy="942975"/>
          </a:xfrm>
          <a:prstGeom prst="rect">
            <a:avLst/>
          </a:prstGeom>
        </p:spPr>
      </p:pic>
      <p:pic>
        <p:nvPicPr>
          <p:cNvPr id="31" name="Picture 30" descr="A large white building&#10;&#10;Description automatically generated">
            <a:extLst>
              <a:ext uri="{FF2B5EF4-FFF2-40B4-BE49-F238E27FC236}">
                <a16:creationId xmlns:a16="http://schemas.microsoft.com/office/drawing/2014/main" id="{C05BFF46-FC61-41F2-829D-565172FEE770}"/>
              </a:ext>
            </a:extLst>
          </p:cNvPr>
          <p:cNvPicPr>
            <a:picLocks noChangeAspect="1"/>
          </p:cNvPicPr>
          <p:nvPr userDrawn="1"/>
        </p:nvPicPr>
        <p:blipFill rotWithShape="1">
          <a:blip r:embed="rId12" cstate="print">
            <a:extLst>
              <a:ext uri="{BEBA8EAE-BF5A-486C-A8C5-ECC9F3942E4B}">
                <a14:imgProps xmlns:a14="http://schemas.microsoft.com/office/drawing/2010/main">
                  <a14:imgLayer r:embed="rId13">
                    <a14:imgEffect>
                      <a14:saturation sat="66000"/>
                    </a14:imgEffect>
                  </a14:imgLayer>
                </a14:imgProps>
              </a:ext>
              <a:ext uri="{28A0092B-C50C-407E-A947-70E740481C1C}">
                <a14:useLocalDpi xmlns:a14="http://schemas.microsoft.com/office/drawing/2010/main" val="0"/>
              </a:ext>
            </a:extLst>
          </a:blip>
          <a:srcRect l="16169" r="17664"/>
          <a:stretch/>
        </p:blipFill>
        <p:spPr>
          <a:xfrm>
            <a:off x="3334325" y="1212133"/>
            <a:ext cx="1214512" cy="942975"/>
          </a:xfrm>
          <a:prstGeom prst="rect">
            <a:avLst/>
          </a:prstGeom>
        </p:spPr>
      </p:pic>
    </p:spTree>
    <p:extLst>
      <p:ext uri="{BB962C8B-B14F-4D97-AF65-F5344CB8AC3E}">
        <p14:creationId xmlns:p14="http://schemas.microsoft.com/office/powerpoint/2010/main" val="202345226"/>
      </p:ext>
    </p:extLst>
  </p:cSld>
  <p:clrMap bg1="lt1" tx1="dk1" bg2="lt2" tx2="dk2" accent1="accent1" accent2="accent2" accent3="accent3" accent4="accent4" accent5="accent5" accent6="accent6" hlink="hlink" folHlink="folHlink"/>
  <p:sldLayoutIdLst>
    <p:sldLayoutId id="2147483667" r:id="rId1"/>
  </p:sldLayoutIdLst>
  <p:txStyles>
    <p:titleStyle>
      <a:lvl1pPr algn="ctr" defTabSz="857250" rtl="0" eaLnBrk="1" latinLnBrk="0" hangingPunct="1">
        <a:lnSpc>
          <a:spcPct val="90000"/>
        </a:lnSpc>
        <a:spcBef>
          <a:spcPct val="0"/>
        </a:spcBef>
        <a:buNone/>
        <a:defRPr sz="3000" b="1" kern="1200">
          <a:solidFill>
            <a:schemeClr val="tx1"/>
          </a:solidFill>
          <a:latin typeface="+mj-lt"/>
          <a:ea typeface="+mj-ea"/>
          <a:cs typeface="+mj-cs"/>
        </a:defRPr>
      </a:lvl1pPr>
    </p:titleStyle>
    <p:bodyStyle>
      <a:lvl1pPr marL="0" indent="0" algn="ctr" defTabSz="857250" rtl="0" eaLnBrk="1" latinLnBrk="0" hangingPunct="1">
        <a:lnSpc>
          <a:spcPct val="90000"/>
        </a:lnSpc>
        <a:spcBef>
          <a:spcPts val="938"/>
        </a:spcBef>
        <a:buFont typeface="Arial" panose="020B0604020202020204" pitchFamily="34" charset="0"/>
        <a:buNone/>
        <a:defRPr sz="2250" b="1" kern="1200">
          <a:solidFill>
            <a:schemeClr val="tx1"/>
          </a:solidFill>
          <a:latin typeface="+mn-lt"/>
          <a:ea typeface="+mn-ea"/>
          <a:cs typeface="+mn-cs"/>
        </a:defRPr>
      </a:lvl1pPr>
      <a:lvl2pPr marL="428625" indent="0" algn="l" defTabSz="857250" rtl="0" eaLnBrk="1" latinLnBrk="0" hangingPunct="1">
        <a:lnSpc>
          <a:spcPct val="90000"/>
        </a:lnSpc>
        <a:spcBef>
          <a:spcPts val="469"/>
        </a:spcBef>
        <a:buFont typeface="Arial" panose="020B0604020202020204" pitchFamily="34" charset="0"/>
        <a:buNone/>
        <a:defRPr sz="2250" kern="1200">
          <a:solidFill>
            <a:schemeClr val="tx1"/>
          </a:solidFill>
          <a:latin typeface="+mn-lt"/>
          <a:ea typeface="+mn-ea"/>
          <a:cs typeface="+mn-cs"/>
        </a:defRPr>
      </a:lvl2pPr>
      <a:lvl3pPr marL="857250" indent="0" algn="l" defTabSz="857250" rtl="0" eaLnBrk="1" latinLnBrk="0" hangingPunct="1">
        <a:lnSpc>
          <a:spcPct val="90000"/>
        </a:lnSpc>
        <a:spcBef>
          <a:spcPts val="469"/>
        </a:spcBef>
        <a:buFont typeface="Arial" panose="020B0604020202020204" pitchFamily="34" charset="0"/>
        <a:buNone/>
        <a:defRPr sz="1875" kern="1200">
          <a:solidFill>
            <a:schemeClr val="tx1"/>
          </a:solidFill>
          <a:latin typeface="+mn-lt"/>
          <a:ea typeface="+mn-ea"/>
          <a:cs typeface="+mn-cs"/>
        </a:defRPr>
      </a:lvl3pPr>
      <a:lvl4pPr marL="1285875" indent="0" algn="l" defTabSz="857250" rtl="0" eaLnBrk="1" latinLnBrk="0" hangingPunct="1">
        <a:lnSpc>
          <a:spcPct val="90000"/>
        </a:lnSpc>
        <a:spcBef>
          <a:spcPts val="469"/>
        </a:spcBef>
        <a:buFont typeface="Arial" panose="020B0604020202020204" pitchFamily="34" charset="0"/>
        <a:buNone/>
        <a:defRPr sz="1688" kern="1200">
          <a:solidFill>
            <a:schemeClr val="tx1"/>
          </a:solidFill>
          <a:latin typeface="+mn-lt"/>
          <a:ea typeface="+mn-ea"/>
          <a:cs typeface="+mn-cs"/>
        </a:defRPr>
      </a:lvl4pPr>
      <a:lvl5pPr marL="1714500" indent="0" algn="l" defTabSz="857250" rtl="0" eaLnBrk="1" latinLnBrk="0" hangingPunct="1">
        <a:lnSpc>
          <a:spcPct val="90000"/>
        </a:lnSpc>
        <a:spcBef>
          <a:spcPts val="469"/>
        </a:spcBef>
        <a:buFont typeface="Arial" panose="020B0604020202020204" pitchFamily="34" charset="0"/>
        <a:buNone/>
        <a:defRPr sz="1688" kern="1200">
          <a:solidFill>
            <a:schemeClr val="tx1"/>
          </a:solidFill>
          <a:latin typeface="+mn-lt"/>
          <a:ea typeface="+mn-ea"/>
          <a:cs typeface="+mn-cs"/>
        </a:defRPr>
      </a:lvl5pPr>
      <a:lvl6pPr marL="2357438" indent="-214313" algn="l" defTabSz="857250"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6pPr>
      <a:lvl7pPr marL="2786063" indent="-214313" algn="l" defTabSz="857250"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7pPr>
      <a:lvl8pPr marL="3214688" indent="-214313" algn="l" defTabSz="857250"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8pPr>
      <a:lvl9pPr marL="3643313" indent="-214313" algn="l" defTabSz="857250"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9pPr>
    </p:bodyStyle>
    <p:otherStyle>
      <a:defPPr>
        <a:defRPr lang="en-US"/>
      </a:defPPr>
      <a:lvl1pPr marL="0" algn="l" defTabSz="857250" rtl="0" eaLnBrk="1" latinLnBrk="0" hangingPunct="1">
        <a:defRPr sz="1688" kern="1200">
          <a:solidFill>
            <a:schemeClr val="tx1"/>
          </a:solidFill>
          <a:latin typeface="+mn-lt"/>
          <a:ea typeface="+mn-ea"/>
          <a:cs typeface="+mn-cs"/>
        </a:defRPr>
      </a:lvl1pPr>
      <a:lvl2pPr marL="428625" algn="l" defTabSz="857250" rtl="0" eaLnBrk="1" latinLnBrk="0" hangingPunct="1">
        <a:defRPr sz="1688" kern="1200">
          <a:solidFill>
            <a:schemeClr val="tx1"/>
          </a:solidFill>
          <a:latin typeface="+mn-lt"/>
          <a:ea typeface="+mn-ea"/>
          <a:cs typeface="+mn-cs"/>
        </a:defRPr>
      </a:lvl2pPr>
      <a:lvl3pPr marL="857250" algn="l" defTabSz="857250" rtl="0" eaLnBrk="1" latinLnBrk="0" hangingPunct="1">
        <a:defRPr sz="1688" kern="1200">
          <a:solidFill>
            <a:schemeClr val="tx1"/>
          </a:solidFill>
          <a:latin typeface="+mn-lt"/>
          <a:ea typeface="+mn-ea"/>
          <a:cs typeface="+mn-cs"/>
        </a:defRPr>
      </a:lvl3pPr>
      <a:lvl4pPr marL="1285875" algn="l" defTabSz="857250" rtl="0" eaLnBrk="1" latinLnBrk="0" hangingPunct="1">
        <a:defRPr sz="1688" kern="1200">
          <a:solidFill>
            <a:schemeClr val="tx1"/>
          </a:solidFill>
          <a:latin typeface="+mn-lt"/>
          <a:ea typeface="+mn-ea"/>
          <a:cs typeface="+mn-cs"/>
        </a:defRPr>
      </a:lvl4pPr>
      <a:lvl5pPr marL="1714500" algn="l" defTabSz="857250" rtl="0" eaLnBrk="1" latinLnBrk="0" hangingPunct="1">
        <a:defRPr sz="1688" kern="1200">
          <a:solidFill>
            <a:schemeClr val="tx1"/>
          </a:solidFill>
          <a:latin typeface="+mn-lt"/>
          <a:ea typeface="+mn-ea"/>
          <a:cs typeface="+mn-cs"/>
        </a:defRPr>
      </a:lvl5pPr>
      <a:lvl6pPr marL="2143125" algn="l" defTabSz="857250" rtl="0" eaLnBrk="1" latinLnBrk="0" hangingPunct="1">
        <a:defRPr sz="1688" kern="1200">
          <a:solidFill>
            <a:schemeClr val="tx1"/>
          </a:solidFill>
          <a:latin typeface="+mn-lt"/>
          <a:ea typeface="+mn-ea"/>
          <a:cs typeface="+mn-cs"/>
        </a:defRPr>
      </a:lvl6pPr>
      <a:lvl7pPr marL="2571750" algn="l" defTabSz="857250" rtl="0" eaLnBrk="1" latinLnBrk="0" hangingPunct="1">
        <a:defRPr sz="1688" kern="1200">
          <a:solidFill>
            <a:schemeClr val="tx1"/>
          </a:solidFill>
          <a:latin typeface="+mn-lt"/>
          <a:ea typeface="+mn-ea"/>
          <a:cs typeface="+mn-cs"/>
        </a:defRPr>
      </a:lvl7pPr>
      <a:lvl8pPr marL="3000375" algn="l" defTabSz="857250" rtl="0" eaLnBrk="1" latinLnBrk="0" hangingPunct="1">
        <a:defRPr sz="1688" kern="1200">
          <a:solidFill>
            <a:schemeClr val="tx1"/>
          </a:solidFill>
          <a:latin typeface="+mn-lt"/>
          <a:ea typeface="+mn-ea"/>
          <a:cs typeface="+mn-cs"/>
        </a:defRPr>
      </a:lvl8pPr>
      <a:lvl9pPr marL="3429000" algn="l" defTabSz="857250" rtl="0" eaLnBrk="1" latinLnBrk="0" hangingPunct="1">
        <a:defRPr sz="168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0">
          <p15:clr>
            <a:srgbClr val="F26B43"/>
          </p15:clr>
        </p15:guide>
        <p15:guide id="2" pos="3168">
          <p15:clr>
            <a:srgbClr val="F26B43"/>
          </p15:clr>
        </p15:guide>
        <p15:guide id="3" orient="horz" pos="816">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1" y="1600201"/>
            <a:ext cx="10972800" cy="42971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897224" y="6513381"/>
            <a:ext cx="1493743" cy="269738"/>
          </a:xfrm>
          <a:prstGeom prst="rect">
            <a:avLst/>
          </a:prstGeom>
        </p:spPr>
        <p:txBody>
          <a:bodyPr vert="horz" lIns="91440" tIns="45720" rIns="91440" bIns="45720" rtlCol="0" anchor="ctr"/>
          <a:lstStyle>
            <a:lvl1pPr algn="ctr">
              <a:defRPr sz="1200">
                <a:solidFill>
                  <a:srgbClr val="615452"/>
                </a:solidFill>
                <a:latin typeface="Arial" pitchFamily="34" charset="0"/>
                <a:cs typeface="Arial" pitchFamily="34" charset="0"/>
              </a:defRPr>
            </a:lvl1pPr>
          </a:lstStyle>
          <a:p>
            <a:endParaRPr lang="en-US" dirty="0"/>
          </a:p>
        </p:txBody>
      </p:sp>
      <p:pic>
        <p:nvPicPr>
          <p:cNvPr id="14" name="Picture 13"/>
          <p:cNvPicPr>
            <a:picLocks noChangeAspect="1"/>
          </p:cNvPicPr>
          <p:nvPr userDrawn="1"/>
        </p:nvPicPr>
        <p:blipFill>
          <a:blip r:embed="rId14">
            <a:extLst>
              <a:ext uri="{28A0092B-C50C-407E-A947-70E740481C1C}">
                <a14:useLocalDpi xmlns:a14="http://schemas.microsoft.com/office/drawing/2010/main"/>
              </a:ext>
            </a:extLst>
          </a:blip>
          <a:stretch>
            <a:fillRect/>
          </a:stretch>
        </p:blipFill>
        <p:spPr>
          <a:xfrm>
            <a:off x="10090528" y="6519260"/>
            <a:ext cx="1600400" cy="157987"/>
          </a:xfrm>
          <a:prstGeom prst="rect">
            <a:avLst/>
          </a:prstGeom>
        </p:spPr>
      </p:pic>
      <p:sp>
        <p:nvSpPr>
          <p:cNvPr id="8" name="Rectangle 7"/>
          <p:cNvSpPr/>
          <p:nvPr userDrawn="1"/>
        </p:nvSpPr>
        <p:spPr>
          <a:xfrm>
            <a:off x="1" y="-1"/>
            <a:ext cx="12208933" cy="108857"/>
          </a:xfrm>
          <a:prstGeom prst="rect">
            <a:avLst/>
          </a:prstGeom>
          <a:solidFill>
            <a:srgbClr val="F373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9" name="Picture 8" descr="SoGalGas-RGB-logo-full-color-horizontal-crop.ai"/>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625434" y="6206069"/>
            <a:ext cx="3338359" cy="481345"/>
          </a:xfrm>
          <a:prstGeom prst="rect">
            <a:avLst/>
          </a:prstGeom>
        </p:spPr>
      </p:pic>
    </p:spTree>
    <p:extLst>
      <p:ext uri="{BB962C8B-B14F-4D97-AF65-F5344CB8AC3E}">
        <p14:creationId xmlns:p14="http://schemas.microsoft.com/office/powerpoint/2010/main" val="953903300"/>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Lst>
  <p:transition/>
  <p:hf hdr="0" ftr="0" dt="0"/>
  <p:txStyles>
    <p:titleStyle>
      <a:lvl1pPr algn="ctr" defTabSz="914172" rtl="0" eaLnBrk="1" latinLnBrk="0" hangingPunct="1">
        <a:spcBef>
          <a:spcPct val="0"/>
        </a:spcBef>
        <a:buNone/>
        <a:defRPr sz="3399" b="1" kern="1200">
          <a:solidFill>
            <a:schemeClr val="tx1"/>
          </a:solidFill>
          <a:latin typeface="Arial" pitchFamily="34" charset="0"/>
          <a:ea typeface="+mj-ea"/>
          <a:cs typeface="Arial" pitchFamily="34" charset="0"/>
        </a:defRPr>
      </a:lvl1pPr>
    </p:titleStyle>
    <p:bodyStyle>
      <a:lvl1pPr marL="342815" indent="-342815" algn="l" defTabSz="914172" rtl="0" eaLnBrk="1" latinLnBrk="0" hangingPunct="1">
        <a:spcBef>
          <a:spcPct val="20000"/>
        </a:spcBef>
        <a:buClr>
          <a:schemeClr val="tx2"/>
        </a:buClr>
        <a:buSzTx/>
        <a:buFont typeface="Arial" pitchFamily="34" charset="0"/>
        <a:buChar char="»"/>
        <a:defRPr sz="2800" kern="1200">
          <a:solidFill>
            <a:schemeClr val="tx1"/>
          </a:solidFill>
          <a:latin typeface="Arial" pitchFamily="34" charset="0"/>
          <a:ea typeface="+mn-ea"/>
          <a:cs typeface="Arial" pitchFamily="34" charset="0"/>
        </a:defRPr>
      </a:lvl1pPr>
      <a:lvl2pPr marL="742765" indent="-285679" algn="l" defTabSz="914172" rtl="0" eaLnBrk="1" latinLnBrk="0" hangingPunct="1">
        <a:spcBef>
          <a:spcPct val="20000"/>
        </a:spcBef>
        <a:buClr>
          <a:schemeClr val="tx2"/>
        </a:buClr>
        <a:buFont typeface="Wingdings" pitchFamily="2" charset="2"/>
        <a:buChar char="§"/>
        <a:defRPr sz="2400" kern="1200">
          <a:solidFill>
            <a:schemeClr val="tx1"/>
          </a:solidFill>
          <a:latin typeface="Arial" pitchFamily="34" charset="0"/>
          <a:ea typeface="+mn-ea"/>
          <a:cs typeface="Arial" pitchFamily="34" charset="0"/>
        </a:defRPr>
      </a:lvl2pPr>
      <a:lvl3pPr marL="1142715" indent="-228543" algn="l" defTabSz="914172" rtl="0" eaLnBrk="1" latinLnBrk="0" hangingPunct="1">
        <a:spcBef>
          <a:spcPct val="20000"/>
        </a:spcBef>
        <a:buClr>
          <a:schemeClr val="tx2"/>
        </a:buClr>
        <a:buFont typeface="Arial" pitchFamily="34" charset="0"/>
        <a:buChar char="•"/>
        <a:defRPr sz="2000" kern="1200">
          <a:solidFill>
            <a:schemeClr val="tx1"/>
          </a:solidFill>
          <a:latin typeface="Arial" pitchFamily="34" charset="0"/>
          <a:ea typeface="+mn-ea"/>
          <a:cs typeface="Arial" pitchFamily="34" charset="0"/>
        </a:defRPr>
      </a:lvl3pPr>
      <a:lvl4pPr marL="1599800" indent="-228543" algn="l" defTabSz="914172" rtl="0" eaLnBrk="1" latinLnBrk="0" hangingPunct="1">
        <a:spcBef>
          <a:spcPct val="20000"/>
        </a:spcBef>
        <a:buClr>
          <a:schemeClr val="tx2"/>
        </a:buClr>
        <a:buFont typeface="Arial" pitchFamily="34" charset="0"/>
        <a:buChar char="–"/>
        <a:defRPr sz="1800" kern="1200">
          <a:solidFill>
            <a:schemeClr val="tx1"/>
          </a:solidFill>
          <a:latin typeface="Arial" pitchFamily="34" charset="0"/>
          <a:ea typeface="+mn-ea"/>
          <a:cs typeface="Arial" pitchFamily="34" charset="0"/>
        </a:defRPr>
      </a:lvl4pPr>
      <a:lvl5pPr marL="2056886" indent="-228543" algn="l" defTabSz="914172" rtl="0" eaLnBrk="1" latinLnBrk="0" hangingPunct="1">
        <a:spcBef>
          <a:spcPct val="20000"/>
        </a:spcBef>
        <a:buClr>
          <a:schemeClr val="tx2"/>
        </a:buClr>
        <a:buFont typeface="Arial" pitchFamily="34" charset="0"/>
        <a:buChar char="»"/>
        <a:defRPr sz="1800" kern="1200">
          <a:solidFill>
            <a:schemeClr val="tx1"/>
          </a:solidFill>
          <a:latin typeface="Arial" pitchFamily="34" charset="0"/>
          <a:ea typeface="+mn-ea"/>
          <a:cs typeface="Arial" pitchFamily="34" charset="0"/>
        </a:defRPr>
      </a:lvl5pPr>
      <a:lvl6pPr marL="2513972" indent="-228543" algn="l" defTabSz="91417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57" indent="-228543" algn="l" defTabSz="91417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43" indent="-228543" algn="l" defTabSz="91417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29" indent="-228543" algn="l" defTabSz="91417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DE98372-D69B-4C8A-9CBB-B1C765408554}"/>
              </a:ext>
            </a:extLst>
          </p:cNvPr>
          <p:cNvSpPr>
            <a:spLocks noGrp="1"/>
          </p:cNvSpPr>
          <p:nvPr>
            <p:ph type="title"/>
          </p:nvPr>
        </p:nvSpPr>
        <p:spPr>
          <a:xfrm>
            <a:off x="609600" y="365125"/>
            <a:ext cx="10972800" cy="1325563"/>
          </a:xfrm>
          <a:prstGeom prst="rect">
            <a:avLst/>
          </a:prstGeom>
        </p:spPr>
        <p:txBody>
          <a:bodyPr vert="horz" lIns="0" tIns="45720" rIns="91440" bIns="45720" rtlCol="0" anchor="b"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BC606B32-88C8-46F8-A892-446061875561}"/>
              </a:ext>
            </a:extLst>
          </p:cNvPr>
          <p:cNvSpPr>
            <a:spLocks noGrp="1"/>
          </p:cNvSpPr>
          <p:nvPr>
            <p:ph type="body" idx="1"/>
          </p:nvPr>
        </p:nvSpPr>
        <p:spPr>
          <a:xfrm>
            <a:off x="609600" y="1825625"/>
            <a:ext cx="10972800" cy="4351338"/>
          </a:xfrm>
          <a:prstGeom prst="rect">
            <a:avLst/>
          </a:prstGeom>
          <a:noFill/>
        </p:spPr>
        <p:txBody>
          <a:bodyPr vert="horz" lIns="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0707B2-76CD-463E-AE3E-654AD69596FA}"/>
              </a:ext>
            </a:extLst>
          </p:cNvPr>
          <p:cNvSpPr>
            <a:spLocks noGrp="1"/>
          </p:cNvSpPr>
          <p:nvPr>
            <p:ph type="dt" sz="half" idx="2"/>
          </p:nvPr>
        </p:nvSpPr>
        <p:spPr>
          <a:xfrm>
            <a:off x="9772650" y="6400801"/>
            <a:ext cx="1333125" cy="197223"/>
          </a:xfrm>
          <a:prstGeom prst="rect">
            <a:avLst/>
          </a:prstGeom>
        </p:spPr>
        <p:txBody>
          <a:bodyPr vert="horz" lIns="0" tIns="0" rIns="0" bIns="0" rtlCol="0" anchor="t" anchorCtr="0"/>
          <a:lstStyle>
            <a:lvl1pPr algn="r">
              <a:defRPr sz="900">
                <a:solidFill>
                  <a:schemeClr val="accent1"/>
                </a:solidFill>
              </a:defRPr>
            </a:lvl1pPr>
          </a:lstStyle>
          <a:p>
            <a:fld id="{7E7F51FE-B327-9E4B-9114-2B3CAA1CBD72}" type="datetime4">
              <a:rPr lang="en-US" smtClean="0"/>
              <a:t>July 26, 2021</a:t>
            </a:fld>
            <a:endParaRPr lang="en-US" dirty="0"/>
          </a:p>
        </p:txBody>
      </p:sp>
      <p:sp>
        <p:nvSpPr>
          <p:cNvPr id="5" name="Footer Placeholder 4">
            <a:extLst>
              <a:ext uri="{FF2B5EF4-FFF2-40B4-BE49-F238E27FC236}">
                <a16:creationId xmlns:a16="http://schemas.microsoft.com/office/drawing/2014/main" id="{87AEE54C-68AD-4486-8014-B28CE560FE13}"/>
              </a:ext>
            </a:extLst>
          </p:cNvPr>
          <p:cNvSpPr>
            <a:spLocks noGrp="1"/>
          </p:cNvSpPr>
          <p:nvPr>
            <p:ph type="ftr" sz="quarter" idx="3"/>
          </p:nvPr>
        </p:nvSpPr>
        <p:spPr>
          <a:xfrm>
            <a:off x="3633263" y="6400801"/>
            <a:ext cx="5842207" cy="209176"/>
          </a:xfrm>
          <a:prstGeom prst="rect">
            <a:avLst/>
          </a:prstGeom>
        </p:spPr>
        <p:txBody>
          <a:bodyPr vert="horz" lIns="0" tIns="0" rIns="0" bIns="0" rtlCol="0" anchor="t" anchorCtr="0"/>
          <a:lstStyle>
            <a:lvl1pPr algn="l">
              <a:defRPr sz="900">
                <a:solidFill>
                  <a:schemeClr val="accent1"/>
                </a:solidFill>
              </a:defRPr>
            </a:lvl1pPr>
          </a:lstStyle>
          <a:p>
            <a:endParaRPr lang="en-US" dirty="0"/>
          </a:p>
        </p:txBody>
      </p:sp>
      <p:sp>
        <p:nvSpPr>
          <p:cNvPr id="6" name="Slide Number Placeholder 5">
            <a:extLst>
              <a:ext uri="{FF2B5EF4-FFF2-40B4-BE49-F238E27FC236}">
                <a16:creationId xmlns:a16="http://schemas.microsoft.com/office/drawing/2014/main" id="{ADC1B2D1-9758-4DCF-A947-E6FA30020604}"/>
              </a:ext>
            </a:extLst>
          </p:cNvPr>
          <p:cNvSpPr>
            <a:spLocks noGrp="1"/>
          </p:cNvSpPr>
          <p:nvPr>
            <p:ph type="sldNum" sz="quarter" idx="4"/>
          </p:nvPr>
        </p:nvSpPr>
        <p:spPr>
          <a:xfrm>
            <a:off x="11199906" y="6400800"/>
            <a:ext cx="382493" cy="181909"/>
          </a:xfrm>
          <a:prstGeom prst="rect">
            <a:avLst/>
          </a:prstGeom>
        </p:spPr>
        <p:txBody>
          <a:bodyPr vert="horz" lIns="0" tIns="0" rIns="0" bIns="0" rtlCol="0" anchor="t" anchorCtr="0"/>
          <a:lstStyle>
            <a:lvl1pPr algn="r" fontAlgn="t">
              <a:defRPr sz="900" baseline="0">
                <a:solidFill>
                  <a:schemeClr val="accent1"/>
                </a:solidFill>
              </a:defRPr>
            </a:lvl1pPr>
          </a:lstStyle>
          <a:p>
            <a:fld id="{1C4126A1-9282-4A82-AC02-A59AF4A969C8}" type="slidenum">
              <a:rPr lang="en-US" smtClean="0"/>
              <a:pPr/>
              <a:t>‹#›</a:t>
            </a:fld>
            <a:endParaRPr lang="en-US" dirty="0"/>
          </a:p>
        </p:txBody>
      </p:sp>
      <p:sp>
        <p:nvSpPr>
          <p:cNvPr id="9" name="TextBox 8">
            <a:extLst>
              <a:ext uri="{FF2B5EF4-FFF2-40B4-BE49-F238E27FC236}">
                <a16:creationId xmlns:a16="http://schemas.microsoft.com/office/drawing/2014/main" id="{7E6774D7-0621-A844-AF51-9BC0AAC55D77}"/>
              </a:ext>
            </a:extLst>
          </p:cNvPr>
          <p:cNvSpPr txBox="1"/>
          <p:nvPr userDrawn="1"/>
        </p:nvSpPr>
        <p:spPr>
          <a:xfrm>
            <a:off x="604838" y="6400800"/>
            <a:ext cx="2932747" cy="138499"/>
          </a:xfrm>
          <a:prstGeom prst="rect">
            <a:avLst/>
          </a:prstGeom>
          <a:noFill/>
        </p:spPr>
        <p:txBody>
          <a:bodyPr wrap="square" lIns="0" tIns="0" rIns="0" bIns="0" rtlCol="0">
            <a:spAutoFit/>
          </a:bodyPr>
          <a:lstStyle/>
          <a:p>
            <a:r>
              <a:rPr lang="en-US" sz="900" spc="50" baseline="0" dirty="0">
                <a:solidFill>
                  <a:schemeClr val="accent1"/>
                </a:solidFill>
              </a:rPr>
              <a:t>California Public Utilities Commission</a:t>
            </a:r>
          </a:p>
        </p:txBody>
      </p:sp>
    </p:spTree>
    <p:extLst>
      <p:ext uri="{BB962C8B-B14F-4D97-AF65-F5344CB8AC3E}">
        <p14:creationId xmlns:p14="http://schemas.microsoft.com/office/powerpoint/2010/main" val="2148445455"/>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 id="2147483962" r:id="rId11"/>
    <p:sldLayoutId id="2147483963" r:id="rId12"/>
  </p:sldLayoutIdLst>
  <p:hf sldNum="0" hdr="0" ftr="0" dt="0"/>
  <p:txStyles>
    <p:titleStyle>
      <a:lvl1pPr algn="l" defTabSz="914400" rtl="0" eaLnBrk="1" fontAlgn="b" latinLnBrk="0" hangingPunct="1">
        <a:lnSpc>
          <a:spcPct val="90000"/>
        </a:lnSpc>
        <a:spcBef>
          <a:spcPct val="0"/>
        </a:spcBef>
        <a:buNone/>
        <a:defRPr sz="3600" b="1"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mn-lt"/>
          <a:ea typeface="+mn-ea"/>
          <a:cs typeface="+mn-cs"/>
        </a:defRPr>
      </a:lvl1pPr>
      <a:lvl2pPr marL="571500" indent="-231775" algn="l" defTabSz="914400" rtl="0" eaLnBrk="1" latinLnBrk="0" hangingPunct="1">
        <a:lnSpc>
          <a:spcPct val="90000"/>
        </a:lnSpc>
        <a:spcBef>
          <a:spcPts val="500"/>
        </a:spcBef>
        <a:buFont typeface="Arial" panose="020B0604020202020204" pitchFamily="34" charset="0"/>
        <a:buChar char="•"/>
        <a:tabLst/>
        <a:defRPr sz="2200" kern="1200">
          <a:solidFill>
            <a:schemeClr val="tx2"/>
          </a:solidFill>
          <a:latin typeface="+mn-lt"/>
          <a:ea typeface="+mn-ea"/>
          <a:cs typeface="+mn-cs"/>
        </a:defRPr>
      </a:lvl2pPr>
      <a:lvl3pPr marL="971550" indent="-173038" algn="l" defTabSz="914400" rtl="0" eaLnBrk="1" latinLnBrk="0" hangingPunct="1">
        <a:lnSpc>
          <a:spcPct val="90000"/>
        </a:lnSpc>
        <a:spcBef>
          <a:spcPts val="500"/>
        </a:spcBef>
        <a:buFont typeface="Arial" panose="020B0604020202020204" pitchFamily="34" charset="0"/>
        <a:buChar char="•"/>
        <a:tabLst/>
        <a:defRPr sz="2000" kern="1200">
          <a:solidFill>
            <a:schemeClr val="tx2"/>
          </a:solidFill>
          <a:latin typeface="+mn-lt"/>
          <a:ea typeface="+mn-ea"/>
          <a:cs typeface="+mn-cs"/>
        </a:defRPr>
      </a:lvl3pPr>
      <a:lvl4pPr marL="1430338" indent="-166688" algn="l" defTabSz="914400" rtl="0" eaLnBrk="1" latinLnBrk="0" hangingPunct="1">
        <a:lnSpc>
          <a:spcPct val="90000"/>
        </a:lnSpc>
        <a:spcBef>
          <a:spcPts val="500"/>
        </a:spcBef>
        <a:buFont typeface="Arial" panose="020B0604020202020204" pitchFamily="34" charset="0"/>
        <a:buChar char="•"/>
        <a:tabLst/>
        <a:defRPr sz="1800" kern="1200">
          <a:solidFill>
            <a:schemeClr val="tx2"/>
          </a:solidFill>
          <a:latin typeface="+mn-lt"/>
          <a:ea typeface="+mn-ea"/>
          <a:cs typeface="+mn-cs"/>
        </a:defRPr>
      </a:lvl4pPr>
      <a:lvl5pPr marL="1889125" indent="-173038" algn="l" defTabSz="914400" rtl="0" eaLnBrk="1" latinLnBrk="0" hangingPunct="1">
        <a:lnSpc>
          <a:spcPct val="90000"/>
        </a:lnSpc>
        <a:spcBef>
          <a:spcPts val="500"/>
        </a:spcBef>
        <a:buFont typeface="Arial" panose="020B0604020202020204" pitchFamily="34" charset="0"/>
        <a:buChar char="•"/>
        <a:tabLst/>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84">
          <p15:clr>
            <a:srgbClr val="F26B43"/>
          </p15:clr>
        </p15:guide>
        <p15:guide id="4" pos="7296">
          <p15:clr>
            <a:srgbClr val="F26B43"/>
          </p15:clr>
        </p15:guide>
        <p15:guide id="5" orient="horz" pos="4032">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DE98372-D69B-4C8A-9CBB-B1C765408554}"/>
              </a:ext>
            </a:extLst>
          </p:cNvPr>
          <p:cNvSpPr>
            <a:spLocks noGrp="1"/>
          </p:cNvSpPr>
          <p:nvPr>
            <p:ph type="title"/>
          </p:nvPr>
        </p:nvSpPr>
        <p:spPr>
          <a:xfrm>
            <a:off x="609600" y="365125"/>
            <a:ext cx="10972800" cy="1325563"/>
          </a:xfrm>
          <a:prstGeom prst="rect">
            <a:avLst/>
          </a:prstGeom>
        </p:spPr>
        <p:txBody>
          <a:bodyPr vert="horz" lIns="0" tIns="45720" rIns="91440" bIns="45720" rtlCol="0" anchor="b"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BC606B32-88C8-46F8-A892-446061875561}"/>
              </a:ext>
            </a:extLst>
          </p:cNvPr>
          <p:cNvSpPr>
            <a:spLocks noGrp="1"/>
          </p:cNvSpPr>
          <p:nvPr>
            <p:ph type="body" idx="1"/>
          </p:nvPr>
        </p:nvSpPr>
        <p:spPr>
          <a:xfrm>
            <a:off x="609600" y="1825625"/>
            <a:ext cx="10972800" cy="4351338"/>
          </a:xfrm>
          <a:prstGeom prst="rect">
            <a:avLst/>
          </a:prstGeom>
          <a:noFill/>
        </p:spPr>
        <p:txBody>
          <a:bodyPr vert="horz" lIns="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0707B2-76CD-463E-AE3E-654AD69596FA}"/>
              </a:ext>
            </a:extLst>
          </p:cNvPr>
          <p:cNvSpPr>
            <a:spLocks noGrp="1"/>
          </p:cNvSpPr>
          <p:nvPr>
            <p:ph type="dt" sz="half" idx="2"/>
          </p:nvPr>
        </p:nvSpPr>
        <p:spPr>
          <a:xfrm>
            <a:off x="9772650" y="6400801"/>
            <a:ext cx="1333125" cy="197223"/>
          </a:xfrm>
          <a:prstGeom prst="rect">
            <a:avLst/>
          </a:prstGeom>
        </p:spPr>
        <p:txBody>
          <a:bodyPr vert="horz" lIns="0" tIns="0" rIns="0" bIns="0" rtlCol="0" anchor="t" anchorCtr="0"/>
          <a:lstStyle>
            <a:lvl1pPr algn="r">
              <a:defRPr sz="900">
                <a:solidFill>
                  <a:schemeClr val="bg1"/>
                </a:solidFill>
              </a:defRPr>
            </a:lvl1pPr>
          </a:lstStyle>
          <a:p>
            <a:fld id="{53CBE321-300F-AF4D-830B-A39EF5C20CB8}" type="datetime4">
              <a:rPr lang="en-US" smtClean="0"/>
              <a:t>July 26, 2021</a:t>
            </a:fld>
            <a:endParaRPr lang="en-US" dirty="0"/>
          </a:p>
        </p:txBody>
      </p:sp>
      <p:sp>
        <p:nvSpPr>
          <p:cNvPr id="5" name="Footer Placeholder 4">
            <a:extLst>
              <a:ext uri="{FF2B5EF4-FFF2-40B4-BE49-F238E27FC236}">
                <a16:creationId xmlns:a16="http://schemas.microsoft.com/office/drawing/2014/main" id="{87AEE54C-68AD-4486-8014-B28CE560FE13}"/>
              </a:ext>
            </a:extLst>
          </p:cNvPr>
          <p:cNvSpPr>
            <a:spLocks noGrp="1"/>
          </p:cNvSpPr>
          <p:nvPr>
            <p:ph type="ftr" sz="quarter" idx="3"/>
          </p:nvPr>
        </p:nvSpPr>
        <p:spPr>
          <a:xfrm>
            <a:off x="3633263" y="6400801"/>
            <a:ext cx="5842207" cy="209176"/>
          </a:xfrm>
          <a:prstGeom prst="rect">
            <a:avLst/>
          </a:prstGeom>
        </p:spPr>
        <p:txBody>
          <a:bodyPr vert="horz" lIns="0" tIns="0" rIns="0" bIns="0" rtlCol="0" anchor="t" anchorCtr="0"/>
          <a:lstStyle>
            <a:lvl1pPr algn="l">
              <a:defRPr sz="900">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ADC1B2D1-9758-4DCF-A947-E6FA30020604}"/>
              </a:ext>
            </a:extLst>
          </p:cNvPr>
          <p:cNvSpPr>
            <a:spLocks noGrp="1"/>
          </p:cNvSpPr>
          <p:nvPr>
            <p:ph type="sldNum" sz="quarter" idx="4"/>
          </p:nvPr>
        </p:nvSpPr>
        <p:spPr>
          <a:xfrm>
            <a:off x="11199906" y="6400800"/>
            <a:ext cx="382493" cy="181909"/>
          </a:xfrm>
          <a:prstGeom prst="rect">
            <a:avLst/>
          </a:prstGeom>
        </p:spPr>
        <p:txBody>
          <a:bodyPr vert="horz" lIns="0" tIns="0" rIns="0" bIns="0" rtlCol="0" anchor="t" anchorCtr="0"/>
          <a:lstStyle>
            <a:lvl1pPr algn="r" fontAlgn="t">
              <a:defRPr sz="900" baseline="0">
                <a:solidFill>
                  <a:schemeClr val="bg1"/>
                </a:solidFill>
              </a:defRPr>
            </a:lvl1pPr>
          </a:lstStyle>
          <a:p>
            <a:fld id="{1C4126A1-9282-4A82-AC02-A59AF4A969C8}" type="slidenum">
              <a:rPr lang="en-US" smtClean="0"/>
              <a:pPr/>
              <a:t>‹#›</a:t>
            </a:fld>
            <a:endParaRPr lang="en-US" dirty="0"/>
          </a:p>
        </p:txBody>
      </p:sp>
      <p:sp>
        <p:nvSpPr>
          <p:cNvPr id="9" name="TextBox 8">
            <a:extLst>
              <a:ext uri="{FF2B5EF4-FFF2-40B4-BE49-F238E27FC236}">
                <a16:creationId xmlns:a16="http://schemas.microsoft.com/office/drawing/2014/main" id="{7E6774D7-0621-A844-AF51-9BC0AAC55D77}"/>
              </a:ext>
            </a:extLst>
          </p:cNvPr>
          <p:cNvSpPr txBox="1"/>
          <p:nvPr userDrawn="1"/>
        </p:nvSpPr>
        <p:spPr>
          <a:xfrm>
            <a:off x="604838" y="6400800"/>
            <a:ext cx="2932747" cy="138499"/>
          </a:xfrm>
          <a:prstGeom prst="rect">
            <a:avLst/>
          </a:prstGeom>
          <a:noFill/>
        </p:spPr>
        <p:txBody>
          <a:bodyPr wrap="square" lIns="0" tIns="0" rIns="0" bIns="0" rtlCol="0">
            <a:spAutoFit/>
          </a:bodyPr>
          <a:lstStyle/>
          <a:p>
            <a:r>
              <a:rPr lang="en-US" sz="900" spc="50" baseline="0" dirty="0">
                <a:solidFill>
                  <a:schemeClr val="bg1"/>
                </a:solidFill>
              </a:rPr>
              <a:t>California Public Utilities Commission</a:t>
            </a:r>
          </a:p>
        </p:txBody>
      </p:sp>
    </p:spTree>
    <p:extLst>
      <p:ext uri="{BB962C8B-B14F-4D97-AF65-F5344CB8AC3E}">
        <p14:creationId xmlns:p14="http://schemas.microsoft.com/office/powerpoint/2010/main" val="991985108"/>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 id="2147483973" r:id="rId9"/>
    <p:sldLayoutId id="2147483974" r:id="rId10"/>
    <p:sldLayoutId id="2147483975" r:id="rId11"/>
    <p:sldLayoutId id="2147483976" r:id="rId12"/>
  </p:sldLayoutIdLst>
  <p:hf sldNum="0" hdr="0" ftr="0" dt="0"/>
  <p:txStyles>
    <p:titleStyle>
      <a:lvl1pPr algn="l" defTabSz="914400" rtl="0" eaLnBrk="1" fontAlgn="b"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1"/>
          </a:solidFill>
          <a:latin typeface="+mn-lt"/>
          <a:ea typeface="+mn-ea"/>
          <a:cs typeface="+mn-cs"/>
        </a:defRPr>
      </a:lvl1pPr>
      <a:lvl2pPr marL="571500" indent="-231775" algn="l" defTabSz="914400" rtl="0" eaLnBrk="1" latinLnBrk="0" hangingPunct="1">
        <a:lnSpc>
          <a:spcPct val="90000"/>
        </a:lnSpc>
        <a:spcBef>
          <a:spcPts val="500"/>
        </a:spcBef>
        <a:buFont typeface="Arial" panose="020B0604020202020204" pitchFamily="34" charset="0"/>
        <a:buChar char="•"/>
        <a:tabLst/>
        <a:defRPr sz="2200" kern="1200">
          <a:solidFill>
            <a:schemeClr val="bg1"/>
          </a:solidFill>
          <a:latin typeface="+mn-lt"/>
          <a:ea typeface="+mn-ea"/>
          <a:cs typeface="+mn-cs"/>
        </a:defRPr>
      </a:lvl2pPr>
      <a:lvl3pPr marL="971550" indent="-173038" algn="l" defTabSz="914400" rtl="0" eaLnBrk="1" latinLnBrk="0" hangingPunct="1">
        <a:lnSpc>
          <a:spcPct val="90000"/>
        </a:lnSpc>
        <a:spcBef>
          <a:spcPts val="500"/>
        </a:spcBef>
        <a:buFont typeface="Arial" panose="020B0604020202020204" pitchFamily="34" charset="0"/>
        <a:buChar char="•"/>
        <a:tabLst/>
        <a:defRPr sz="2000" kern="1200">
          <a:solidFill>
            <a:schemeClr val="bg1"/>
          </a:solidFill>
          <a:latin typeface="+mn-lt"/>
          <a:ea typeface="+mn-ea"/>
          <a:cs typeface="+mn-cs"/>
        </a:defRPr>
      </a:lvl3pPr>
      <a:lvl4pPr marL="1430338" indent="-166688" algn="l" defTabSz="914400" rtl="0" eaLnBrk="1" latinLnBrk="0" hangingPunct="1">
        <a:lnSpc>
          <a:spcPct val="90000"/>
        </a:lnSpc>
        <a:spcBef>
          <a:spcPts val="500"/>
        </a:spcBef>
        <a:buFont typeface="Arial" panose="020B0604020202020204" pitchFamily="34" charset="0"/>
        <a:buChar char="•"/>
        <a:tabLst/>
        <a:defRPr sz="1800" kern="1200">
          <a:solidFill>
            <a:schemeClr val="bg1"/>
          </a:solidFill>
          <a:latin typeface="+mn-lt"/>
          <a:ea typeface="+mn-ea"/>
          <a:cs typeface="+mn-cs"/>
        </a:defRPr>
      </a:lvl4pPr>
      <a:lvl5pPr marL="1889125" indent="-173038" algn="l" defTabSz="914400" rtl="0" eaLnBrk="1" latinLnBrk="0" hangingPunct="1">
        <a:lnSpc>
          <a:spcPct val="90000"/>
        </a:lnSpc>
        <a:spcBef>
          <a:spcPts val="500"/>
        </a:spcBef>
        <a:buFont typeface="Arial" panose="020B0604020202020204" pitchFamily="34" charset="0"/>
        <a:buChar char="•"/>
        <a:tabLst/>
        <a:defRPr sz="16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84">
          <p15:clr>
            <a:srgbClr val="F26B43"/>
          </p15:clr>
        </p15:guide>
        <p15:guide id="4" pos="7296">
          <p15:clr>
            <a:srgbClr val="F26B43"/>
          </p15:clr>
        </p15:guide>
        <p15:guide id="5" orient="horz" pos="4032">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0" y="633431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endParaRPr lang="en-US"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dirty="0"/>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A8A5BF6F-6284-4268-A4B2-70D64A08C3F8}" type="slidenum">
              <a:rPr lang="en-US" smtClean="0"/>
              <a:pPr/>
              <a:t>‹#›</a:t>
            </a:fld>
            <a:endParaRPr lang="en-US" dirty="0"/>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5080954"/>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 id="2147483985" r:id="rId8"/>
    <p:sldLayoutId id="2147483986" r:id="rId9"/>
    <p:sldLayoutId id="2147483987" r:id="rId10"/>
    <p:sldLayoutId id="2147483988" r:id="rId11"/>
    <p:sldLayoutId id="2147483989" r:id="rId12"/>
  </p:sldLayoutIdLst>
  <p:hf hd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Picture 8" descr="ColorBlue_bar_top-12.jpg">
            <a:extLst>
              <a:ext uri="{FF2B5EF4-FFF2-40B4-BE49-F238E27FC236}">
                <a16:creationId xmlns:a16="http://schemas.microsoft.com/office/drawing/2014/main" id="{2B7AFE69-1D19-4CF8-B271-F5250847ECD9}"/>
              </a:ext>
            </a:extLst>
          </p:cNvPr>
          <p:cNvPicPr>
            <a:picLocks noChangeAspect="1"/>
          </p:cNvPicPr>
          <p:nvPr userDrawn="1"/>
        </p:nvPicPr>
        <p:blipFill>
          <a:blip r:embed="rId28" cstate="print">
            <a:extLst>
              <a:ext uri="{28A0092B-C50C-407E-A947-70E740481C1C}">
                <a14:useLocalDpi xmlns:a14="http://schemas.microsoft.com/office/drawing/2010/main"/>
              </a:ext>
            </a:extLst>
          </a:blip>
          <a:srcRect/>
          <a:stretch>
            <a:fillRect/>
          </a:stretch>
        </p:blipFill>
        <p:spPr bwMode="auto">
          <a:xfrm>
            <a:off x="-1" y="0"/>
            <a:ext cx="12192001" cy="1198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laceholder 1"/>
          <p:cNvSpPr>
            <a:spLocks noGrp="1"/>
          </p:cNvSpPr>
          <p:nvPr>
            <p:ph type="title"/>
          </p:nvPr>
        </p:nvSpPr>
        <p:spPr>
          <a:xfrm>
            <a:off x="1453019" y="1"/>
            <a:ext cx="10538565" cy="118997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1453019" y="1317811"/>
            <a:ext cx="10538565" cy="4719733"/>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67013" y="6356352"/>
            <a:ext cx="1152395" cy="365125"/>
          </a:xfrm>
          <a:prstGeom prst="rect">
            <a:avLst/>
          </a:prstGeom>
        </p:spPr>
        <p:txBody>
          <a:bodyPr vert="horz" lIns="91440" tIns="45720" rIns="91440" bIns="45720" rtlCol="0" anchor="ctr"/>
          <a:lstStyle>
            <a:lvl1pPr algn="l">
              <a:defRPr lang="en-US" sz="900" kern="1200" smtClean="0">
                <a:solidFill>
                  <a:srgbClr val="7F7F7F"/>
                </a:solidFill>
                <a:latin typeface="Arial" panose="020B0604020202020204" pitchFamily="34" charset="0"/>
                <a:ea typeface="MS PGothic" panose="020B0600070205080204" pitchFamily="34" charset="-128"/>
                <a:cs typeface="Arial" panose="020B0604020202020204" pitchFamily="34" charset="0"/>
              </a:defRPr>
            </a:lvl1pPr>
          </a:lstStyle>
          <a:p>
            <a:fld id="{BF9A6715-B9FD-4962-BDE3-B0EC339EDE09}" type="datetime1">
              <a:rPr lang="en-US" smtClean="0"/>
              <a:t>7/26/2021</a:t>
            </a:fld>
            <a:endParaRPr lang="en-US" dirty="0"/>
          </a:p>
        </p:txBody>
      </p:sp>
      <p:sp>
        <p:nvSpPr>
          <p:cNvPr id="5" name="Footer Placeholder 4"/>
          <p:cNvSpPr>
            <a:spLocks noGrp="1"/>
          </p:cNvSpPr>
          <p:nvPr>
            <p:ph type="ftr" sz="quarter" idx="3"/>
          </p:nvPr>
        </p:nvSpPr>
        <p:spPr>
          <a:xfrm>
            <a:off x="1453018" y="6356352"/>
            <a:ext cx="7632527" cy="365125"/>
          </a:xfrm>
          <a:prstGeom prst="rect">
            <a:avLst/>
          </a:prstGeom>
        </p:spPr>
        <p:txBody>
          <a:bodyPr vert="horz" lIns="91440" tIns="45720" rIns="91440" bIns="45720" rtlCol="0" anchor="ctr"/>
          <a:lstStyle>
            <a:lvl1pPr algn="ctr">
              <a:defRPr lang="en-US" sz="900" kern="1200" dirty="0" smtClean="0">
                <a:solidFill>
                  <a:srgbClr val="7F7F7F"/>
                </a:solidFill>
                <a:latin typeface="Arial" panose="020B0604020202020204" pitchFamily="34" charset="0"/>
                <a:ea typeface="MS PGothic" panose="020B0600070205080204" pitchFamily="34" charset="-128"/>
                <a:cs typeface="Arial" panose="020B0604020202020204" pitchFamily="34" charset="0"/>
              </a:defRPr>
            </a:lvl1pPr>
          </a:lstStyle>
          <a:p>
            <a:r>
              <a:rPr lang="en-US" dirty="0"/>
              <a:t>SCR-SBUA</a:t>
            </a:r>
          </a:p>
        </p:txBody>
      </p:sp>
      <p:sp>
        <p:nvSpPr>
          <p:cNvPr id="6" name="Slide Number Placeholder 5"/>
          <p:cNvSpPr>
            <a:spLocks noGrp="1"/>
          </p:cNvSpPr>
          <p:nvPr>
            <p:ph type="sldNum" sz="quarter" idx="4"/>
          </p:nvPr>
        </p:nvSpPr>
        <p:spPr>
          <a:xfrm>
            <a:off x="9248384" y="6356352"/>
            <a:ext cx="2743200" cy="365125"/>
          </a:xfrm>
          <a:prstGeom prst="rect">
            <a:avLst/>
          </a:prstGeom>
        </p:spPr>
        <p:txBody>
          <a:bodyPr vert="horz" lIns="91440" tIns="45720" rIns="91440" bIns="45720" rtlCol="0" anchor="ctr"/>
          <a:lstStyle>
            <a:lvl1pPr algn="r">
              <a:defRPr lang="en-US" sz="900" kern="1200" smtClean="0">
                <a:solidFill>
                  <a:srgbClr val="7F7F7F"/>
                </a:solidFill>
                <a:latin typeface="Arial" panose="020B0604020202020204" pitchFamily="34" charset="0"/>
                <a:ea typeface="MS PGothic" panose="020B0600070205080204" pitchFamily="34" charset="-128"/>
                <a:cs typeface="Arial" panose="020B0604020202020204" pitchFamily="34" charset="0"/>
              </a:defRPr>
            </a:lvl1pPr>
          </a:lstStyle>
          <a:p>
            <a:fld id="{A5B56432-4C90-4F05-B8D0-B4F6788E1284}" type="slidenum">
              <a:rPr lang="en-US" smtClean="0"/>
              <a:pPr/>
              <a:t>‹#›</a:t>
            </a:fld>
            <a:r>
              <a:rPr lang="en-US" dirty="0"/>
              <a:t> - INTERNAL</a:t>
            </a:r>
          </a:p>
        </p:txBody>
      </p:sp>
    </p:spTree>
    <p:extLst>
      <p:ext uri="{BB962C8B-B14F-4D97-AF65-F5344CB8AC3E}">
        <p14:creationId xmlns:p14="http://schemas.microsoft.com/office/powerpoint/2010/main" val="1518098854"/>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 id="2147484002" r:id="rId12"/>
    <p:sldLayoutId id="2147484003" r:id="rId13"/>
    <p:sldLayoutId id="2147484004" r:id="rId14"/>
    <p:sldLayoutId id="2147484005" r:id="rId15"/>
    <p:sldLayoutId id="2147484006" r:id="rId16"/>
    <p:sldLayoutId id="2147484007" r:id="rId17"/>
    <p:sldLayoutId id="2147484008" r:id="rId18"/>
    <p:sldLayoutId id="2147484009" r:id="rId19"/>
    <p:sldLayoutId id="2147484010" r:id="rId20"/>
    <p:sldLayoutId id="2147484011" r:id="rId21"/>
    <p:sldLayoutId id="2147484012" r:id="rId22"/>
    <p:sldLayoutId id="2147484013" r:id="rId23"/>
    <p:sldLayoutId id="2147484014" r:id="rId24"/>
    <p:sldLayoutId id="2147484015" r:id="rId25"/>
    <p:sldLayoutId id="2147484016" r:id="rId26"/>
  </p:sldLayoutIdLst>
  <p:hf sldNum="0" hdr="0"/>
  <p:txStyles>
    <p:titleStyle>
      <a:lvl1pPr algn="l" defTabSz="914400" rtl="0" eaLnBrk="1" latinLnBrk="0" hangingPunct="1">
        <a:lnSpc>
          <a:spcPct val="90000"/>
        </a:lnSpc>
        <a:spcBef>
          <a:spcPct val="0"/>
        </a:spcBef>
        <a:buNone/>
        <a:defRPr lang="en-US" sz="3600" b="1" kern="1200" dirty="0">
          <a:solidFill>
            <a:schemeClr val="bg1"/>
          </a:solidFill>
          <a:latin typeface="Arial" panose="020B0604020202020204" pitchFamily="34" charset="0"/>
          <a:ea typeface="MS PGothic" panose="020B0600070205080204" pitchFamily="34" charset="-128"/>
          <a:cs typeface="Arial" panose="020B0604020202020204" pitchFamily="34" charset="0"/>
        </a:defRPr>
      </a:lvl1pPr>
    </p:titleStyle>
    <p:bodyStyle>
      <a:lvl1pPr marL="228600" indent="-228600" algn="l" defTabSz="914400" rtl="0" eaLnBrk="1" latinLnBrk="0" hangingPunct="1">
        <a:lnSpc>
          <a:spcPct val="100000"/>
        </a:lnSpc>
        <a:spcBef>
          <a:spcPts val="600"/>
        </a:spcBef>
        <a:buFont typeface="Arial" panose="020B0604020202020204" pitchFamily="34" charset="0"/>
        <a:buChar char="•"/>
        <a:defRPr sz="3200" kern="1200">
          <a:solidFill>
            <a:schemeClr val="tx2">
              <a:lumMod val="50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600"/>
        </a:spcBef>
        <a:buFont typeface="Arial" panose="020B0604020202020204" pitchFamily="34" charset="0"/>
        <a:buChar char="•"/>
        <a:defRPr sz="2800" kern="1200">
          <a:solidFill>
            <a:schemeClr val="tx2">
              <a:lumMod val="50000"/>
            </a:schemeClr>
          </a:solidFill>
          <a:latin typeface="+mn-lt"/>
          <a:ea typeface="+mn-ea"/>
          <a:cs typeface="+mn-cs"/>
        </a:defRPr>
      </a:lvl2pPr>
      <a:lvl3pPr marL="1143000" indent="-228600" algn="l" defTabSz="914400" rtl="0" eaLnBrk="1" latinLnBrk="0" hangingPunct="1">
        <a:lnSpc>
          <a:spcPct val="100000"/>
        </a:lnSpc>
        <a:spcBef>
          <a:spcPts val="600"/>
        </a:spcBef>
        <a:buFont typeface="Arial" panose="020B0604020202020204" pitchFamily="34" charset="0"/>
        <a:buChar char="•"/>
        <a:defRPr sz="2000" kern="1200">
          <a:solidFill>
            <a:schemeClr val="tx2">
              <a:lumMod val="50000"/>
            </a:schemeClr>
          </a:solidFill>
          <a:latin typeface="+mn-lt"/>
          <a:ea typeface="+mn-ea"/>
          <a:cs typeface="+mn-cs"/>
        </a:defRPr>
      </a:lvl3pPr>
      <a:lvl4pPr marL="1600200" indent="-228600" algn="l" defTabSz="914400" rtl="0" eaLnBrk="1" latinLnBrk="0" hangingPunct="1">
        <a:lnSpc>
          <a:spcPct val="100000"/>
        </a:lnSpc>
        <a:spcBef>
          <a:spcPts val="600"/>
        </a:spcBef>
        <a:buFont typeface="Arial" panose="020B0604020202020204" pitchFamily="34" charset="0"/>
        <a:buChar char="•"/>
        <a:defRPr sz="1800" kern="1200">
          <a:solidFill>
            <a:schemeClr val="tx2">
              <a:lumMod val="50000"/>
            </a:schemeClr>
          </a:solidFill>
          <a:latin typeface="+mn-lt"/>
          <a:ea typeface="+mn-ea"/>
          <a:cs typeface="+mn-cs"/>
        </a:defRPr>
      </a:lvl4pPr>
      <a:lvl5pPr marL="2057400" indent="-228600" algn="l" defTabSz="914400" rtl="0" eaLnBrk="1" latinLnBrk="0" hangingPunct="1">
        <a:lnSpc>
          <a:spcPct val="100000"/>
        </a:lnSpc>
        <a:spcBef>
          <a:spcPts val="600"/>
        </a:spcBef>
        <a:buFont typeface="Arial" panose="020B0604020202020204" pitchFamily="34" charset="0"/>
        <a:buChar char="•"/>
        <a:defRPr sz="1600" kern="1200">
          <a:solidFill>
            <a:schemeClr val="tx2">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2971800"/>
            <a:ext cx="10515600" cy="457200"/>
          </a:xfrm>
          <a:prstGeom prst="rect">
            <a:avLst/>
          </a:prstGeom>
        </p:spPr>
        <p:txBody>
          <a:bodyPr vert="horz" lIns="91440" tIns="45720" rIns="91440" bIns="45720" rtlCol="0" anchor="ctr">
            <a:noAutofit/>
          </a:bodyPr>
          <a:lstStyle/>
          <a:p>
            <a:r>
              <a:rPr lang="en-US" dirty="0"/>
              <a:t>Click to Add Section Title</a:t>
            </a:r>
          </a:p>
        </p:txBody>
      </p:sp>
      <p:sp>
        <p:nvSpPr>
          <p:cNvPr id="10" name="TextBox 9"/>
          <p:cNvSpPr txBox="1"/>
          <p:nvPr userDrawn="1"/>
        </p:nvSpPr>
        <p:spPr>
          <a:xfrm>
            <a:off x="4231341" y="6534835"/>
            <a:ext cx="3729318" cy="323165"/>
          </a:xfrm>
          <a:prstGeom prst="rect">
            <a:avLst/>
          </a:prstGeom>
          <a:noFill/>
        </p:spPr>
        <p:txBody>
          <a:bodyPr wrap="square" rtlCol="0" anchor="b">
            <a:spAutoFit/>
          </a:bodyPr>
          <a:lstStyle/>
          <a:p>
            <a:pPr algn="ctr"/>
            <a:fld id="{778BE0E2-3ECC-4420-AE93-60F8CE78372C}" type="slidenum">
              <a:rPr lang="en-US" sz="750" smtClean="0"/>
              <a:t>‹#›</a:t>
            </a:fld>
            <a:endParaRPr lang="en-US" sz="750" dirty="0"/>
          </a:p>
          <a:p>
            <a:pPr algn="ctr"/>
            <a:r>
              <a:rPr lang="en-US" sz="750" dirty="0"/>
              <a:t>© 2021 All Rights Reserved</a:t>
            </a:r>
          </a:p>
        </p:txBody>
      </p:sp>
      <p:sp>
        <p:nvSpPr>
          <p:cNvPr id="11" name="Slide Number Placeholder 12">
            <a:extLst>
              <a:ext uri="{FF2B5EF4-FFF2-40B4-BE49-F238E27FC236}">
                <a16:creationId xmlns:a16="http://schemas.microsoft.com/office/drawing/2014/main" id="{5CB04EE2-6E55-4635-A918-999DF36C7DBC}"/>
              </a:ext>
            </a:extLst>
          </p:cNvPr>
          <p:cNvSpPr txBox="1">
            <a:spLocks/>
          </p:cNvSpPr>
          <p:nvPr userDrawn="1"/>
        </p:nvSpPr>
        <p:spPr>
          <a:xfrm>
            <a:off x="10471693" y="6664323"/>
            <a:ext cx="1704914" cy="187929"/>
          </a:xfrm>
          <a:prstGeom prst="rect">
            <a:avLst/>
          </a:prstGeom>
        </p:spPr>
        <p:txBody>
          <a:bodyPr vert="horz" lIns="85725" tIns="42863" rIns="85725" bIns="42863" rtlCol="0" anchor="b"/>
          <a:lstStyle>
            <a:defPPr>
              <a:defRPr lang="en-US"/>
            </a:defPPr>
            <a:lvl1pPr marL="0" algn="ct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563" b="1" dirty="0">
                <a:solidFill>
                  <a:schemeClr val="accent1"/>
                </a:solidFill>
              </a:rPr>
              <a:t>MCR Performance Solutions,</a:t>
            </a:r>
            <a:r>
              <a:rPr lang="en-US" sz="563" b="1" baseline="0" dirty="0">
                <a:solidFill>
                  <a:schemeClr val="accent1"/>
                </a:solidFill>
              </a:rPr>
              <a:t> LLC</a:t>
            </a:r>
            <a:endParaRPr lang="en-US" sz="563" b="1" dirty="0">
              <a:solidFill>
                <a:schemeClr val="accent1"/>
              </a:solidFill>
            </a:endParaRPr>
          </a:p>
        </p:txBody>
      </p:sp>
      <p:pic>
        <p:nvPicPr>
          <p:cNvPr id="12" name="Picture 11">
            <a:extLst>
              <a:ext uri="{FF2B5EF4-FFF2-40B4-BE49-F238E27FC236}">
                <a16:creationId xmlns:a16="http://schemas.microsoft.com/office/drawing/2014/main" id="{CB8D71AD-E8BC-41BA-A834-205AD21AF3D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96541" y="6516179"/>
            <a:ext cx="615672" cy="204031"/>
          </a:xfrm>
          <a:prstGeom prst="rect">
            <a:avLst/>
          </a:prstGeom>
        </p:spPr>
      </p:pic>
    </p:spTree>
    <p:extLst>
      <p:ext uri="{BB962C8B-B14F-4D97-AF65-F5344CB8AC3E}">
        <p14:creationId xmlns:p14="http://schemas.microsoft.com/office/powerpoint/2010/main" val="3814285604"/>
      </p:ext>
    </p:extLst>
  </p:cSld>
  <p:clrMap bg1="lt1" tx1="dk1" bg2="lt2" tx2="dk2" accent1="accent1" accent2="accent2" accent3="accent3" accent4="accent4" accent5="accent5" accent6="accent6" hlink="hlink" folHlink="folHlink"/>
  <p:sldLayoutIdLst>
    <p:sldLayoutId id="2147483669" r:id="rId1"/>
  </p:sldLayoutIdLst>
  <p:txStyles>
    <p:titleStyle>
      <a:lvl1pPr algn="ctr" defTabSz="857250" rtl="0" eaLnBrk="1" latinLnBrk="0" hangingPunct="1">
        <a:lnSpc>
          <a:spcPct val="100000"/>
        </a:lnSpc>
        <a:spcBef>
          <a:spcPct val="0"/>
        </a:spcBef>
        <a:buNone/>
        <a:defRPr sz="2250" b="1" i="1" kern="1200">
          <a:solidFill>
            <a:schemeClr val="tx1"/>
          </a:solidFill>
          <a:latin typeface="+mj-lt"/>
          <a:ea typeface="+mj-ea"/>
          <a:cs typeface="+mj-cs"/>
        </a:defRPr>
      </a:lvl1pPr>
    </p:titleStyle>
    <p:bodyStyle>
      <a:lvl1pPr marL="214313" indent="-214313" algn="l" defTabSz="857250" rtl="0" eaLnBrk="1" latinLnBrk="0" hangingPunct="1">
        <a:lnSpc>
          <a:spcPct val="90000"/>
        </a:lnSpc>
        <a:spcBef>
          <a:spcPts val="938"/>
        </a:spcBef>
        <a:buFont typeface="Arial" panose="020B0604020202020204" pitchFamily="34" charset="0"/>
        <a:buChar char="•"/>
        <a:defRPr sz="2625" kern="1200">
          <a:solidFill>
            <a:schemeClr val="tx1"/>
          </a:solidFill>
          <a:latin typeface="+mn-lt"/>
          <a:ea typeface="+mn-ea"/>
          <a:cs typeface="+mn-cs"/>
        </a:defRPr>
      </a:lvl1pPr>
      <a:lvl2pPr marL="642938" indent="-214313" algn="l" defTabSz="857250" rtl="0" eaLnBrk="1" latinLnBrk="0" hangingPunct="1">
        <a:lnSpc>
          <a:spcPct val="90000"/>
        </a:lnSpc>
        <a:spcBef>
          <a:spcPts val="469"/>
        </a:spcBef>
        <a:buFont typeface="Arial" panose="020B0604020202020204" pitchFamily="34" charset="0"/>
        <a:buChar char="•"/>
        <a:defRPr sz="2250" kern="1200">
          <a:solidFill>
            <a:schemeClr val="tx1"/>
          </a:solidFill>
          <a:latin typeface="+mn-lt"/>
          <a:ea typeface="+mn-ea"/>
          <a:cs typeface="+mn-cs"/>
        </a:defRPr>
      </a:lvl2pPr>
      <a:lvl3pPr marL="1071563" indent="-214313" algn="l" defTabSz="857250" rtl="0" eaLnBrk="1" latinLnBrk="0" hangingPunct="1">
        <a:lnSpc>
          <a:spcPct val="90000"/>
        </a:lnSpc>
        <a:spcBef>
          <a:spcPts val="469"/>
        </a:spcBef>
        <a:buFont typeface="Arial" panose="020B0604020202020204" pitchFamily="34" charset="0"/>
        <a:buChar char="•"/>
        <a:defRPr sz="1875" kern="1200">
          <a:solidFill>
            <a:schemeClr val="tx1"/>
          </a:solidFill>
          <a:latin typeface="+mn-lt"/>
          <a:ea typeface="+mn-ea"/>
          <a:cs typeface="+mn-cs"/>
        </a:defRPr>
      </a:lvl3pPr>
      <a:lvl4pPr marL="1500188" indent="-214313" algn="l" defTabSz="857250"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4pPr>
      <a:lvl5pPr marL="1928813" indent="-214313" algn="l" defTabSz="857250"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5pPr>
      <a:lvl6pPr marL="2357438" indent="-214313" algn="l" defTabSz="857250"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6pPr>
      <a:lvl7pPr marL="2786063" indent="-214313" algn="l" defTabSz="857250"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7pPr>
      <a:lvl8pPr marL="3214688" indent="-214313" algn="l" defTabSz="857250"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8pPr>
      <a:lvl9pPr marL="3643313" indent="-214313" algn="l" defTabSz="857250"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9pPr>
    </p:bodyStyle>
    <p:otherStyle>
      <a:defPPr>
        <a:defRPr lang="en-US"/>
      </a:defPPr>
      <a:lvl1pPr marL="0" algn="l" defTabSz="857250" rtl="0" eaLnBrk="1" latinLnBrk="0" hangingPunct="1">
        <a:defRPr sz="1688" kern="1200">
          <a:solidFill>
            <a:schemeClr val="tx1"/>
          </a:solidFill>
          <a:latin typeface="+mn-lt"/>
          <a:ea typeface="+mn-ea"/>
          <a:cs typeface="+mn-cs"/>
        </a:defRPr>
      </a:lvl1pPr>
      <a:lvl2pPr marL="428625" algn="l" defTabSz="857250" rtl="0" eaLnBrk="1" latinLnBrk="0" hangingPunct="1">
        <a:defRPr sz="1688" kern="1200">
          <a:solidFill>
            <a:schemeClr val="tx1"/>
          </a:solidFill>
          <a:latin typeface="+mn-lt"/>
          <a:ea typeface="+mn-ea"/>
          <a:cs typeface="+mn-cs"/>
        </a:defRPr>
      </a:lvl2pPr>
      <a:lvl3pPr marL="857250" algn="l" defTabSz="857250" rtl="0" eaLnBrk="1" latinLnBrk="0" hangingPunct="1">
        <a:defRPr sz="1688" kern="1200">
          <a:solidFill>
            <a:schemeClr val="tx1"/>
          </a:solidFill>
          <a:latin typeface="+mn-lt"/>
          <a:ea typeface="+mn-ea"/>
          <a:cs typeface="+mn-cs"/>
        </a:defRPr>
      </a:lvl3pPr>
      <a:lvl4pPr marL="1285875" algn="l" defTabSz="857250" rtl="0" eaLnBrk="1" latinLnBrk="0" hangingPunct="1">
        <a:defRPr sz="1688" kern="1200">
          <a:solidFill>
            <a:schemeClr val="tx1"/>
          </a:solidFill>
          <a:latin typeface="+mn-lt"/>
          <a:ea typeface="+mn-ea"/>
          <a:cs typeface="+mn-cs"/>
        </a:defRPr>
      </a:lvl4pPr>
      <a:lvl5pPr marL="1714500" algn="l" defTabSz="857250" rtl="0" eaLnBrk="1" latinLnBrk="0" hangingPunct="1">
        <a:defRPr sz="1688" kern="1200">
          <a:solidFill>
            <a:schemeClr val="tx1"/>
          </a:solidFill>
          <a:latin typeface="+mn-lt"/>
          <a:ea typeface="+mn-ea"/>
          <a:cs typeface="+mn-cs"/>
        </a:defRPr>
      </a:lvl5pPr>
      <a:lvl6pPr marL="2143125" algn="l" defTabSz="857250" rtl="0" eaLnBrk="1" latinLnBrk="0" hangingPunct="1">
        <a:defRPr sz="1688" kern="1200">
          <a:solidFill>
            <a:schemeClr val="tx1"/>
          </a:solidFill>
          <a:latin typeface="+mn-lt"/>
          <a:ea typeface="+mn-ea"/>
          <a:cs typeface="+mn-cs"/>
        </a:defRPr>
      </a:lvl6pPr>
      <a:lvl7pPr marL="2571750" algn="l" defTabSz="857250" rtl="0" eaLnBrk="1" latinLnBrk="0" hangingPunct="1">
        <a:defRPr sz="1688" kern="1200">
          <a:solidFill>
            <a:schemeClr val="tx1"/>
          </a:solidFill>
          <a:latin typeface="+mn-lt"/>
          <a:ea typeface="+mn-ea"/>
          <a:cs typeface="+mn-cs"/>
        </a:defRPr>
      </a:lvl7pPr>
      <a:lvl8pPr marL="3000375" algn="l" defTabSz="857250" rtl="0" eaLnBrk="1" latinLnBrk="0" hangingPunct="1">
        <a:defRPr sz="1688" kern="1200">
          <a:solidFill>
            <a:schemeClr val="tx1"/>
          </a:solidFill>
          <a:latin typeface="+mn-lt"/>
          <a:ea typeface="+mn-ea"/>
          <a:cs typeface="+mn-cs"/>
        </a:defRPr>
      </a:lvl8pPr>
      <a:lvl9pPr marL="3429000" algn="l" defTabSz="857250" rtl="0" eaLnBrk="1" latinLnBrk="0" hangingPunct="1">
        <a:defRPr sz="168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04">
          <p15:clr>
            <a:srgbClr val="F26B43"/>
          </p15:clr>
        </p15:guide>
        <p15:guide id="2" pos="3168">
          <p15:clr>
            <a:srgbClr val="F26B43"/>
          </p15:clr>
        </p15:guide>
        <p15:guide id="3" orient="horz" pos="199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76781"/>
            <a:ext cx="10642600" cy="613819"/>
          </a:xfrm>
          <a:prstGeom prst="rect">
            <a:avLst/>
          </a:prstGeom>
        </p:spPr>
        <p:txBody>
          <a:bodyPr vert="horz" lIns="91440" tIns="45720" rIns="91440" bIns="45720" rtlCol="0" anchor="b">
            <a:normAutofit/>
          </a:bodyPr>
          <a:lstStyle/>
          <a:p>
            <a:r>
              <a:rPr lang="en-US" dirty="0"/>
              <a:t>Click to Edit Header</a:t>
            </a:r>
          </a:p>
        </p:txBody>
      </p:sp>
      <p:sp>
        <p:nvSpPr>
          <p:cNvPr id="3" name="Text Placeholder 2"/>
          <p:cNvSpPr>
            <a:spLocks noGrp="1"/>
          </p:cNvSpPr>
          <p:nvPr>
            <p:ph type="body" idx="1"/>
          </p:nvPr>
        </p:nvSpPr>
        <p:spPr>
          <a:xfrm>
            <a:off x="838201" y="1104900"/>
            <a:ext cx="10642600" cy="496448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7" name="Straight Connector 6"/>
          <p:cNvCxnSpPr/>
          <p:nvPr userDrawn="1"/>
        </p:nvCxnSpPr>
        <p:spPr>
          <a:xfrm>
            <a:off x="0" y="990600"/>
            <a:ext cx="121920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Slide Number Placeholder 12"/>
          <p:cNvSpPr txBox="1">
            <a:spLocks/>
          </p:cNvSpPr>
          <p:nvPr userDrawn="1"/>
        </p:nvSpPr>
        <p:spPr>
          <a:xfrm>
            <a:off x="10471693" y="6664323"/>
            <a:ext cx="1704914" cy="187929"/>
          </a:xfrm>
          <a:prstGeom prst="rect">
            <a:avLst/>
          </a:prstGeom>
        </p:spPr>
        <p:txBody>
          <a:bodyPr vert="horz" lIns="85725" tIns="42863" rIns="85725" bIns="42863" rtlCol="0" anchor="b"/>
          <a:lstStyle>
            <a:defPPr>
              <a:defRPr lang="en-US"/>
            </a:defPPr>
            <a:lvl1pPr marL="0" algn="ctr"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563" b="1" dirty="0">
                <a:solidFill>
                  <a:schemeClr val="accent1"/>
                </a:solidFill>
              </a:rPr>
              <a:t>MCR Performance Solutions,</a:t>
            </a:r>
            <a:r>
              <a:rPr lang="en-US" sz="563" b="1" baseline="0" dirty="0">
                <a:solidFill>
                  <a:schemeClr val="accent1"/>
                </a:solidFill>
              </a:rPr>
              <a:t> LLC</a:t>
            </a:r>
            <a:endParaRPr lang="en-US" sz="563" b="1" dirty="0">
              <a:solidFill>
                <a:schemeClr val="accent1"/>
              </a:solidFill>
            </a:endParaRPr>
          </a:p>
        </p:txBody>
      </p:sp>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596541" y="6516179"/>
            <a:ext cx="615672" cy="204031"/>
          </a:xfrm>
          <a:prstGeom prst="rect">
            <a:avLst/>
          </a:prstGeom>
        </p:spPr>
      </p:pic>
      <p:sp>
        <p:nvSpPr>
          <p:cNvPr id="12" name="TextBox 11"/>
          <p:cNvSpPr txBox="1"/>
          <p:nvPr userDrawn="1"/>
        </p:nvSpPr>
        <p:spPr>
          <a:xfrm>
            <a:off x="4231341" y="6534835"/>
            <a:ext cx="3729318" cy="323165"/>
          </a:xfrm>
          <a:prstGeom prst="rect">
            <a:avLst/>
          </a:prstGeom>
          <a:noFill/>
        </p:spPr>
        <p:txBody>
          <a:bodyPr wrap="square" rtlCol="0" anchor="b">
            <a:spAutoFit/>
          </a:bodyPr>
          <a:lstStyle/>
          <a:p>
            <a:pPr algn="ctr"/>
            <a:fld id="{778BE0E2-3ECC-4420-AE93-60F8CE78372C}" type="slidenum">
              <a:rPr lang="en-US" sz="750" smtClean="0"/>
              <a:t>‹#›</a:t>
            </a:fld>
            <a:endParaRPr lang="en-US" sz="750" dirty="0"/>
          </a:p>
          <a:p>
            <a:pPr algn="ctr"/>
            <a:r>
              <a:rPr lang="en-US" sz="750" dirty="0"/>
              <a:t>© 2021 All Rights Reserved</a:t>
            </a:r>
          </a:p>
        </p:txBody>
      </p:sp>
    </p:spTree>
    <p:extLst>
      <p:ext uri="{BB962C8B-B14F-4D97-AF65-F5344CB8AC3E}">
        <p14:creationId xmlns:p14="http://schemas.microsoft.com/office/powerpoint/2010/main" val="1187001088"/>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Lst>
  <p:hf sldNum="0" hdr="0" ftr="0" dt="0"/>
  <p:txStyles>
    <p:titleStyle>
      <a:lvl1pPr algn="l" defTabSz="857250" rtl="0" eaLnBrk="1" latinLnBrk="0" hangingPunct="1">
        <a:lnSpc>
          <a:spcPct val="100000"/>
        </a:lnSpc>
        <a:spcBef>
          <a:spcPct val="0"/>
        </a:spcBef>
        <a:buNone/>
        <a:defRPr sz="1875" b="1" kern="1200" baseline="0">
          <a:solidFill>
            <a:schemeClr val="tx1"/>
          </a:solidFill>
          <a:latin typeface="+mj-lt"/>
          <a:ea typeface="+mj-ea"/>
          <a:cs typeface="+mj-cs"/>
        </a:defRPr>
      </a:lvl1pPr>
    </p:titleStyle>
    <p:bodyStyle>
      <a:lvl1pPr marL="214313" indent="-214313" algn="l" defTabSz="857250" rtl="0" eaLnBrk="1" latinLnBrk="0" hangingPunct="1">
        <a:lnSpc>
          <a:spcPct val="100000"/>
        </a:lnSpc>
        <a:spcBef>
          <a:spcPts val="1125"/>
        </a:spcBef>
        <a:buClr>
          <a:schemeClr val="accent1"/>
        </a:buClr>
        <a:buFont typeface="Wingdings" panose="05000000000000000000" pitchFamily="2" charset="2"/>
        <a:buChar char="n"/>
        <a:defRPr sz="1688" kern="1200">
          <a:solidFill>
            <a:schemeClr val="tx1"/>
          </a:solidFill>
          <a:latin typeface="+mn-lt"/>
          <a:ea typeface="+mn-ea"/>
          <a:cs typeface="+mn-cs"/>
        </a:defRPr>
      </a:lvl1pPr>
      <a:lvl2pPr marL="482203" indent="-214313" algn="l" defTabSz="857250" rtl="0" eaLnBrk="1" latinLnBrk="0" hangingPunct="1">
        <a:lnSpc>
          <a:spcPct val="100000"/>
        </a:lnSpc>
        <a:spcBef>
          <a:spcPts val="1125"/>
        </a:spcBef>
        <a:buClr>
          <a:schemeClr val="accent1"/>
        </a:buClr>
        <a:buSzPct val="100000"/>
        <a:buFont typeface="Arial" panose="020B0604020202020204" pitchFamily="34" charset="0"/>
        <a:buChar char="●"/>
        <a:defRPr sz="1688" kern="1200">
          <a:solidFill>
            <a:schemeClr val="tx1"/>
          </a:solidFill>
          <a:latin typeface="+mn-lt"/>
          <a:ea typeface="+mn-ea"/>
          <a:cs typeface="+mn-cs"/>
        </a:defRPr>
      </a:lvl2pPr>
      <a:lvl3pPr marL="803672" indent="-272356" algn="l" defTabSz="857250" rtl="0" eaLnBrk="1" latinLnBrk="0" hangingPunct="1">
        <a:lnSpc>
          <a:spcPct val="100000"/>
        </a:lnSpc>
        <a:spcBef>
          <a:spcPts val="1125"/>
        </a:spcBef>
        <a:buClr>
          <a:schemeClr val="accent1"/>
        </a:buClr>
        <a:buFont typeface="Wingdings" panose="05000000000000000000" pitchFamily="2" charset="2"/>
        <a:buChar char="v"/>
        <a:defRPr sz="1688" kern="1200">
          <a:solidFill>
            <a:schemeClr val="tx1"/>
          </a:solidFill>
          <a:latin typeface="+mn-lt"/>
          <a:ea typeface="+mn-ea"/>
          <a:cs typeface="+mn-cs"/>
        </a:defRPr>
      </a:lvl3pPr>
      <a:lvl4pPr marL="1125141" indent="-267891" algn="l" defTabSz="857250" rtl="0" eaLnBrk="1" latinLnBrk="0" hangingPunct="1">
        <a:lnSpc>
          <a:spcPct val="100000"/>
        </a:lnSpc>
        <a:spcBef>
          <a:spcPts val="1125"/>
        </a:spcBef>
        <a:buClr>
          <a:schemeClr val="accent1"/>
        </a:buClr>
        <a:buSzPct val="90000"/>
        <a:buFont typeface="Arial" panose="020B0604020202020204" pitchFamily="34" charset="0"/>
        <a:buChar char="―"/>
        <a:defRPr sz="1688" kern="1200">
          <a:solidFill>
            <a:schemeClr val="tx1"/>
          </a:solidFill>
          <a:latin typeface="+mn-lt"/>
          <a:ea typeface="+mn-ea"/>
          <a:cs typeface="+mn-cs"/>
        </a:defRPr>
      </a:lvl4pPr>
      <a:lvl5pPr marL="1928813" indent="-214313" algn="l" defTabSz="857250" rtl="0" eaLnBrk="1" latinLnBrk="0" hangingPunct="1">
        <a:lnSpc>
          <a:spcPct val="100000"/>
        </a:lnSpc>
        <a:spcBef>
          <a:spcPts val="469"/>
        </a:spcBef>
        <a:buFont typeface="Arial" panose="020B0604020202020204" pitchFamily="34" charset="0"/>
        <a:buChar char="•"/>
        <a:defRPr sz="1500" kern="1200">
          <a:solidFill>
            <a:schemeClr val="tx1"/>
          </a:solidFill>
          <a:latin typeface="+mn-lt"/>
          <a:ea typeface="+mn-ea"/>
          <a:cs typeface="+mn-cs"/>
        </a:defRPr>
      </a:lvl5pPr>
      <a:lvl6pPr marL="2357438" indent="-214313" algn="l" defTabSz="857250"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6pPr>
      <a:lvl7pPr marL="2786063" indent="-214313" algn="l" defTabSz="857250"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7pPr>
      <a:lvl8pPr marL="3214688" indent="-214313" algn="l" defTabSz="857250"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8pPr>
      <a:lvl9pPr marL="3643313" indent="-214313" algn="l" defTabSz="857250" rtl="0" eaLnBrk="1" latinLnBrk="0" hangingPunct="1">
        <a:lnSpc>
          <a:spcPct val="90000"/>
        </a:lnSpc>
        <a:spcBef>
          <a:spcPts val="469"/>
        </a:spcBef>
        <a:buFont typeface="Arial" panose="020B0604020202020204" pitchFamily="34" charset="0"/>
        <a:buChar char="•"/>
        <a:defRPr sz="1688" kern="1200">
          <a:solidFill>
            <a:schemeClr val="tx1"/>
          </a:solidFill>
          <a:latin typeface="+mn-lt"/>
          <a:ea typeface="+mn-ea"/>
          <a:cs typeface="+mn-cs"/>
        </a:defRPr>
      </a:lvl9pPr>
    </p:bodyStyle>
    <p:otherStyle>
      <a:defPPr>
        <a:defRPr lang="en-US"/>
      </a:defPPr>
      <a:lvl1pPr marL="0" algn="l" defTabSz="857250" rtl="0" eaLnBrk="1" latinLnBrk="0" hangingPunct="1">
        <a:defRPr sz="1688" kern="1200">
          <a:solidFill>
            <a:schemeClr val="tx1"/>
          </a:solidFill>
          <a:latin typeface="+mn-lt"/>
          <a:ea typeface="+mn-ea"/>
          <a:cs typeface="+mn-cs"/>
        </a:defRPr>
      </a:lvl1pPr>
      <a:lvl2pPr marL="428625" algn="l" defTabSz="857250" rtl="0" eaLnBrk="1" latinLnBrk="0" hangingPunct="1">
        <a:defRPr sz="1688" kern="1200">
          <a:solidFill>
            <a:schemeClr val="tx1"/>
          </a:solidFill>
          <a:latin typeface="+mn-lt"/>
          <a:ea typeface="+mn-ea"/>
          <a:cs typeface="+mn-cs"/>
        </a:defRPr>
      </a:lvl2pPr>
      <a:lvl3pPr marL="857250" algn="l" defTabSz="857250" rtl="0" eaLnBrk="1" latinLnBrk="0" hangingPunct="1">
        <a:defRPr sz="1688" kern="1200">
          <a:solidFill>
            <a:schemeClr val="tx1"/>
          </a:solidFill>
          <a:latin typeface="+mn-lt"/>
          <a:ea typeface="+mn-ea"/>
          <a:cs typeface="+mn-cs"/>
        </a:defRPr>
      </a:lvl3pPr>
      <a:lvl4pPr marL="1285875" algn="l" defTabSz="857250" rtl="0" eaLnBrk="1" latinLnBrk="0" hangingPunct="1">
        <a:defRPr sz="1688" kern="1200">
          <a:solidFill>
            <a:schemeClr val="tx1"/>
          </a:solidFill>
          <a:latin typeface="+mn-lt"/>
          <a:ea typeface="+mn-ea"/>
          <a:cs typeface="+mn-cs"/>
        </a:defRPr>
      </a:lvl4pPr>
      <a:lvl5pPr marL="1714500" algn="l" defTabSz="857250" rtl="0" eaLnBrk="1" latinLnBrk="0" hangingPunct="1">
        <a:defRPr sz="1688" kern="1200">
          <a:solidFill>
            <a:schemeClr val="tx1"/>
          </a:solidFill>
          <a:latin typeface="+mn-lt"/>
          <a:ea typeface="+mn-ea"/>
          <a:cs typeface="+mn-cs"/>
        </a:defRPr>
      </a:lvl5pPr>
      <a:lvl6pPr marL="2143125" algn="l" defTabSz="857250" rtl="0" eaLnBrk="1" latinLnBrk="0" hangingPunct="1">
        <a:defRPr sz="1688" kern="1200">
          <a:solidFill>
            <a:schemeClr val="tx1"/>
          </a:solidFill>
          <a:latin typeface="+mn-lt"/>
          <a:ea typeface="+mn-ea"/>
          <a:cs typeface="+mn-cs"/>
        </a:defRPr>
      </a:lvl6pPr>
      <a:lvl7pPr marL="2571750" algn="l" defTabSz="857250" rtl="0" eaLnBrk="1" latinLnBrk="0" hangingPunct="1">
        <a:defRPr sz="1688" kern="1200">
          <a:solidFill>
            <a:schemeClr val="tx1"/>
          </a:solidFill>
          <a:latin typeface="+mn-lt"/>
          <a:ea typeface="+mn-ea"/>
          <a:cs typeface="+mn-cs"/>
        </a:defRPr>
      </a:lvl7pPr>
      <a:lvl8pPr marL="3000375" algn="l" defTabSz="857250" rtl="0" eaLnBrk="1" latinLnBrk="0" hangingPunct="1">
        <a:defRPr sz="1688" kern="1200">
          <a:solidFill>
            <a:schemeClr val="tx1"/>
          </a:solidFill>
          <a:latin typeface="+mn-lt"/>
          <a:ea typeface="+mn-ea"/>
          <a:cs typeface="+mn-cs"/>
        </a:defRPr>
      </a:lvl8pPr>
      <a:lvl9pPr marL="3429000" algn="l" defTabSz="857250" rtl="0" eaLnBrk="1" latinLnBrk="0" hangingPunct="1">
        <a:defRPr sz="168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66">
          <p15:clr>
            <a:srgbClr val="F26B43"/>
          </p15:clr>
        </p15:guide>
        <p15:guide id="2" pos="422">
          <p15:clr>
            <a:srgbClr val="F26B43"/>
          </p15:clr>
        </p15:guide>
        <p15:guide id="3" orient="horz" pos="742">
          <p15:clr>
            <a:srgbClr val="F26B43"/>
          </p15:clr>
        </p15:guide>
        <p15:guide id="4" orient="horz" pos="4070">
          <p15:clr>
            <a:srgbClr val="F26B43"/>
          </p15:clr>
        </p15:guide>
        <p15:guide id="5" pos="5966">
          <p15:clr>
            <a:srgbClr val="F26B43"/>
          </p15:clr>
        </p15:guide>
        <p15:guide id="6" pos="316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7" name="Rectangle 6"/>
          <p:cNvSpPr>
            <a:spLocks noChangeAspect="1"/>
          </p:cNvSpPr>
          <p:nvPr/>
        </p:nvSpPr>
        <p:spPr>
          <a:xfrm>
            <a:off x="231140" y="243840"/>
            <a:ext cx="11724640" cy="6377939"/>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143000" y="609600"/>
            <a:ext cx="9875520" cy="135636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143000" y="2057400"/>
            <a:ext cx="9872871" cy="40386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142996" y="6223828"/>
            <a:ext cx="2329074" cy="365125"/>
          </a:xfrm>
          <a:prstGeom prst="rect">
            <a:avLst/>
          </a:prstGeom>
        </p:spPr>
        <p:txBody>
          <a:bodyPr vert="horz" lIns="91440" tIns="45720" rIns="91440" bIns="45720" rtlCol="0" anchor="ctr"/>
          <a:lstStyle>
            <a:lvl1pPr algn="l">
              <a:defRPr sz="1200">
                <a:solidFill>
                  <a:schemeClr val="accent1"/>
                </a:solidFill>
              </a:defRPr>
            </a:lvl1pPr>
          </a:lstStyle>
          <a:p>
            <a:fld id="{ACD0F22D-C7E7-4D9D-847A-34A54ED1C113}" type="datetime1">
              <a:rPr lang="en-US" smtClean="0"/>
              <a:t>7/26/2021</a:t>
            </a:fld>
            <a:endParaRPr lang="en-US" dirty="0"/>
          </a:p>
        </p:txBody>
      </p:sp>
      <p:sp>
        <p:nvSpPr>
          <p:cNvPr id="5" name="Footer Placeholder 4"/>
          <p:cNvSpPr>
            <a:spLocks noGrp="1"/>
          </p:cNvSpPr>
          <p:nvPr>
            <p:ph type="ftr" sz="quarter" idx="3"/>
          </p:nvPr>
        </p:nvSpPr>
        <p:spPr>
          <a:xfrm>
            <a:off x="3949148" y="6223828"/>
            <a:ext cx="4717774" cy="365125"/>
          </a:xfrm>
          <a:prstGeom prst="rect">
            <a:avLst/>
          </a:prstGeom>
        </p:spPr>
        <p:txBody>
          <a:bodyPr vert="horz" lIns="91440" tIns="45720" rIns="91440" bIns="45720" rtlCol="0" anchor="ctr"/>
          <a:lstStyle>
            <a:lvl1pPr algn="ctr">
              <a:defRPr sz="1200">
                <a:solidFill>
                  <a:schemeClr val="accent1"/>
                </a:solidFill>
              </a:defRPr>
            </a:lvl1pPr>
          </a:lstStyle>
          <a:p>
            <a:endParaRPr lang="en-US" dirty="0"/>
          </a:p>
        </p:txBody>
      </p:sp>
      <p:sp>
        <p:nvSpPr>
          <p:cNvPr id="6" name="Slide Number Placeholder 5"/>
          <p:cNvSpPr>
            <a:spLocks noGrp="1"/>
          </p:cNvSpPr>
          <p:nvPr>
            <p:ph type="sldNum" sz="quarter" idx="4"/>
          </p:nvPr>
        </p:nvSpPr>
        <p:spPr>
          <a:xfrm>
            <a:off x="9329530" y="6223828"/>
            <a:ext cx="1706217" cy="365125"/>
          </a:xfrm>
          <a:prstGeom prst="rect">
            <a:avLst/>
          </a:prstGeom>
        </p:spPr>
        <p:txBody>
          <a:bodyPr vert="horz" lIns="91440" tIns="45720" rIns="91440" bIns="45720" rtlCol="0" anchor="ctr"/>
          <a:lstStyle>
            <a:lvl1pPr algn="r">
              <a:defRPr sz="1200">
                <a:solidFill>
                  <a:schemeClr val="accent1"/>
                </a:solidFill>
              </a:defRPr>
            </a:lvl1pPr>
          </a:lstStyle>
          <a:p>
            <a:fld id="{4FAB73BC-B049-4115-A692-8D63A059BFB8}" type="slidenum">
              <a:rPr lang="en-US"/>
              <a:pPr/>
              <a:t>‹#›</a:t>
            </a:fld>
            <a:endParaRPr lang="en-US" dirty="0"/>
          </a:p>
        </p:txBody>
      </p:sp>
    </p:spTree>
    <p:extLst>
      <p:ext uri="{BB962C8B-B14F-4D97-AF65-F5344CB8AC3E}">
        <p14:creationId xmlns:p14="http://schemas.microsoft.com/office/powerpoint/2010/main" val="2834312753"/>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hf hdr="0" dt="0"/>
  <p:txStyles>
    <p:titleStyle>
      <a:lvl1pPr algn="l" defTabSz="914400" rtl="0" eaLnBrk="1" latinLnBrk="0" hangingPunct="1">
        <a:lnSpc>
          <a:spcPct val="90000"/>
        </a:lnSpc>
        <a:spcBef>
          <a:spcPct val="0"/>
        </a:spcBef>
        <a:buNone/>
        <a:defRPr sz="4400" kern="1200">
          <a:solidFill>
            <a:schemeClr val="tx2"/>
          </a:solidFill>
          <a:latin typeface="+mj-lt"/>
          <a:ea typeface="+mj-ea"/>
          <a:cs typeface="+mj-cs"/>
        </a:defRPr>
      </a:lvl1pPr>
    </p:titleStyle>
    <p:bodyStyle>
      <a:lvl1pPr marL="228600" indent="-182880" algn="l" defTabSz="914400" rtl="0" eaLnBrk="1" latinLnBrk="0" hangingPunct="1">
        <a:lnSpc>
          <a:spcPct val="90000"/>
        </a:lnSpc>
        <a:spcBef>
          <a:spcPts val="1400"/>
        </a:spcBef>
        <a:buClr>
          <a:schemeClr val="accent1"/>
        </a:buClr>
        <a:buSzPct val="80000"/>
        <a:buFont typeface="Corbel" pitchFamily="34" charset="0"/>
        <a:buChar char="•"/>
        <a:defRPr sz="2200" kern="1200">
          <a:solidFill>
            <a:schemeClr val="tx2"/>
          </a:solidFill>
          <a:latin typeface="+mn-lt"/>
          <a:ea typeface="+mn-ea"/>
          <a:cs typeface="+mn-cs"/>
        </a:defRPr>
      </a:lvl1pPr>
      <a:lvl2pPr marL="45720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2000" kern="1200">
          <a:solidFill>
            <a:schemeClr val="tx2"/>
          </a:solidFill>
          <a:latin typeface="+mn-lt"/>
          <a:ea typeface="+mn-ea"/>
          <a:cs typeface="+mn-cs"/>
        </a:defRPr>
      </a:lvl2pPr>
      <a:lvl3pPr marL="73152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800" kern="1200">
          <a:solidFill>
            <a:schemeClr val="tx2"/>
          </a:solidFill>
          <a:latin typeface="+mn-lt"/>
          <a:ea typeface="+mn-ea"/>
          <a:cs typeface="+mn-cs"/>
        </a:defRPr>
      </a:lvl3pPr>
      <a:lvl4pPr marL="100584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tx2"/>
          </a:solidFill>
          <a:latin typeface="+mn-lt"/>
          <a:ea typeface="+mn-ea"/>
          <a:cs typeface="+mn-cs"/>
        </a:defRPr>
      </a:lvl4pPr>
      <a:lvl5pPr marL="1280160" indent="-18288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tx2"/>
          </a:solidFill>
          <a:latin typeface="+mn-lt"/>
          <a:ea typeface="+mn-ea"/>
          <a:cs typeface="+mn-cs"/>
        </a:defRPr>
      </a:lvl5pPr>
      <a:lvl6pPr marL="16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6pPr>
      <a:lvl7pPr marL="19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7pPr>
      <a:lvl8pPr marL="22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8pPr>
      <a:lvl9pPr marL="2500000" indent="-228600" algn="l" defTabSz="914400" rtl="0" eaLnBrk="1" latinLnBrk="0" hangingPunct="1">
        <a:lnSpc>
          <a:spcPct val="90000"/>
        </a:lnSpc>
        <a:spcBef>
          <a:spcPts val="200"/>
        </a:spcBef>
        <a:spcAft>
          <a:spcPts val="400"/>
        </a:spcAft>
        <a:buClr>
          <a:schemeClr val="accent1"/>
        </a:buClr>
        <a:buSzPct val="80000"/>
        <a:buFont typeface="Corbel" pitchFamily="34" charset="0"/>
        <a:buChar char="•"/>
        <a:defRPr sz="1600" kern="1200">
          <a:solidFill>
            <a:schemeClr val="accent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F821F4E-AF38-43E2-B4D3-2A6A0D05796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271BFFB-78CE-4C83-A372-4B8547676BC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53BF2A0-6B46-465B-B00A-FA44B79F44F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3A766EE-17B0-4F5A-AB9A-BE847EB07CAC}" type="datetimeFigureOut">
              <a:rPr lang="en-US" smtClean="0"/>
              <a:t>7/26/2021</a:t>
            </a:fld>
            <a:endParaRPr lang="en-US" dirty="0"/>
          </a:p>
        </p:txBody>
      </p:sp>
      <p:sp>
        <p:nvSpPr>
          <p:cNvPr id="5" name="Footer Placeholder 4">
            <a:extLst>
              <a:ext uri="{FF2B5EF4-FFF2-40B4-BE49-F238E27FC236}">
                <a16:creationId xmlns:a16="http://schemas.microsoft.com/office/drawing/2014/main" id="{CBA93357-66FC-4243-8BCF-0D255F805EC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5609CFEA-989E-4832-9552-562C24A0C98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E472684-079E-4958-8A31-8453DFC24521}" type="slidenum">
              <a:rPr lang="en-US" smtClean="0"/>
              <a:t>‹#›</a:t>
            </a:fld>
            <a:endParaRPr lang="en-US" dirty="0"/>
          </a:p>
        </p:txBody>
      </p:sp>
    </p:spTree>
    <p:extLst>
      <p:ext uri="{BB962C8B-B14F-4D97-AF65-F5344CB8AC3E}">
        <p14:creationId xmlns:p14="http://schemas.microsoft.com/office/powerpoint/2010/main" val="294589540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210838" y="6356352"/>
            <a:ext cx="1706732" cy="365125"/>
          </a:xfrm>
          <a:prstGeom prst="rect">
            <a:avLst/>
          </a:prstGeom>
        </p:spPr>
        <p:txBody>
          <a:bodyPr vert="horz" lIns="91440" tIns="45720" rIns="91440" bIns="45720" rtlCol="0" anchor="ctr"/>
          <a:lstStyle>
            <a:lvl1pPr algn="l">
              <a:defRPr sz="1000">
                <a:solidFill>
                  <a:schemeClr val="tx1"/>
                </a:solidFill>
                <a:latin typeface="Segoe UI Semibold" panose="020B0702040204020203" pitchFamily="34" charset="0"/>
              </a:defRPr>
            </a:lvl1pPr>
          </a:lstStyle>
          <a:p>
            <a:fld id="{62FE63C3-A73F-4097-86A9-7B28950712B1}" type="datetime1">
              <a:rPr lang="en-US" smtClean="0"/>
              <a:pPr/>
              <a:t>7/26/2021</a:t>
            </a:fld>
            <a:endParaRPr lang="en-US" dirty="0"/>
          </a:p>
        </p:txBody>
      </p:sp>
      <p:sp>
        <p:nvSpPr>
          <p:cNvPr id="5" name="Footer Placeholder 4"/>
          <p:cNvSpPr>
            <a:spLocks noGrp="1"/>
          </p:cNvSpPr>
          <p:nvPr>
            <p:ph type="ftr" sz="quarter" idx="3"/>
          </p:nvPr>
        </p:nvSpPr>
        <p:spPr>
          <a:xfrm>
            <a:off x="3150828" y="6356352"/>
            <a:ext cx="4114800" cy="365125"/>
          </a:xfrm>
          <a:prstGeom prst="rect">
            <a:avLst/>
          </a:prstGeom>
        </p:spPr>
        <p:txBody>
          <a:bodyPr vert="horz" lIns="91440" tIns="45720" rIns="91440" bIns="45720" rtlCol="0" anchor="ctr"/>
          <a:lstStyle>
            <a:lvl1pPr algn="l">
              <a:defRPr sz="1000">
                <a:solidFill>
                  <a:schemeClr val="tx1">
                    <a:tint val="75000"/>
                  </a:schemeClr>
                </a:solidFill>
                <a:latin typeface="Segoe UI Semibold" panose="020B0702040204020203" pitchFamily="34" charset="0"/>
              </a:defRPr>
            </a:lvl1pPr>
          </a:lstStyle>
          <a:p>
            <a:endParaRPr lang="en-US" dirty="0"/>
          </a:p>
        </p:txBody>
      </p:sp>
      <p:sp>
        <p:nvSpPr>
          <p:cNvPr id="6" name="Slide Number Placeholder 5"/>
          <p:cNvSpPr>
            <a:spLocks noGrp="1"/>
          </p:cNvSpPr>
          <p:nvPr>
            <p:ph type="sldNum" sz="quarter" idx="4"/>
          </p:nvPr>
        </p:nvSpPr>
        <p:spPr>
          <a:xfrm>
            <a:off x="11304231" y="6374108"/>
            <a:ext cx="688760" cy="365125"/>
          </a:xfrm>
          <a:prstGeom prst="rect">
            <a:avLst/>
          </a:prstGeom>
        </p:spPr>
        <p:txBody>
          <a:bodyPr vert="horz" lIns="91440" tIns="45720" rIns="91440" bIns="45720" rtlCol="0" anchor="ctr"/>
          <a:lstStyle>
            <a:lvl1pPr algn="r">
              <a:defRPr sz="1200" b="1">
                <a:solidFill>
                  <a:schemeClr val="bg1">
                    <a:lumMod val="50000"/>
                  </a:schemeClr>
                </a:solidFill>
                <a:latin typeface="Segoe UI Semibold" panose="020B0702040204020203" pitchFamily="34" charset="0"/>
                <a:ea typeface="Segoe UI" panose="020B0502040204020203" pitchFamily="34" charset="0"/>
                <a:cs typeface="Segoe UI" panose="020B0502040204020203" pitchFamily="34" charset="0"/>
              </a:defRPr>
            </a:lvl1pPr>
          </a:lstStyle>
          <a:p>
            <a:fld id="{5E94BA17-8AE8-4651-9FD9-8589E5D42325}" type="slidenum">
              <a:rPr lang="en-US" smtClean="0"/>
              <a:pPr/>
              <a:t>‹#›</a:t>
            </a:fld>
            <a:endParaRPr lang="en-US" dirty="0"/>
          </a:p>
        </p:txBody>
      </p:sp>
      <p:cxnSp>
        <p:nvCxnSpPr>
          <p:cNvPr id="9" name="Straight Connector 8"/>
          <p:cNvCxnSpPr/>
          <p:nvPr userDrawn="1"/>
        </p:nvCxnSpPr>
        <p:spPr>
          <a:xfrm>
            <a:off x="11425131" y="6383045"/>
            <a:ext cx="0" cy="325158"/>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7" name="Rectangle 6"/>
          <p:cNvSpPr/>
          <p:nvPr userDrawn="1"/>
        </p:nvSpPr>
        <p:spPr>
          <a:xfrm>
            <a:off x="0" y="6795856"/>
            <a:ext cx="12192000" cy="71021"/>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1" name="Picture 10"/>
          <p:cNvPicPr>
            <a:picLocks noChangeAspect="1"/>
          </p:cNvPicPr>
          <p:nvPr userDrawn="1"/>
        </p:nvPicPr>
        <p:blipFill>
          <a:blip r:embed="rId14"/>
          <a:stretch>
            <a:fillRect/>
          </a:stretch>
        </p:blipFill>
        <p:spPr>
          <a:xfrm>
            <a:off x="9181188" y="6480427"/>
            <a:ext cx="2031312" cy="171058"/>
          </a:xfrm>
          <a:prstGeom prst="rect">
            <a:avLst/>
          </a:prstGeom>
        </p:spPr>
      </p:pic>
    </p:spTree>
    <p:extLst>
      <p:ext uri="{BB962C8B-B14F-4D97-AF65-F5344CB8AC3E}">
        <p14:creationId xmlns:p14="http://schemas.microsoft.com/office/powerpoint/2010/main" val="241352588"/>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7" r:id="rId12"/>
  </p:sldLayoutIdLst>
  <p:hf hdr="0" ftr="0" dt="0"/>
  <p:txStyles>
    <p:titleStyle>
      <a:lvl1pPr algn="l" defTabSz="914400" rtl="0" eaLnBrk="1" latinLnBrk="0" hangingPunct="1">
        <a:lnSpc>
          <a:spcPct val="90000"/>
        </a:lnSpc>
        <a:spcBef>
          <a:spcPct val="0"/>
        </a:spcBef>
        <a:buNone/>
        <a:defRPr sz="3200" kern="1200">
          <a:solidFill>
            <a:schemeClr val="tx1"/>
          </a:solidFill>
          <a:latin typeface="Segoe UI Light" panose="020B05020402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3075" name="Picture 3" descr="C:\Users\SRosas\Desktop\PPT design\Template4.png"/>
          <p:cNvPicPr>
            <a:picLocks noChangeAspect="1" noChangeArrowheads="1"/>
          </p:cNvPicPr>
          <p:nvPr userDrawn="1"/>
        </p:nvPicPr>
        <p:blipFill rotWithShape="1">
          <a:blip r:embed="rId13" cstate="screen">
            <a:extLst>
              <a:ext uri="{28A0092B-C50C-407E-A947-70E740481C1C}">
                <a14:useLocalDpi xmlns:a14="http://schemas.microsoft.com/office/drawing/2010/main"/>
              </a:ext>
            </a:extLst>
          </a:blip>
          <a:srcRect/>
          <a:stretch/>
        </p:blipFill>
        <p:spPr bwMode="auto">
          <a:xfrm>
            <a:off x="4177928" y="1202797"/>
            <a:ext cx="8014072" cy="5664729"/>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itle Placeholder 1"/>
          <p:cNvSpPr>
            <a:spLocks noGrp="1"/>
          </p:cNvSpPr>
          <p:nvPr>
            <p:ph type="title"/>
          </p:nvPr>
        </p:nvSpPr>
        <p:spPr>
          <a:xfrm>
            <a:off x="609600" y="360310"/>
            <a:ext cx="10972800" cy="962049"/>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437159"/>
            <a:ext cx="10972800" cy="435866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Date Placeholder 3"/>
          <p:cNvSpPr>
            <a:spLocks noGrp="1"/>
          </p:cNvSpPr>
          <p:nvPr>
            <p:ph type="dt" sz="half" idx="2"/>
          </p:nvPr>
        </p:nvSpPr>
        <p:spPr>
          <a:xfrm>
            <a:off x="6897223" y="6513381"/>
            <a:ext cx="1493743" cy="269738"/>
          </a:xfrm>
          <a:prstGeom prst="rect">
            <a:avLst/>
          </a:prstGeom>
        </p:spPr>
        <p:txBody>
          <a:bodyPr vert="horz" lIns="91440" tIns="45720" rIns="91440" bIns="45720" rtlCol="0" anchor="ctr"/>
          <a:lstStyle>
            <a:lvl1pPr algn="ctr">
              <a:defRPr sz="1200">
                <a:solidFill>
                  <a:srgbClr val="615452"/>
                </a:solidFill>
                <a:latin typeface="Arial" pitchFamily="34" charset="0"/>
                <a:cs typeface="Arial" pitchFamily="34" charset="0"/>
              </a:defRPr>
            </a:lvl1pPr>
          </a:lstStyle>
          <a:p>
            <a:r>
              <a:rPr lang="en-US" dirty="0"/>
              <a:t>1/28/2020</a:t>
            </a:r>
          </a:p>
        </p:txBody>
      </p:sp>
      <p:pic>
        <p:nvPicPr>
          <p:cNvPr id="12" name="Picture 11"/>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604100" y="6108701"/>
            <a:ext cx="3561328" cy="516698"/>
          </a:xfrm>
          <a:prstGeom prst="rect">
            <a:avLst/>
          </a:prstGeom>
        </p:spPr>
      </p:pic>
    </p:spTree>
    <p:extLst>
      <p:ext uri="{BB962C8B-B14F-4D97-AF65-F5344CB8AC3E}">
        <p14:creationId xmlns:p14="http://schemas.microsoft.com/office/powerpoint/2010/main" val="4095846"/>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Lst>
  <p:hf hdr="0" dt="0"/>
  <p:txStyles>
    <p:titleStyle>
      <a:lvl1pPr algn="l" defTabSz="914400" rtl="0" eaLnBrk="1" latinLnBrk="0" hangingPunct="1">
        <a:spcBef>
          <a:spcPct val="0"/>
        </a:spcBef>
        <a:buNone/>
        <a:defRPr sz="3400" b="1" kern="1200">
          <a:solidFill>
            <a:srgbClr val="004B91"/>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Clr>
          <a:schemeClr val="tx2"/>
        </a:buClr>
        <a:buSzPct val="100000"/>
        <a:buFont typeface="Arial" pitchFamily="34" charset="0"/>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chemeClr val="tx2"/>
        </a:buClr>
        <a:buFont typeface="Wingdings" pitchFamily="2" charset="2"/>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chemeClr val="tx2"/>
        </a:buClr>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chemeClr val="tx2"/>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rgbClr val="F4F4F4"/>
        </a:solidFill>
        <a:effectLst/>
      </p:bgPr>
    </p:bg>
    <p:spTree>
      <p:nvGrpSpPr>
        <p:cNvPr id="1" name=""/>
        <p:cNvGrpSpPr/>
        <p:nvPr/>
      </p:nvGrpSpPr>
      <p:grpSpPr>
        <a:xfrm>
          <a:off x="0" y="0"/>
          <a:ext cx="0" cy="0"/>
          <a:chOff x="0" y="0"/>
          <a:chExt cx="0" cy="0"/>
        </a:xfrm>
      </p:grpSpPr>
      <p:sp>
        <p:nvSpPr>
          <p:cNvPr id="1048" name="Rectangle 24"/>
          <p:cNvSpPr>
            <a:spLocks noChangeArrowheads="1"/>
          </p:cNvSpPr>
          <p:nvPr userDrawn="1"/>
        </p:nvSpPr>
        <p:spPr bwMode="auto">
          <a:xfrm>
            <a:off x="0" y="0"/>
            <a:ext cx="12192000" cy="83820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353" dirty="0"/>
          </a:p>
        </p:txBody>
      </p:sp>
      <p:sp>
        <p:nvSpPr>
          <p:cNvPr id="1036" name="Rectangle 12"/>
          <p:cNvSpPr>
            <a:spLocks noChangeArrowheads="1"/>
          </p:cNvSpPr>
          <p:nvPr userDrawn="1"/>
        </p:nvSpPr>
        <p:spPr bwMode="auto">
          <a:xfrm>
            <a:off x="0" y="6553200"/>
            <a:ext cx="12192000" cy="304800"/>
          </a:xfrm>
          <a:prstGeom prst="rect">
            <a:avLst/>
          </a:prstGeom>
          <a:noFill/>
          <a:ln>
            <a:noFill/>
          </a:ln>
          <a:effectLst/>
        </p:spPr>
        <p:txBody>
          <a:bodyPr wrap="none" anchor="ctr"/>
          <a:lstStyle/>
          <a:p>
            <a:pPr algn="ctr"/>
            <a:r>
              <a:rPr lang="en-US" altLang="en-US" sz="883" b="1" i="1" dirty="0">
                <a:solidFill>
                  <a:srgbClr val="000066"/>
                </a:solidFill>
                <a:latin typeface="Helvetica" pitchFamily="34" charset="0"/>
              </a:rPr>
              <a:t>© 2021 The Mendota Group,</a:t>
            </a:r>
            <a:r>
              <a:rPr lang="en-US" altLang="en-US" sz="883" b="1" i="1" baseline="0" dirty="0">
                <a:solidFill>
                  <a:srgbClr val="000066"/>
                </a:solidFill>
                <a:latin typeface="Helvetica" pitchFamily="34" charset="0"/>
              </a:rPr>
              <a:t> LLC</a:t>
            </a:r>
            <a:r>
              <a:rPr lang="en-US" altLang="en-US" sz="883" b="1" i="1" dirty="0">
                <a:solidFill>
                  <a:srgbClr val="000066"/>
                </a:solidFill>
                <a:latin typeface="Helvetica" pitchFamily="34" charset="0"/>
              </a:rPr>
              <a:t>.</a:t>
            </a:r>
          </a:p>
          <a:p>
            <a:pPr algn="ctr"/>
            <a:r>
              <a:rPr lang="en-US" altLang="en-US" sz="883" b="1" i="1" dirty="0">
                <a:solidFill>
                  <a:srgbClr val="000066"/>
                </a:solidFill>
                <a:latin typeface="Helvetica" pitchFamily="34" charset="0"/>
              </a:rPr>
              <a:t>Confidential &amp; Proprietary</a:t>
            </a:r>
          </a:p>
        </p:txBody>
      </p:sp>
      <p:sp>
        <p:nvSpPr>
          <p:cNvPr id="1026" name="Rectangle 2"/>
          <p:cNvSpPr>
            <a:spLocks noGrp="1" noChangeArrowheads="1"/>
          </p:cNvSpPr>
          <p:nvPr>
            <p:ph type="title"/>
          </p:nvPr>
        </p:nvSpPr>
        <p:spPr bwMode="auto">
          <a:xfrm>
            <a:off x="203203" y="76200"/>
            <a:ext cx="9703932"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altLang="en-US"/>
              <a:t>Click to edit Master title style</a:t>
            </a:r>
            <a:endParaRPr lang="en-US" altLang="en-US" dirty="0"/>
          </a:p>
        </p:txBody>
      </p:sp>
      <p:sp>
        <p:nvSpPr>
          <p:cNvPr id="1027" name="Rectangle 3"/>
          <p:cNvSpPr>
            <a:spLocks noGrp="1" noChangeArrowheads="1"/>
          </p:cNvSpPr>
          <p:nvPr>
            <p:ph type="body" idx="1"/>
          </p:nvPr>
        </p:nvSpPr>
        <p:spPr bwMode="auto">
          <a:xfrm>
            <a:off x="203201" y="914400"/>
            <a:ext cx="11785600" cy="5562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1037" name="Rectangle 13"/>
          <p:cNvSpPr>
            <a:spLocks noChangeArrowheads="1"/>
          </p:cNvSpPr>
          <p:nvPr/>
        </p:nvSpPr>
        <p:spPr bwMode="auto">
          <a:xfrm>
            <a:off x="10908506" y="6553200"/>
            <a:ext cx="1080296" cy="74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sz="981" b="1" dirty="0">
                <a:solidFill>
                  <a:srgbClr val="000066"/>
                </a:solidFill>
                <a:latin typeface="Helvetica" pitchFamily="34" charset="0"/>
              </a:rPr>
              <a:t>July 28, 2021</a:t>
            </a:r>
          </a:p>
        </p:txBody>
      </p:sp>
      <p:sp>
        <p:nvSpPr>
          <p:cNvPr id="1038" name="Rectangle 14"/>
          <p:cNvSpPr>
            <a:spLocks noChangeArrowheads="1"/>
          </p:cNvSpPr>
          <p:nvPr/>
        </p:nvSpPr>
        <p:spPr bwMode="auto">
          <a:xfrm>
            <a:off x="203198" y="6590696"/>
            <a:ext cx="851129" cy="191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r"/>
            <a:r>
              <a:rPr lang="en-US" altLang="en-US" sz="981" b="1" dirty="0">
                <a:solidFill>
                  <a:schemeClr val="tx1"/>
                </a:solidFill>
                <a:latin typeface="Helvetica" pitchFamily="34" charset="0"/>
              </a:rPr>
              <a:t>Page </a:t>
            </a:r>
            <a:fld id="{4E1ADC3A-F903-4450-9EAC-EE3B199854AC}" type="slidenum">
              <a:rPr lang="en-US" altLang="en-US" sz="981" b="1">
                <a:solidFill>
                  <a:schemeClr val="tx1"/>
                </a:solidFill>
                <a:latin typeface="Helvetica" pitchFamily="34" charset="0"/>
              </a:rPr>
              <a:pPr algn="r"/>
              <a:t>‹#›</a:t>
            </a:fld>
            <a:endParaRPr lang="en-US" altLang="en-US" sz="981" b="1" dirty="0">
              <a:solidFill>
                <a:schemeClr val="tx1"/>
              </a:solidFill>
              <a:latin typeface="Helvetica" pitchFamily="34" charset="0"/>
            </a:endParaRPr>
          </a:p>
        </p:txBody>
      </p:sp>
      <p:grpSp>
        <p:nvGrpSpPr>
          <p:cNvPr id="15" name="Group 14"/>
          <p:cNvGrpSpPr/>
          <p:nvPr userDrawn="1"/>
        </p:nvGrpSpPr>
        <p:grpSpPr>
          <a:xfrm flipH="1" flipV="1">
            <a:off x="203201" y="6478211"/>
            <a:ext cx="11785600" cy="74991"/>
            <a:chOff x="921099" y="3276599"/>
            <a:chExt cx="6400800" cy="149978"/>
          </a:xfrm>
        </p:grpSpPr>
        <p:sp>
          <p:nvSpPr>
            <p:cNvPr id="16" name="Right Triangle 15"/>
            <p:cNvSpPr/>
            <p:nvPr/>
          </p:nvSpPr>
          <p:spPr>
            <a:xfrm>
              <a:off x="921099" y="3276600"/>
              <a:ext cx="6400800" cy="149977"/>
            </a:xfrm>
            <a:prstGeom prst="r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53" dirty="0"/>
            </a:p>
          </p:txBody>
        </p:sp>
        <p:sp>
          <p:nvSpPr>
            <p:cNvPr id="17" name="Right Triangle 16"/>
            <p:cNvSpPr/>
            <p:nvPr/>
          </p:nvSpPr>
          <p:spPr>
            <a:xfrm flipH="1" flipV="1">
              <a:off x="921099" y="3276599"/>
              <a:ext cx="6400800" cy="149977"/>
            </a:xfrm>
            <a:prstGeom prst="rtTriangle">
              <a:avLst/>
            </a:prstGeom>
            <a:solidFill>
              <a:srgbClr val="49AF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353" dirty="0"/>
            </a:p>
          </p:txBody>
        </p:sp>
      </p:grpSp>
      <p:grpSp>
        <p:nvGrpSpPr>
          <p:cNvPr id="18" name="Group 17"/>
          <p:cNvGrpSpPr/>
          <p:nvPr userDrawn="1"/>
        </p:nvGrpSpPr>
        <p:grpSpPr>
          <a:xfrm>
            <a:off x="203201" y="838202"/>
            <a:ext cx="11785600" cy="74991"/>
            <a:chOff x="921099" y="3276599"/>
            <a:chExt cx="6400800" cy="149978"/>
          </a:xfrm>
        </p:grpSpPr>
        <p:sp>
          <p:nvSpPr>
            <p:cNvPr id="19" name="Right Triangle 18"/>
            <p:cNvSpPr/>
            <p:nvPr/>
          </p:nvSpPr>
          <p:spPr>
            <a:xfrm>
              <a:off x="921099" y="3276600"/>
              <a:ext cx="6400800" cy="149977"/>
            </a:xfrm>
            <a:prstGeom prst="r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53" dirty="0"/>
            </a:p>
          </p:txBody>
        </p:sp>
        <p:sp>
          <p:nvSpPr>
            <p:cNvPr id="20" name="Right Triangle 19"/>
            <p:cNvSpPr/>
            <p:nvPr/>
          </p:nvSpPr>
          <p:spPr>
            <a:xfrm flipH="1" flipV="1">
              <a:off x="921099" y="3276599"/>
              <a:ext cx="6400800" cy="149977"/>
            </a:xfrm>
            <a:prstGeom prst="rtTriangle">
              <a:avLst/>
            </a:prstGeom>
            <a:solidFill>
              <a:srgbClr val="49AF3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353" dirty="0"/>
            </a:p>
          </p:txBody>
        </p:sp>
      </p:grpSp>
      <p:pic>
        <p:nvPicPr>
          <p:cNvPr id="3" name="Picture 2">
            <a:extLst>
              <a:ext uri="{FF2B5EF4-FFF2-40B4-BE49-F238E27FC236}">
                <a16:creationId xmlns:a16="http://schemas.microsoft.com/office/drawing/2014/main" id="{847B918B-BF9E-4ABF-B715-25ACE70FBC60}"/>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0279798" y="105361"/>
            <a:ext cx="1552950" cy="703678"/>
          </a:xfrm>
          <a:prstGeom prst="rect">
            <a:avLst/>
          </a:prstGeom>
        </p:spPr>
      </p:pic>
      <p:sp>
        <p:nvSpPr>
          <p:cNvPr id="2" name="Footer Placeholder 1">
            <a:extLst>
              <a:ext uri="{FF2B5EF4-FFF2-40B4-BE49-F238E27FC236}">
                <a16:creationId xmlns:a16="http://schemas.microsoft.com/office/drawing/2014/main" id="{862E3ACC-BA1F-E240-94C2-F1F741878089}"/>
              </a:ext>
            </a:extLst>
          </p:cNvPr>
          <p:cNvSpPr>
            <a:spLocks noGrp="1"/>
          </p:cNvSpPr>
          <p:nvPr>
            <p:ph type="ftr" sz="quarter" idx="3"/>
          </p:nvPr>
        </p:nvSpPr>
        <p:spPr>
          <a:xfrm>
            <a:off x="4039068" y="6356351"/>
            <a:ext cx="411386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Tree>
    <p:extLst>
      <p:ext uri="{BB962C8B-B14F-4D97-AF65-F5344CB8AC3E}">
        <p14:creationId xmlns:p14="http://schemas.microsoft.com/office/powerpoint/2010/main" val="3958217833"/>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Lst>
  <p:hf sldNum="0" hdr="0" ftr="0" dt="0"/>
  <p:txStyles>
    <p:titleStyle>
      <a:lvl1pPr algn="l" rtl="0" eaLnBrk="1" fontAlgn="base" hangingPunct="1">
        <a:lnSpc>
          <a:spcPct val="90000"/>
        </a:lnSpc>
        <a:spcBef>
          <a:spcPct val="0"/>
        </a:spcBef>
        <a:spcAft>
          <a:spcPct val="0"/>
        </a:spcAft>
        <a:defRPr sz="2353" b="1">
          <a:solidFill>
            <a:srgbClr val="000066"/>
          </a:solidFill>
          <a:effectLst>
            <a:outerShdw blurRad="38100" dist="38100" dir="2700000" algn="tl">
              <a:srgbClr val="C0C0C0"/>
            </a:outerShdw>
          </a:effectLst>
          <a:latin typeface="+mj-lt"/>
          <a:ea typeface="+mj-ea"/>
          <a:cs typeface="+mj-cs"/>
        </a:defRPr>
      </a:lvl1pPr>
      <a:lvl2pPr algn="l" rtl="0" eaLnBrk="1" fontAlgn="base" hangingPunct="1">
        <a:lnSpc>
          <a:spcPct val="90000"/>
        </a:lnSpc>
        <a:spcBef>
          <a:spcPct val="0"/>
        </a:spcBef>
        <a:spcAft>
          <a:spcPct val="0"/>
        </a:spcAft>
        <a:defRPr sz="2353" b="1">
          <a:solidFill>
            <a:srgbClr val="000066"/>
          </a:solidFill>
          <a:effectLst>
            <a:outerShdw blurRad="38100" dist="38100" dir="2700000" algn="tl">
              <a:srgbClr val="C0C0C0"/>
            </a:outerShdw>
          </a:effectLst>
          <a:latin typeface="Helvetica" pitchFamily="34" charset="0"/>
        </a:defRPr>
      </a:lvl2pPr>
      <a:lvl3pPr algn="l" rtl="0" eaLnBrk="1" fontAlgn="base" hangingPunct="1">
        <a:lnSpc>
          <a:spcPct val="90000"/>
        </a:lnSpc>
        <a:spcBef>
          <a:spcPct val="0"/>
        </a:spcBef>
        <a:spcAft>
          <a:spcPct val="0"/>
        </a:spcAft>
        <a:defRPr sz="2353" b="1">
          <a:solidFill>
            <a:srgbClr val="000066"/>
          </a:solidFill>
          <a:effectLst>
            <a:outerShdw blurRad="38100" dist="38100" dir="2700000" algn="tl">
              <a:srgbClr val="C0C0C0"/>
            </a:outerShdw>
          </a:effectLst>
          <a:latin typeface="Helvetica" pitchFamily="34" charset="0"/>
        </a:defRPr>
      </a:lvl3pPr>
      <a:lvl4pPr algn="l" rtl="0" eaLnBrk="1" fontAlgn="base" hangingPunct="1">
        <a:lnSpc>
          <a:spcPct val="90000"/>
        </a:lnSpc>
        <a:spcBef>
          <a:spcPct val="0"/>
        </a:spcBef>
        <a:spcAft>
          <a:spcPct val="0"/>
        </a:spcAft>
        <a:defRPr sz="2353" b="1">
          <a:solidFill>
            <a:srgbClr val="000066"/>
          </a:solidFill>
          <a:effectLst>
            <a:outerShdw blurRad="38100" dist="38100" dir="2700000" algn="tl">
              <a:srgbClr val="C0C0C0"/>
            </a:outerShdw>
          </a:effectLst>
          <a:latin typeface="Helvetica" pitchFamily="34" charset="0"/>
        </a:defRPr>
      </a:lvl4pPr>
      <a:lvl5pPr algn="l" rtl="0" eaLnBrk="1" fontAlgn="base" hangingPunct="1">
        <a:lnSpc>
          <a:spcPct val="90000"/>
        </a:lnSpc>
        <a:spcBef>
          <a:spcPct val="0"/>
        </a:spcBef>
        <a:spcAft>
          <a:spcPct val="0"/>
        </a:spcAft>
        <a:defRPr sz="2353" b="1">
          <a:solidFill>
            <a:srgbClr val="000066"/>
          </a:solidFill>
          <a:effectLst>
            <a:outerShdw blurRad="38100" dist="38100" dir="2700000" algn="tl">
              <a:srgbClr val="C0C0C0"/>
            </a:outerShdw>
          </a:effectLst>
          <a:latin typeface="Helvetica" pitchFamily="34" charset="0"/>
        </a:defRPr>
      </a:lvl5pPr>
      <a:lvl6pPr marL="448258" algn="l" rtl="0" eaLnBrk="1" fontAlgn="base" hangingPunct="1">
        <a:lnSpc>
          <a:spcPct val="90000"/>
        </a:lnSpc>
        <a:spcBef>
          <a:spcPct val="0"/>
        </a:spcBef>
        <a:spcAft>
          <a:spcPct val="0"/>
        </a:spcAft>
        <a:defRPr sz="2353" b="1">
          <a:solidFill>
            <a:srgbClr val="000066"/>
          </a:solidFill>
          <a:effectLst>
            <a:outerShdw blurRad="38100" dist="38100" dir="2700000" algn="tl">
              <a:srgbClr val="C0C0C0"/>
            </a:outerShdw>
          </a:effectLst>
          <a:latin typeface="Helvetica" pitchFamily="34" charset="0"/>
        </a:defRPr>
      </a:lvl6pPr>
      <a:lvl7pPr marL="896517" algn="l" rtl="0" eaLnBrk="1" fontAlgn="base" hangingPunct="1">
        <a:lnSpc>
          <a:spcPct val="90000"/>
        </a:lnSpc>
        <a:spcBef>
          <a:spcPct val="0"/>
        </a:spcBef>
        <a:spcAft>
          <a:spcPct val="0"/>
        </a:spcAft>
        <a:defRPr sz="2353" b="1">
          <a:solidFill>
            <a:srgbClr val="000066"/>
          </a:solidFill>
          <a:effectLst>
            <a:outerShdw blurRad="38100" dist="38100" dir="2700000" algn="tl">
              <a:srgbClr val="C0C0C0"/>
            </a:outerShdw>
          </a:effectLst>
          <a:latin typeface="Helvetica" pitchFamily="34" charset="0"/>
        </a:defRPr>
      </a:lvl7pPr>
      <a:lvl8pPr marL="1344775" algn="l" rtl="0" eaLnBrk="1" fontAlgn="base" hangingPunct="1">
        <a:lnSpc>
          <a:spcPct val="90000"/>
        </a:lnSpc>
        <a:spcBef>
          <a:spcPct val="0"/>
        </a:spcBef>
        <a:spcAft>
          <a:spcPct val="0"/>
        </a:spcAft>
        <a:defRPr sz="2353" b="1">
          <a:solidFill>
            <a:srgbClr val="000066"/>
          </a:solidFill>
          <a:effectLst>
            <a:outerShdw blurRad="38100" dist="38100" dir="2700000" algn="tl">
              <a:srgbClr val="C0C0C0"/>
            </a:outerShdw>
          </a:effectLst>
          <a:latin typeface="Helvetica" pitchFamily="34" charset="0"/>
        </a:defRPr>
      </a:lvl8pPr>
      <a:lvl9pPr marL="1793034" algn="l" rtl="0" eaLnBrk="1" fontAlgn="base" hangingPunct="1">
        <a:lnSpc>
          <a:spcPct val="90000"/>
        </a:lnSpc>
        <a:spcBef>
          <a:spcPct val="0"/>
        </a:spcBef>
        <a:spcAft>
          <a:spcPct val="0"/>
        </a:spcAft>
        <a:defRPr sz="2353" b="1">
          <a:solidFill>
            <a:srgbClr val="000066"/>
          </a:solidFill>
          <a:effectLst>
            <a:outerShdw blurRad="38100" dist="38100" dir="2700000" algn="tl">
              <a:srgbClr val="C0C0C0"/>
            </a:outerShdw>
          </a:effectLst>
          <a:latin typeface="Helvetica" pitchFamily="34" charset="0"/>
        </a:defRPr>
      </a:lvl9pPr>
    </p:titleStyle>
    <p:bodyStyle>
      <a:lvl1pPr marL="336194" indent="-336194" algn="l" rtl="0" eaLnBrk="1" fontAlgn="base" hangingPunct="1">
        <a:spcBef>
          <a:spcPct val="20000"/>
        </a:spcBef>
        <a:spcAft>
          <a:spcPct val="0"/>
        </a:spcAft>
        <a:buChar char="•"/>
        <a:defRPr sz="2157">
          <a:solidFill>
            <a:srgbClr val="191919"/>
          </a:solidFill>
          <a:latin typeface="+mn-lt"/>
          <a:ea typeface="+mn-ea"/>
          <a:cs typeface="+mn-cs"/>
        </a:defRPr>
      </a:lvl1pPr>
      <a:lvl2pPr marL="728420" indent="-280162" algn="l" rtl="0" eaLnBrk="1" fontAlgn="base" hangingPunct="1">
        <a:spcBef>
          <a:spcPct val="20000"/>
        </a:spcBef>
        <a:spcAft>
          <a:spcPct val="0"/>
        </a:spcAft>
        <a:buChar char="–"/>
        <a:defRPr sz="1961">
          <a:solidFill>
            <a:srgbClr val="191919"/>
          </a:solidFill>
          <a:latin typeface="+mn-lt"/>
        </a:defRPr>
      </a:lvl2pPr>
      <a:lvl3pPr marL="1120647" indent="-224130" algn="l" rtl="0" eaLnBrk="1" fontAlgn="base" hangingPunct="1">
        <a:spcBef>
          <a:spcPct val="20000"/>
        </a:spcBef>
        <a:spcAft>
          <a:spcPct val="0"/>
        </a:spcAft>
        <a:buChar char="•"/>
        <a:defRPr sz="1764">
          <a:solidFill>
            <a:srgbClr val="191919"/>
          </a:solidFill>
          <a:latin typeface="+mn-lt"/>
        </a:defRPr>
      </a:lvl3pPr>
      <a:lvl4pPr marL="1568905" indent="-224130" algn="l" rtl="0" eaLnBrk="1" fontAlgn="base" hangingPunct="1">
        <a:spcBef>
          <a:spcPct val="20000"/>
        </a:spcBef>
        <a:spcAft>
          <a:spcPct val="0"/>
        </a:spcAft>
        <a:buChar char="–"/>
        <a:defRPr sz="1569">
          <a:solidFill>
            <a:srgbClr val="191919"/>
          </a:solidFill>
          <a:latin typeface="+mn-lt"/>
        </a:defRPr>
      </a:lvl4pPr>
      <a:lvl5pPr marL="2017163" indent="-224130" algn="l" rtl="0" eaLnBrk="1" fontAlgn="base" hangingPunct="1">
        <a:spcBef>
          <a:spcPct val="20000"/>
        </a:spcBef>
        <a:spcAft>
          <a:spcPct val="0"/>
        </a:spcAft>
        <a:buChar char="»"/>
        <a:defRPr sz="1569" i="1">
          <a:solidFill>
            <a:srgbClr val="191919"/>
          </a:solidFill>
          <a:latin typeface="+mn-lt"/>
        </a:defRPr>
      </a:lvl5pPr>
      <a:lvl6pPr marL="2465422" indent="-224130" algn="l" rtl="0" eaLnBrk="1" fontAlgn="base" hangingPunct="1">
        <a:spcBef>
          <a:spcPct val="20000"/>
        </a:spcBef>
        <a:spcAft>
          <a:spcPct val="0"/>
        </a:spcAft>
        <a:buChar char="»"/>
        <a:defRPr sz="1373" i="1">
          <a:solidFill>
            <a:srgbClr val="191919"/>
          </a:solidFill>
          <a:latin typeface="+mn-lt"/>
        </a:defRPr>
      </a:lvl6pPr>
      <a:lvl7pPr marL="2913680" indent="-224130" algn="l" rtl="0" eaLnBrk="1" fontAlgn="base" hangingPunct="1">
        <a:spcBef>
          <a:spcPct val="20000"/>
        </a:spcBef>
        <a:spcAft>
          <a:spcPct val="0"/>
        </a:spcAft>
        <a:buChar char="»"/>
        <a:defRPr sz="1373" i="1">
          <a:solidFill>
            <a:srgbClr val="191919"/>
          </a:solidFill>
          <a:latin typeface="+mn-lt"/>
        </a:defRPr>
      </a:lvl7pPr>
      <a:lvl8pPr marL="3361939" indent="-224130" algn="l" rtl="0" eaLnBrk="1" fontAlgn="base" hangingPunct="1">
        <a:spcBef>
          <a:spcPct val="20000"/>
        </a:spcBef>
        <a:spcAft>
          <a:spcPct val="0"/>
        </a:spcAft>
        <a:buChar char="»"/>
        <a:defRPr sz="1373" i="1">
          <a:solidFill>
            <a:srgbClr val="191919"/>
          </a:solidFill>
          <a:latin typeface="+mn-lt"/>
        </a:defRPr>
      </a:lvl8pPr>
      <a:lvl9pPr marL="3810197" indent="-224130" algn="l" rtl="0" eaLnBrk="1" fontAlgn="base" hangingPunct="1">
        <a:spcBef>
          <a:spcPct val="20000"/>
        </a:spcBef>
        <a:spcAft>
          <a:spcPct val="0"/>
        </a:spcAft>
        <a:buChar char="»"/>
        <a:defRPr sz="1373" i="1">
          <a:solidFill>
            <a:srgbClr val="191919"/>
          </a:solidFill>
          <a:latin typeface="+mn-lt"/>
        </a:defRPr>
      </a:lvl9pPr>
    </p:bodyStyle>
    <p:otherStyle>
      <a:defPPr>
        <a:defRPr lang="en-US"/>
      </a:defPPr>
      <a:lvl1pPr marL="0" algn="l" defTabSz="896517" rtl="0" eaLnBrk="1" latinLnBrk="0" hangingPunct="1">
        <a:defRPr sz="1764" kern="1200">
          <a:solidFill>
            <a:schemeClr val="tx1"/>
          </a:solidFill>
          <a:latin typeface="+mn-lt"/>
          <a:ea typeface="+mn-ea"/>
          <a:cs typeface="+mn-cs"/>
        </a:defRPr>
      </a:lvl1pPr>
      <a:lvl2pPr marL="448258" algn="l" defTabSz="896517" rtl="0" eaLnBrk="1" latinLnBrk="0" hangingPunct="1">
        <a:defRPr sz="1764" kern="1200">
          <a:solidFill>
            <a:schemeClr val="tx1"/>
          </a:solidFill>
          <a:latin typeface="+mn-lt"/>
          <a:ea typeface="+mn-ea"/>
          <a:cs typeface="+mn-cs"/>
        </a:defRPr>
      </a:lvl2pPr>
      <a:lvl3pPr marL="896517" algn="l" defTabSz="896517" rtl="0" eaLnBrk="1" latinLnBrk="0" hangingPunct="1">
        <a:defRPr sz="1764" kern="1200">
          <a:solidFill>
            <a:schemeClr val="tx1"/>
          </a:solidFill>
          <a:latin typeface="+mn-lt"/>
          <a:ea typeface="+mn-ea"/>
          <a:cs typeface="+mn-cs"/>
        </a:defRPr>
      </a:lvl3pPr>
      <a:lvl4pPr marL="1344775" algn="l" defTabSz="896517" rtl="0" eaLnBrk="1" latinLnBrk="0" hangingPunct="1">
        <a:defRPr sz="1764" kern="1200">
          <a:solidFill>
            <a:schemeClr val="tx1"/>
          </a:solidFill>
          <a:latin typeface="+mn-lt"/>
          <a:ea typeface="+mn-ea"/>
          <a:cs typeface="+mn-cs"/>
        </a:defRPr>
      </a:lvl4pPr>
      <a:lvl5pPr marL="1793034" algn="l" defTabSz="896517" rtl="0" eaLnBrk="1" latinLnBrk="0" hangingPunct="1">
        <a:defRPr sz="1764" kern="1200">
          <a:solidFill>
            <a:schemeClr val="tx1"/>
          </a:solidFill>
          <a:latin typeface="+mn-lt"/>
          <a:ea typeface="+mn-ea"/>
          <a:cs typeface="+mn-cs"/>
        </a:defRPr>
      </a:lvl5pPr>
      <a:lvl6pPr marL="2241292" algn="l" defTabSz="896517" rtl="0" eaLnBrk="1" latinLnBrk="0" hangingPunct="1">
        <a:defRPr sz="1764" kern="1200">
          <a:solidFill>
            <a:schemeClr val="tx1"/>
          </a:solidFill>
          <a:latin typeface="+mn-lt"/>
          <a:ea typeface="+mn-ea"/>
          <a:cs typeface="+mn-cs"/>
        </a:defRPr>
      </a:lvl6pPr>
      <a:lvl7pPr marL="2689551" algn="l" defTabSz="896517" rtl="0" eaLnBrk="1" latinLnBrk="0" hangingPunct="1">
        <a:defRPr sz="1764" kern="1200">
          <a:solidFill>
            <a:schemeClr val="tx1"/>
          </a:solidFill>
          <a:latin typeface="+mn-lt"/>
          <a:ea typeface="+mn-ea"/>
          <a:cs typeface="+mn-cs"/>
        </a:defRPr>
      </a:lvl7pPr>
      <a:lvl8pPr marL="3137809" algn="l" defTabSz="896517" rtl="0" eaLnBrk="1" latinLnBrk="0" hangingPunct="1">
        <a:defRPr sz="1764" kern="1200">
          <a:solidFill>
            <a:schemeClr val="tx1"/>
          </a:solidFill>
          <a:latin typeface="+mn-lt"/>
          <a:ea typeface="+mn-ea"/>
          <a:cs typeface="+mn-cs"/>
        </a:defRPr>
      </a:lvl8pPr>
      <a:lvl9pPr marL="3586067" algn="l" defTabSz="896517" rtl="0" eaLnBrk="1" latinLnBrk="0" hangingPunct="1">
        <a:defRPr sz="176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hyperlink" Target="https://4930400d-24b5-474c-9a16-0109dd2d06d3.filesusr.com/ugd/849f65_6e5f8992821c4851a3e23c2acc99d726.xlsx?dn=Joint%20IOU_Third-Party%20Implementers%20Table.xlsx" TargetMode="External"/><Relationship Id="rId2" Type="http://schemas.openxmlformats.org/officeDocument/2006/relationships/hyperlink" Target="https://4930400d-24b5-474c-9a16-0109dd2d06d3.filesusr.com/ugd/849f65_7ed1d3aef0444113a20392944ad22165.xlsx?dn=Joint%20IOU%20EE%20Solicitation%20Timeline_.xlsx" TargetMode="External"/><Relationship Id="rId1" Type="http://schemas.openxmlformats.org/officeDocument/2006/relationships/slideLayout" Target="../slideLayouts/slideLayout217.xml"/><Relationship Id="rId5" Type="http://schemas.openxmlformats.org/officeDocument/2006/relationships/hyperlink" Target="https://www.caeecc.org/third-party-solicitation-process" TargetMode="External"/><Relationship Id="rId4" Type="http://schemas.openxmlformats.org/officeDocument/2006/relationships/hyperlink" Target="https://www.sdge.com/node/11676" TargetMode="External"/></Relationships>
</file>

<file path=ppt/slides/_rels/slide100.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notesSlide" Target="../notesSlides/notesSlide40.xml"/><Relationship Id="rId1" Type="http://schemas.openxmlformats.org/officeDocument/2006/relationships/slideLayout" Target="../slideLayouts/slideLayout203.xml"/></Relationships>
</file>

<file path=ppt/slides/_rels/slide101.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notesSlide" Target="../notesSlides/notesSlide41.xml"/><Relationship Id="rId1" Type="http://schemas.openxmlformats.org/officeDocument/2006/relationships/slideLayout" Target="../slideLayouts/slideLayout203.xml"/></Relationships>
</file>

<file path=ppt/slides/_rels/slide10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42.xml"/><Relationship Id="rId1" Type="http://schemas.openxmlformats.org/officeDocument/2006/relationships/slideLayout" Target="../slideLayouts/slideLayout254.xml"/></Relationships>
</file>

<file path=ppt/slides/_rels/slide103.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101.jpg"/><Relationship Id="rId7" Type="http://schemas.openxmlformats.org/officeDocument/2006/relationships/diagramQuickStyle" Target="../diagrams/quickStyle2.xml"/><Relationship Id="rId2" Type="http://schemas.openxmlformats.org/officeDocument/2006/relationships/notesSlide" Target="../notesSlides/notesSlide43.xml"/><Relationship Id="rId1" Type="http://schemas.openxmlformats.org/officeDocument/2006/relationships/slideLayout" Target="../slideLayouts/slideLayout254.xml"/><Relationship Id="rId6" Type="http://schemas.openxmlformats.org/officeDocument/2006/relationships/diagramLayout" Target="../diagrams/layout2.xml"/><Relationship Id="rId5" Type="http://schemas.openxmlformats.org/officeDocument/2006/relationships/diagramData" Target="../diagrams/data2.xml"/><Relationship Id="rId10" Type="http://schemas.openxmlformats.org/officeDocument/2006/relationships/image" Target="../media/image102.png"/><Relationship Id="rId4" Type="http://schemas.openxmlformats.org/officeDocument/2006/relationships/hyperlink" Target="https://www.kwizgiver.com/2010_06_01_archive.html" TargetMode="External"/><Relationship Id="rId9" Type="http://schemas.microsoft.com/office/2007/relationships/diagramDrawing" Target="../diagrams/drawing2.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57.xml"/></Relationships>
</file>

<file path=ppt/slides/_rels/slide10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89.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06.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89.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07.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89.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08.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45.xml"/><Relationship Id="rId1" Type="http://schemas.openxmlformats.org/officeDocument/2006/relationships/slideLayout" Target="../slideLayouts/slideLayout189.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17.xml"/></Relationships>
</file>

<file path=ppt/slides/_rels/slide110.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46.xml"/><Relationship Id="rId1" Type="http://schemas.openxmlformats.org/officeDocument/2006/relationships/slideLayout" Target="../slideLayouts/slideLayout13.xml"/><Relationship Id="rId4" Type="http://schemas.openxmlformats.org/officeDocument/2006/relationships/image" Target="../media/image104.svg"/></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3.xml.rels><?xml version="1.0" encoding="UTF-8" standalone="yes"?>
<Relationships xmlns="http://schemas.openxmlformats.org/package/2006/relationships"><Relationship Id="rId3" Type="http://schemas.openxmlformats.org/officeDocument/2006/relationships/image" Target="../media/image106.svg"/><Relationship Id="rId2" Type="http://schemas.openxmlformats.org/officeDocument/2006/relationships/image" Target="../media/image105.png"/><Relationship Id="rId1" Type="http://schemas.openxmlformats.org/officeDocument/2006/relationships/slideLayout" Target="../slideLayouts/slideLayout11.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93.xml"/></Relationships>
</file>

<file path=ppt/slides/_rels/slide11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48.xml"/><Relationship Id="rId1" Type="http://schemas.openxmlformats.org/officeDocument/2006/relationships/slideLayout" Target="../slideLayouts/slideLayout90.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90.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3" Type="http://schemas.openxmlformats.org/officeDocument/2006/relationships/hyperlink" Target="https://www.cpuc.ca.gov/industries-and-topics/electrical-energy/demand-side-management/energy-efficiency/rolling-portfolio-program-guidance" TargetMode="External"/><Relationship Id="rId2" Type="http://schemas.openxmlformats.org/officeDocument/2006/relationships/notesSlide" Target="../notesSlides/notesSlide7.xml"/><Relationship Id="rId1" Type="http://schemas.openxmlformats.org/officeDocument/2006/relationships/slideLayout" Target="../slideLayouts/slideLayout217.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7.xml"/></Relationships>
</file>

<file path=ppt/slides/_rels/slide121.xml.rels><?xml version="1.0" encoding="UTF-8" standalone="yes"?>
<Relationships xmlns="http://schemas.openxmlformats.org/package/2006/relationships"><Relationship Id="rId3" Type="http://schemas.openxmlformats.org/officeDocument/2006/relationships/hyperlink" Target="https://www.socalgas.com/regulatory/efficiency" TargetMode="External"/><Relationship Id="rId2" Type="http://schemas.openxmlformats.org/officeDocument/2006/relationships/notesSlide" Target="../notesSlides/notesSlide52.xml"/><Relationship Id="rId1" Type="http://schemas.openxmlformats.org/officeDocument/2006/relationships/slideLayout" Target="../slideLayouts/slideLayout47.xml"/></Relationships>
</file>

<file path=ppt/slides/_rels/slide122.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image" Target="../media/image108.png"/><Relationship Id="rId1" Type="http://schemas.openxmlformats.org/officeDocument/2006/relationships/slideLayout" Target="../slideLayouts/slideLayout94.xml"/></Relationships>
</file>

<file path=ppt/slides/_rels/slide12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3.xml"/><Relationship Id="rId1" Type="http://schemas.openxmlformats.org/officeDocument/2006/relationships/slideLayout" Target="../slideLayouts/slideLayout112.xml"/><Relationship Id="rId5" Type="http://schemas.openxmlformats.org/officeDocument/2006/relationships/image" Target="../media/image112.png"/><Relationship Id="rId4" Type="http://schemas.openxmlformats.org/officeDocument/2006/relationships/image" Target="../media/image111.png"/></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1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1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1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3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2.xml"/></Relationships>
</file>

<file path=ppt/slides/_rels/slide2.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notesSlide" Target="../notesSlides/notesSlide2.xml"/><Relationship Id="rId1" Type="http://schemas.openxmlformats.org/officeDocument/2006/relationships/slideLayout" Target="../slideLayouts/slideLayout122.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4.xml"/><Relationship Id="rId1" Type="http://schemas.openxmlformats.org/officeDocument/2006/relationships/slideLayout" Target="../slideLayouts/slideLayout13.xml"/><Relationship Id="rId4" Type="http://schemas.openxmlformats.org/officeDocument/2006/relationships/image" Target="../media/image91.sv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89.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9.xml"/><Relationship Id="rId1" Type="http://schemas.openxmlformats.org/officeDocument/2006/relationships/slideLayout" Target="../slideLayouts/slideLayout13.xml"/><Relationship Id="rId4" Type="http://schemas.openxmlformats.org/officeDocument/2006/relationships/image" Target="../media/image93.sv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1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3" Type="http://schemas.openxmlformats.org/officeDocument/2006/relationships/image" Target="../media/image95.svg"/><Relationship Id="rId2" Type="http://schemas.openxmlformats.org/officeDocument/2006/relationships/image" Target="../media/image94.png"/><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4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4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4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17.xml"/></Relationships>
</file>

<file path=ppt/slides/_rels/slide5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54.xml.rels><?xml version="1.0" encoding="UTF-8" standalone="yes"?>
<Relationships xmlns="http://schemas.openxmlformats.org/package/2006/relationships"><Relationship Id="rId2" Type="http://schemas.openxmlformats.org/officeDocument/2006/relationships/hyperlink" Target="mailto:Nstevens@opiniondynamics.com" TargetMode="External"/><Relationship Id="rId1" Type="http://schemas.openxmlformats.org/officeDocument/2006/relationships/slideLayout" Target="../slideLayouts/slideLayout12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7.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8.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7.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58.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7.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8.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1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17.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17.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64.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89.xml"/></Relationships>
</file>

<file path=ppt/slides/_rels/slide92.xml.rels><?xml version="1.0" encoding="UTF-8" standalone="yes"?>
<Relationships xmlns="http://schemas.openxmlformats.org/package/2006/relationships"><Relationship Id="rId3" Type="http://schemas.openxmlformats.org/officeDocument/2006/relationships/hyperlink" Target="https://sch.thesupplierclearinghouse.com/" TargetMode="External"/><Relationship Id="rId2" Type="http://schemas.openxmlformats.org/officeDocument/2006/relationships/hyperlink" Target="https://docs.cpuc.ca.gov/PublishedDocs/Published/G000/M152/K827/152827372.pdf" TargetMode="External"/><Relationship Id="rId1" Type="http://schemas.openxmlformats.org/officeDocument/2006/relationships/slideLayout" Target="../slideLayouts/slideLayout189.xml"/><Relationship Id="rId4" Type="http://schemas.openxmlformats.org/officeDocument/2006/relationships/hyperlink" Target="https://www.dgs.ca.gov/PD/About/Page-Content/PD-Branch-Intro-Accordion-List/Office-of-Small-Business-and-Disabled-Veteran-Business-Enterprise/Certification-Program" TargetMode="Externa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93.xml"/></Relationships>
</file>

<file path=ppt/slides/_rels/slide9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36.xml"/><Relationship Id="rId1" Type="http://schemas.openxmlformats.org/officeDocument/2006/relationships/slideLayout" Target="../slideLayouts/slideLayout193.xml"/></Relationships>
</file>

<file path=ppt/slides/_rels/slide9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37.xml"/><Relationship Id="rId1" Type="http://schemas.openxmlformats.org/officeDocument/2006/relationships/slideLayout" Target="../slideLayouts/slideLayout193.xml"/></Relationships>
</file>

<file path=ppt/slides/_rels/slide9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38.xml"/><Relationship Id="rId1" Type="http://schemas.openxmlformats.org/officeDocument/2006/relationships/slideLayout" Target="../slideLayouts/slideLayout193.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07.xml"/></Relationships>
</file>

<file path=ppt/slides/_rels/slide98.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210.xml"/></Relationships>
</file>

<file path=ppt/slides/_rels/slide9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9.xml"/><Relationship Id="rId1" Type="http://schemas.openxmlformats.org/officeDocument/2006/relationships/slideLayout" Target="../slideLayouts/slideLayout202.xml"/><Relationship Id="rId4" Type="http://schemas.openxmlformats.org/officeDocument/2006/relationships/image" Target="../media/image99.sv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object 6"/>
          <p:cNvGraphicFramePr>
            <a:graphicFrameLocks noGrp="1"/>
          </p:cNvGraphicFramePr>
          <p:nvPr>
            <p:extLst>
              <p:ext uri="{D42A27DB-BD31-4B8C-83A1-F6EECF244321}">
                <p14:modId xmlns:p14="http://schemas.microsoft.com/office/powerpoint/2010/main" val="2249295372"/>
              </p:ext>
            </p:extLst>
          </p:nvPr>
        </p:nvGraphicFramePr>
        <p:xfrm>
          <a:off x="114300" y="1143000"/>
          <a:ext cx="11963400" cy="5439788"/>
        </p:xfrm>
        <a:graphic>
          <a:graphicData uri="http://schemas.openxmlformats.org/drawingml/2006/table">
            <a:tbl>
              <a:tblPr firstRow="1" bandRow="1">
                <a:tableStyleId>{2D5ABB26-0587-4C30-8999-92F81FD0307C}</a:tableStyleId>
              </a:tblPr>
              <a:tblGrid>
                <a:gridCol w="1447800">
                  <a:extLst>
                    <a:ext uri="{9D8B030D-6E8A-4147-A177-3AD203B41FA5}">
                      <a16:colId xmlns:a16="http://schemas.microsoft.com/office/drawing/2014/main" val="20000"/>
                    </a:ext>
                  </a:extLst>
                </a:gridCol>
                <a:gridCol w="5143500">
                  <a:extLst>
                    <a:ext uri="{9D8B030D-6E8A-4147-A177-3AD203B41FA5}">
                      <a16:colId xmlns:a16="http://schemas.microsoft.com/office/drawing/2014/main" val="20001"/>
                    </a:ext>
                  </a:extLst>
                </a:gridCol>
                <a:gridCol w="5372100">
                  <a:extLst>
                    <a:ext uri="{9D8B030D-6E8A-4147-A177-3AD203B41FA5}">
                      <a16:colId xmlns:a16="http://schemas.microsoft.com/office/drawing/2014/main" val="20002"/>
                    </a:ext>
                  </a:extLst>
                </a:gridCol>
              </a:tblGrid>
              <a:tr h="391840">
                <a:tc>
                  <a:txBody>
                    <a:bodyPr/>
                    <a:lstStyle/>
                    <a:p>
                      <a:pPr marL="67945" algn="ctr">
                        <a:lnSpc>
                          <a:spcPts val="2045"/>
                        </a:lnSpc>
                      </a:pPr>
                      <a:r>
                        <a:rPr sz="1800" b="1" spc="-5" dirty="0">
                          <a:solidFill>
                            <a:srgbClr val="FFFFFF"/>
                          </a:solidFill>
                          <a:latin typeface="+mn-lt"/>
                          <a:cs typeface="Calibri"/>
                        </a:rPr>
                        <a:t>Time</a:t>
                      </a:r>
                      <a:r>
                        <a:rPr lang="en-US" sz="1800" b="1" spc="-5" dirty="0">
                          <a:solidFill>
                            <a:srgbClr val="FFFFFF"/>
                          </a:solidFill>
                          <a:latin typeface="+mn-lt"/>
                          <a:cs typeface="Calibri"/>
                        </a:rPr>
                        <a:t> (am)</a:t>
                      </a:r>
                      <a:endParaRPr sz="1800" dirty="0">
                        <a:latin typeface="+mn-lt"/>
                        <a:cs typeface="Calibri"/>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6FAC46"/>
                    </a:solidFill>
                  </a:tcPr>
                </a:tc>
                <a:tc>
                  <a:txBody>
                    <a:bodyPr/>
                    <a:lstStyle/>
                    <a:p>
                      <a:pPr marL="68580" algn="ctr">
                        <a:lnSpc>
                          <a:spcPts val="2045"/>
                        </a:lnSpc>
                      </a:pPr>
                      <a:r>
                        <a:rPr lang="en-US" sz="1800" b="1" spc="-35" dirty="0">
                          <a:solidFill>
                            <a:srgbClr val="FFFFFF"/>
                          </a:solidFill>
                          <a:latin typeface="+mn-lt"/>
                          <a:cs typeface="Calibri"/>
                        </a:rPr>
                        <a:t>Agenda </a:t>
                      </a:r>
                      <a:r>
                        <a:rPr sz="1800" b="1" spc="-35" dirty="0">
                          <a:solidFill>
                            <a:srgbClr val="FFFFFF"/>
                          </a:solidFill>
                          <a:latin typeface="+mn-lt"/>
                          <a:cs typeface="Calibri"/>
                        </a:rPr>
                        <a:t>Topic</a:t>
                      </a:r>
                      <a:r>
                        <a:rPr lang="en-US" sz="1800" b="1" spc="-35" dirty="0">
                          <a:solidFill>
                            <a:srgbClr val="FFFFFF"/>
                          </a:solidFill>
                          <a:latin typeface="+mn-lt"/>
                          <a:cs typeface="Calibri"/>
                        </a:rPr>
                        <a:t>s</a:t>
                      </a:r>
                      <a:endParaRPr sz="1800" dirty="0">
                        <a:latin typeface="+mn-lt"/>
                        <a:cs typeface="Calibri"/>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6FAC46"/>
                    </a:solidFill>
                  </a:tcPr>
                </a:tc>
                <a:tc>
                  <a:txBody>
                    <a:bodyPr/>
                    <a:lstStyle/>
                    <a:p>
                      <a:pPr marL="69215" algn="ctr">
                        <a:lnSpc>
                          <a:spcPts val="2045"/>
                        </a:lnSpc>
                      </a:pPr>
                      <a:r>
                        <a:rPr sz="1800" b="1" spc="-10" dirty="0">
                          <a:solidFill>
                            <a:srgbClr val="FFFFFF"/>
                          </a:solidFill>
                          <a:latin typeface="+mn-lt"/>
                          <a:cs typeface="Calibri"/>
                        </a:rPr>
                        <a:t>Presenter(s)</a:t>
                      </a:r>
                      <a:endParaRPr sz="1800" dirty="0">
                        <a:latin typeface="+mn-lt"/>
                        <a:cs typeface="Calibri"/>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6FAC46"/>
                    </a:solidFill>
                  </a:tcPr>
                </a:tc>
                <a:extLst>
                  <a:ext uri="{0D108BD9-81ED-4DB2-BD59-A6C34878D82A}">
                    <a16:rowId xmlns:a16="http://schemas.microsoft.com/office/drawing/2014/main" val="10000"/>
                  </a:ext>
                </a:extLst>
              </a:tr>
              <a:tr h="296069">
                <a:tc>
                  <a:txBody>
                    <a:bodyPr/>
                    <a:lstStyle/>
                    <a:p>
                      <a:pPr marL="67945" algn="l">
                        <a:lnSpc>
                          <a:spcPts val="2045"/>
                        </a:lnSpc>
                      </a:pPr>
                      <a:r>
                        <a:rPr lang="en-US" sz="1600" b="1" spc="-5" dirty="0">
                          <a:solidFill>
                            <a:srgbClr val="FFFFFF"/>
                          </a:solidFill>
                          <a:latin typeface="+mn-lt"/>
                          <a:cs typeface="Calibri"/>
                        </a:rPr>
                        <a:t>8</a:t>
                      </a:r>
                      <a:r>
                        <a:rPr sz="1600" b="1" spc="-5" dirty="0">
                          <a:solidFill>
                            <a:srgbClr val="FFFFFF"/>
                          </a:solidFill>
                          <a:latin typeface="+mn-lt"/>
                          <a:cs typeface="Calibri"/>
                        </a:rPr>
                        <a:t>:00</a:t>
                      </a:r>
                      <a:r>
                        <a:rPr sz="1600" b="1" dirty="0">
                          <a:solidFill>
                            <a:srgbClr val="FFFFFF"/>
                          </a:solidFill>
                          <a:latin typeface="+mn-lt"/>
                          <a:cs typeface="Calibri"/>
                        </a:rPr>
                        <a:t> –</a:t>
                      </a:r>
                      <a:r>
                        <a:rPr sz="1600" b="1" spc="-10" dirty="0">
                          <a:solidFill>
                            <a:srgbClr val="FFFFFF"/>
                          </a:solidFill>
                          <a:latin typeface="+mn-lt"/>
                          <a:cs typeface="Calibri"/>
                        </a:rPr>
                        <a:t> </a:t>
                      </a:r>
                      <a:r>
                        <a:rPr lang="en-US" sz="1600" b="1" spc="-10" dirty="0">
                          <a:solidFill>
                            <a:srgbClr val="FFFFFF"/>
                          </a:solidFill>
                          <a:latin typeface="+mn-lt"/>
                          <a:cs typeface="Calibri"/>
                        </a:rPr>
                        <a:t>8</a:t>
                      </a:r>
                      <a:r>
                        <a:rPr sz="1600" b="1" spc="-5" dirty="0">
                          <a:solidFill>
                            <a:srgbClr val="FFFFFF"/>
                          </a:solidFill>
                          <a:latin typeface="+mn-lt"/>
                          <a:cs typeface="Calibri"/>
                        </a:rPr>
                        <a:t>:05</a:t>
                      </a:r>
                      <a:endParaRPr sz="1600" dirty="0">
                        <a:latin typeface="+mn-lt"/>
                        <a:cs typeface="Calibri"/>
                      </a:endParaRPr>
                    </a:p>
                  </a:txBody>
                  <a:tcPr marL="0" marR="0" marT="0" marB="0" anchor="ctr">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6FAC46"/>
                    </a:solidFill>
                  </a:tcPr>
                </a:tc>
                <a:tc>
                  <a:txBody>
                    <a:bodyPr/>
                    <a:lstStyle/>
                    <a:p>
                      <a:pPr marL="68580">
                        <a:lnSpc>
                          <a:spcPts val="2045"/>
                        </a:lnSpc>
                      </a:pPr>
                      <a:r>
                        <a:rPr lang="en-US" sz="1600" spc="-10" dirty="0">
                          <a:latin typeface="+mn-lt"/>
                          <a:cs typeface="Calibri"/>
                        </a:rPr>
                        <a:t>Safety and </a:t>
                      </a:r>
                      <a:r>
                        <a:rPr sz="1600" spc="-10" dirty="0">
                          <a:latin typeface="+mn-lt"/>
                          <a:cs typeface="Calibri"/>
                        </a:rPr>
                        <a:t>Introduction</a:t>
                      </a:r>
                      <a:endParaRPr sz="1600" dirty="0">
                        <a:latin typeface="+mn-lt"/>
                        <a:cs typeface="Calibri"/>
                      </a:endParaRPr>
                    </a:p>
                  </a:txBody>
                  <a:tcPr marL="0" marR="0" marT="0" marB="0" anchor="ctr">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4E2CF"/>
                    </a:solidFill>
                  </a:tcPr>
                </a:tc>
                <a:tc>
                  <a:txBody>
                    <a:bodyPr/>
                    <a:lstStyle/>
                    <a:p>
                      <a:pPr marL="69215">
                        <a:lnSpc>
                          <a:spcPts val="2045"/>
                        </a:lnSpc>
                      </a:pPr>
                      <a:r>
                        <a:rPr sz="1600" spc="-10" dirty="0">
                          <a:latin typeface="+mn-lt"/>
                          <a:cs typeface="Calibri"/>
                        </a:rPr>
                        <a:t>B</a:t>
                      </a:r>
                      <a:r>
                        <a:rPr lang="en-US" sz="1600" spc="-10" dirty="0">
                          <a:latin typeface="+mn-lt"/>
                          <a:cs typeface="Calibri"/>
                        </a:rPr>
                        <a:t>ella Shamoun (PG&amp;E)</a:t>
                      </a:r>
                      <a:endParaRPr sz="1600" dirty="0">
                        <a:latin typeface="+mn-lt"/>
                        <a:cs typeface="Calibri"/>
                      </a:endParaRPr>
                    </a:p>
                  </a:txBody>
                  <a:tcPr marL="0" marR="0" marT="0" marB="0" anchor="ctr">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4E2CF"/>
                    </a:solidFill>
                  </a:tcPr>
                </a:tc>
                <a:extLst>
                  <a:ext uri="{0D108BD9-81ED-4DB2-BD59-A6C34878D82A}">
                    <a16:rowId xmlns:a16="http://schemas.microsoft.com/office/drawing/2014/main" val="10001"/>
                  </a:ext>
                </a:extLst>
              </a:tr>
              <a:tr h="319374">
                <a:tc>
                  <a:txBody>
                    <a:bodyPr/>
                    <a:lstStyle/>
                    <a:p>
                      <a:pPr marL="67945" algn="l">
                        <a:lnSpc>
                          <a:spcPts val="2045"/>
                        </a:lnSpc>
                      </a:pPr>
                      <a:r>
                        <a:rPr lang="en-US" sz="1600" b="1" spc="-5" dirty="0">
                          <a:solidFill>
                            <a:srgbClr val="FFFFFF"/>
                          </a:solidFill>
                          <a:latin typeface="+mn-lt"/>
                          <a:cs typeface="Calibri"/>
                        </a:rPr>
                        <a:t>8:</a:t>
                      </a:r>
                      <a:r>
                        <a:rPr sz="1600" b="1" spc="-5" dirty="0">
                          <a:solidFill>
                            <a:srgbClr val="FFFFFF"/>
                          </a:solidFill>
                          <a:latin typeface="+mn-lt"/>
                          <a:cs typeface="Calibri"/>
                        </a:rPr>
                        <a:t>05</a:t>
                      </a:r>
                      <a:r>
                        <a:rPr sz="1600" b="1" dirty="0">
                          <a:solidFill>
                            <a:srgbClr val="FFFFFF"/>
                          </a:solidFill>
                          <a:latin typeface="+mn-lt"/>
                          <a:cs typeface="Calibri"/>
                        </a:rPr>
                        <a:t> –</a:t>
                      </a:r>
                      <a:r>
                        <a:rPr sz="1600" b="1" spc="-10" dirty="0">
                          <a:solidFill>
                            <a:srgbClr val="FFFFFF"/>
                          </a:solidFill>
                          <a:latin typeface="+mn-lt"/>
                          <a:cs typeface="Calibri"/>
                        </a:rPr>
                        <a:t> </a:t>
                      </a:r>
                      <a:r>
                        <a:rPr lang="en-US" sz="1600" b="1" spc="-10" dirty="0">
                          <a:solidFill>
                            <a:srgbClr val="FFFFFF"/>
                          </a:solidFill>
                          <a:latin typeface="+mn-lt"/>
                          <a:cs typeface="Calibri"/>
                        </a:rPr>
                        <a:t>8:15</a:t>
                      </a:r>
                      <a:endParaRPr sz="1600" dirty="0">
                        <a:latin typeface="+mn-lt"/>
                        <a:cs typeface="Calibri"/>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6FAC46"/>
                    </a:solidFill>
                  </a:tcPr>
                </a:tc>
                <a:tc>
                  <a:txBody>
                    <a:bodyPr/>
                    <a:lstStyle/>
                    <a:p>
                      <a:pPr marL="68580">
                        <a:lnSpc>
                          <a:spcPts val="2045"/>
                        </a:lnSpc>
                      </a:pPr>
                      <a:r>
                        <a:rPr lang="en-US" sz="1600" spc="-10" dirty="0">
                          <a:latin typeface="+mn-lt"/>
                          <a:cs typeface="Calibri"/>
                        </a:rPr>
                        <a:t>Opening Remarks</a:t>
                      </a:r>
                      <a:endParaRPr sz="1600" dirty="0">
                        <a:latin typeface="+mn-lt"/>
                        <a:cs typeface="Calibri"/>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BF0E9"/>
                    </a:solidFill>
                  </a:tcPr>
                </a:tc>
                <a:tc>
                  <a:txBody>
                    <a:bodyPr/>
                    <a:lstStyle/>
                    <a:p>
                      <a:pPr marL="69215">
                        <a:lnSpc>
                          <a:spcPts val="2045"/>
                        </a:lnSpc>
                      </a:pPr>
                      <a:r>
                        <a:rPr lang="en-US" sz="1600" dirty="0">
                          <a:latin typeface="+mn-lt"/>
                          <a:cs typeface="Calibri"/>
                        </a:rPr>
                        <a:t>Alison LaBonte – Energy Division (CPUC)</a:t>
                      </a:r>
                      <a:endParaRPr sz="1600" dirty="0">
                        <a:latin typeface="+mn-lt"/>
                        <a:cs typeface="Calibri"/>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BF0E9"/>
                    </a:solidFill>
                  </a:tcPr>
                </a:tc>
                <a:extLst>
                  <a:ext uri="{0D108BD9-81ED-4DB2-BD59-A6C34878D82A}">
                    <a16:rowId xmlns:a16="http://schemas.microsoft.com/office/drawing/2014/main" val="10002"/>
                  </a:ext>
                </a:extLst>
              </a:tr>
              <a:tr h="368690">
                <a:tc>
                  <a:txBody>
                    <a:bodyPr/>
                    <a:lstStyle/>
                    <a:p>
                      <a:pPr marL="67945" algn="l">
                        <a:lnSpc>
                          <a:spcPts val="2045"/>
                        </a:lnSpc>
                      </a:pPr>
                      <a:r>
                        <a:rPr lang="en-US" sz="1600" b="1" spc="-5" dirty="0">
                          <a:solidFill>
                            <a:srgbClr val="FFFFFF"/>
                          </a:solidFill>
                          <a:latin typeface="+mn-lt"/>
                          <a:cs typeface="Calibri"/>
                        </a:rPr>
                        <a:t>8:15 – 8:35</a:t>
                      </a:r>
                      <a:endParaRPr sz="1600" dirty="0">
                        <a:latin typeface="+mn-lt"/>
                        <a:cs typeface="Calibri"/>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6FAC46"/>
                    </a:solidFill>
                  </a:tcPr>
                </a:tc>
                <a:tc>
                  <a:txBody>
                    <a:bodyPr/>
                    <a:lstStyle/>
                    <a:p>
                      <a:pPr marL="68580">
                        <a:lnSpc>
                          <a:spcPts val="2045"/>
                        </a:lnSpc>
                      </a:pPr>
                      <a:r>
                        <a:rPr lang="en-US" sz="1600" b="1" spc="-5" dirty="0">
                          <a:latin typeface="+mn-lt"/>
                          <a:cs typeface="Calibri"/>
                        </a:rPr>
                        <a:t>Topic 1 </a:t>
                      </a:r>
                      <a:r>
                        <a:rPr lang="en-US" sz="1600" spc="-5" dirty="0">
                          <a:latin typeface="+mn-lt"/>
                          <a:cs typeface="Calibri"/>
                        </a:rPr>
                        <a:t>– IOU Portfolio Update</a:t>
                      </a: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4E2CF"/>
                    </a:solidFill>
                  </a:tcPr>
                </a:tc>
                <a:tc>
                  <a:txBody>
                    <a:bodyPr/>
                    <a:lstStyle/>
                    <a:p>
                      <a:pPr marL="69215">
                        <a:lnSpc>
                          <a:spcPts val="2045"/>
                        </a:lnSpc>
                      </a:pPr>
                      <a:r>
                        <a:rPr lang="en-US" sz="1600" dirty="0">
                          <a:latin typeface="+mn-lt"/>
                          <a:cs typeface="Calibri"/>
                        </a:rPr>
                        <a:t>IOUs’ Representatives </a:t>
                      </a:r>
                      <a:endParaRPr sz="1600" dirty="0">
                        <a:latin typeface="+mn-lt"/>
                        <a:cs typeface="Calibri"/>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4E2CF"/>
                    </a:solidFill>
                  </a:tcPr>
                </a:tc>
                <a:extLst>
                  <a:ext uri="{0D108BD9-81ED-4DB2-BD59-A6C34878D82A}">
                    <a16:rowId xmlns:a16="http://schemas.microsoft.com/office/drawing/2014/main" val="10003"/>
                  </a:ext>
                </a:extLst>
              </a:tr>
              <a:tr h="404574">
                <a:tc>
                  <a:txBody>
                    <a:bodyPr/>
                    <a:lstStyle/>
                    <a:p>
                      <a:pPr marL="67945" marR="0" lvl="0" indent="0" algn="l" defTabSz="914400" eaLnBrk="1" fontAlgn="auto" latinLnBrk="0" hangingPunct="1">
                        <a:lnSpc>
                          <a:spcPts val="2045"/>
                        </a:lnSpc>
                        <a:spcBef>
                          <a:spcPts val="0"/>
                        </a:spcBef>
                        <a:spcAft>
                          <a:spcPts val="0"/>
                        </a:spcAft>
                        <a:buClrTx/>
                        <a:buSzTx/>
                        <a:buFontTx/>
                        <a:buNone/>
                        <a:tabLst/>
                        <a:defRPr/>
                      </a:pPr>
                      <a:r>
                        <a:rPr lang="en-US" sz="1600" b="1" spc="-5" dirty="0">
                          <a:solidFill>
                            <a:srgbClr val="FFFFFF"/>
                          </a:solidFill>
                          <a:latin typeface="+mn-lt"/>
                          <a:cs typeface="Calibri"/>
                        </a:rPr>
                        <a:t>8:35 – 8:55</a:t>
                      </a:r>
                      <a:endParaRPr sz="1600" dirty="0">
                        <a:latin typeface="+mn-lt"/>
                        <a:cs typeface="Calibri"/>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6FAC46"/>
                    </a:solidFill>
                  </a:tcPr>
                </a:tc>
                <a:tc>
                  <a:txBody>
                    <a:bodyPr/>
                    <a:lstStyle/>
                    <a:p>
                      <a:pPr marL="68580">
                        <a:lnSpc>
                          <a:spcPts val="2045"/>
                        </a:lnSpc>
                      </a:pPr>
                      <a:r>
                        <a:rPr lang="en-US" sz="1600" b="1" dirty="0">
                          <a:latin typeface="+mn-lt"/>
                          <a:cs typeface="Calibri"/>
                        </a:rPr>
                        <a:t>Topic 2 </a:t>
                      </a:r>
                      <a:r>
                        <a:rPr lang="en-US" sz="1600" dirty="0">
                          <a:latin typeface="+mn-lt"/>
                          <a:cs typeface="Calibri"/>
                        </a:rPr>
                        <a:t>– Independent Evaluators’ Semi-Annual Reports</a:t>
                      </a: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BF0E9"/>
                    </a:solidFill>
                  </a:tcPr>
                </a:tc>
                <a:tc>
                  <a:txBody>
                    <a:bodyPr/>
                    <a:lstStyle/>
                    <a:p>
                      <a:pPr marL="69215">
                        <a:lnSpc>
                          <a:spcPts val="2045"/>
                        </a:lnSpc>
                      </a:pPr>
                      <a:r>
                        <a:rPr lang="en-US" sz="1600" spc="-10" dirty="0">
                          <a:latin typeface="+mn-lt"/>
                          <a:cs typeface="Calibri"/>
                        </a:rPr>
                        <a:t>Elizabeth Lowe &amp; Don Arambula (IEs)</a:t>
                      </a: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BF0E9"/>
                    </a:solidFill>
                  </a:tcPr>
                </a:tc>
                <a:extLst>
                  <a:ext uri="{0D108BD9-81ED-4DB2-BD59-A6C34878D82A}">
                    <a16:rowId xmlns:a16="http://schemas.microsoft.com/office/drawing/2014/main" val="10004"/>
                  </a:ext>
                </a:extLst>
              </a:tr>
              <a:tr h="374966">
                <a:tc>
                  <a:txBody>
                    <a:bodyPr/>
                    <a:lstStyle/>
                    <a:p>
                      <a:pPr marL="67945" marR="0" lvl="0" indent="0" algn="l" defTabSz="914400" eaLnBrk="1" fontAlgn="auto" latinLnBrk="0" hangingPunct="1">
                        <a:lnSpc>
                          <a:spcPts val="2050"/>
                        </a:lnSpc>
                        <a:spcBef>
                          <a:spcPts val="0"/>
                        </a:spcBef>
                        <a:spcAft>
                          <a:spcPts val="0"/>
                        </a:spcAft>
                        <a:buClrTx/>
                        <a:buSzTx/>
                        <a:buFontTx/>
                        <a:buNone/>
                        <a:tabLst/>
                        <a:defRPr/>
                      </a:pPr>
                      <a:r>
                        <a:rPr lang="en-US" sz="1600" b="1" spc="-5" dirty="0">
                          <a:solidFill>
                            <a:srgbClr val="FFFFFF"/>
                          </a:solidFill>
                          <a:latin typeface="+mn-lt"/>
                          <a:cs typeface="Calibri"/>
                        </a:rPr>
                        <a:t>8:55 – 9:05</a:t>
                      </a:r>
                      <a:endParaRPr sz="1600" dirty="0">
                        <a:latin typeface="+mn-lt"/>
                        <a:cs typeface="Calibri"/>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6FAC46"/>
                    </a:solidFill>
                  </a:tcPr>
                </a:tc>
                <a:tc>
                  <a:txBody>
                    <a:bodyPr/>
                    <a:lstStyle/>
                    <a:p>
                      <a:pPr marL="68580">
                        <a:lnSpc>
                          <a:spcPts val="2050"/>
                        </a:lnSpc>
                      </a:pPr>
                      <a:r>
                        <a:rPr lang="en-US" sz="1600" b="1" spc="-5" dirty="0">
                          <a:latin typeface="+mn-lt"/>
                          <a:cs typeface="Calibri"/>
                        </a:rPr>
                        <a:t>Topic 3 </a:t>
                      </a:r>
                      <a:r>
                        <a:rPr lang="en-US" sz="1600" spc="-5" dirty="0">
                          <a:latin typeface="+mn-lt"/>
                          <a:cs typeface="Calibri"/>
                        </a:rPr>
                        <a:t>– 3P Process Evaluation Study Update</a:t>
                      </a:r>
                      <a:endParaRPr sz="1600" dirty="0">
                        <a:latin typeface="+mn-lt"/>
                        <a:cs typeface="Calibri"/>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4E2CF"/>
                    </a:solidFill>
                  </a:tcPr>
                </a:tc>
                <a:tc>
                  <a:txBody>
                    <a:bodyPr/>
                    <a:lstStyle/>
                    <a:p>
                      <a:pPr marL="69215">
                        <a:lnSpc>
                          <a:spcPts val="2050"/>
                        </a:lnSpc>
                      </a:pPr>
                      <a:r>
                        <a:rPr lang="en-US" sz="1600" spc="-5" dirty="0">
                          <a:latin typeface="+mn-lt"/>
                          <a:cs typeface="Calibri"/>
                        </a:rPr>
                        <a:t>Noel Stevens (Opinion Dynamics)</a:t>
                      </a:r>
                      <a:endParaRPr sz="1600" dirty="0">
                        <a:latin typeface="+mn-lt"/>
                        <a:cs typeface="Calibri"/>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4E2CF"/>
                    </a:solidFill>
                  </a:tcPr>
                </a:tc>
                <a:extLst>
                  <a:ext uri="{0D108BD9-81ED-4DB2-BD59-A6C34878D82A}">
                    <a16:rowId xmlns:a16="http://schemas.microsoft.com/office/drawing/2014/main" val="10005"/>
                  </a:ext>
                </a:extLst>
              </a:tr>
              <a:tr h="348322">
                <a:tc>
                  <a:txBody>
                    <a:bodyPr/>
                    <a:lstStyle/>
                    <a:p>
                      <a:pPr marL="67945" marR="0" lvl="0" indent="0" algn="l" defTabSz="914400" eaLnBrk="1" fontAlgn="auto" latinLnBrk="0" hangingPunct="1">
                        <a:lnSpc>
                          <a:spcPts val="2050"/>
                        </a:lnSpc>
                        <a:spcBef>
                          <a:spcPts val="0"/>
                        </a:spcBef>
                        <a:spcAft>
                          <a:spcPts val="0"/>
                        </a:spcAft>
                        <a:buClrTx/>
                        <a:buSzTx/>
                        <a:buFontTx/>
                        <a:buNone/>
                        <a:tabLst/>
                        <a:defRPr/>
                      </a:pPr>
                      <a:r>
                        <a:rPr lang="en-US" sz="1600" b="1" spc="-5" dirty="0">
                          <a:solidFill>
                            <a:srgbClr val="FFFFFF"/>
                          </a:solidFill>
                          <a:latin typeface="+mn-lt"/>
                          <a:cs typeface="Calibri"/>
                        </a:rPr>
                        <a:t>9:05 – 9:30</a:t>
                      </a:r>
                      <a:endParaRPr sz="1600" dirty="0">
                        <a:latin typeface="+mn-lt"/>
                        <a:cs typeface="Calibri"/>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12700" cap="flat" cmpd="sng" algn="ctr">
                      <a:solidFill>
                        <a:srgbClr val="FFFFFF"/>
                      </a:solidFill>
                      <a:prstDash val="solid"/>
                      <a:round/>
                      <a:headEnd type="none" w="med" len="med"/>
                      <a:tailEnd type="none" w="med" len="med"/>
                    </a:lnB>
                    <a:solidFill>
                      <a:srgbClr val="6FAC46"/>
                    </a:solidFill>
                  </a:tcPr>
                </a:tc>
                <a:tc>
                  <a:txBody>
                    <a:bodyPr/>
                    <a:lstStyle/>
                    <a:p>
                      <a:pPr marL="68580">
                        <a:lnSpc>
                          <a:spcPts val="2050"/>
                        </a:lnSpc>
                      </a:pPr>
                      <a:r>
                        <a:rPr lang="en-US" sz="1600" b="1" spc="-10" dirty="0">
                          <a:latin typeface="+mn-lt"/>
                          <a:cs typeface="Calibri"/>
                        </a:rPr>
                        <a:t>Topic 4 </a:t>
                      </a:r>
                      <a:r>
                        <a:rPr lang="en-US" sz="1600" spc="-10" dirty="0">
                          <a:latin typeface="+mn-lt"/>
                          <a:cs typeface="Calibri"/>
                        </a:rPr>
                        <a:t>– Two Stage Solicitations Team Progress Report</a:t>
                      </a:r>
                      <a:endParaRPr sz="1600" dirty="0">
                        <a:latin typeface="+mn-lt"/>
                        <a:cs typeface="Calibri"/>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12700" cap="flat" cmpd="sng" algn="ctr">
                      <a:solidFill>
                        <a:srgbClr val="FFFFFF"/>
                      </a:solidFill>
                      <a:prstDash val="solid"/>
                      <a:round/>
                      <a:headEnd type="none" w="med" len="med"/>
                      <a:tailEnd type="none" w="med" len="med"/>
                    </a:lnB>
                    <a:solidFill>
                      <a:srgbClr val="EBF0E9"/>
                    </a:solidFill>
                  </a:tcPr>
                </a:tc>
                <a:tc>
                  <a:txBody>
                    <a:bodyPr/>
                    <a:lstStyle/>
                    <a:p>
                      <a:pPr marL="69215">
                        <a:lnSpc>
                          <a:spcPts val="2050"/>
                        </a:lnSpc>
                      </a:pPr>
                      <a:r>
                        <a:rPr lang="en-US" sz="1600" dirty="0">
                          <a:latin typeface="+mn-lt"/>
                          <a:cs typeface="Calibri"/>
                        </a:rPr>
                        <a:t>Grey Staples (IE) &amp; Roland Mollen (SDG&amp;E)</a:t>
                      </a:r>
                      <a:endParaRPr sz="1600" dirty="0">
                        <a:latin typeface="+mn-lt"/>
                        <a:cs typeface="Calibri"/>
                      </a:endParaRPr>
                    </a:p>
                  </a:txBody>
                  <a:tcPr marL="0" marR="0" marT="0" marB="0" anchor="ctr">
                    <a:lnL w="12700">
                      <a:solidFill>
                        <a:srgbClr val="FFFFFF"/>
                      </a:solidFill>
                      <a:prstDash val="solid"/>
                    </a:lnL>
                    <a:lnR w="12700">
                      <a:solidFill>
                        <a:srgbClr val="FFFFFF"/>
                      </a:solidFill>
                      <a:prstDash val="solid"/>
                    </a:lnR>
                    <a:lnT w="12700">
                      <a:solidFill>
                        <a:srgbClr val="FFFFFF"/>
                      </a:solidFill>
                      <a:prstDash val="solid"/>
                    </a:lnT>
                    <a:lnB w="12700" cap="flat" cmpd="sng" algn="ctr">
                      <a:solidFill>
                        <a:srgbClr val="FFFFFF"/>
                      </a:solidFill>
                      <a:prstDash val="solid"/>
                      <a:round/>
                      <a:headEnd type="none" w="med" len="med"/>
                      <a:tailEnd type="none" w="med" len="med"/>
                    </a:lnB>
                    <a:solidFill>
                      <a:srgbClr val="EBF0E9"/>
                    </a:solidFill>
                  </a:tcPr>
                </a:tc>
                <a:extLst>
                  <a:ext uri="{0D108BD9-81ED-4DB2-BD59-A6C34878D82A}">
                    <a16:rowId xmlns:a16="http://schemas.microsoft.com/office/drawing/2014/main" val="10006"/>
                  </a:ext>
                </a:extLst>
              </a:tr>
              <a:tr h="395784">
                <a:tc>
                  <a:txBody>
                    <a:bodyPr/>
                    <a:lstStyle/>
                    <a:p>
                      <a:pPr marL="67945" marR="0" lvl="0" indent="0" algn="l" defTabSz="914400" eaLnBrk="1" fontAlgn="auto" latinLnBrk="0" hangingPunct="1">
                        <a:lnSpc>
                          <a:spcPts val="2050"/>
                        </a:lnSpc>
                        <a:spcBef>
                          <a:spcPts val="0"/>
                        </a:spcBef>
                        <a:spcAft>
                          <a:spcPts val="0"/>
                        </a:spcAft>
                        <a:buClrTx/>
                        <a:buSzTx/>
                        <a:buFontTx/>
                        <a:buNone/>
                        <a:tabLst/>
                        <a:defRPr/>
                      </a:pPr>
                      <a:r>
                        <a:rPr lang="en-US" sz="1600" b="1" spc="-5" dirty="0">
                          <a:solidFill>
                            <a:srgbClr val="FFFFFF"/>
                          </a:solidFill>
                          <a:latin typeface="+mn-lt"/>
                          <a:cs typeface="Calibri"/>
                        </a:rPr>
                        <a:t>9:30 – 10:00</a:t>
                      </a:r>
                      <a:endParaRPr lang="en-US" sz="1600" dirty="0">
                        <a:latin typeface="+mn-lt"/>
                        <a:cs typeface="Calibri"/>
                      </a:endParaRPr>
                    </a:p>
                  </a:txBody>
                  <a:tcPr marL="0" marR="0" marT="0" marB="0" anchor="ctr">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6FAC46"/>
                    </a:solidFill>
                  </a:tcPr>
                </a:tc>
                <a:tc>
                  <a:txBody>
                    <a:bodyPr/>
                    <a:lstStyle/>
                    <a:p>
                      <a:pPr marL="68580">
                        <a:lnSpc>
                          <a:spcPts val="2050"/>
                        </a:lnSpc>
                      </a:pPr>
                      <a:r>
                        <a:rPr lang="en-US" sz="1600" b="1" dirty="0">
                          <a:latin typeface="+mn-lt"/>
                          <a:cs typeface="Calibri"/>
                        </a:rPr>
                        <a:t>Topic 5 </a:t>
                      </a:r>
                      <a:r>
                        <a:rPr lang="en-US" sz="1600" dirty="0">
                          <a:latin typeface="+mn-lt"/>
                          <a:cs typeface="Calibri"/>
                        </a:rPr>
                        <a:t>– Overview of Stakeholders Engagement Touchpoints</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4E2CF"/>
                    </a:solidFill>
                  </a:tcPr>
                </a:tc>
                <a:tc>
                  <a:txBody>
                    <a:bodyPr/>
                    <a:lstStyle/>
                    <a:p>
                      <a:pPr marL="69215">
                        <a:lnSpc>
                          <a:spcPts val="2050"/>
                        </a:lnSpc>
                      </a:pPr>
                      <a:r>
                        <a:rPr lang="en-US" sz="1600" dirty="0">
                          <a:latin typeface="+mn-lt"/>
                          <a:cs typeface="Calibri"/>
                        </a:rPr>
                        <a:t>Melanie Gillette (IE)</a:t>
                      </a:r>
                    </a:p>
                  </a:txBody>
                  <a:tcPr marL="0" marR="0" marT="0" marB="0" anchor="ctr">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4E2CF"/>
                    </a:solidFill>
                  </a:tcPr>
                </a:tc>
                <a:extLst>
                  <a:ext uri="{0D108BD9-81ED-4DB2-BD59-A6C34878D82A}">
                    <a16:rowId xmlns:a16="http://schemas.microsoft.com/office/drawing/2014/main" val="3451645902"/>
                  </a:ext>
                </a:extLst>
              </a:tr>
              <a:tr h="300805">
                <a:tc>
                  <a:txBody>
                    <a:bodyPr/>
                    <a:lstStyle/>
                    <a:p>
                      <a:pPr marL="67945" algn="l">
                        <a:lnSpc>
                          <a:spcPts val="2050"/>
                        </a:lnSpc>
                      </a:pPr>
                      <a:r>
                        <a:rPr lang="en-US" sz="1600" b="1" dirty="0">
                          <a:solidFill>
                            <a:schemeClr val="bg1"/>
                          </a:solidFill>
                          <a:latin typeface="+mn-lt"/>
                          <a:cs typeface="Calibri"/>
                        </a:rPr>
                        <a:t>10:00 – 10:10</a:t>
                      </a:r>
                      <a:endParaRPr sz="1600" b="1" dirty="0">
                        <a:solidFill>
                          <a:schemeClr val="bg1"/>
                        </a:solidFill>
                        <a:latin typeface="+mn-lt"/>
                        <a:cs typeface="Calibri"/>
                      </a:endParaRPr>
                    </a:p>
                  </a:txBody>
                  <a:tcPr marL="0" marR="0" marT="0" marB="0" anchor="ctr">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6FAC46"/>
                    </a:solidFill>
                  </a:tcPr>
                </a:tc>
                <a:tc>
                  <a:txBody>
                    <a:bodyPr/>
                    <a:lstStyle/>
                    <a:p>
                      <a:pPr marL="68580">
                        <a:lnSpc>
                          <a:spcPts val="2050"/>
                        </a:lnSpc>
                      </a:pPr>
                      <a:r>
                        <a:rPr lang="en-US" sz="1600" dirty="0">
                          <a:latin typeface="+mn-lt"/>
                          <a:cs typeface="Calibri"/>
                        </a:rPr>
                        <a:t>Break</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BF0E9"/>
                    </a:solidFill>
                  </a:tcPr>
                </a:tc>
                <a:tc>
                  <a:txBody>
                    <a:bodyPr/>
                    <a:lstStyle/>
                    <a:p>
                      <a:pPr marL="69215">
                        <a:lnSpc>
                          <a:spcPts val="2050"/>
                        </a:lnSpc>
                      </a:pPr>
                      <a:endParaRPr sz="1600" dirty="0">
                        <a:latin typeface="+mn-lt"/>
                        <a:cs typeface="Calibri"/>
                      </a:endParaRPr>
                    </a:p>
                  </a:txBody>
                  <a:tcPr marL="0" marR="0" marT="0" marB="0" anchor="ctr">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BF0E9"/>
                    </a:solidFill>
                  </a:tcPr>
                </a:tc>
                <a:extLst>
                  <a:ext uri="{0D108BD9-81ED-4DB2-BD59-A6C34878D82A}">
                    <a16:rowId xmlns:a16="http://schemas.microsoft.com/office/drawing/2014/main" val="1689145040"/>
                  </a:ext>
                </a:extLst>
              </a:tr>
              <a:tr h="809412">
                <a:tc>
                  <a:txBody>
                    <a:bodyPr/>
                    <a:lstStyle/>
                    <a:p>
                      <a:pPr marL="67945" marR="0" lvl="0" indent="0" algn="l" defTabSz="914400" eaLnBrk="1" fontAlgn="auto" latinLnBrk="0" hangingPunct="1">
                        <a:lnSpc>
                          <a:spcPts val="2050"/>
                        </a:lnSpc>
                        <a:spcBef>
                          <a:spcPts val="0"/>
                        </a:spcBef>
                        <a:spcAft>
                          <a:spcPts val="0"/>
                        </a:spcAft>
                        <a:buClrTx/>
                        <a:buSzTx/>
                        <a:buFontTx/>
                        <a:buNone/>
                        <a:tabLst/>
                        <a:defRPr/>
                      </a:pPr>
                      <a:r>
                        <a:rPr lang="en-US" sz="1600" b="1" spc="-5" dirty="0">
                          <a:solidFill>
                            <a:srgbClr val="FFFFFF"/>
                          </a:solidFill>
                          <a:latin typeface="+mn-lt"/>
                          <a:cs typeface="Calibri"/>
                        </a:rPr>
                        <a:t>10:10 – 10:40</a:t>
                      </a:r>
                      <a:endParaRPr sz="1600" dirty="0">
                        <a:latin typeface="+mn-lt"/>
                        <a:cs typeface="Calibri"/>
                      </a:endParaRPr>
                    </a:p>
                  </a:txBody>
                  <a:tcPr marL="0" marR="0" marT="0" marB="0" anchor="ctr">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6FAC46"/>
                    </a:solidFill>
                  </a:tcPr>
                </a:tc>
                <a:tc>
                  <a:txBody>
                    <a:bodyPr/>
                    <a:lstStyle/>
                    <a:p>
                      <a:pPr marL="68580">
                        <a:lnSpc>
                          <a:spcPts val="2050"/>
                        </a:lnSpc>
                      </a:pPr>
                      <a:r>
                        <a:rPr lang="en-US" sz="1600" b="1" dirty="0">
                          <a:latin typeface="+mn-lt"/>
                          <a:cs typeface="Calibri"/>
                        </a:rPr>
                        <a:t>Topic 6 </a:t>
                      </a:r>
                      <a:r>
                        <a:rPr lang="en-US" sz="1600" dirty="0">
                          <a:latin typeface="+mn-lt"/>
                          <a:cs typeface="Calibri"/>
                        </a:rPr>
                        <a:t>– Cultivating Small and Diverse Businesses as 3P EE Implementers</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4E2CF"/>
                    </a:solidFill>
                  </a:tcPr>
                </a:tc>
                <a:tc>
                  <a:txBody>
                    <a:bodyPr/>
                    <a:lstStyle/>
                    <a:p>
                      <a:pPr marL="69215">
                        <a:lnSpc>
                          <a:spcPts val="2050"/>
                        </a:lnSpc>
                      </a:pPr>
                      <a:r>
                        <a:rPr lang="en-US" sz="1600" dirty="0">
                          <a:latin typeface="+mn-lt"/>
                          <a:cs typeface="Calibri"/>
                        </a:rPr>
                        <a:t>Kim Crossman (IE), IOUs’ Representatives,  </a:t>
                      </a:r>
                    </a:p>
                    <a:p>
                      <a:pPr marL="69215">
                        <a:lnSpc>
                          <a:spcPts val="2050"/>
                        </a:lnSpc>
                      </a:pPr>
                      <a:r>
                        <a:rPr lang="en-US" sz="1600" dirty="0">
                          <a:latin typeface="+mn-lt"/>
                          <a:cs typeface="Calibri"/>
                        </a:rPr>
                        <a:t>Ted Howard (Small Business Utility Advocates), All Participants</a:t>
                      </a:r>
                      <a:endParaRPr sz="1600" dirty="0">
                        <a:latin typeface="+mn-lt"/>
                        <a:cs typeface="Calibri"/>
                      </a:endParaRPr>
                    </a:p>
                  </a:txBody>
                  <a:tcPr marL="0" marR="0" marT="0" marB="0" anchor="ctr">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4E2CF"/>
                    </a:solidFill>
                  </a:tcPr>
                </a:tc>
                <a:extLst>
                  <a:ext uri="{0D108BD9-81ED-4DB2-BD59-A6C34878D82A}">
                    <a16:rowId xmlns:a16="http://schemas.microsoft.com/office/drawing/2014/main" val="2742468588"/>
                  </a:ext>
                </a:extLst>
              </a:tr>
              <a:tr h="437629">
                <a:tc>
                  <a:txBody>
                    <a:bodyPr/>
                    <a:lstStyle/>
                    <a:p>
                      <a:pPr marL="67945" marR="0" lvl="0" indent="0" algn="l" defTabSz="914400" eaLnBrk="1" fontAlgn="auto" latinLnBrk="0" hangingPunct="1">
                        <a:lnSpc>
                          <a:spcPts val="2050"/>
                        </a:lnSpc>
                        <a:spcBef>
                          <a:spcPts val="0"/>
                        </a:spcBef>
                        <a:spcAft>
                          <a:spcPts val="0"/>
                        </a:spcAft>
                        <a:buClrTx/>
                        <a:buSzTx/>
                        <a:buFontTx/>
                        <a:buNone/>
                        <a:tabLst/>
                        <a:defRPr/>
                      </a:pPr>
                      <a:r>
                        <a:rPr lang="en-US" sz="1600" b="1" spc="-5" dirty="0">
                          <a:solidFill>
                            <a:srgbClr val="FFFFFF"/>
                          </a:solidFill>
                          <a:latin typeface="+mn-lt"/>
                          <a:cs typeface="Calibri"/>
                        </a:rPr>
                        <a:t>10:40 – 11:25</a:t>
                      </a:r>
                      <a:endParaRPr sz="1600" dirty="0">
                        <a:latin typeface="+mn-lt"/>
                        <a:cs typeface="Calibri"/>
                      </a:endParaRPr>
                    </a:p>
                  </a:txBody>
                  <a:tcPr marL="0" marR="0" marT="0" marB="0" anchor="ctr">
                    <a:lnL w="12700">
                      <a:solidFill>
                        <a:srgbClr val="FFFFFF"/>
                      </a:solidFill>
                      <a:prstDash val="solid"/>
                    </a:lnL>
                    <a:lnR w="12700" cap="flat" cmpd="sng" algn="ctr">
                      <a:solidFill>
                        <a:srgbClr val="FFFFFF"/>
                      </a:solidFill>
                      <a:prstDash val="solid"/>
                      <a:round/>
                      <a:headEnd type="none" w="med" len="med"/>
                      <a:tailEnd type="none" w="med" len="med"/>
                    </a:lnR>
                    <a:lnT w="12700">
                      <a:solidFill>
                        <a:srgbClr val="FFFFFF"/>
                      </a:solidFill>
                      <a:prstDash val="solid"/>
                    </a:lnT>
                    <a:lnB w="12700" cap="flat" cmpd="sng" algn="ctr">
                      <a:solidFill>
                        <a:srgbClr val="FFFFFF"/>
                      </a:solidFill>
                      <a:prstDash val="solid"/>
                      <a:round/>
                      <a:headEnd type="none" w="med" len="med"/>
                      <a:tailEnd type="none" w="med" len="med"/>
                    </a:lnB>
                    <a:solidFill>
                      <a:srgbClr val="6FAC46"/>
                    </a:solidFill>
                  </a:tcPr>
                </a:tc>
                <a:tc>
                  <a:txBody>
                    <a:bodyPr/>
                    <a:lstStyle/>
                    <a:p>
                      <a:pPr marL="68580">
                        <a:lnSpc>
                          <a:spcPts val="2050"/>
                        </a:lnSpc>
                      </a:pPr>
                      <a:r>
                        <a:rPr lang="en-US" sz="1600" b="1" dirty="0">
                          <a:latin typeface="+mn-lt"/>
                          <a:cs typeface="Calibri"/>
                        </a:rPr>
                        <a:t>Topic 7 </a:t>
                      </a:r>
                      <a:r>
                        <a:rPr lang="en-US" sz="1600" dirty="0">
                          <a:latin typeface="+mn-lt"/>
                          <a:cs typeface="Calibri"/>
                        </a:rPr>
                        <a:t>– Bidder Feedback</a:t>
                      </a: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a:solidFill>
                        <a:srgbClr val="FFFFFF"/>
                      </a:solidFill>
                      <a:prstDash val="solid"/>
                    </a:lnT>
                    <a:lnB w="12700" cap="flat" cmpd="sng" algn="ctr">
                      <a:solidFill>
                        <a:srgbClr val="FFFFFF"/>
                      </a:solidFill>
                      <a:prstDash val="solid"/>
                      <a:round/>
                      <a:headEnd type="none" w="med" len="med"/>
                      <a:tailEnd type="none" w="med" len="med"/>
                    </a:lnB>
                    <a:solidFill>
                      <a:srgbClr val="EBF0E9"/>
                    </a:solidFill>
                  </a:tcPr>
                </a:tc>
                <a:tc>
                  <a:txBody>
                    <a:bodyPr/>
                    <a:lstStyle/>
                    <a:p>
                      <a:pPr marL="69215">
                        <a:lnSpc>
                          <a:spcPts val="2050"/>
                        </a:lnSpc>
                      </a:pPr>
                      <a:r>
                        <a:rPr lang="en-US" sz="1600" dirty="0">
                          <a:latin typeface="+mn-lt"/>
                          <a:cs typeface="Calibri"/>
                        </a:rPr>
                        <a:t>Elizabeth Lowe (IE), IOUs’ Representatives, All Participants</a:t>
                      </a:r>
                    </a:p>
                  </a:txBody>
                  <a:tcPr marL="0" marR="0" marT="0" marB="0" anchor="ctr">
                    <a:lnL w="12700" cap="flat" cmpd="sng" algn="ctr">
                      <a:solidFill>
                        <a:srgbClr val="FFFFFF"/>
                      </a:solidFill>
                      <a:prstDash val="solid"/>
                      <a:round/>
                      <a:headEnd type="none" w="med" len="med"/>
                      <a:tailEnd type="none" w="med" len="med"/>
                    </a:lnL>
                    <a:lnR w="12700">
                      <a:solidFill>
                        <a:srgbClr val="FFFFFF"/>
                      </a:solidFill>
                      <a:prstDash val="solid"/>
                    </a:lnR>
                    <a:lnT w="12700">
                      <a:solidFill>
                        <a:srgbClr val="FFFFFF"/>
                      </a:solidFill>
                      <a:prstDash val="solid"/>
                    </a:lnT>
                    <a:lnB w="12700" cap="flat" cmpd="sng" algn="ctr">
                      <a:solidFill>
                        <a:srgbClr val="FFFFFF"/>
                      </a:solidFill>
                      <a:prstDash val="solid"/>
                      <a:round/>
                      <a:headEnd type="none" w="med" len="med"/>
                      <a:tailEnd type="none" w="med" len="med"/>
                    </a:lnB>
                    <a:solidFill>
                      <a:srgbClr val="EBF0E9"/>
                    </a:solidFill>
                  </a:tcPr>
                </a:tc>
                <a:extLst>
                  <a:ext uri="{0D108BD9-81ED-4DB2-BD59-A6C34878D82A}">
                    <a16:rowId xmlns:a16="http://schemas.microsoft.com/office/drawing/2014/main" val="769101857"/>
                  </a:ext>
                </a:extLst>
              </a:tr>
              <a:tr h="457200">
                <a:tc>
                  <a:txBody>
                    <a:bodyPr/>
                    <a:lstStyle/>
                    <a:p>
                      <a:pPr marL="67945" marR="0" lvl="0" indent="0" algn="l" defTabSz="914400" eaLnBrk="1" fontAlgn="auto" latinLnBrk="0" hangingPunct="1">
                        <a:lnSpc>
                          <a:spcPts val="2050"/>
                        </a:lnSpc>
                        <a:spcBef>
                          <a:spcPts val="0"/>
                        </a:spcBef>
                        <a:spcAft>
                          <a:spcPts val="0"/>
                        </a:spcAft>
                        <a:buClrTx/>
                        <a:buSzTx/>
                        <a:buFontTx/>
                        <a:buNone/>
                        <a:tabLst/>
                        <a:defRPr/>
                      </a:pPr>
                      <a:r>
                        <a:rPr lang="en-US" sz="1600" b="1" spc="-5" dirty="0">
                          <a:solidFill>
                            <a:srgbClr val="FFFFFF"/>
                          </a:solidFill>
                          <a:latin typeface="+mn-lt"/>
                          <a:cs typeface="Calibri"/>
                        </a:rPr>
                        <a:t>11:25 – 11:55</a:t>
                      </a:r>
                      <a:endParaRPr lang="en-US" sz="1600" dirty="0">
                        <a:latin typeface="+mn-lt"/>
                        <a:cs typeface="Calibri"/>
                      </a:endParaRPr>
                    </a:p>
                  </a:txBody>
                  <a:tcPr marL="0" marR="0" marT="0" marB="0" anchor="ctr">
                    <a:lnL w="12700">
                      <a:solidFill>
                        <a:srgbClr val="FFFFFF"/>
                      </a:solidFill>
                      <a:prstDash val="solid"/>
                    </a:lnL>
                    <a:lnR w="12700" cap="flat" cmpd="sng" algn="ctr">
                      <a:solidFill>
                        <a:srgbClr val="FFFFFF"/>
                      </a:solidFill>
                      <a:prstDash val="solid"/>
                      <a:round/>
                      <a:headEnd type="none" w="med" len="med"/>
                      <a:tailEnd type="none" w="med" len="med"/>
                    </a:lnR>
                    <a:lnT w="12700">
                      <a:solidFill>
                        <a:srgbClr val="FFFFFF"/>
                      </a:solidFill>
                      <a:prstDash val="solid"/>
                    </a:lnT>
                    <a:lnB w="12700" cap="flat" cmpd="sng" algn="ctr">
                      <a:solidFill>
                        <a:srgbClr val="FFFFFF"/>
                      </a:solidFill>
                      <a:prstDash val="solid"/>
                      <a:round/>
                      <a:headEnd type="none" w="med" len="med"/>
                      <a:tailEnd type="none" w="med" len="med"/>
                    </a:lnB>
                    <a:solidFill>
                      <a:srgbClr val="6FAC46"/>
                    </a:solidFill>
                  </a:tcPr>
                </a:tc>
                <a:tc>
                  <a:txBody>
                    <a:bodyPr/>
                    <a:lstStyle/>
                    <a:p>
                      <a:pPr marL="68580">
                        <a:lnSpc>
                          <a:spcPts val="2050"/>
                        </a:lnSpc>
                      </a:pPr>
                      <a:r>
                        <a:rPr lang="en-US" sz="1600" dirty="0">
                          <a:latin typeface="+mn-lt"/>
                          <a:cs typeface="Calibri"/>
                        </a:rPr>
                        <a:t>Open Discussion</a:t>
                      </a:r>
                      <a:endParaRPr sz="1600" dirty="0">
                        <a:latin typeface="+mn-lt"/>
                        <a:cs typeface="Calibri"/>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a:solidFill>
                        <a:srgbClr val="FFFFFF"/>
                      </a:solidFill>
                      <a:prstDash val="solid"/>
                    </a:lnT>
                    <a:lnB w="12700" cap="flat" cmpd="sng" algn="ctr">
                      <a:solidFill>
                        <a:srgbClr val="FFFFFF"/>
                      </a:solidFill>
                      <a:prstDash val="solid"/>
                      <a:round/>
                      <a:headEnd type="none" w="med" len="med"/>
                      <a:tailEnd type="none" w="med" len="med"/>
                    </a:lnB>
                    <a:solidFill>
                      <a:srgbClr val="D4E2CF"/>
                    </a:solidFill>
                  </a:tcPr>
                </a:tc>
                <a:tc>
                  <a:txBody>
                    <a:bodyPr/>
                    <a:lstStyle/>
                    <a:p>
                      <a:pPr marL="69215">
                        <a:lnSpc>
                          <a:spcPts val="2050"/>
                        </a:lnSpc>
                      </a:pPr>
                      <a:r>
                        <a:rPr lang="en-US" sz="1600" dirty="0">
                          <a:latin typeface="+mn-lt"/>
                          <a:cs typeface="Calibri"/>
                        </a:rPr>
                        <a:t>Facilitator: Brandon Sanders (SCE), All Participants</a:t>
                      </a:r>
                      <a:endParaRPr sz="1600" dirty="0">
                        <a:latin typeface="+mn-lt"/>
                        <a:cs typeface="Calibri"/>
                      </a:endParaRPr>
                    </a:p>
                  </a:txBody>
                  <a:tcPr marL="0" marR="0" marT="0" marB="0" anchor="ctr">
                    <a:lnL w="12700" cap="flat" cmpd="sng" algn="ctr">
                      <a:solidFill>
                        <a:srgbClr val="FFFFFF"/>
                      </a:solidFill>
                      <a:prstDash val="solid"/>
                      <a:round/>
                      <a:headEnd type="none" w="med" len="med"/>
                      <a:tailEnd type="none" w="med" len="med"/>
                    </a:lnL>
                    <a:lnR w="12700">
                      <a:solidFill>
                        <a:srgbClr val="FFFFFF"/>
                      </a:solidFill>
                      <a:prstDash val="solid"/>
                    </a:lnR>
                    <a:lnT w="12700">
                      <a:solidFill>
                        <a:srgbClr val="FFFFFF"/>
                      </a:solidFill>
                      <a:prstDash val="solid"/>
                    </a:lnT>
                    <a:lnB w="12700" cap="flat" cmpd="sng" algn="ctr">
                      <a:solidFill>
                        <a:srgbClr val="FFFFFF"/>
                      </a:solidFill>
                      <a:prstDash val="solid"/>
                      <a:round/>
                      <a:headEnd type="none" w="med" len="med"/>
                      <a:tailEnd type="none" w="med" len="med"/>
                    </a:lnB>
                    <a:solidFill>
                      <a:srgbClr val="D4E2CF"/>
                    </a:solidFill>
                  </a:tcPr>
                </a:tc>
                <a:extLst>
                  <a:ext uri="{0D108BD9-81ED-4DB2-BD59-A6C34878D82A}">
                    <a16:rowId xmlns:a16="http://schemas.microsoft.com/office/drawing/2014/main" val="2701377270"/>
                  </a:ext>
                </a:extLst>
              </a:tr>
              <a:tr h="535123">
                <a:tc>
                  <a:txBody>
                    <a:bodyPr/>
                    <a:lstStyle/>
                    <a:p>
                      <a:pPr marL="67945" marR="0" lvl="0" indent="0" algn="l" defTabSz="914400" eaLnBrk="1" fontAlgn="auto" latinLnBrk="0" hangingPunct="1">
                        <a:lnSpc>
                          <a:spcPts val="2050"/>
                        </a:lnSpc>
                        <a:spcBef>
                          <a:spcPts val="0"/>
                        </a:spcBef>
                        <a:spcAft>
                          <a:spcPts val="0"/>
                        </a:spcAft>
                        <a:buClrTx/>
                        <a:buSzTx/>
                        <a:buFontTx/>
                        <a:buNone/>
                        <a:tabLst/>
                        <a:defRPr/>
                      </a:pPr>
                      <a:r>
                        <a:rPr lang="en-US" sz="1600" b="1" spc="-5" dirty="0">
                          <a:solidFill>
                            <a:srgbClr val="FFFFFF"/>
                          </a:solidFill>
                          <a:latin typeface="+mn-lt"/>
                          <a:cs typeface="Calibri"/>
                        </a:rPr>
                        <a:t>11:55 – 12noon</a:t>
                      </a:r>
                      <a:endParaRPr lang="en-US" sz="1600" dirty="0">
                        <a:latin typeface="+mn-lt"/>
                        <a:cs typeface="Calibri"/>
                      </a:endParaRPr>
                    </a:p>
                  </a:txBody>
                  <a:tcPr marL="0" marR="0" marT="0" marB="0" anchor="ctr">
                    <a:lnL w="12700">
                      <a:solidFill>
                        <a:srgbClr val="FFFFFF"/>
                      </a:solidFill>
                      <a:prstDash val="solid"/>
                    </a:lnL>
                    <a:lnR w="12700" cap="flat" cmpd="sng" algn="ctr">
                      <a:solidFill>
                        <a:srgbClr val="FFFFFF"/>
                      </a:solidFill>
                      <a:prstDash val="solid"/>
                      <a:round/>
                      <a:headEnd type="none" w="med" len="med"/>
                      <a:tailEnd type="none" w="med" len="med"/>
                    </a:lnR>
                    <a:lnT w="12700">
                      <a:solidFill>
                        <a:srgbClr val="FFFFFF"/>
                      </a:solidFill>
                      <a:prstDash val="solid"/>
                    </a:lnT>
                    <a:lnB w="12700">
                      <a:solidFill>
                        <a:srgbClr val="FFFFFF"/>
                      </a:solidFill>
                      <a:prstDash val="solid"/>
                    </a:lnB>
                    <a:solidFill>
                      <a:srgbClr val="6FAC46"/>
                    </a:solidFill>
                  </a:tcPr>
                </a:tc>
                <a:tc>
                  <a:txBody>
                    <a:bodyPr/>
                    <a:lstStyle/>
                    <a:p>
                      <a:pPr marL="68580">
                        <a:lnSpc>
                          <a:spcPts val="2050"/>
                        </a:lnSpc>
                      </a:pPr>
                      <a:r>
                        <a:rPr lang="en-US" sz="1600" dirty="0">
                          <a:latin typeface="+mn-lt"/>
                          <a:cs typeface="Calibri"/>
                        </a:rPr>
                        <a:t>Closing – Next Steps and Closing Remarks</a:t>
                      </a:r>
                      <a:endParaRPr sz="1600" dirty="0">
                        <a:latin typeface="+mn-lt"/>
                        <a:cs typeface="Calibri"/>
                      </a:endParaRPr>
                    </a:p>
                  </a:txBody>
                  <a:tcPr marL="0"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a:solidFill>
                        <a:srgbClr val="FFFFFF"/>
                      </a:solidFill>
                      <a:prstDash val="solid"/>
                    </a:lnT>
                    <a:lnB w="12700">
                      <a:solidFill>
                        <a:srgbClr val="FFFFFF"/>
                      </a:solidFill>
                      <a:prstDash val="solid"/>
                    </a:lnB>
                    <a:solidFill>
                      <a:srgbClr val="EBF0E9"/>
                    </a:solidFill>
                  </a:tcPr>
                </a:tc>
                <a:tc>
                  <a:txBody>
                    <a:bodyPr/>
                    <a:lstStyle/>
                    <a:p>
                      <a:pPr marL="69215">
                        <a:lnSpc>
                          <a:spcPts val="2050"/>
                        </a:lnSpc>
                      </a:pPr>
                      <a:r>
                        <a:rPr lang="en-US" sz="1600" dirty="0">
                          <a:latin typeface="+mn-lt"/>
                          <a:cs typeface="Calibri"/>
                        </a:rPr>
                        <a:t>Bella Shamoun (PG&amp;E) – Next Steps</a:t>
                      </a:r>
                    </a:p>
                    <a:p>
                      <a:pPr marL="69215">
                        <a:lnSpc>
                          <a:spcPts val="2050"/>
                        </a:lnSpc>
                      </a:pPr>
                      <a:r>
                        <a:rPr lang="en-US" sz="1600" dirty="0">
                          <a:latin typeface="+mn-lt"/>
                          <a:cs typeface="Calibri"/>
                        </a:rPr>
                        <a:t>Alison LaBonte (CPUC) – Closing Remarks</a:t>
                      </a:r>
                      <a:endParaRPr sz="1600" dirty="0">
                        <a:latin typeface="+mn-lt"/>
                        <a:cs typeface="Calibri"/>
                      </a:endParaRPr>
                    </a:p>
                  </a:txBody>
                  <a:tcPr marL="0" marR="0" marT="0" marB="0" anchor="ctr">
                    <a:lnL w="12700" cap="flat" cmpd="sng" algn="ctr">
                      <a:solidFill>
                        <a:srgbClr val="FFFFFF"/>
                      </a:solidFill>
                      <a:prstDash val="solid"/>
                      <a:round/>
                      <a:headEnd type="none" w="med" len="med"/>
                      <a:tailEnd type="none" w="med" len="med"/>
                    </a:lnL>
                    <a:lnR w="12700">
                      <a:solidFill>
                        <a:srgbClr val="FFFFFF"/>
                      </a:solidFill>
                      <a:prstDash val="solid"/>
                    </a:lnR>
                    <a:lnT w="12700">
                      <a:solidFill>
                        <a:srgbClr val="FFFFFF"/>
                      </a:solidFill>
                      <a:prstDash val="solid"/>
                    </a:lnT>
                    <a:lnB w="12700">
                      <a:solidFill>
                        <a:srgbClr val="FFFFFF"/>
                      </a:solidFill>
                      <a:prstDash val="solid"/>
                    </a:lnB>
                    <a:solidFill>
                      <a:srgbClr val="EBF0E9"/>
                    </a:solidFill>
                  </a:tcPr>
                </a:tc>
                <a:extLst>
                  <a:ext uri="{0D108BD9-81ED-4DB2-BD59-A6C34878D82A}">
                    <a16:rowId xmlns:a16="http://schemas.microsoft.com/office/drawing/2014/main" val="3390669091"/>
                  </a:ext>
                </a:extLst>
              </a:tr>
            </a:tbl>
          </a:graphicData>
        </a:graphic>
      </p:graphicFrame>
      <p:sp>
        <p:nvSpPr>
          <p:cNvPr id="7" name="object 5">
            <a:extLst>
              <a:ext uri="{FF2B5EF4-FFF2-40B4-BE49-F238E27FC236}">
                <a16:creationId xmlns:a16="http://schemas.microsoft.com/office/drawing/2014/main" id="{47992FF9-92B2-4CA6-A4B8-AA061883C08C}"/>
              </a:ext>
            </a:extLst>
          </p:cNvPr>
          <p:cNvSpPr txBox="1">
            <a:spLocks noGrp="1"/>
          </p:cNvSpPr>
          <p:nvPr>
            <p:ph type="title"/>
          </p:nvPr>
        </p:nvSpPr>
        <p:spPr>
          <a:xfrm>
            <a:off x="342900" y="-118450"/>
            <a:ext cx="11506200" cy="1239442"/>
          </a:xfrm>
          <a:prstGeom prst="rect">
            <a:avLst/>
          </a:prstGeom>
        </p:spPr>
        <p:txBody>
          <a:bodyPr vert="horz" wrap="square" lIns="0" tIns="252095" rIns="0" bIns="0" rtlCol="0">
            <a:spAutoFit/>
          </a:bodyPr>
          <a:lstStyle/>
          <a:p>
            <a:pPr marL="12700">
              <a:lnSpc>
                <a:spcPct val="100000"/>
              </a:lnSpc>
              <a:spcBef>
                <a:spcPts val="1985"/>
              </a:spcBef>
            </a:pPr>
            <a:r>
              <a:rPr sz="3200" b="0" dirty="0">
                <a:solidFill>
                  <a:srgbClr val="000000"/>
                </a:solidFill>
                <a:latin typeface="+mn-lt"/>
                <a:cs typeface="Calibri Light"/>
              </a:rPr>
              <a:t>EE </a:t>
            </a:r>
            <a:r>
              <a:rPr sz="3200" b="0" spc="-15" dirty="0">
                <a:solidFill>
                  <a:srgbClr val="000000"/>
                </a:solidFill>
                <a:latin typeface="+mn-lt"/>
                <a:cs typeface="Calibri Light"/>
              </a:rPr>
              <a:t>Third</a:t>
            </a:r>
            <a:r>
              <a:rPr sz="3200" b="0" spc="-25" dirty="0">
                <a:solidFill>
                  <a:srgbClr val="000000"/>
                </a:solidFill>
                <a:latin typeface="+mn-lt"/>
                <a:cs typeface="Calibri Light"/>
              </a:rPr>
              <a:t> </a:t>
            </a:r>
            <a:r>
              <a:rPr sz="3200" b="0" spc="-20" dirty="0">
                <a:solidFill>
                  <a:srgbClr val="000000"/>
                </a:solidFill>
                <a:latin typeface="+mn-lt"/>
                <a:cs typeface="Calibri Light"/>
              </a:rPr>
              <a:t>Party</a:t>
            </a:r>
            <a:r>
              <a:rPr sz="3200" b="0" dirty="0">
                <a:solidFill>
                  <a:srgbClr val="000000"/>
                </a:solidFill>
                <a:latin typeface="+mn-lt"/>
                <a:cs typeface="Calibri Light"/>
              </a:rPr>
              <a:t> </a:t>
            </a:r>
            <a:r>
              <a:rPr sz="3200" b="0" spc="-10" dirty="0">
                <a:solidFill>
                  <a:srgbClr val="000000"/>
                </a:solidFill>
                <a:latin typeface="+mn-lt"/>
                <a:cs typeface="Calibri Light"/>
              </a:rPr>
              <a:t>Solicitations</a:t>
            </a:r>
            <a:r>
              <a:rPr sz="3200" b="0" spc="25" dirty="0">
                <a:solidFill>
                  <a:srgbClr val="000000"/>
                </a:solidFill>
                <a:latin typeface="+mn-lt"/>
                <a:cs typeface="Calibri Light"/>
              </a:rPr>
              <a:t> </a:t>
            </a:r>
            <a:r>
              <a:rPr sz="3200" b="0" spc="-25" dirty="0">
                <a:solidFill>
                  <a:srgbClr val="000000"/>
                </a:solidFill>
                <a:latin typeface="+mn-lt"/>
                <a:cs typeface="Calibri Light"/>
              </a:rPr>
              <a:t>Stakeholder</a:t>
            </a:r>
            <a:r>
              <a:rPr sz="3200" b="0" spc="-15" dirty="0">
                <a:solidFill>
                  <a:srgbClr val="000000"/>
                </a:solidFill>
                <a:latin typeface="+mn-lt"/>
                <a:cs typeface="Calibri Light"/>
              </a:rPr>
              <a:t> Forum</a:t>
            </a:r>
            <a:r>
              <a:rPr lang="en-US" sz="3200" b="0" spc="-15" dirty="0">
                <a:solidFill>
                  <a:srgbClr val="000000"/>
                </a:solidFill>
                <a:latin typeface="+mn-lt"/>
                <a:cs typeface="Calibri Light"/>
              </a:rPr>
              <a:t>                   </a:t>
            </a:r>
            <a:r>
              <a:rPr lang="en-US" sz="3200" spc="5" dirty="0">
                <a:solidFill>
                  <a:srgbClr val="000000"/>
                </a:solidFill>
                <a:latin typeface="+mn-lt"/>
                <a:cs typeface="Segoe UI"/>
              </a:rPr>
              <a:t>July 28</a:t>
            </a:r>
            <a:r>
              <a:rPr sz="3200" spc="-5" dirty="0">
                <a:solidFill>
                  <a:srgbClr val="000000"/>
                </a:solidFill>
                <a:latin typeface="+mn-lt"/>
                <a:cs typeface="Segoe UI"/>
              </a:rPr>
              <a:t>,</a:t>
            </a:r>
            <a:r>
              <a:rPr sz="3200" spc="5" dirty="0">
                <a:solidFill>
                  <a:srgbClr val="000000"/>
                </a:solidFill>
                <a:latin typeface="+mn-lt"/>
                <a:cs typeface="Segoe UI"/>
              </a:rPr>
              <a:t> </a:t>
            </a:r>
            <a:r>
              <a:rPr lang="en-US" sz="3200" spc="5" dirty="0">
                <a:solidFill>
                  <a:srgbClr val="000000"/>
                </a:solidFill>
                <a:latin typeface="+mn-lt"/>
                <a:cs typeface="Segoe UI"/>
              </a:rPr>
              <a:t>2021</a:t>
            </a:r>
            <a:br>
              <a:rPr lang="en-US" sz="3200" spc="5" dirty="0">
                <a:solidFill>
                  <a:srgbClr val="000000"/>
                </a:solidFill>
                <a:latin typeface="+mn-lt"/>
                <a:cs typeface="Segoe UI"/>
              </a:rPr>
            </a:br>
            <a:r>
              <a:rPr lang="en-US" sz="3200" spc="5" dirty="0">
                <a:solidFill>
                  <a:srgbClr val="000000"/>
                </a:solidFill>
                <a:latin typeface="+mn-lt"/>
                <a:cs typeface="Segoe UI"/>
              </a:rPr>
              <a:t>                                                                                                8 am – 12 noon        </a:t>
            </a:r>
            <a:endParaRPr sz="3200" dirty="0">
              <a:latin typeface="+mn-lt"/>
              <a:cs typeface="Segoe UI"/>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1263F-ED01-7B44-92ED-79743A1B5BAE}"/>
              </a:ext>
            </a:extLst>
          </p:cNvPr>
          <p:cNvSpPr>
            <a:spLocks noGrp="1"/>
          </p:cNvSpPr>
          <p:nvPr>
            <p:ph type="title"/>
          </p:nvPr>
        </p:nvSpPr>
        <p:spPr/>
        <p:txBody>
          <a:bodyPr/>
          <a:lstStyle/>
          <a:p>
            <a:r>
              <a:rPr lang="en-US" dirty="0"/>
              <a:t>Transparency/predictability of schedules</a:t>
            </a:r>
          </a:p>
        </p:txBody>
      </p:sp>
      <p:sp>
        <p:nvSpPr>
          <p:cNvPr id="3" name="Content Placeholder 2">
            <a:extLst>
              <a:ext uri="{FF2B5EF4-FFF2-40B4-BE49-F238E27FC236}">
                <a16:creationId xmlns:a16="http://schemas.microsoft.com/office/drawing/2014/main" id="{8A1CC821-6573-8846-ACA5-A0025A2A504B}"/>
              </a:ext>
            </a:extLst>
          </p:cNvPr>
          <p:cNvSpPr>
            <a:spLocks noGrp="1"/>
          </p:cNvSpPr>
          <p:nvPr>
            <p:ph idx="1"/>
          </p:nvPr>
        </p:nvSpPr>
        <p:spPr/>
        <p:txBody>
          <a:bodyPr>
            <a:normAutofit fontScale="85000" lnSpcReduction="20000"/>
          </a:bodyPr>
          <a:lstStyle/>
          <a:p>
            <a:pPr>
              <a:lnSpc>
                <a:spcPct val="170000"/>
              </a:lnSpc>
            </a:pPr>
            <a:r>
              <a:rPr lang="en-US" dirty="0"/>
              <a:t>Three consolidated (all IOU) schedules updated beginning of each month:</a:t>
            </a:r>
          </a:p>
          <a:p>
            <a:pPr lvl="1">
              <a:lnSpc>
                <a:spcPct val="170000"/>
              </a:lnSpc>
            </a:pPr>
            <a:r>
              <a:rPr lang="en-US" b="1" u="sng" dirty="0">
                <a:hlinkClick r:id="rId2"/>
              </a:rPr>
              <a:t>Joint IOU Solicitation Timeline (July 1, 2021)</a:t>
            </a:r>
            <a:r>
              <a:rPr lang="en-US" b="1" u="sng" dirty="0"/>
              <a:t> </a:t>
            </a:r>
            <a:r>
              <a:rPr lang="en-US" dirty="0"/>
              <a:t>– Scheduled stages of solicitations past and future</a:t>
            </a:r>
          </a:p>
          <a:p>
            <a:pPr lvl="1">
              <a:lnSpc>
                <a:spcPct val="170000"/>
              </a:lnSpc>
            </a:pPr>
            <a:r>
              <a:rPr lang="en-US" b="1" u="sng" dirty="0">
                <a:hlinkClick r:id="rId3"/>
              </a:rPr>
              <a:t>Third-Party Implementers Table (July 1, 2021)</a:t>
            </a:r>
            <a:r>
              <a:rPr lang="en-US" b="1" u="sng" dirty="0"/>
              <a:t> </a:t>
            </a:r>
            <a:r>
              <a:rPr lang="en-US" dirty="0"/>
              <a:t>– Executed contracts, with their date of execution and associated advice letters resulting from solicitation</a:t>
            </a:r>
            <a:endParaRPr lang="en-US" b="1" dirty="0"/>
          </a:p>
          <a:p>
            <a:pPr lvl="1">
              <a:lnSpc>
                <a:spcPct val="170000"/>
              </a:lnSpc>
            </a:pPr>
            <a:r>
              <a:rPr lang="en-US" dirty="0"/>
              <a:t>PEPMA hosted </a:t>
            </a:r>
            <a:r>
              <a:rPr lang="en-US" b="1" dirty="0">
                <a:hlinkClick r:id="rId4"/>
              </a:rPr>
              <a:t>Joint IOU EE Solicitation Timeline / Energy Efficiency Third-Party Solicitations Dynamic Schedule</a:t>
            </a:r>
            <a:r>
              <a:rPr lang="en-US" b="1" dirty="0"/>
              <a:t> </a:t>
            </a:r>
            <a:r>
              <a:rPr lang="en-US" dirty="0"/>
              <a:t>– Gantt chart style schedule showing actual dates of past milestones, and forecast future dates</a:t>
            </a:r>
          </a:p>
          <a:p>
            <a:pPr marL="0" indent="-3175">
              <a:lnSpc>
                <a:spcPct val="170000"/>
              </a:lnSpc>
              <a:buNone/>
            </a:pPr>
            <a:r>
              <a:rPr lang="en-US" dirty="0"/>
              <a:t>All schedules linked from </a:t>
            </a:r>
            <a:r>
              <a:rPr lang="en-US" dirty="0">
                <a:hlinkClick r:id="rId5"/>
              </a:rPr>
              <a:t>https://www.caeecc.org/third-party-solicitation-process</a:t>
            </a:r>
            <a:endParaRPr lang="en-US" dirty="0"/>
          </a:p>
        </p:txBody>
      </p:sp>
    </p:spTree>
    <p:extLst>
      <p:ext uri="{BB962C8B-B14F-4D97-AF65-F5344CB8AC3E}">
        <p14:creationId xmlns:p14="http://schemas.microsoft.com/office/powerpoint/2010/main" val="609654524"/>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Two men walking on a sidewalk ">
            <a:extLst>
              <a:ext uri="{FF2B5EF4-FFF2-40B4-BE49-F238E27FC236}">
                <a16:creationId xmlns:a16="http://schemas.microsoft.com/office/drawing/2014/main" id="{E5F090D3-F226-4F22-B95D-6C6DA8D6287B}"/>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8259517" y="1920633"/>
            <a:ext cx="3930896" cy="2578669"/>
          </a:xfrm>
          <a:prstGeom prst="rect">
            <a:avLst/>
          </a:prstGeom>
        </p:spPr>
      </p:pic>
      <p:sp>
        <p:nvSpPr>
          <p:cNvPr id="7" name="Title 1">
            <a:extLst>
              <a:ext uri="{FF2B5EF4-FFF2-40B4-BE49-F238E27FC236}">
                <a16:creationId xmlns:a16="http://schemas.microsoft.com/office/drawing/2014/main" id="{DF258339-BA5A-9A4E-81C8-DEF674C9C8A9}"/>
              </a:ext>
            </a:extLst>
          </p:cNvPr>
          <p:cNvSpPr txBox="1">
            <a:spLocks/>
          </p:cNvSpPr>
          <p:nvPr/>
        </p:nvSpPr>
        <p:spPr>
          <a:xfrm>
            <a:off x="412643" y="408747"/>
            <a:ext cx="6922113" cy="535403"/>
          </a:xfrm>
          <a:prstGeom prst="rect">
            <a:avLst/>
          </a:prstGeom>
        </p:spPr>
        <p:txBody>
          <a:bodyPr wrap="square">
            <a:spAutoFit/>
          </a:bodyPr>
          <a:lstStyle>
            <a:lvl1pPr algn="l" defTabSz="914400" rtl="0" eaLnBrk="1" latinLnBrk="0" hangingPunct="1">
              <a:lnSpc>
                <a:spcPct val="90000"/>
              </a:lnSpc>
              <a:spcBef>
                <a:spcPct val="0"/>
              </a:spcBef>
              <a:buNone/>
              <a:defRPr sz="4400" kern="1200" baseline="0">
                <a:solidFill>
                  <a:schemeClr val="tx1"/>
                </a:solidFill>
                <a:latin typeface="Arial" panose="020B0604020202020204" pitchFamily="34" charset="0"/>
                <a:ea typeface="+mj-ea"/>
                <a:cs typeface="+mj-cs"/>
              </a:defRPr>
            </a:lvl1pPr>
          </a:lstStyle>
          <a:p>
            <a:pPr defTabSz="914172"/>
            <a:r>
              <a:rPr lang="en-US" sz="3199" b="1" dirty="0">
                <a:solidFill>
                  <a:srgbClr val="060C28"/>
                </a:solidFill>
              </a:rPr>
              <a:t>Primes and Subcontracting </a:t>
            </a:r>
          </a:p>
        </p:txBody>
      </p:sp>
      <p:sp>
        <p:nvSpPr>
          <p:cNvPr id="9" name="Text Placeholder 5">
            <a:extLst>
              <a:ext uri="{FF2B5EF4-FFF2-40B4-BE49-F238E27FC236}">
                <a16:creationId xmlns:a16="http://schemas.microsoft.com/office/drawing/2014/main" id="{1AB3AE99-77C1-CF44-BC8C-D1AC9ABEA945}"/>
              </a:ext>
            </a:extLst>
          </p:cNvPr>
          <p:cNvSpPr txBox="1">
            <a:spLocks/>
          </p:cNvSpPr>
          <p:nvPr/>
        </p:nvSpPr>
        <p:spPr>
          <a:xfrm>
            <a:off x="412643" y="1189304"/>
            <a:ext cx="5008846" cy="338049"/>
          </a:xfrm>
          <a:prstGeom prst="rect">
            <a:avLst/>
          </a:prstGeom>
        </p:spPr>
        <p:txBody>
          <a:bodyPr/>
          <a:lstStyle>
            <a:lvl1pPr marL="0" indent="0" algn="l" defTabSz="914400" rtl="0" eaLnBrk="1" latinLnBrk="0" hangingPunct="1">
              <a:lnSpc>
                <a:spcPct val="90000"/>
              </a:lnSpc>
              <a:spcBef>
                <a:spcPts val="1000"/>
              </a:spcBef>
              <a:buFontTx/>
              <a:buNone/>
              <a:defRPr sz="1800" b="1" i="0" kern="1200" baseline="0">
                <a:solidFill>
                  <a:schemeClr val="tx1"/>
                </a:solidFill>
                <a:latin typeface="Arial" panose="020B0604020202020204" pitchFamily="34" charset="0"/>
                <a:ea typeface="+mn-ea"/>
                <a:cs typeface="+mn-cs"/>
              </a:defRPr>
            </a:lvl1pPr>
            <a:lvl2pPr marL="457200" indent="0" algn="l" defTabSz="914400" rtl="0" eaLnBrk="1" latinLnBrk="0" hangingPunct="1">
              <a:lnSpc>
                <a:spcPct val="90000"/>
              </a:lnSpc>
              <a:spcBef>
                <a:spcPts val="500"/>
              </a:spcBef>
              <a:buFontTx/>
              <a:buNone/>
              <a:defRPr sz="2400" kern="1200" baseline="0">
                <a:solidFill>
                  <a:schemeClr val="tx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Tx/>
              <a:buNone/>
              <a:defRPr sz="2000" kern="1200" baseline="0">
                <a:solidFill>
                  <a:schemeClr val="tx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Tx/>
              <a:buNone/>
              <a:defRPr sz="1800" kern="1200" baseline="0">
                <a:solidFill>
                  <a:schemeClr val="tx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Tx/>
              <a:buNone/>
              <a:defRPr sz="1800" kern="1200" baseline="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172"/>
            <a:r>
              <a:rPr lang="en-US" dirty="0">
                <a:solidFill>
                  <a:srgbClr val="060C28"/>
                </a:solidFill>
              </a:rPr>
              <a:t>Percentage of EE 3P Awards</a:t>
            </a:r>
          </a:p>
        </p:txBody>
      </p:sp>
      <p:sp>
        <p:nvSpPr>
          <p:cNvPr id="10" name="Rectangle 9">
            <a:extLst>
              <a:ext uri="{FF2B5EF4-FFF2-40B4-BE49-F238E27FC236}">
                <a16:creationId xmlns:a16="http://schemas.microsoft.com/office/drawing/2014/main" id="{0338EFA7-5D62-9F4C-8024-CC8DDB6DEFD1}"/>
              </a:ext>
            </a:extLst>
          </p:cNvPr>
          <p:cNvSpPr/>
          <p:nvPr/>
        </p:nvSpPr>
        <p:spPr>
          <a:xfrm>
            <a:off x="375782" y="3596853"/>
            <a:ext cx="7677541" cy="605270"/>
          </a:xfrm>
          <a:prstGeom prst="rect">
            <a:avLst/>
          </a:prstGeom>
        </p:spPr>
        <p:txBody>
          <a:bodyPr wrap="square" lIns="91416" tIns="45708" rIns="91416" bIns="45708" anchor="t">
            <a:spAutoFit/>
          </a:bodyPr>
          <a:lstStyle/>
          <a:p>
            <a:pPr marL="285679" indent="-285679" defTabSz="914172">
              <a:lnSpc>
                <a:spcPts val="1960"/>
              </a:lnSpc>
              <a:buFont typeface="Arial" panose="020B0604020202020204" pitchFamily="34" charset="0"/>
              <a:buChar char="•"/>
            </a:pPr>
            <a:endParaRPr lang="en-US" dirty="0">
              <a:solidFill>
                <a:srgbClr val="060C28"/>
              </a:solidFill>
              <a:latin typeface="Calibri" panose="020F0502020204030204" pitchFamily="34" charset="0"/>
              <a:cs typeface="Calibri"/>
            </a:endParaRPr>
          </a:p>
          <a:p>
            <a:pPr marL="285679" indent="-285679" defTabSz="914172">
              <a:lnSpc>
                <a:spcPts val="1960"/>
              </a:lnSpc>
              <a:buFont typeface="Arial" panose="020B0604020202020204" pitchFamily="34" charset="0"/>
              <a:buChar char="•"/>
            </a:pPr>
            <a:r>
              <a:rPr lang="en-US" dirty="0">
                <a:solidFill>
                  <a:srgbClr val="060C28"/>
                </a:solidFill>
                <a:latin typeface="Calibri" panose="020F0502020204030204" pitchFamily="34" charset="0"/>
              </a:rPr>
              <a:t>SDGE is focused on increasing the DBE percentage</a:t>
            </a:r>
          </a:p>
        </p:txBody>
      </p:sp>
      <p:graphicFrame>
        <p:nvGraphicFramePr>
          <p:cNvPr id="2" name="Table 2">
            <a:extLst>
              <a:ext uri="{FF2B5EF4-FFF2-40B4-BE49-F238E27FC236}">
                <a16:creationId xmlns:a16="http://schemas.microsoft.com/office/drawing/2014/main" id="{4C9AB94A-C83F-4934-A7E9-5D3BA71A3260}"/>
              </a:ext>
            </a:extLst>
          </p:cNvPr>
          <p:cNvGraphicFramePr>
            <a:graphicFrameLocks noGrp="1"/>
          </p:cNvGraphicFramePr>
          <p:nvPr/>
        </p:nvGraphicFramePr>
        <p:xfrm>
          <a:off x="412643" y="1920633"/>
          <a:ext cx="7201123" cy="1381544"/>
        </p:xfrm>
        <a:graphic>
          <a:graphicData uri="http://schemas.openxmlformats.org/drawingml/2006/table">
            <a:tbl>
              <a:tblPr firstRow="1" bandRow="1">
                <a:tableStyleId>{5C22544A-7EE6-4342-B048-85BDC9FD1C3A}</a:tableStyleId>
              </a:tblPr>
              <a:tblGrid>
                <a:gridCol w="3909449">
                  <a:extLst>
                    <a:ext uri="{9D8B030D-6E8A-4147-A177-3AD203B41FA5}">
                      <a16:colId xmlns:a16="http://schemas.microsoft.com/office/drawing/2014/main" val="3157563984"/>
                    </a:ext>
                  </a:extLst>
                </a:gridCol>
                <a:gridCol w="3291674">
                  <a:extLst>
                    <a:ext uri="{9D8B030D-6E8A-4147-A177-3AD203B41FA5}">
                      <a16:colId xmlns:a16="http://schemas.microsoft.com/office/drawing/2014/main" val="1388755137"/>
                    </a:ext>
                  </a:extLst>
                </a:gridCol>
              </a:tblGrid>
              <a:tr h="640056">
                <a:tc>
                  <a:txBody>
                    <a:bodyPr/>
                    <a:lstStyle/>
                    <a:p>
                      <a:pPr marL="0" algn="l" defTabSz="914400" rtl="0" eaLnBrk="1" latinLnBrk="0" hangingPunct="1"/>
                      <a:r>
                        <a:rPr lang="en-US" sz="1800" b="1" kern="1200" dirty="0">
                          <a:solidFill>
                            <a:schemeClr val="lt1"/>
                          </a:solidFill>
                          <a:latin typeface="+mj-lt"/>
                          <a:ea typeface="+mn-ea"/>
                          <a:cs typeface="+mn-cs"/>
                        </a:rPr>
                        <a:t>Contracted Amount </a:t>
                      </a:r>
                    </a:p>
                  </a:txBody>
                  <a:tcPr marL="91416" marR="91416" marT="45708" marB="45708"/>
                </a:tc>
                <a:tc>
                  <a:txBody>
                    <a:bodyPr/>
                    <a:lstStyle/>
                    <a:p>
                      <a:pPr marL="0" algn="l" defTabSz="914400" rtl="0" eaLnBrk="1" latinLnBrk="0" hangingPunct="1"/>
                      <a:r>
                        <a:rPr lang="en-US" sz="1800" b="1" kern="1200" dirty="0">
                          <a:solidFill>
                            <a:schemeClr val="lt1"/>
                          </a:solidFill>
                          <a:latin typeface="+mj-lt"/>
                          <a:ea typeface="+mn-ea"/>
                          <a:cs typeface="+mn-cs"/>
                        </a:rPr>
                        <a:t>DBE Percentage Awarded to Primes and Subcontractors</a:t>
                      </a:r>
                    </a:p>
                  </a:txBody>
                  <a:tcPr marL="91416" marR="91416" marT="45708" marB="45708"/>
                </a:tc>
                <a:extLst>
                  <a:ext uri="{0D108BD9-81ED-4DB2-BD59-A6C34878D82A}">
                    <a16:rowId xmlns:a16="http://schemas.microsoft.com/office/drawing/2014/main" val="3176460713"/>
                  </a:ext>
                </a:extLst>
              </a:tr>
              <a:tr h="370744">
                <a:tc>
                  <a:txBody>
                    <a:bodyPr/>
                    <a:lstStyle/>
                    <a:p>
                      <a:r>
                        <a:rPr lang="en-US" sz="1600" b="0" i="0" kern="1200" baseline="0" dirty="0">
                          <a:solidFill>
                            <a:srgbClr val="060C28"/>
                          </a:solidFill>
                          <a:effectLst/>
                          <a:latin typeface="+mj-lt"/>
                          <a:ea typeface="+mn-ea"/>
                          <a:cs typeface="+mn-cs"/>
                        </a:rPr>
                        <a:t>$162,872,249 – Total Contracted Amount</a:t>
                      </a:r>
                    </a:p>
                  </a:txBody>
                  <a:tcPr marL="91416" marR="91416" marT="45708" marB="45708"/>
                </a:tc>
                <a:tc>
                  <a:txBody>
                    <a:bodyPr/>
                    <a:lstStyle/>
                    <a:p>
                      <a:r>
                        <a:rPr lang="en-US" sz="1600" b="0" i="0" kern="1200" baseline="0" dirty="0">
                          <a:solidFill>
                            <a:srgbClr val="060C28"/>
                          </a:solidFill>
                          <a:effectLst/>
                          <a:latin typeface="+mj-lt"/>
                          <a:ea typeface="+mn-ea"/>
                          <a:cs typeface="+mn-cs"/>
                        </a:rPr>
                        <a:t>23%</a:t>
                      </a:r>
                    </a:p>
                  </a:txBody>
                  <a:tcPr marL="91416" marR="91416" marT="45708" marB="45708"/>
                </a:tc>
                <a:extLst>
                  <a:ext uri="{0D108BD9-81ED-4DB2-BD59-A6C34878D82A}">
                    <a16:rowId xmlns:a16="http://schemas.microsoft.com/office/drawing/2014/main" val="22885368"/>
                  </a:ext>
                </a:extLst>
              </a:tr>
              <a:tr h="370744">
                <a:tc>
                  <a:txBody>
                    <a:bodyPr/>
                    <a:lstStyle/>
                    <a:p>
                      <a:r>
                        <a:rPr lang="en-US" sz="1600" b="0" i="0" kern="1200" baseline="0" dirty="0">
                          <a:solidFill>
                            <a:srgbClr val="060C28"/>
                          </a:solidFill>
                          <a:effectLst/>
                          <a:latin typeface="+mj-lt"/>
                          <a:ea typeface="+mn-ea"/>
                          <a:cs typeface="+mn-cs"/>
                        </a:rPr>
                        <a:t>$131,059,552 – SDG&amp;E spend only</a:t>
                      </a:r>
                    </a:p>
                  </a:txBody>
                  <a:tcPr marL="91416" marR="91416" marT="45708" marB="45708"/>
                </a:tc>
                <a:tc>
                  <a:txBody>
                    <a:bodyPr/>
                    <a:lstStyle/>
                    <a:p>
                      <a:r>
                        <a:rPr lang="en-US" sz="1600" b="0" i="0" kern="1200" baseline="0" dirty="0">
                          <a:solidFill>
                            <a:srgbClr val="060C28"/>
                          </a:solidFill>
                          <a:effectLst/>
                          <a:latin typeface="+mj-lt"/>
                          <a:ea typeface="+mn-ea"/>
                          <a:cs typeface="+mn-cs"/>
                        </a:rPr>
                        <a:t>28%</a:t>
                      </a:r>
                    </a:p>
                  </a:txBody>
                  <a:tcPr marL="91416" marR="91416" marT="45708" marB="45708"/>
                </a:tc>
                <a:extLst>
                  <a:ext uri="{0D108BD9-81ED-4DB2-BD59-A6C34878D82A}">
                    <a16:rowId xmlns:a16="http://schemas.microsoft.com/office/drawing/2014/main" val="2360960382"/>
                  </a:ext>
                </a:extLst>
              </a:tr>
            </a:tbl>
          </a:graphicData>
        </a:graphic>
      </p:graphicFrame>
    </p:spTree>
    <p:extLst>
      <p:ext uri="{BB962C8B-B14F-4D97-AF65-F5344CB8AC3E}">
        <p14:creationId xmlns:p14="http://schemas.microsoft.com/office/powerpoint/2010/main" val="89748899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Two men walking on a sidewalk ">
            <a:extLst>
              <a:ext uri="{FF2B5EF4-FFF2-40B4-BE49-F238E27FC236}">
                <a16:creationId xmlns:a16="http://schemas.microsoft.com/office/drawing/2014/main" id="{E5F090D3-F226-4F22-B95D-6C6DA8D6287B}"/>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8259517" y="1920633"/>
            <a:ext cx="3930896" cy="2578669"/>
          </a:xfrm>
          <a:prstGeom prst="rect">
            <a:avLst/>
          </a:prstGeom>
        </p:spPr>
      </p:pic>
      <p:sp>
        <p:nvSpPr>
          <p:cNvPr id="7" name="Title 1">
            <a:extLst>
              <a:ext uri="{FF2B5EF4-FFF2-40B4-BE49-F238E27FC236}">
                <a16:creationId xmlns:a16="http://schemas.microsoft.com/office/drawing/2014/main" id="{DF258339-BA5A-9A4E-81C8-DEF674C9C8A9}"/>
              </a:ext>
            </a:extLst>
          </p:cNvPr>
          <p:cNvSpPr txBox="1">
            <a:spLocks/>
          </p:cNvSpPr>
          <p:nvPr/>
        </p:nvSpPr>
        <p:spPr>
          <a:xfrm>
            <a:off x="412643" y="408748"/>
            <a:ext cx="6922113" cy="535403"/>
          </a:xfrm>
          <a:prstGeom prst="rect">
            <a:avLst/>
          </a:prstGeom>
        </p:spPr>
        <p:txBody>
          <a:bodyPr wrap="square">
            <a:spAutoFit/>
          </a:bodyPr>
          <a:lstStyle>
            <a:lvl1pPr algn="l" defTabSz="914400" rtl="0" eaLnBrk="1" latinLnBrk="0" hangingPunct="1">
              <a:lnSpc>
                <a:spcPct val="90000"/>
              </a:lnSpc>
              <a:spcBef>
                <a:spcPct val="0"/>
              </a:spcBef>
              <a:buNone/>
              <a:defRPr sz="4400" kern="1200" baseline="0">
                <a:solidFill>
                  <a:schemeClr val="tx1"/>
                </a:solidFill>
                <a:latin typeface="Arial" panose="020B0604020202020204" pitchFamily="34" charset="0"/>
                <a:ea typeface="+mj-ea"/>
                <a:cs typeface="+mj-cs"/>
              </a:defRPr>
            </a:lvl1pPr>
          </a:lstStyle>
          <a:p>
            <a:pPr defTabSz="914172"/>
            <a:r>
              <a:rPr lang="en-US" sz="3199" b="1" dirty="0">
                <a:solidFill>
                  <a:srgbClr val="060C28"/>
                </a:solidFill>
              </a:rPr>
              <a:t>Strategies</a:t>
            </a:r>
          </a:p>
        </p:txBody>
      </p:sp>
      <p:sp>
        <p:nvSpPr>
          <p:cNvPr id="9" name="Text Placeholder 5">
            <a:extLst>
              <a:ext uri="{FF2B5EF4-FFF2-40B4-BE49-F238E27FC236}">
                <a16:creationId xmlns:a16="http://schemas.microsoft.com/office/drawing/2014/main" id="{1AB3AE99-77C1-CF44-BC8C-D1AC9ABEA945}"/>
              </a:ext>
            </a:extLst>
          </p:cNvPr>
          <p:cNvSpPr txBox="1">
            <a:spLocks/>
          </p:cNvSpPr>
          <p:nvPr/>
        </p:nvSpPr>
        <p:spPr>
          <a:xfrm>
            <a:off x="412643" y="1189304"/>
            <a:ext cx="5008846" cy="338049"/>
          </a:xfrm>
          <a:prstGeom prst="rect">
            <a:avLst/>
          </a:prstGeom>
        </p:spPr>
        <p:txBody>
          <a:bodyPr/>
          <a:lstStyle>
            <a:lvl1pPr marL="0" indent="0" algn="l" defTabSz="914400" rtl="0" eaLnBrk="1" latinLnBrk="0" hangingPunct="1">
              <a:lnSpc>
                <a:spcPct val="90000"/>
              </a:lnSpc>
              <a:spcBef>
                <a:spcPts val="1000"/>
              </a:spcBef>
              <a:buFontTx/>
              <a:buNone/>
              <a:defRPr sz="1800" b="1" i="0" kern="1200" baseline="0">
                <a:solidFill>
                  <a:schemeClr val="tx1"/>
                </a:solidFill>
                <a:latin typeface="Arial" panose="020B0604020202020204" pitchFamily="34" charset="0"/>
                <a:ea typeface="+mn-ea"/>
                <a:cs typeface="+mn-cs"/>
              </a:defRPr>
            </a:lvl1pPr>
            <a:lvl2pPr marL="457200" indent="0" algn="l" defTabSz="914400" rtl="0" eaLnBrk="1" latinLnBrk="0" hangingPunct="1">
              <a:lnSpc>
                <a:spcPct val="90000"/>
              </a:lnSpc>
              <a:spcBef>
                <a:spcPts val="500"/>
              </a:spcBef>
              <a:buFontTx/>
              <a:buNone/>
              <a:defRPr sz="2400" kern="1200" baseline="0">
                <a:solidFill>
                  <a:schemeClr val="tx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Tx/>
              <a:buNone/>
              <a:defRPr sz="2000" kern="1200" baseline="0">
                <a:solidFill>
                  <a:schemeClr val="tx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Tx/>
              <a:buNone/>
              <a:defRPr sz="1800" kern="1200" baseline="0">
                <a:solidFill>
                  <a:schemeClr val="tx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Tx/>
              <a:buNone/>
              <a:defRPr sz="1800" kern="1200" baseline="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172"/>
            <a:r>
              <a:rPr lang="en-US" dirty="0">
                <a:solidFill>
                  <a:srgbClr val="060C28"/>
                </a:solidFill>
              </a:rPr>
              <a:t>Additional Strategies</a:t>
            </a:r>
          </a:p>
        </p:txBody>
      </p:sp>
      <p:sp>
        <p:nvSpPr>
          <p:cNvPr id="11" name="Text Placeholder 3">
            <a:extLst>
              <a:ext uri="{FF2B5EF4-FFF2-40B4-BE49-F238E27FC236}">
                <a16:creationId xmlns:a16="http://schemas.microsoft.com/office/drawing/2014/main" id="{3097324D-4B6F-6948-9D45-B68862062CB6}"/>
              </a:ext>
            </a:extLst>
          </p:cNvPr>
          <p:cNvSpPr txBox="1">
            <a:spLocks/>
          </p:cNvSpPr>
          <p:nvPr/>
        </p:nvSpPr>
        <p:spPr>
          <a:xfrm>
            <a:off x="412643" y="2354385"/>
            <a:ext cx="8035006" cy="210606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400" b="0" kern="1200" baseline="0">
                <a:solidFill>
                  <a:schemeClr val="tx1"/>
                </a:solidFill>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Font typeface="Symbol" panose="05050102010706020507" pitchFamily="18" charset="2"/>
              <a:buChar char="-"/>
              <a:defRPr sz="1400" kern="1200" baseline="0">
                <a:solidFill>
                  <a:schemeClr val="tx1"/>
                </a:solidFill>
                <a:latin typeface="Arial" panose="020B0604020202020204" pitchFamily="34" charset="0"/>
                <a:ea typeface="+mn-ea"/>
                <a:cs typeface="+mn-cs"/>
              </a:defRPr>
            </a:lvl2pPr>
            <a:lvl3pPr marL="1143000" indent="-228600" algn="l" defTabSz="914400" rtl="0" eaLnBrk="1" latinLnBrk="0" hangingPunct="1">
              <a:lnSpc>
                <a:spcPct val="90000"/>
              </a:lnSpc>
              <a:spcBef>
                <a:spcPts val="500"/>
              </a:spcBef>
              <a:buFont typeface="Symbol" panose="05050102010706020507" pitchFamily="18" charset="2"/>
              <a:buChar char="-"/>
              <a:defRPr sz="1400" kern="1200" baseline="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543" indent="-228543" defTabSz="914172"/>
            <a:endParaRPr lang="en-US" sz="1800" dirty="0">
              <a:solidFill>
                <a:srgbClr val="006269"/>
              </a:solidFill>
              <a:latin typeface="Calibri" panose="020F0502020204030204" pitchFamily="34" charset="0"/>
            </a:endParaRPr>
          </a:p>
        </p:txBody>
      </p:sp>
      <p:graphicFrame>
        <p:nvGraphicFramePr>
          <p:cNvPr id="12" name="Table 2">
            <a:extLst>
              <a:ext uri="{FF2B5EF4-FFF2-40B4-BE49-F238E27FC236}">
                <a16:creationId xmlns:a16="http://schemas.microsoft.com/office/drawing/2014/main" id="{3D30BD45-39BD-4BD1-BD43-BFAA6C2E23F4}"/>
              </a:ext>
            </a:extLst>
          </p:cNvPr>
          <p:cNvGraphicFramePr>
            <a:graphicFrameLocks noGrp="1"/>
          </p:cNvGraphicFramePr>
          <p:nvPr/>
        </p:nvGraphicFramePr>
        <p:xfrm>
          <a:off x="412643" y="1746507"/>
          <a:ext cx="7696409" cy="4083955"/>
        </p:xfrm>
        <a:graphic>
          <a:graphicData uri="http://schemas.openxmlformats.org/drawingml/2006/table">
            <a:tbl>
              <a:tblPr firstRow="1" bandRow="1">
                <a:tableStyleId>{5C22544A-7EE6-4342-B048-85BDC9FD1C3A}</a:tableStyleId>
              </a:tblPr>
              <a:tblGrid>
                <a:gridCol w="3448850">
                  <a:extLst>
                    <a:ext uri="{9D8B030D-6E8A-4147-A177-3AD203B41FA5}">
                      <a16:colId xmlns:a16="http://schemas.microsoft.com/office/drawing/2014/main" val="1304919132"/>
                    </a:ext>
                  </a:extLst>
                </a:gridCol>
                <a:gridCol w="4247559">
                  <a:extLst>
                    <a:ext uri="{9D8B030D-6E8A-4147-A177-3AD203B41FA5}">
                      <a16:colId xmlns:a16="http://schemas.microsoft.com/office/drawing/2014/main" val="2038930953"/>
                    </a:ext>
                  </a:extLst>
                </a:gridCol>
              </a:tblGrid>
              <a:tr h="639787">
                <a:tc>
                  <a:txBody>
                    <a:bodyPr/>
                    <a:lstStyle/>
                    <a:p>
                      <a:r>
                        <a:rPr lang="en-US" sz="2700" dirty="0">
                          <a:latin typeface="+mj-lt"/>
                        </a:rPr>
                        <a:t>Objectives</a:t>
                      </a:r>
                    </a:p>
                  </a:txBody>
                  <a:tcPr marL="91416" marR="91416" marT="45708" marB="45708"/>
                </a:tc>
                <a:tc>
                  <a:txBody>
                    <a:bodyPr/>
                    <a:lstStyle/>
                    <a:p>
                      <a:r>
                        <a:rPr lang="en-US" sz="2700" dirty="0">
                          <a:latin typeface="+mj-lt"/>
                        </a:rPr>
                        <a:t>Strategies</a:t>
                      </a:r>
                    </a:p>
                  </a:txBody>
                  <a:tcPr marL="91416" marR="91416" marT="45708" marB="45708"/>
                </a:tc>
                <a:extLst>
                  <a:ext uri="{0D108BD9-81ED-4DB2-BD59-A6C34878D82A}">
                    <a16:rowId xmlns:a16="http://schemas.microsoft.com/office/drawing/2014/main" val="407757926"/>
                  </a:ext>
                </a:extLst>
              </a:tr>
              <a:tr h="822936">
                <a:tc>
                  <a:txBody>
                    <a:bodyPr/>
                    <a:lstStyle/>
                    <a:p>
                      <a:pPr marL="0" indent="0" algn="l" defTabSz="914400" rtl="0" eaLnBrk="1" latinLnBrk="0" hangingPunct="1">
                        <a:buFont typeface="+mj-lt"/>
                        <a:buNone/>
                      </a:pPr>
                      <a:r>
                        <a:rPr lang="en-US" sz="1600" b="0" i="0" kern="1200" dirty="0">
                          <a:solidFill>
                            <a:srgbClr val="060C28"/>
                          </a:solidFill>
                          <a:effectLst/>
                          <a:latin typeface="+mj-lt"/>
                          <a:ea typeface="+mn-ea"/>
                          <a:cs typeface="+mn-cs"/>
                        </a:rPr>
                        <a:t>1.  Increase Prime’s awareness of available DBE businesses</a:t>
                      </a:r>
                    </a:p>
                  </a:txBody>
                  <a:tcPr marL="91416" marR="91416" marT="45708" marB="45708" anchor="ctr"/>
                </a:tc>
                <a:tc>
                  <a:txBody>
                    <a:bodyPr/>
                    <a:lstStyle/>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i="0" kern="1200" dirty="0">
                          <a:solidFill>
                            <a:srgbClr val="060C28"/>
                          </a:solidFill>
                          <a:effectLst/>
                          <a:latin typeface="+mj-lt"/>
                          <a:ea typeface="+mn-ea"/>
                          <a:cs typeface="+mn-cs"/>
                        </a:rPr>
                        <a:t>Meet with Primes to review their current DBE business spend and how we can support to increase</a:t>
                      </a:r>
                    </a:p>
                  </a:txBody>
                  <a:tcPr marL="91416" marR="91416" marT="45708" marB="45708" anchor="ctr"/>
                </a:tc>
                <a:extLst>
                  <a:ext uri="{0D108BD9-81ED-4DB2-BD59-A6C34878D82A}">
                    <a16:rowId xmlns:a16="http://schemas.microsoft.com/office/drawing/2014/main" val="1496002596"/>
                  </a:ext>
                </a:extLst>
              </a:tr>
              <a:tr h="1310616">
                <a:tc>
                  <a:txBody>
                    <a:bodyPr/>
                    <a:lstStyle/>
                    <a:p>
                      <a:pPr marL="0" indent="0" algn="l" defTabSz="914400" rtl="0" eaLnBrk="1" latinLnBrk="0" hangingPunct="1">
                        <a:buFont typeface="+mj-lt"/>
                        <a:buNone/>
                      </a:pPr>
                      <a:r>
                        <a:rPr lang="en-US" sz="1600" b="0" i="0" kern="1200" dirty="0">
                          <a:solidFill>
                            <a:srgbClr val="060C28"/>
                          </a:solidFill>
                          <a:effectLst/>
                          <a:latin typeface="+mj-lt"/>
                          <a:ea typeface="+mn-ea"/>
                          <a:cs typeface="+mn-cs"/>
                        </a:rPr>
                        <a:t>2.  Introduce diverse suppliers to Primes to learn, afford opportunities to become subcontractors and eventually become a Prime/Main Supplier themselves</a:t>
                      </a:r>
                    </a:p>
                  </a:txBody>
                  <a:tcPr marL="91416" marR="91416" marT="45708" marB="45708" anchor="ctr"/>
                </a:tc>
                <a:tc>
                  <a:txBody>
                    <a:bodyPr/>
                    <a:lstStyle/>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i="0" kern="1200" dirty="0">
                          <a:solidFill>
                            <a:srgbClr val="060C28"/>
                          </a:solidFill>
                          <a:effectLst/>
                          <a:latin typeface="+mj-lt"/>
                          <a:ea typeface="+mn-ea"/>
                          <a:cs typeface="+mn-cs"/>
                        </a:rPr>
                        <a:t>Host Symposiums and Matchmaking Events with Primes and diverse suppliers</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i="0" kern="1200" dirty="0">
                          <a:solidFill>
                            <a:srgbClr val="060C28"/>
                          </a:solidFill>
                          <a:effectLst/>
                          <a:latin typeface="+mj-lt"/>
                          <a:ea typeface="+mn-ea"/>
                          <a:cs typeface="+mn-cs"/>
                        </a:rPr>
                        <a:t>Identify and share success stories of DBE primes and relay to other DBEs</a:t>
                      </a:r>
                    </a:p>
                  </a:txBody>
                  <a:tcPr marL="91416" marR="91416" marT="45708" marB="45708" anchor="ctr"/>
                </a:tc>
                <a:extLst>
                  <a:ext uri="{0D108BD9-81ED-4DB2-BD59-A6C34878D82A}">
                    <a16:rowId xmlns:a16="http://schemas.microsoft.com/office/drawing/2014/main" val="1082357668"/>
                  </a:ext>
                </a:extLst>
              </a:tr>
              <a:tr h="1310616">
                <a:tc>
                  <a:txBody>
                    <a:bodyPr/>
                    <a:lstStyle/>
                    <a:p>
                      <a:pPr marL="0" indent="0" algn="l" defTabSz="914400" rtl="0" eaLnBrk="1" latinLnBrk="0" hangingPunct="1">
                        <a:buFont typeface="+mj-lt"/>
                        <a:buNone/>
                      </a:pPr>
                      <a:r>
                        <a:rPr lang="en-US" sz="1600" b="0" i="0" kern="1200" dirty="0">
                          <a:solidFill>
                            <a:srgbClr val="060C28"/>
                          </a:solidFill>
                          <a:effectLst/>
                          <a:latin typeface="+mj-lt"/>
                          <a:ea typeface="+mn-ea"/>
                          <a:cs typeface="+mn-cs"/>
                        </a:rPr>
                        <a:t>3.  Effectively educate diverse suppliers on our outsourcing opportunities and processes for participating</a:t>
                      </a:r>
                    </a:p>
                  </a:txBody>
                  <a:tcPr marL="91416" marR="91416" marT="45708" marB="45708" anchor="ctr"/>
                </a:tc>
                <a:tc>
                  <a:txBody>
                    <a:bodyPr/>
                    <a:lstStyle/>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i="0" kern="1200" dirty="0">
                          <a:solidFill>
                            <a:srgbClr val="060C28"/>
                          </a:solidFill>
                          <a:effectLst/>
                          <a:latin typeface="+mj-lt"/>
                          <a:ea typeface="+mn-ea"/>
                          <a:cs typeface="+mn-cs"/>
                        </a:rPr>
                        <a:t>Identify which channels (e.g., email, social media, webinars) are most effective in reaching them. In addition, identify what the right type of messaging needs to be in order to increase engagement</a:t>
                      </a:r>
                    </a:p>
                  </a:txBody>
                  <a:tcPr marL="91416" marR="91416" marT="45708" marB="45708" anchor="ctr"/>
                </a:tc>
                <a:extLst>
                  <a:ext uri="{0D108BD9-81ED-4DB2-BD59-A6C34878D82A}">
                    <a16:rowId xmlns:a16="http://schemas.microsoft.com/office/drawing/2014/main" val="1601772337"/>
                  </a:ext>
                </a:extLst>
              </a:tr>
            </a:tbl>
          </a:graphicData>
        </a:graphic>
      </p:graphicFrame>
    </p:spTree>
    <p:extLst>
      <p:ext uri="{BB962C8B-B14F-4D97-AF65-F5344CB8AC3E}">
        <p14:creationId xmlns:p14="http://schemas.microsoft.com/office/powerpoint/2010/main" val="423066741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C783AE-EA67-41B0-8BD2-CFFAD713431B}"/>
              </a:ext>
            </a:extLst>
          </p:cNvPr>
          <p:cNvSpPr>
            <a:spLocks noGrp="1"/>
          </p:cNvSpPr>
          <p:nvPr>
            <p:ph type="title"/>
          </p:nvPr>
        </p:nvSpPr>
        <p:spPr/>
        <p:txBody>
          <a:bodyPr/>
          <a:lstStyle/>
          <a:p>
            <a:r>
              <a:rPr lang="en-US" dirty="0"/>
              <a:t>SBE/DBE Current Practices</a:t>
            </a:r>
          </a:p>
        </p:txBody>
      </p:sp>
      <p:sp>
        <p:nvSpPr>
          <p:cNvPr id="9" name="Rectangle 8">
            <a:extLst>
              <a:ext uri="{FF2B5EF4-FFF2-40B4-BE49-F238E27FC236}">
                <a16:creationId xmlns:a16="http://schemas.microsoft.com/office/drawing/2014/main" id="{7E3941AC-95D0-4B0B-BBC9-B93D1721EC9E}"/>
              </a:ext>
            </a:extLst>
          </p:cNvPr>
          <p:cNvSpPr/>
          <p:nvPr/>
        </p:nvSpPr>
        <p:spPr>
          <a:xfrm>
            <a:off x="7011967" y="3029335"/>
            <a:ext cx="4363466" cy="343692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450" b="0" i="0" u="none" strike="noStrike" kern="1200" cap="none" spc="0" normalizeH="0" baseline="0" noProof="0" dirty="0">
                <a:ln>
                  <a:noFill/>
                </a:ln>
                <a:solidFill>
                  <a:srgbClr val="0D0D0D"/>
                </a:solidFill>
                <a:effectLst/>
                <a:uLnTx/>
                <a:uFillTx/>
                <a:latin typeface="Calibri" panose="020F0502020204030204"/>
                <a:ea typeface="+mn-ea"/>
                <a:cs typeface="+mn-cs"/>
              </a:rPr>
              <a:t>Discuss supplier diversity expectations with Bidders at pre-bid meetings and during debriefs</a:t>
            </a:r>
          </a:p>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450" b="0" i="0" u="none" strike="noStrike" kern="1200" cap="none" spc="0" normalizeH="0" baseline="0" noProof="0" dirty="0">
                <a:ln>
                  <a:noFill/>
                </a:ln>
                <a:solidFill>
                  <a:srgbClr val="0D0D0D"/>
                </a:solidFill>
                <a:effectLst/>
                <a:uLnTx/>
                <a:uFillTx/>
                <a:latin typeface="Calibri" panose="020F0502020204030204"/>
                <a:ea typeface="+mn-ea"/>
                <a:cs typeface="+mn-cs"/>
              </a:rPr>
              <a:t>Evaluate prime suppliers on their supply chain responsibility efforts during the RFP process including a review of their subcontracting plan </a:t>
            </a:r>
          </a:p>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450" b="0" i="0" u="none" strike="noStrike" kern="1200" cap="none" spc="0" normalizeH="0" baseline="0" noProof="0" dirty="0">
                <a:ln>
                  <a:noFill/>
                </a:ln>
                <a:solidFill>
                  <a:srgbClr val="0D0D0D"/>
                </a:solidFill>
                <a:effectLst/>
                <a:uLnTx/>
                <a:uFillTx/>
                <a:latin typeface="Calibri" panose="020F0502020204030204"/>
                <a:ea typeface="+mn-ea"/>
                <a:cs typeface="+mn-cs"/>
              </a:rPr>
              <a:t>Partner with Primes Suppliers at outreach events</a:t>
            </a:r>
          </a:p>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450" b="0" i="0" u="none" strike="noStrike" kern="1200" cap="none" spc="0" normalizeH="0" baseline="0" noProof="0" dirty="0">
                <a:ln>
                  <a:noFill/>
                </a:ln>
                <a:solidFill>
                  <a:srgbClr val="0D0D0D"/>
                </a:solidFill>
                <a:effectLst/>
                <a:uLnTx/>
                <a:uFillTx/>
                <a:latin typeface="Calibri" panose="020F0502020204030204"/>
                <a:ea typeface="+mn-ea"/>
                <a:cs typeface="+mn-cs"/>
              </a:rPr>
              <a:t>Include subcontracting performance on internal monthly reports and dashboards</a:t>
            </a:r>
          </a:p>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450" b="0" i="0" u="none" strike="noStrike" kern="1200" cap="none" spc="0" normalizeH="0" baseline="0" noProof="0" dirty="0">
                <a:ln>
                  <a:noFill/>
                </a:ln>
                <a:solidFill>
                  <a:srgbClr val="0D0D0D"/>
                </a:solidFill>
                <a:effectLst/>
                <a:uLnTx/>
                <a:uFillTx/>
                <a:latin typeface="Calibri" panose="020F0502020204030204"/>
                <a:ea typeface="+mn-ea"/>
                <a:cs typeface="+mn-cs"/>
              </a:rPr>
              <a:t>Discuss subcontracting performance at scorecard meetings.</a:t>
            </a:r>
          </a:p>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450" b="0" i="0" u="none" strike="noStrike" kern="1200" cap="none" spc="0" normalizeH="0" baseline="0" noProof="0" dirty="0">
                <a:ln>
                  <a:noFill/>
                </a:ln>
                <a:solidFill>
                  <a:srgbClr val="0D0D0D"/>
                </a:solidFill>
                <a:effectLst/>
                <a:uLnTx/>
                <a:uFillTx/>
                <a:latin typeface="Calibri" panose="020F0502020204030204"/>
                <a:ea typeface="+mn-ea"/>
                <a:cs typeface="+mn-cs"/>
              </a:rPr>
              <a:t>Perform an annual audit on a sampling of subcontracting submitted by prime suppliers through CVM</a:t>
            </a:r>
          </a:p>
        </p:txBody>
      </p:sp>
      <p:sp>
        <p:nvSpPr>
          <p:cNvPr id="10" name="Rectangle 9">
            <a:extLst>
              <a:ext uri="{FF2B5EF4-FFF2-40B4-BE49-F238E27FC236}">
                <a16:creationId xmlns:a16="http://schemas.microsoft.com/office/drawing/2014/main" id="{2E06BCDF-CA6C-44B5-9499-A6C94142D8F4}"/>
              </a:ext>
            </a:extLst>
          </p:cNvPr>
          <p:cNvSpPr/>
          <p:nvPr/>
        </p:nvSpPr>
        <p:spPr>
          <a:xfrm>
            <a:off x="1378688" y="3503139"/>
            <a:ext cx="4752560" cy="294553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BBD96C35-C49D-499F-8A2A-9EF5455E2BED}"/>
              </a:ext>
            </a:extLst>
          </p:cNvPr>
          <p:cNvSpPr/>
          <p:nvPr/>
        </p:nvSpPr>
        <p:spPr>
          <a:xfrm>
            <a:off x="1453020" y="3594043"/>
            <a:ext cx="4678230" cy="2854628"/>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450" b="0" i="0" u="none" strike="noStrike" kern="1200" cap="none" spc="0" normalizeH="0" baseline="0" noProof="0" dirty="0">
                <a:ln>
                  <a:noFill/>
                </a:ln>
                <a:solidFill>
                  <a:srgbClr val="0D0D0D"/>
                </a:solidFill>
                <a:effectLst/>
                <a:uLnTx/>
                <a:uFillTx/>
                <a:latin typeface="Calibri" panose="020F0502020204030204"/>
                <a:ea typeface="+mn-ea"/>
                <a:cs typeface="+mn-cs"/>
              </a:rPr>
              <a:t>Partner with Supply Chain Responsibility (SCR) Champions to set annual supplier diversity goals </a:t>
            </a:r>
          </a:p>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450" b="0" i="0" u="none" strike="noStrike" kern="1200" cap="none" spc="0" normalizeH="0" baseline="0" noProof="0" dirty="0">
                <a:ln>
                  <a:noFill/>
                </a:ln>
                <a:solidFill>
                  <a:srgbClr val="0D0D0D"/>
                </a:solidFill>
                <a:effectLst/>
                <a:uLnTx/>
                <a:uFillTx/>
                <a:latin typeface="Calibri" panose="020F0502020204030204"/>
                <a:ea typeface="+mn-ea"/>
                <a:cs typeface="+mn-cs"/>
              </a:rPr>
              <a:t>Hold informal and formal meetings with Sourcing and the SCR Champions to identify procurement opportunities and address gaps</a:t>
            </a:r>
          </a:p>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450" b="0" i="0" u="none" strike="noStrike" kern="1200" cap="none" spc="0" normalizeH="0" baseline="0" noProof="0" dirty="0">
                <a:ln>
                  <a:noFill/>
                </a:ln>
                <a:solidFill>
                  <a:srgbClr val="0D0D0D"/>
                </a:solidFill>
                <a:effectLst/>
                <a:uLnTx/>
                <a:uFillTx/>
                <a:latin typeface="Calibri" panose="020F0502020204030204"/>
                <a:ea typeface="+mn-ea"/>
                <a:cs typeface="+mn-cs"/>
              </a:rPr>
              <a:t>Post Contract Opportunity Announcements to identify small and diverse businesses for RFPs/RFIs.</a:t>
            </a:r>
          </a:p>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450" b="0" i="0" u="none" strike="noStrike" kern="1200" cap="none" spc="0" normalizeH="0" baseline="0" noProof="0" dirty="0">
                <a:ln>
                  <a:noFill/>
                </a:ln>
                <a:solidFill>
                  <a:srgbClr val="0D0D0D"/>
                </a:solidFill>
                <a:effectLst/>
                <a:uLnTx/>
                <a:uFillTx/>
                <a:latin typeface="Calibri" panose="020F0502020204030204"/>
                <a:ea typeface="+mn-ea"/>
                <a:cs typeface="+mn-cs"/>
              </a:rPr>
              <a:t>Provide mentoring and technical assistance to support the growth of incumbent and potential suppliers</a:t>
            </a:r>
          </a:p>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450" b="0" i="0" u="none" strike="noStrike" kern="1200" cap="none" spc="0" normalizeH="0" baseline="0" noProof="0" dirty="0">
                <a:ln>
                  <a:noFill/>
                </a:ln>
                <a:solidFill>
                  <a:srgbClr val="0D0D0D"/>
                </a:solidFill>
                <a:effectLst/>
                <a:uLnTx/>
                <a:uFillTx/>
                <a:latin typeface="Calibri" panose="020F0502020204030204"/>
                <a:ea typeface="+mn-ea"/>
                <a:cs typeface="+mn-cs"/>
              </a:rPr>
              <a:t>Publish monthly reports and dashboards to help Sourcing and the LOB measure progress</a:t>
            </a:r>
            <a:endParaRPr kumimoji="0" lang="en-US" sz="1450" b="0" i="0" u="none" strike="noStrike" kern="1200" cap="none" spc="0" normalizeH="0" baseline="0" noProof="0" dirty="0">
              <a:ln>
                <a:noFill/>
              </a:ln>
              <a:solidFill>
                <a:srgbClr val="0089C4"/>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2A53B57E-DBBB-4984-BAEC-0E49431FB261}"/>
              </a:ext>
            </a:extLst>
          </p:cNvPr>
          <p:cNvSpPr/>
          <p:nvPr/>
        </p:nvSpPr>
        <p:spPr>
          <a:xfrm>
            <a:off x="1378689" y="3252927"/>
            <a:ext cx="4752560" cy="2364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TIER 1</a:t>
            </a:r>
          </a:p>
        </p:txBody>
      </p:sp>
      <p:grpSp>
        <p:nvGrpSpPr>
          <p:cNvPr id="6" name="Group 5">
            <a:extLst>
              <a:ext uri="{FF2B5EF4-FFF2-40B4-BE49-F238E27FC236}">
                <a16:creationId xmlns:a16="http://schemas.microsoft.com/office/drawing/2014/main" id="{42A2B8C4-500C-4F5B-983C-B7974F58CB08}"/>
              </a:ext>
            </a:extLst>
          </p:cNvPr>
          <p:cNvGrpSpPr/>
          <p:nvPr/>
        </p:nvGrpSpPr>
        <p:grpSpPr>
          <a:xfrm>
            <a:off x="6688448" y="2772372"/>
            <a:ext cx="4697590" cy="3686843"/>
            <a:chOff x="6718582" y="1505529"/>
            <a:chExt cx="4697590" cy="3686843"/>
          </a:xfrm>
        </p:grpSpPr>
        <p:sp>
          <p:nvSpPr>
            <p:cNvPr id="16" name="Rectangle 15">
              <a:extLst>
                <a:ext uri="{FF2B5EF4-FFF2-40B4-BE49-F238E27FC236}">
                  <a16:creationId xmlns:a16="http://schemas.microsoft.com/office/drawing/2014/main" id="{7326F7A8-1935-4FC3-BEEB-1F3533F8C6C9}"/>
                </a:ext>
              </a:extLst>
            </p:cNvPr>
            <p:cNvSpPr/>
            <p:nvPr/>
          </p:nvSpPr>
          <p:spPr>
            <a:xfrm>
              <a:off x="6718582" y="1505529"/>
              <a:ext cx="4697590" cy="26767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panose="020F0502020204030204"/>
                  <a:ea typeface="+mn-ea"/>
                  <a:cs typeface="+mn-cs"/>
                </a:rPr>
                <a:t>TIER 2</a:t>
              </a:r>
            </a:p>
          </p:txBody>
        </p:sp>
        <p:sp>
          <p:nvSpPr>
            <p:cNvPr id="3" name="TextBox 2">
              <a:extLst>
                <a:ext uri="{FF2B5EF4-FFF2-40B4-BE49-F238E27FC236}">
                  <a16:creationId xmlns:a16="http://schemas.microsoft.com/office/drawing/2014/main" id="{BFF6F2B6-DEB3-4171-AE05-D49948F904EC}"/>
                </a:ext>
              </a:extLst>
            </p:cNvPr>
            <p:cNvSpPr txBox="1"/>
            <p:nvPr/>
          </p:nvSpPr>
          <p:spPr>
            <a:xfrm>
              <a:off x="6723296" y="1773490"/>
              <a:ext cx="314091" cy="3418882"/>
            </a:xfrm>
            <a:prstGeom prst="rect">
              <a:avLst/>
            </a:prstGeom>
            <a:solidFill>
              <a:schemeClr val="accent2">
                <a:lumMod val="20000"/>
                <a:lumOff val="80000"/>
              </a:schemeClr>
            </a:solidFill>
            <a:ln>
              <a:solidFill>
                <a:srgbClr val="0D0D0D"/>
              </a:solidFill>
            </a:ln>
          </p:spPr>
          <p:txBody>
            <a:bodyPr vert="vert270"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D0D0D"/>
                  </a:solidFill>
                  <a:effectLst/>
                  <a:uLnTx/>
                  <a:uFillTx/>
                  <a:latin typeface="Arial" panose="020B0604020202020204" pitchFamily="34" charset="0"/>
                  <a:ea typeface="+mn-ea"/>
                  <a:cs typeface="Arial" panose="020B0604020202020204" pitchFamily="34" charset="0"/>
                </a:rPr>
                <a:t>PRIME SUPPLIER ENGAGEMENT</a:t>
              </a:r>
            </a:p>
          </p:txBody>
        </p:sp>
      </p:grpSp>
      <p:sp>
        <p:nvSpPr>
          <p:cNvPr id="30" name="TextBox 29">
            <a:extLst>
              <a:ext uri="{FF2B5EF4-FFF2-40B4-BE49-F238E27FC236}">
                <a16:creationId xmlns:a16="http://schemas.microsoft.com/office/drawing/2014/main" id="{0ECE53B1-CCA6-4BBA-981C-E5D8FB5F672C}"/>
              </a:ext>
            </a:extLst>
          </p:cNvPr>
          <p:cNvSpPr txBox="1"/>
          <p:nvPr/>
        </p:nvSpPr>
        <p:spPr>
          <a:xfrm>
            <a:off x="1053682" y="3252927"/>
            <a:ext cx="314091" cy="3195744"/>
          </a:xfrm>
          <a:prstGeom prst="rect">
            <a:avLst/>
          </a:prstGeom>
          <a:solidFill>
            <a:schemeClr val="accent2">
              <a:lumMod val="20000"/>
              <a:lumOff val="80000"/>
            </a:schemeClr>
          </a:solidFill>
          <a:ln>
            <a:solidFill>
              <a:srgbClr val="0D0D0D"/>
            </a:solidFill>
          </a:ln>
        </p:spPr>
        <p:txBody>
          <a:bodyPr vert="vert270"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D0D0D"/>
                </a:solidFill>
                <a:effectLst/>
                <a:uLnTx/>
                <a:uFillTx/>
                <a:latin typeface="Arial" panose="020B0604020202020204" pitchFamily="34" charset="0"/>
                <a:ea typeface="+mn-ea"/>
                <a:cs typeface="Arial" panose="020B0604020202020204" pitchFamily="34" charset="0"/>
              </a:rPr>
              <a:t>SUPPLIER DIVERSITY INTERNAL APPROACH</a:t>
            </a:r>
          </a:p>
        </p:txBody>
      </p:sp>
      <p:grpSp>
        <p:nvGrpSpPr>
          <p:cNvPr id="31" name="Group 30">
            <a:extLst>
              <a:ext uri="{FF2B5EF4-FFF2-40B4-BE49-F238E27FC236}">
                <a16:creationId xmlns:a16="http://schemas.microsoft.com/office/drawing/2014/main" id="{79D89993-5CC5-4B42-89E7-A4B11AD9A9F3}"/>
              </a:ext>
            </a:extLst>
          </p:cNvPr>
          <p:cNvGrpSpPr/>
          <p:nvPr/>
        </p:nvGrpSpPr>
        <p:grpSpPr>
          <a:xfrm>
            <a:off x="1001193" y="1234234"/>
            <a:ext cx="5542718" cy="1974431"/>
            <a:chOff x="1613467" y="1304156"/>
            <a:chExt cx="5542718" cy="1974431"/>
          </a:xfrm>
        </p:grpSpPr>
        <p:grpSp>
          <p:nvGrpSpPr>
            <p:cNvPr id="32" name="Group 31">
              <a:extLst>
                <a:ext uri="{FF2B5EF4-FFF2-40B4-BE49-F238E27FC236}">
                  <a16:creationId xmlns:a16="http://schemas.microsoft.com/office/drawing/2014/main" id="{68F0844B-4089-4F33-8053-6867FBDE374E}"/>
                </a:ext>
              </a:extLst>
            </p:cNvPr>
            <p:cNvGrpSpPr/>
            <p:nvPr/>
          </p:nvGrpSpPr>
          <p:grpSpPr>
            <a:xfrm>
              <a:off x="3674301" y="1304156"/>
              <a:ext cx="3481884" cy="1974431"/>
              <a:chOff x="3251425" y="1140909"/>
              <a:chExt cx="4137440" cy="2310659"/>
            </a:xfrm>
          </p:grpSpPr>
          <p:graphicFrame>
            <p:nvGraphicFramePr>
              <p:cNvPr id="37" name="Chart 36" descr="Pie chart showing allocation of total diverse spend. $3.3 billion direct spend and $623 million subcontracting spend.">
                <a:extLst>
                  <a:ext uri="{FF2B5EF4-FFF2-40B4-BE49-F238E27FC236}">
                    <a16:creationId xmlns:a16="http://schemas.microsoft.com/office/drawing/2014/main" id="{5D81FD7A-94AC-42B9-9FB9-2A7E73357EA6}"/>
                  </a:ext>
                </a:extLst>
              </p:cNvPr>
              <p:cNvGraphicFramePr/>
              <p:nvPr/>
            </p:nvGraphicFramePr>
            <p:xfrm>
              <a:off x="3251425" y="1140909"/>
              <a:ext cx="4137440" cy="2310659"/>
            </p:xfrm>
            <a:graphic>
              <a:graphicData uri="http://schemas.openxmlformats.org/drawingml/2006/chart">
                <c:chart xmlns:c="http://schemas.openxmlformats.org/drawingml/2006/chart" xmlns:r="http://schemas.openxmlformats.org/officeDocument/2006/relationships" r:id="rId3"/>
              </a:graphicData>
            </a:graphic>
          </p:graphicFrame>
          <p:sp>
            <p:nvSpPr>
              <p:cNvPr id="41" name="Flowchart: Connector 40">
                <a:extLst>
                  <a:ext uri="{FF2B5EF4-FFF2-40B4-BE49-F238E27FC236}">
                    <a16:creationId xmlns:a16="http://schemas.microsoft.com/office/drawing/2014/main" id="{001D7EBD-5E71-4E90-BD4E-74CA877E0EBF}"/>
                  </a:ext>
                  <a:ext uri="{C183D7F6-B498-43B3-948B-1728B52AA6E4}">
                    <adec:decorative xmlns:adec="http://schemas.microsoft.com/office/drawing/2017/decorative" val="1"/>
                  </a:ext>
                </a:extLst>
              </p:cNvPr>
              <p:cNvSpPr/>
              <p:nvPr/>
            </p:nvSpPr>
            <p:spPr>
              <a:xfrm>
                <a:off x="4542478" y="1520788"/>
                <a:ext cx="1561184" cy="1546788"/>
              </a:xfrm>
              <a:prstGeom prst="flowChartConnecto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777777">
                      <a:lumMod val="60000"/>
                      <a:lumOff val="40000"/>
                    </a:srgbClr>
                  </a:solidFill>
                  <a:effectLst/>
                  <a:uLnTx/>
                  <a:uFillTx/>
                  <a:latin typeface="Calibri" panose="020F0502020204030204"/>
                  <a:ea typeface="+mn-ea"/>
                  <a:cs typeface="+mn-cs"/>
                </a:endParaRPr>
              </a:p>
            </p:txBody>
          </p:sp>
          <p:sp>
            <p:nvSpPr>
              <p:cNvPr id="42" name="TextBox 41">
                <a:extLst>
                  <a:ext uri="{FF2B5EF4-FFF2-40B4-BE49-F238E27FC236}">
                    <a16:creationId xmlns:a16="http://schemas.microsoft.com/office/drawing/2014/main" id="{2C56B5BE-1376-4019-BFE7-636407DEA238}"/>
                  </a:ext>
                </a:extLst>
              </p:cNvPr>
              <p:cNvSpPr txBox="1"/>
              <p:nvPr/>
            </p:nvSpPr>
            <p:spPr>
              <a:xfrm>
                <a:off x="4520428" y="1955124"/>
                <a:ext cx="1588765" cy="68435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77777">
                        <a:lumMod val="75000"/>
                      </a:srgbClr>
                    </a:solidFill>
                    <a:effectLst/>
                    <a:uLnTx/>
                    <a:uFillTx/>
                    <a:latin typeface="Calibri" panose="020F0502020204030204"/>
                    <a:ea typeface="+mn-ea"/>
                    <a:cs typeface="+mn-cs"/>
                  </a:rPr>
                  <a:t>SPEND</a:t>
                </a:r>
                <a:br>
                  <a:rPr kumimoji="0" lang="en-US" sz="1800" b="1" i="0" u="none" strike="noStrike" kern="1200" cap="none" spc="0" normalizeH="0" baseline="0" noProof="0" dirty="0">
                    <a:ln>
                      <a:noFill/>
                    </a:ln>
                    <a:solidFill>
                      <a:srgbClr val="777777">
                        <a:lumMod val="75000"/>
                      </a:srgbClr>
                    </a:solidFill>
                    <a:effectLst/>
                    <a:uLnTx/>
                    <a:uFillTx/>
                    <a:latin typeface="Calibri" panose="020F0502020204030204"/>
                    <a:ea typeface="+mn-ea"/>
                    <a:cs typeface="+mn-cs"/>
                  </a:rPr>
                </a:br>
                <a:r>
                  <a:rPr kumimoji="0" lang="en-US" sz="1600" b="1" i="0" u="none" strike="noStrike" kern="1200" cap="none" spc="0" normalizeH="0" baseline="0" noProof="0" dirty="0">
                    <a:ln>
                      <a:noFill/>
                    </a:ln>
                    <a:solidFill>
                      <a:srgbClr val="777777">
                        <a:lumMod val="75000"/>
                      </a:srgbClr>
                    </a:solidFill>
                    <a:effectLst/>
                    <a:uLnTx/>
                    <a:uFillTx/>
                    <a:latin typeface="Calibri" panose="020F0502020204030204"/>
                    <a:ea typeface="+mn-ea"/>
                    <a:cs typeface="+mn-cs"/>
                  </a:rPr>
                  <a:t>BREAKDOWN</a:t>
                </a:r>
              </a:p>
            </p:txBody>
          </p:sp>
          <p:cxnSp>
            <p:nvCxnSpPr>
              <p:cNvPr id="43" name="Straight Arrow Connector 42">
                <a:extLst>
                  <a:ext uri="{FF2B5EF4-FFF2-40B4-BE49-F238E27FC236}">
                    <a16:creationId xmlns:a16="http://schemas.microsoft.com/office/drawing/2014/main" id="{C4982691-52A3-4412-9126-2EE27267CD83}"/>
                  </a:ext>
                  <a:ext uri="{C183D7F6-B498-43B3-948B-1728B52AA6E4}">
                    <adec:decorative xmlns:adec="http://schemas.microsoft.com/office/drawing/2017/decorative" val="1"/>
                  </a:ext>
                </a:extLst>
              </p:cNvPr>
              <p:cNvCxnSpPr>
                <a:cxnSpLocks/>
              </p:cNvCxnSpPr>
              <p:nvPr/>
            </p:nvCxnSpPr>
            <p:spPr>
              <a:xfrm flipH="1">
                <a:off x="5974394" y="1617766"/>
                <a:ext cx="999040" cy="5568"/>
              </a:xfrm>
              <a:prstGeom prst="straightConnector1">
                <a:avLst/>
              </a:prstGeom>
              <a:ln w="38100">
                <a:solidFill>
                  <a:schemeClr val="tx2"/>
                </a:solidFill>
                <a:prstDash val="solid"/>
                <a:tailEnd type="oval"/>
              </a:ln>
            </p:spPr>
            <p:style>
              <a:lnRef idx="1">
                <a:schemeClr val="accent1"/>
              </a:lnRef>
              <a:fillRef idx="0">
                <a:schemeClr val="accent1"/>
              </a:fillRef>
              <a:effectRef idx="0">
                <a:schemeClr val="accent1"/>
              </a:effectRef>
              <a:fontRef idx="minor">
                <a:schemeClr val="tx1"/>
              </a:fontRef>
            </p:style>
          </p:cxnSp>
          <p:sp>
            <p:nvSpPr>
              <p:cNvPr id="44" name="TextBox 43" descr="Direct results of $3.3 billion">
                <a:extLst>
                  <a:ext uri="{FF2B5EF4-FFF2-40B4-BE49-F238E27FC236}">
                    <a16:creationId xmlns:a16="http://schemas.microsoft.com/office/drawing/2014/main" id="{125E72A9-6F7F-4B67-94C7-488E197251F8}"/>
                  </a:ext>
                </a:extLst>
              </p:cNvPr>
              <p:cNvSpPr txBox="1"/>
              <p:nvPr/>
            </p:nvSpPr>
            <p:spPr>
              <a:xfrm>
                <a:off x="3324229" y="2266035"/>
                <a:ext cx="872784" cy="39620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44C8F5">
                        <a:lumMod val="75000"/>
                      </a:srgbClr>
                    </a:solidFill>
                    <a:effectLst/>
                    <a:uLnTx/>
                    <a:uFillTx/>
                    <a:latin typeface="Arial Nova" panose="020B0504020202020204" pitchFamily="34" charset="0"/>
                    <a:ea typeface="+mn-ea"/>
                    <a:cs typeface="+mn-cs"/>
                  </a:rPr>
                  <a:t>$3.3B</a:t>
                </a:r>
              </a:p>
            </p:txBody>
          </p:sp>
          <p:sp>
            <p:nvSpPr>
              <p:cNvPr id="45" name="TextBox 44">
                <a:extLst>
                  <a:ext uri="{FF2B5EF4-FFF2-40B4-BE49-F238E27FC236}">
                    <a16:creationId xmlns:a16="http://schemas.microsoft.com/office/drawing/2014/main" id="{BF716CF9-0B07-41F3-B5F2-6ADAFC213A45}"/>
                  </a:ext>
                </a:extLst>
              </p:cNvPr>
              <p:cNvSpPr txBox="1"/>
              <p:nvPr/>
            </p:nvSpPr>
            <p:spPr>
              <a:xfrm>
                <a:off x="3384230" y="2692088"/>
                <a:ext cx="838498" cy="39620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77777">
                        <a:lumMod val="60000"/>
                        <a:lumOff val="40000"/>
                      </a:srgbClr>
                    </a:solidFill>
                    <a:effectLst/>
                    <a:uLnTx/>
                    <a:uFillTx/>
                    <a:latin typeface="Calibri" panose="020F0502020204030204"/>
                    <a:ea typeface="+mn-ea"/>
                    <a:cs typeface="+mn-cs"/>
                  </a:rPr>
                  <a:t>TIER 1</a:t>
                </a:r>
              </a:p>
            </p:txBody>
          </p:sp>
          <p:sp>
            <p:nvSpPr>
              <p:cNvPr id="46" name="TextBox 45" descr="Subcontracting results of $623 million">
                <a:extLst>
                  <a:ext uri="{FF2B5EF4-FFF2-40B4-BE49-F238E27FC236}">
                    <a16:creationId xmlns:a16="http://schemas.microsoft.com/office/drawing/2014/main" id="{9928A42A-A7BE-4B8A-830C-6DA8CF8A47E5}"/>
                  </a:ext>
                </a:extLst>
              </p:cNvPr>
              <p:cNvSpPr txBox="1"/>
              <p:nvPr/>
            </p:nvSpPr>
            <p:spPr>
              <a:xfrm>
                <a:off x="5901261" y="1184406"/>
                <a:ext cx="988977" cy="39620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C766">
                        <a:lumMod val="75000"/>
                      </a:srgbClr>
                    </a:solidFill>
                    <a:effectLst/>
                    <a:uLnTx/>
                    <a:uFillTx/>
                    <a:latin typeface="Arial Nova" panose="020B0504020202020204" pitchFamily="34" charset="0"/>
                    <a:ea typeface="+mn-ea"/>
                    <a:cs typeface="+mn-cs"/>
                  </a:rPr>
                  <a:t>$623M</a:t>
                </a:r>
              </a:p>
            </p:txBody>
          </p:sp>
          <p:sp>
            <p:nvSpPr>
              <p:cNvPr id="47" name="TextBox 46">
                <a:extLst>
                  <a:ext uri="{FF2B5EF4-FFF2-40B4-BE49-F238E27FC236}">
                    <a16:creationId xmlns:a16="http://schemas.microsoft.com/office/drawing/2014/main" id="{09375788-A0CB-4888-A9EA-43807BCCD217}"/>
                  </a:ext>
                </a:extLst>
              </p:cNvPr>
              <p:cNvSpPr txBox="1"/>
              <p:nvPr/>
            </p:nvSpPr>
            <p:spPr>
              <a:xfrm>
                <a:off x="6252962" y="1646073"/>
                <a:ext cx="838498" cy="39620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777777">
                        <a:lumMod val="60000"/>
                        <a:lumOff val="40000"/>
                      </a:srgbClr>
                    </a:solidFill>
                    <a:effectLst/>
                    <a:uLnTx/>
                    <a:uFillTx/>
                    <a:latin typeface="Calibri" panose="020F0502020204030204"/>
                    <a:ea typeface="+mn-ea"/>
                    <a:cs typeface="+mn-cs"/>
                  </a:rPr>
                  <a:t>TIER 2</a:t>
                </a:r>
              </a:p>
            </p:txBody>
          </p:sp>
        </p:grpSp>
        <p:sp>
          <p:nvSpPr>
            <p:cNvPr id="34" name="TextBox 33" descr="Overall 2020 Supplier Diversity results of $3.9 billion">
              <a:extLst>
                <a:ext uri="{FF2B5EF4-FFF2-40B4-BE49-F238E27FC236}">
                  <a16:creationId xmlns:a16="http://schemas.microsoft.com/office/drawing/2014/main" id="{BC4787DA-9FE9-4B6D-966C-D5B6E0F75289}"/>
                </a:ext>
              </a:extLst>
            </p:cNvPr>
            <p:cNvSpPr txBox="1"/>
            <p:nvPr/>
          </p:nvSpPr>
          <p:spPr>
            <a:xfrm>
              <a:off x="1613467" y="1592278"/>
              <a:ext cx="79380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C766">
                      <a:lumMod val="75000"/>
                    </a:srgbClr>
                  </a:solidFill>
                  <a:effectLst/>
                  <a:uLnTx/>
                  <a:uFillTx/>
                  <a:latin typeface="Arial Nova" panose="020B0604020202020204" pitchFamily="34" charset="0"/>
                  <a:ea typeface="+mn-ea"/>
                  <a:cs typeface="+mn-cs"/>
                </a:rPr>
                <a:t>$3.9</a:t>
              </a:r>
            </a:p>
          </p:txBody>
        </p:sp>
        <p:sp>
          <p:nvSpPr>
            <p:cNvPr id="35" name="TextBox 34">
              <a:extLst>
                <a:ext uri="{FF2B5EF4-FFF2-40B4-BE49-F238E27FC236}">
                  <a16:creationId xmlns:a16="http://schemas.microsoft.com/office/drawing/2014/main" id="{7FD91D1C-42D6-40A0-9DA8-B395E2C7E5C8}"/>
                </a:ext>
              </a:extLst>
            </p:cNvPr>
            <p:cNvSpPr txBox="1"/>
            <p:nvPr/>
          </p:nvSpPr>
          <p:spPr>
            <a:xfrm>
              <a:off x="1641678" y="1921736"/>
              <a:ext cx="1558440" cy="769441"/>
            </a:xfrm>
            <a:prstGeom prst="rect">
              <a:avLst/>
            </a:prstGeom>
            <a:noFill/>
          </p:spPr>
          <p:txBody>
            <a:bodyPr wrap="non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C766">
                      <a:lumMod val="75000"/>
                    </a:srgbClr>
                  </a:solidFill>
                  <a:effectLst/>
                  <a:uLnTx/>
                  <a:uFillTx/>
                  <a:latin typeface="Arial Nova" panose="020B0504020202020204" pitchFamily="34" charset="0"/>
                  <a:ea typeface="+mn-ea"/>
                  <a:cs typeface="+mn-cs"/>
                </a:rPr>
                <a:t>BILLION</a:t>
              </a:r>
              <a:br>
                <a:rPr kumimoji="0" lang="en-US" sz="1400" b="0" i="0" u="none" strike="noStrike" kern="1200" cap="none" spc="0" normalizeH="0" baseline="0" noProof="0" dirty="0">
                  <a:ln>
                    <a:noFill/>
                  </a:ln>
                  <a:solidFill>
                    <a:srgbClr val="0089C4"/>
                  </a:solidFill>
                  <a:effectLst/>
                  <a:uLnTx/>
                  <a:uFillTx/>
                  <a:latin typeface="Calibri" panose="020F0502020204030204"/>
                  <a:ea typeface="+mn-ea"/>
                  <a:cs typeface="+mn-cs"/>
                </a:rPr>
              </a:br>
              <a:r>
                <a:rPr kumimoji="0" lang="en-US" sz="1000" b="1" i="0" u="none" strike="noStrike" kern="1200" cap="none" spc="0" normalizeH="0" baseline="0" noProof="0" dirty="0">
                  <a:ln>
                    <a:noFill/>
                  </a:ln>
                  <a:solidFill>
                    <a:srgbClr val="777777">
                      <a:lumMod val="50000"/>
                    </a:srgbClr>
                  </a:solidFill>
                  <a:effectLst/>
                  <a:uLnTx/>
                  <a:uFillTx/>
                  <a:latin typeface="Arial Nova" panose="020B0504020202020204" pitchFamily="34" charset="0"/>
                  <a:ea typeface="+mn-ea"/>
                  <a:cs typeface="+mn-cs"/>
                </a:rPr>
                <a:t>SPENT in 2020 WITH</a:t>
              </a:r>
              <a:br>
                <a:rPr kumimoji="0" lang="en-US" sz="1000" b="1" i="0" u="none" strike="noStrike" kern="1200" cap="none" spc="0" normalizeH="0" baseline="0" noProof="0" dirty="0">
                  <a:ln>
                    <a:noFill/>
                  </a:ln>
                  <a:solidFill>
                    <a:srgbClr val="777777">
                      <a:lumMod val="50000"/>
                    </a:srgbClr>
                  </a:solidFill>
                  <a:effectLst/>
                  <a:uLnTx/>
                  <a:uFillTx/>
                  <a:latin typeface="Arial Nova" panose="020B0504020202020204" pitchFamily="34" charset="0"/>
                  <a:ea typeface="+mn-ea"/>
                  <a:cs typeface="+mn-cs"/>
                </a:rPr>
              </a:br>
              <a:r>
                <a:rPr kumimoji="0" lang="en-US" sz="1000" b="1" i="0" u="none" strike="noStrike" kern="1200" cap="none" spc="0" normalizeH="0" baseline="0" noProof="0" dirty="0">
                  <a:ln>
                    <a:noFill/>
                  </a:ln>
                  <a:solidFill>
                    <a:srgbClr val="777777">
                      <a:lumMod val="50000"/>
                    </a:srgbClr>
                  </a:solidFill>
                  <a:effectLst/>
                  <a:uLnTx/>
                  <a:uFillTx/>
                  <a:latin typeface="Arial Nova" panose="020B0504020202020204" pitchFamily="34" charset="0"/>
                  <a:ea typeface="+mn-ea"/>
                  <a:cs typeface="+mn-cs"/>
                </a:rPr>
                <a:t>DIVERSE BUSINESSES</a:t>
              </a:r>
            </a:p>
          </p:txBody>
        </p:sp>
        <p:sp>
          <p:nvSpPr>
            <p:cNvPr id="36" name="Flowchart: Merge 35">
              <a:extLst>
                <a:ext uri="{FF2B5EF4-FFF2-40B4-BE49-F238E27FC236}">
                  <a16:creationId xmlns:a16="http://schemas.microsoft.com/office/drawing/2014/main" id="{98A2C005-4FC7-4187-9550-A6C67BE6A19D}"/>
                </a:ext>
                <a:ext uri="{C183D7F6-B498-43B3-948B-1728B52AA6E4}">
                  <adec:decorative xmlns:adec="http://schemas.microsoft.com/office/drawing/2017/decorative" val="1"/>
                </a:ext>
              </a:extLst>
            </p:cNvPr>
            <p:cNvSpPr/>
            <p:nvPr/>
          </p:nvSpPr>
          <p:spPr>
            <a:xfrm rot="16200000">
              <a:off x="3045511" y="2179174"/>
              <a:ext cx="646328" cy="254563"/>
            </a:xfrm>
            <a:prstGeom prst="flowChartMerge">
              <a:avLst/>
            </a:prstGeom>
            <a:solidFill>
              <a:schemeClr val="accent6">
                <a:lumMod val="75000"/>
                <a:alpha val="50000"/>
              </a:schemeClr>
            </a:solidFill>
            <a:ln>
              <a:solidFill>
                <a:schemeClr val="accent6">
                  <a:lumMod val="50000"/>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cxnSp>
        <p:nvCxnSpPr>
          <p:cNvPr id="48" name="Straight Arrow Connector 47">
            <a:extLst>
              <a:ext uri="{FF2B5EF4-FFF2-40B4-BE49-F238E27FC236}">
                <a16:creationId xmlns:a16="http://schemas.microsoft.com/office/drawing/2014/main" id="{97DAD1A9-3B09-425D-83D8-6CD14E7581CB}"/>
              </a:ext>
              <a:ext uri="{C183D7F6-B498-43B3-948B-1728B52AA6E4}">
                <adec:decorative xmlns:adec="http://schemas.microsoft.com/office/drawing/2017/decorative" val="1"/>
              </a:ext>
            </a:extLst>
          </p:cNvPr>
          <p:cNvCxnSpPr>
            <a:cxnSpLocks/>
          </p:cNvCxnSpPr>
          <p:nvPr/>
        </p:nvCxnSpPr>
        <p:spPr>
          <a:xfrm>
            <a:off x="3156206" y="2559698"/>
            <a:ext cx="973757" cy="0"/>
          </a:xfrm>
          <a:prstGeom prst="straightConnector1">
            <a:avLst/>
          </a:prstGeom>
          <a:ln w="38100">
            <a:solidFill>
              <a:schemeClr val="tx2"/>
            </a:solidFill>
            <a:prstDash val="solid"/>
            <a:tailEnd type="oval"/>
          </a:ln>
        </p:spPr>
        <p:style>
          <a:lnRef idx="1">
            <a:schemeClr val="accent1"/>
          </a:lnRef>
          <a:fillRef idx="0">
            <a:schemeClr val="accent1"/>
          </a:fillRef>
          <a:effectRef idx="0">
            <a:schemeClr val="accent1"/>
          </a:effectRef>
          <a:fontRef idx="minor">
            <a:schemeClr val="tx1"/>
          </a:fontRef>
        </p:style>
      </p:cxnSp>
      <p:sp>
        <p:nvSpPr>
          <p:cNvPr id="49" name="Content Placeholder 2">
            <a:extLst>
              <a:ext uri="{FF2B5EF4-FFF2-40B4-BE49-F238E27FC236}">
                <a16:creationId xmlns:a16="http://schemas.microsoft.com/office/drawing/2014/main" id="{5F4102C8-30AF-40FB-B93D-94D992E3FADE}"/>
              </a:ext>
            </a:extLst>
          </p:cNvPr>
          <p:cNvSpPr txBox="1">
            <a:spLocks/>
          </p:cNvSpPr>
          <p:nvPr/>
        </p:nvSpPr>
        <p:spPr>
          <a:xfrm>
            <a:off x="6814714" y="1814613"/>
            <a:ext cx="4660790" cy="604747"/>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600"/>
              </a:spcBef>
              <a:buFont typeface="Arial" panose="020B0604020202020204" pitchFamily="34" charset="0"/>
              <a:buChar char="•"/>
              <a:defRPr sz="3200" kern="1200">
                <a:solidFill>
                  <a:schemeClr val="tx2">
                    <a:lumMod val="50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600"/>
              </a:spcBef>
              <a:buFont typeface="Arial" panose="020B0604020202020204" pitchFamily="34" charset="0"/>
              <a:buChar char="•"/>
              <a:defRPr sz="2800" kern="1200">
                <a:solidFill>
                  <a:schemeClr val="tx2">
                    <a:lumMod val="50000"/>
                  </a:schemeClr>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600"/>
              </a:spcBef>
              <a:buFont typeface="Arial" panose="020B0604020202020204" pitchFamily="34" charset="0"/>
              <a:buChar char="•"/>
              <a:defRPr sz="2000" kern="1200">
                <a:solidFill>
                  <a:schemeClr val="tx2">
                    <a:lumMod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600"/>
              </a:spcBef>
              <a:buFont typeface="Arial" panose="020B0604020202020204" pitchFamily="34" charset="0"/>
              <a:buChar char="•"/>
              <a:defRPr sz="1800" kern="1200">
                <a:solidFill>
                  <a:schemeClr val="tx2">
                    <a:lumMod val="50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600"/>
              </a:spcBef>
              <a:buFont typeface="Arial" panose="020B0604020202020204" pitchFamily="34" charset="0"/>
              <a:buChar char="•"/>
              <a:defRPr sz="1600" kern="1200">
                <a:solidFill>
                  <a:schemeClr val="tx2">
                    <a:lumMod val="50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777777">
                    <a:lumMod val="50000"/>
                  </a:srgbClr>
                </a:solidFill>
                <a:effectLst/>
                <a:uLnTx/>
                <a:uFillTx/>
                <a:latin typeface="Calibri" panose="020F0502020204030204"/>
                <a:ea typeface="+mn-ea"/>
                <a:cs typeface="Arial" panose="020B0604020202020204" pitchFamily="34" charset="0"/>
              </a:rPr>
              <a:t>PG&amp;E spent $2.71B with SBEs in 2020 (21.7%)</a:t>
            </a:r>
            <a:endParaRPr kumimoji="0" lang="en-US" sz="1600" b="1" i="0" u="none" strike="noStrike" kern="1200" cap="none" spc="0" normalizeH="0" baseline="0" noProof="0" dirty="0">
              <a:ln>
                <a:noFill/>
              </a:ln>
              <a:solidFill>
                <a:srgbClr val="777777">
                  <a:lumMod val="50000"/>
                </a:srgb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777777">
                  <a:lumMod val="50000"/>
                </a:srgbClr>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18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777777">
                  <a:lumMod val="50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922222185"/>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34CE178-6941-4822-B025-33A03E413A7E}"/>
              </a:ext>
            </a:extLst>
          </p:cNvPr>
          <p:cNvSpPr/>
          <p:nvPr/>
        </p:nvSpPr>
        <p:spPr>
          <a:xfrm>
            <a:off x="6210795" y="4714004"/>
            <a:ext cx="5561200" cy="18610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6B820AF9-5DAB-4EC7-88F6-2D4882CE0CDD}"/>
              </a:ext>
            </a:extLst>
          </p:cNvPr>
          <p:cNvSpPr/>
          <p:nvPr/>
        </p:nvSpPr>
        <p:spPr>
          <a:xfrm>
            <a:off x="1125613" y="4714004"/>
            <a:ext cx="4858970" cy="186107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30C783AE-EA67-41B0-8BD2-CFFAD713431B}"/>
              </a:ext>
            </a:extLst>
          </p:cNvPr>
          <p:cNvSpPr>
            <a:spLocks noGrp="1"/>
          </p:cNvSpPr>
          <p:nvPr>
            <p:ph type="title"/>
          </p:nvPr>
        </p:nvSpPr>
        <p:spPr/>
        <p:txBody>
          <a:bodyPr/>
          <a:lstStyle/>
          <a:p>
            <a:r>
              <a:rPr lang="en-US" dirty="0"/>
              <a:t>SBE/DBE Solicitation Plans</a:t>
            </a:r>
          </a:p>
        </p:txBody>
      </p:sp>
      <p:pic>
        <p:nvPicPr>
          <p:cNvPr id="7" name="Picture 6" descr="A picture containing text, clipart&#10;&#10;Description automatically generated">
            <a:extLst>
              <a:ext uri="{FF2B5EF4-FFF2-40B4-BE49-F238E27FC236}">
                <a16:creationId xmlns:a16="http://schemas.microsoft.com/office/drawing/2014/main" id="{585C23DA-85DB-4F95-8A2A-333EA5D85A3D}"/>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6359600" y="4951727"/>
            <a:ext cx="1452828" cy="1266036"/>
          </a:xfrm>
          <a:prstGeom prst="rect">
            <a:avLst/>
          </a:prstGeom>
          <a:ln>
            <a:solidFill>
              <a:schemeClr val="tx2"/>
            </a:solidFill>
          </a:ln>
        </p:spPr>
      </p:pic>
      <p:sp>
        <p:nvSpPr>
          <p:cNvPr id="9" name="Rectangle 8">
            <a:extLst>
              <a:ext uri="{FF2B5EF4-FFF2-40B4-BE49-F238E27FC236}">
                <a16:creationId xmlns:a16="http://schemas.microsoft.com/office/drawing/2014/main" id="{AF633B54-47C4-4765-AD26-786EA37A1C45}"/>
              </a:ext>
            </a:extLst>
          </p:cNvPr>
          <p:cNvSpPr/>
          <p:nvPr/>
        </p:nvSpPr>
        <p:spPr>
          <a:xfrm>
            <a:off x="6351527" y="6217763"/>
            <a:ext cx="1460901" cy="1483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SCHOLARSHIPS</a:t>
            </a:r>
          </a:p>
        </p:txBody>
      </p:sp>
      <p:sp>
        <p:nvSpPr>
          <p:cNvPr id="10" name="Content Placeholder 2">
            <a:extLst>
              <a:ext uri="{FF2B5EF4-FFF2-40B4-BE49-F238E27FC236}">
                <a16:creationId xmlns:a16="http://schemas.microsoft.com/office/drawing/2014/main" id="{F472C683-87B4-4525-B7C3-6B0D4DCC9061}"/>
              </a:ext>
            </a:extLst>
          </p:cNvPr>
          <p:cNvSpPr>
            <a:spLocks noGrp="1"/>
          </p:cNvSpPr>
          <p:nvPr>
            <p:ph idx="1"/>
          </p:nvPr>
        </p:nvSpPr>
        <p:spPr>
          <a:xfrm>
            <a:off x="9873660" y="4834593"/>
            <a:ext cx="1800533" cy="1651361"/>
          </a:xfrm>
        </p:spPr>
        <p:txBody>
          <a:bodyPr>
            <a:noAutofit/>
          </a:bodyPr>
          <a:lstStyle/>
          <a:p>
            <a:pPr marL="173038" lvl="0" indent="-173038" eaLnBrk="0" fontAlgn="base" hangingPunct="0">
              <a:spcBef>
                <a:spcPct val="0"/>
              </a:spcBef>
              <a:spcAft>
                <a:spcPts val="600"/>
              </a:spcAft>
              <a:defRPr/>
            </a:pPr>
            <a:r>
              <a:rPr lang="en-US" sz="1200" dirty="0">
                <a:solidFill>
                  <a:schemeClr val="bg2">
                    <a:lumMod val="50000"/>
                  </a:schemeClr>
                </a:solidFill>
                <a:latin typeface="+mn-lt"/>
                <a:ea typeface="MS PGothic" panose="020B0600070205080204" pitchFamily="34" charset="-128"/>
              </a:rPr>
              <a:t>UC Berkeley, Haas Business School</a:t>
            </a:r>
            <a:r>
              <a:rPr lang="en-US" sz="1200" b="0" dirty="0">
                <a:solidFill>
                  <a:schemeClr val="bg2">
                    <a:lumMod val="50000"/>
                  </a:schemeClr>
                </a:solidFill>
                <a:latin typeface="+mn-lt"/>
                <a:ea typeface="MS PGothic" panose="020B0600070205080204" pitchFamily="34" charset="-128"/>
              </a:rPr>
              <a:t>,</a:t>
            </a:r>
            <a:endParaRPr lang="en-US" sz="1200" dirty="0">
              <a:solidFill>
                <a:schemeClr val="bg2">
                  <a:lumMod val="50000"/>
                </a:schemeClr>
              </a:solidFill>
              <a:latin typeface="+mn-lt"/>
              <a:ea typeface="MS PGothic" panose="020B0600070205080204" pitchFamily="34" charset="-128"/>
            </a:endParaRPr>
          </a:p>
          <a:p>
            <a:pPr marL="173038" lvl="0" indent="-173038" eaLnBrk="0" fontAlgn="base" hangingPunct="0">
              <a:spcBef>
                <a:spcPct val="0"/>
              </a:spcBef>
              <a:spcAft>
                <a:spcPts val="600"/>
              </a:spcAft>
              <a:defRPr/>
            </a:pPr>
            <a:r>
              <a:rPr lang="fr-FR" sz="1200" dirty="0">
                <a:solidFill>
                  <a:schemeClr val="bg2">
                    <a:lumMod val="50000"/>
                  </a:schemeClr>
                </a:solidFill>
                <a:latin typeface="+mn-lt"/>
                <a:ea typeface="MS PGothic" panose="020B0600070205080204" pitchFamily="34" charset="-128"/>
              </a:rPr>
              <a:t>UCLA, Anderson Business </a:t>
            </a:r>
            <a:r>
              <a:rPr lang="en-US" sz="1200" dirty="0">
                <a:solidFill>
                  <a:schemeClr val="bg2">
                    <a:lumMod val="50000"/>
                  </a:schemeClr>
                </a:solidFill>
                <a:latin typeface="+mn-lt"/>
                <a:ea typeface="MS PGothic" panose="020B0600070205080204" pitchFamily="34" charset="-128"/>
              </a:rPr>
              <a:t>School</a:t>
            </a:r>
          </a:p>
          <a:p>
            <a:pPr marL="173038" lvl="0" indent="-173038" eaLnBrk="0" fontAlgn="base" hangingPunct="0">
              <a:spcBef>
                <a:spcPct val="0"/>
              </a:spcBef>
              <a:spcAft>
                <a:spcPts val="600"/>
              </a:spcAft>
              <a:defRPr/>
            </a:pPr>
            <a:r>
              <a:rPr lang="en-US" sz="1200" dirty="0">
                <a:solidFill>
                  <a:schemeClr val="bg2">
                    <a:lumMod val="50000"/>
                  </a:schemeClr>
                </a:solidFill>
                <a:latin typeface="+mn-lt"/>
                <a:ea typeface="MS PGothic" panose="020B0600070205080204" pitchFamily="34" charset="-128"/>
              </a:rPr>
              <a:t>Stanford University, Graduate School of Business</a:t>
            </a:r>
          </a:p>
        </p:txBody>
      </p:sp>
      <p:sp>
        <p:nvSpPr>
          <p:cNvPr id="11" name="Content Placeholder 2">
            <a:extLst>
              <a:ext uri="{FF2B5EF4-FFF2-40B4-BE49-F238E27FC236}">
                <a16:creationId xmlns:a16="http://schemas.microsoft.com/office/drawing/2014/main" id="{34C28C15-5022-4087-AA98-A0F96B695176}"/>
              </a:ext>
            </a:extLst>
          </p:cNvPr>
          <p:cNvSpPr txBox="1">
            <a:spLocks/>
          </p:cNvSpPr>
          <p:nvPr/>
        </p:nvSpPr>
        <p:spPr>
          <a:xfrm>
            <a:off x="7910230" y="4828187"/>
            <a:ext cx="1963430" cy="1651361"/>
          </a:xfrm>
          <a:prstGeom prst="rect">
            <a:avLst/>
          </a:prstGeom>
        </p:spPr>
        <p:txBody>
          <a:bodyPr vert="horz" lIns="91440" tIns="45720" rIns="91440" bIns="45720" rtlCol="0">
            <a:noAutofit/>
          </a:bodyPr>
          <a:lstStyle>
            <a:lvl1pPr marL="171450" indent="-171450" algn="l" defTabSz="685800" rtl="0" eaLnBrk="1" latinLnBrk="0" hangingPunct="1">
              <a:lnSpc>
                <a:spcPct val="100000"/>
              </a:lnSpc>
              <a:spcBef>
                <a:spcPts val="450"/>
              </a:spcBef>
              <a:buFont typeface="Arial" panose="020B0604020202020204" pitchFamily="34" charset="0"/>
              <a:buChar char="•"/>
              <a:defRPr sz="2100" kern="1200">
                <a:solidFill>
                  <a:schemeClr val="tx2">
                    <a:lumMod val="50000"/>
                  </a:schemeClr>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100000"/>
              </a:lnSpc>
              <a:spcBef>
                <a:spcPts val="450"/>
              </a:spcBef>
              <a:buFont typeface="Calibri" panose="020F0502020204030204" pitchFamily="34" charset="0"/>
              <a:buChar char="̶"/>
              <a:defRPr sz="2100" kern="1200">
                <a:solidFill>
                  <a:schemeClr val="tx2">
                    <a:lumMod val="50000"/>
                  </a:schemeClr>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100000"/>
              </a:lnSpc>
              <a:spcBef>
                <a:spcPts val="450"/>
              </a:spcBef>
              <a:buFont typeface="Arial" panose="020B0604020202020204" pitchFamily="34" charset="0"/>
              <a:buChar char="•"/>
              <a:defRPr sz="1500" kern="1200">
                <a:solidFill>
                  <a:schemeClr val="tx2">
                    <a:lumMod val="50000"/>
                  </a:schemeClr>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100000"/>
              </a:lnSpc>
              <a:spcBef>
                <a:spcPts val="450"/>
              </a:spcBef>
              <a:buFont typeface="Arial" panose="020B0604020202020204" pitchFamily="34" charset="0"/>
              <a:buChar char="•"/>
              <a:defRPr sz="1350" kern="1200">
                <a:solidFill>
                  <a:schemeClr val="tx2">
                    <a:lumMod val="50000"/>
                  </a:schemeClr>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100000"/>
              </a:lnSpc>
              <a:spcBef>
                <a:spcPts val="450"/>
              </a:spcBef>
              <a:buFont typeface="Arial" panose="020B0604020202020204" pitchFamily="34" charset="0"/>
              <a:buChar char="•"/>
              <a:defRPr sz="1200" kern="1200">
                <a:solidFill>
                  <a:schemeClr val="tx2">
                    <a:lumMod val="50000"/>
                  </a:schemeClr>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3038" marR="0" lvl="0" indent="-173038" algn="l" defTabSz="6858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sz="1150" b="0" i="0" u="none" strike="noStrike" kern="1200" cap="none" spc="0" normalizeH="0" baseline="0" noProof="0" dirty="0">
                <a:ln>
                  <a:noFill/>
                </a:ln>
                <a:solidFill>
                  <a:srgbClr val="BBBBBB">
                    <a:lumMod val="50000"/>
                  </a:srgbClr>
                </a:solidFill>
                <a:effectLst/>
                <a:uLnTx/>
                <a:uFillTx/>
                <a:latin typeface="Calibri" panose="020F0502020204030204"/>
                <a:ea typeface="MS PGothic" panose="020B0600070205080204" pitchFamily="34" charset="-128"/>
                <a:cs typeface="Arial" panose="020B0604020202020204" pitchFamily="34" charset="0"/>
              </a:rPr>
              <a:t>Dartmouth University, Tuck Business School </a:t>
            </a:r>
          </a:p>
          <a:p>
            <a:pPr marL="173038" marR="0" lvl="0" indent="-173038" algn="l" defTabSz="6858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sz="1150" b="0" i="0" u="none" strike="noStrike" kern="1200" cap="none" spc="0" normalizeH="0" baseline="0" noProof="0" dirty="0">
                <a:ln>
                  <a:noFill/>
                </a:ln>
                <a:solidFill>
                  <a:srgbClr val="BBBBBB">
                    <a:lumMod val="50000"/>
                  </a:srgbClr>
                </a:solidFill>
                <a:effectLst/>
                <a:uLnTx/>
                <a:uFillTx/>
                <a:latin typeface="Calibri" panose="020F0502020204030204"/>
                <a:ea typeface="MS PGothic" panose="020B0600070205080204" pitchFamily="34" charset="-128"/>
                <a:cs typeface="Arial" panose="020B0604020202020204" pitchFamily="34" charset="0"/>
              </a:rPr>
              <a:t>University of Washington, </a:t>
            </a:r>
          </a:p>
          <a:p>
            <a:pPr marL="173038" marR="0" lvl="0" indent="-173038" algn="l" defTabSz="6858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sz="1150" b="0" i="0" u="none" strike="noStrike" kern="1200" cap="none" spc="0" normalizeH="0" baseline="0" noProof="0" dirty="0">
                <a:ln>
                  <a:noFill/>
                </a:ln>
                <a:solidFill>
                  <a:srgbClr val="BBBBBB">
                    <a:lumMod val="50000"/>
                  </a:srgbClr>
                </a:solidFill>
                <a:effectLst/>
                <a:uLnTx/>
                <a:uFillTx/>
                <a:latin typeface="Calibri" panose="020F0502020204030204"/>
                <a:ea typeface="MS PGothic" panose="020B0600070205080204" pitchFamily="34" charset="-128"/>
                <a:cs typeface="Arial" panose="020B0604020202020204" pitchFamily="34" charset="0"/>
              </a:rPr>
              <a:t>St. Mary's College</a:t>
            </a:r>
          </a:p>
          <a:p>
            <a:pPr marL="173038" marR="0" lvl="0" indent="-173038" algn="l" defTabSz="6858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sz="1150" b="0" i="0" u="none" strike="noStrike" kern="1200" cap="none" spc="0" normalizeH="0" baseline="0" noProof="0" dirty="0">
                <a:ln>
                  <a:noFill/>
                </a:ln>
                <a:solidFill>
                  <a:srgbClr val="BBBBBB">
                    <a:lumMod val="50000"/>
                  </a:srgbClr>
                </a:solidFill>
                <a:effectLst/>
                <a:uLnTx/>
                <a:uFillTx/>
                <a:latin typeface="Calibri" panose="020F0502020204030204"/>
                <a:ea typeface="MS PGothic" panose="020B0600070205080204" pitchFamily="34" charset="-128"/>
                <a:cs typeface="Arial" panose="020B0604020202020204" pitchFamily="34" charset="0"/>
              </a:rPr>
              <a:t>WRMSDC Business Growth Acceleration Program (BGAP)  </a:t>
            </a:r>
          </a:p>
        </p:txBody>
      </p:sp>
      <p:graphicFrame>
        <p:nvGraphicFramePr>
          <p:cNvPr id="23" name="Diagram 22">
            <a:extLst>
              <a:ext uri="{FF2B5EF4-FFF2-40B4-BE49-F238E27FC236}">
                <a16:creationId xmlns:a16="http://schemas.microsoft.com/office/drawing/2014/main" id="{B195084E-1EEE-454D-ADA5-0E8D11DEDDA5}"/>
              </a:ext>
            </a:extLst>
          </p:cNvPr>
          <p:cNvGraphicFramePr/>
          <p:nvPr/>
        </p:nvGraphicFramePr>
        <p:xfrm>
          <a:off x="1305583" y="1989660"/>
          <a:ext cx="5499331" cy="284493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4" name="TextBox 23" descr="Subcontracting results of $623 million">
            <a:extLst>
              <a:ext uri="{FF2B5EF4-FFF2-40B4-BE49-F238E27FC236}">
                <a16:creationId xmlns:a16="http://schemas.microsoft.com/office/drawing/2014/main" id="{37308A84-2965-45A7-A9A7-6CF43B7A0058}"/>
              </a:ext>
            </a:extLst>
          </p:cNvPr>
          <p:cNvSpPr txBox="1"/>
          <p:nvPr/>
        </p:nvSpPr>
        <p:spPr>
          <a:xfrm>
            <a:off x="1233431" y="1262307"/>
            <a:ext cx="413324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C766">
                    <a:lumMod val="75000"/>
                  </a:srgbClr>
                </a:solidFill>
                <a:effectLst/>
                <a:uLnTx/>
                <a:uFillTx/>
                <a:latin typeface="Arial Nova" panose="020B0504020202020204" pitchFamily="34" charset="0"/>
                <a:ea typeface="+mn-ea"/>
                <a:cs typeface="+mn-cs"/>
              </a:rPr>
              <a:t>Grow the SBE/DBE Pipeline</a:t>
            </a:r>
          </a:p>
        </p:txBody>
      </p:sp>
      <p:sp>
        <p:nvSpPr>
          <p:cNvPr id="25" name="TextBox 24">
            <a:extLst>
              <a:ext uri="{FF2B5EF4-FFF2-40B4-BE49-F238E27FC236}">
                <a16:creationId xmlns:a16="http://schemas.microsoft.com/office/drawing/2014/main" id="{8434AACD-4E97-47C8-8F3D-10B37A34D2AE}"/>
              </a:ext>
            </a:extLst>
          </p:cNvPr>
          <p:cNvSpPr txBox="1"/>
          <p:nvPr/>
        </p:nvSpPr>
        <p:spPr>
          <a:xfrm>
            <a:off x="1305583" y="2768450"/>
            <a:ext cx="166755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89C4"/>
                </a:solidFill>
                <a:effectLst/>
                <a:uLnTx/>
                <a:uFillTx/>
                <a:latin typeface="Calibri" panose="020F0502020204030204"/>
                <a:ea typeface="+mn-ea"/>
                <a:cs typeface="+mn-cs"/>
              </a:rPr>
              <a:t>Outreach &amp; TAP</a:t>
            </a:r>
          </a:p>
        </p:txBody>
      </p:sp>
      <p:sp>
        <p:nvSpPr>
          <p:cNvPr id="26" name="TextBox 25">
            <a:extLst>
              <a:ext uri="{FF2B5EF4-FFF2-40B4-BE49-F238E27FC236}">
                <a16:creationId xmlns:a16="http://schemas.microsoft.com/office/drawing/2014/main" id="{ECAF28B7-EB66-4200-8F5A-B1CA96BC900C}"/>
              </a:ext>
            </a:extLst>
          </p:cNvPr>
          <p:cNvSpPr txBox="1"/>
          <p:nvPr/>
        </p:nvSpPr>
        <p:spPr>
          <a:xfrm>
            <a:off x="3134386" y="2284224"/>
            <a:ext cx="166755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89C4"/>
                </a:solidFill>
                <a:effectLst/>
                <a:uLnTx/>
                <a:uFillTx/>
                <a:latin typeface="Calibri" panose="020F0502020204030204"/>
                <a:ea typeface="+mn-ea"/>
                <a:cs typeface="+mn-cs"/>
              </a:rPr>
              <a:t>Subcontracting</a:t>
            </a:r>
          </a:p>
        </p:txBody>
      </p:sp>
      <p:sp>
        <p:nvSpPr>
          <p:cNvPr id="27" name="TextBox 26">
            <a:extLst>
              <a:ext uri="{FF2B5EF4-FFF2-40B4-BE49-F238E27FC236}">
                <a16:creationId xmlns:a16="http://schemas.microsoft.com/office/drawing/2014/main" id="{77A19028-6874-4ECF-A07C-E2FC72C22A93}"/>
              </a:ext>
            </a:extLst>
          </p:cNvPr>
          <p:cNvSpPr txBox="1"/>
          <p:nvPr/>
        </p:nvSpPr>
        <p:spPr>
          <a:xfrm>
            <a:off x="5002816" y="1872526"/>
            <a:ext cx="199919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89C4"/>
                </a:solidFill>
                <a:effectLst/>
                <a:uLnTx/>
                <a:uFillTx/>
                <a:latin typeface="Calibri" panose="020F0502020204030204"/>
                <a:ea typeface="+mn-ea"/>
                <a:cs typeface="+mn-cs"/>
              </a:rPr>
              <a:t>Direct Opportunities</a:t>
            </a:r>
          </a:p>
        </p:txBody>
      </p:sp>
      <p:sp>
        <p:nvSpPr>
          <p:cNvPr id="28" name="Flowchart: Merge 27">
            <a:extLst>
              <a:ext uri="{FF2B5EF4-FFF2-40B4-BE49-F238E27FC236}">
                <a16:creationId xmlns:a16="http://schemas.microsoft.com/office/drawing/2014/main" id="{8C4BFF09-90A8-4EF9-930C-9F06405A8D50}"/>
              </a:ext>
              <a:ext uri="{C183D7F6-B498-43B3-948B-1728B52AA6E4}">
                <adec:decorative xmlns:adec="http://schemas.microsoft.com/office/drawing/2017/decorative" val="1"/>
              </a:ext>
            </a:extLst>
          </p:cNvPr>
          <p:cNvSpPr/>
          <p:nvPr/>
        </p:nvSpPr>
        <p:spPr>
          <a:xfrm rot="16200000">
            <a:off x="6358886" y="2695680"/>
            <a:ext cx="1988458" cy="302242"/>
          </a:xfrm>
          <a:prstGeom prst="flowChartMerge">
            <a:avLst/>
          </a:prstGeom>
          <a:solidFill>
            <a:schemeClr val="accent6">
              <a:lumMod val="75000"/>
              <a:alpha val="50000"/>
            </a:schemeClr>
          </a:solidFill>
          <a:ln>
            <a:solidFill>
              <a:schemeClr val="accent6">
                <a:lumMod val="50000"/>
                <a:alpha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969C2E9D-CDC5-43C6-A21E-055F93B375A7}"/>
              </a:ext>
            </a:extLst>
          </p:cNvPr>
          <p:cNvSpPr/>
          <p:nvPr/>
        </p:nvSpPr>
        <p:spPr>
          <a:xfrm>
            <a:off x="7774558" y="1386361"/>
            <a:ext cx="3899635" cy="292087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Reinvigorate supplier development program to help small and diverse firms grow in other areas of the busines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Work closely with Sourcing and SCR Champions to identify suppliers for short and long-term business opportunitie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Review sourcing processes to identify barriers that prevent suppliers from competing effectively</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Partner with Community Based Organizations to provide world class technical assistance</a:t>
            </a:r>
          </a:p>
        </p:txBody>
      </p:sp>
      <p:sp>
        <p:nvSpPr>
          <p:cNvPr id="4" name="Rectangle 3">
            <a:extLst>
              <a:ext uri="{FF2B5EF4-FFF2-40B4-BE49-F238E27FC236}">
                <a16:creationId xmlns:a16="http://schemas.microsoft.com/office/drawing/2014/main" id="{032D1CF1-1305-47D5-9107-C9138F1FDA70}"/>
              </a:ext>
            </a:extLst>
          </p:cNvPr>
          <p:cNvSpPr/>
          <p:nvPr/>
        </p:nvSpPr>
        <p:spPr>
          <a:xfrm>
            <a:off x="1118741" y="1244723"/>
            <a:ext cx="10653255" cy="324675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026" name="Picture 3">
            <a:extLst>
              <a:ext uri="{FF2B5EF4-FFF2-40B4-BE49-F238E27FC236}">
                <a16:creationId xmlns:a16="http://schemas.microsoft.com/office/drawing/2014/main" id="{EFE9173F-B788-43EC-AC5E-4F04F8396F8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361078" y="4951728"/>
            <a:ext cx="1348938" cy="1266036"/>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9" name="Content Placeholder 2">
            <a:extLst>
              <a:ext uri="{FF2B5EF4-FFF2-40B4-BE49-F238E27FC236}">
                <a16:creationId xmlns:a16="http://schemas.microsoft.com/office/drawing/2014/main" id="{8AB0EEA8-A08B-4825-8284-45E3DE16EBE0}"/>
              </a:ext>
            </a:extLst>
          </p:cNvPr>
          <p:cNvSpPr txBox="1">
            <a:spLocks/>
          </p:cNvSpPr>
          <p:nvPr/>
        </p:nvSpPr>
        <p:spPr>
          <a:xfrm>
            <a:off x="2767007" y="4828187"/>
            <a:ext cx="1585452" cy="1651361"/>
          </a:xfrm>
          <a:prstGeom prst="rect">
            <a:avLst/>
          </a:prstGeom>
        </p:spPr>
        <p:txBody>
          <a:bodyPr vert="horz" lIns="91440" tIns="45720" rIns="91440" bIns="45720" rtlCol="0">
            <a:noAutofit/>
          </a:bodyPr>
          <a:lstStyle>
            <a:lvl1pPr marL="171450" indent="-171450" algn="l" defTabSz="685800" rtl="0" eaLnBrk="1" latinLnBrk="0" hangingPunct="1">
              <a:lnSpc>
                <a:spcPct val="100000"/>
              </a:lnSpc>
              <a:spcBef>
                <a:spcPts val="450"/>
              </a:spcBef>
              <a:buFont typeface="Arial" panose="020B0604020202020204" pitchFamily="34" charset="0"/>
              <a:buChar char="•"/>
              <a:defRPr sz="2100" kern="1200">
                <a:solidFill>
                  <a:schemeClr val="tx2">
                    <a:lumMod val="50000"/>
                  </a:schemeClr>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100000"/>
              </a:lnSpc>
              <a:spcBef>
                <a:spcPts val="450"/>
              </a:spcBef>
              <a:buFont typeface="Calibri" panose="020F0502020204030204" pitchFamily="34" charset="0"/>
              <a:buChar char="̶"/>
              <a:defRPr sz="2100" kern="1200">
                <a:solidFill>
                  <a:schemeClr val="tx2">
                    <a:lumMod val="50000"/>
                  </a:schemeClr>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100000"/>
              </a:lnSpc>
              <a:spcBef>
                <a:spcPts val="450"/>
              </a:spcBef>
              <a:buFont typeface="Arial" panose="020B0604020202020204" pitchFamily="34" charset="0"/>
              <a:buChar char="•"/>
              <a:defRPr sz="1500" kern="1200">
                <a:solidFill>
                  <a:schemeClr val="tx2">
                    <a:lumMod val="50000"/>
                  </a:schemeClr>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100000"/>
              </a:lnSpc>
              <a:spcBef>
                <a:spcPts val="450"/>
              </a:spcBef>
              <a:buFont typeface="Arial" panose="020B0604020202020204" pitchFamily="34" charset="0"/>
              <a:buChar char="•"/>
              <a:defRPr sz="1350" kern="1200">
                <a:solidFill>
                  <a:schemeClr val="tx2">
                    <a:lumMod val="50000"/>
                  </a:schemeClr>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100000"/>
              </a:lnSpc>
              <a:spcBef>
                <a:spcPts val="450"/>
              </a:spcBef>
              <a:buFont typeface="Arial" panose="020B0604020202020204" pitchFamily="34" charset="0"/>
              <a:buChar char="•"/>
              <a:defRPr sz="1200" kern="1200">
                <a:solidFill>
                  <a:schemeClr val="tx2">
                    <a:lumMod val="50000"/>
                  </a:schemeClr>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3038" marR="0" lvl="0" indent="-173038" algn="l" defTabSz="6858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sz="1150" b="0" i="0" u="none" strike="noStrike" kern="1200" cap="none" spc="0" normalizeH="0" baseline="0" noProof="0" dirty="0">
                <a:ln>
                  <a:noFill/>
                </a:ln>
                <a:solidFill>
                  <a:srgbClr val="BBBBBB">
                    <a:lumMod val="50000"/>
                  </a:srgbClr>
                </a:solidFill>
                <a:effectLst/>
                <a:uLnTx/>
                <a:uFillTx/>
                <a:latin typeface="Calibri" panose="020F0502020204030204"/>
                <a:ea typeface="MS PGothic" panose="020B0600070205080204" pitchFamily="34" charset="-128"/>
                <a:cs typeface="Arial" panose="020B0604020202020204" pitchFamily="34" charset="0"/>
              </a:rPr>
              <a:t>Diverse Suppliers Go Green</a:t>
            </a:r>
          </a:p>
          <a:p>
            <a:pPr marL="173038" marR="0" lvl="0" indent="-173038" algn="l" defTabSz="6858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sz="1150" b="0" i="0" u="none" strike="noStrike" kern="1200" cap="none" spc="0" normalizeH="0" baseline="0" noProof="0" dirty="0">
                <a:ln>
                  <a:noFill/>
                </a:ln>
                <a:solidFill>
                  <a:srgbClr val="BBBBBB">
                    <a:lumMod val="50000"/>
                  </a:srgbClr>
                </a:solidFill>
                <a:effectLst/>
                <a:uLnTx/>
                <a:uFillTx/>
                <a:latin typeface="Calibri" panose="020F0502020204030204"/>
                <a:ea typeface="MS PGothic" panose="020B0600070205080204" pitchFamily="34" charset="-128"/>
                <a:cs typeface="Arial" panose="020B0604020202020204" pitchFamily="34" charset="0"/>
              </a:rPr>
              <a:t>Diverse Suppliers are Cyber-Secure</a:t>
            </a:r>
          </a:p>
          <a:p>
            <a:pPr marL="173038" marR="0" lvl="0" indent="-173038" algn="l" defTabSz="6858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sz="1150" b="0" i="0" u="none" strike="noStrike" kern="1200" cap="none" spc="0" normalizeH="0" baseline="0" noProof="0" dirty="0">
                <a:ln>
                  <a:noFill/>
                </a:ln>
                <a:solidFill>
                  <a:srgbClr val="BBBBBB">
                    <a:lumMod val="50000"/>
                  </a:srgbClr>
                </a:solidFill>
                <a:effectLst/>
                <a:uLnTx/>
                <a:uFillTx/>
                <a:latin typeface="Calibri" panose="020F0502020204030204"/>
                <a:ea typeface="MS PGothic" panose="020B0600070205080204" pitchFamily="34" charset="-128"/>
                <a:cs typeface="Arial" panose="020B0604020202020204" pitchFamily="34" charset="0"/>
              </a:rPr>
              <a:t>Diverse Suppliers are Safe</a:t>
            </a:r>
          </a:p>
          <a:p>
            <a:pPr marL="173038" marR="0" lvl="0" indent="-173038" algn="l" defTabSz="6858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sz="1150" b="0" i="0" u="none" strike="noStrike" kern="1200" cap="none" spc="0" normalizeH="0" baseline="0" noProof="0" dirty="0">
                <a:ln>
                  <a:noFill/>
                </a:ln>
                <a:solidFill>
                  <a:srgbClr val="BBBBBB">
                    <a:lumMod val="50000"/>
                  </a:srgbClr>
                </a:solidFill>
                <a:effectLst/>
                <a:uLnTx/>
                <a:uFillTx/>
                <a:latin typeface="Calibri" panose="020F0502020204030204"/>
                <a:ea typeface="MS PGothic" panose="020B0600070205080204" pitchFamily="34" charset="-128"/>
                <a:cs typeface="Arial" panose="020B0604020202020204" pitchFamily="34" charset="0"/>
              </a:rPr>
              <a:t>Strategic Sourcing Workshops</a:t>
            </a:r>
          </a:p>
        </p:txBody>
      </p:sp>
      <p:sp>
        <p:nvSpPr>
          <p:cNvPr id="20" name="Content Placeholder 2">
            <a:extLst>
              <a:ext uri="{FF2B5EF4-FFF2-40B4-BE49-F238E27FC236}">
                <a16:creationId xmlns:a16="http://schemas.microsoft.com/office/drawing/2014/main" id="{CA12B136-B325-48ED-8CD1-9EA8A8827EF7}"/>
              </a:ext>
            </a:extLst>
          </p:cNvPr>
          <p:cNvSpPr txBox="1">
            <a:spLocks/>
          </p:cNvSpPr>
          <p:nvPr/>
        </p:nvSpPr>
        <p:spPr>
          <a:xfrm>
            <a:off x="4349966" y="4834593"/>
            <a:ext cx="1686549" cy="1651361"/>
          </a:xfrm>
          <a:prstGeom prst="rect">
            <a:avLst/>
          </a:prstGeom>
        </p:spPr>
        <p:txBody>
          <a:bodyPr vert="horz" lIns="91440" tIns="45720" rIns="91440" bIns="45720" rtlCol="0">
            <a:noAutofit/>
          </a:bodyPr>
          <a:lstStyle>
            <a:lvl1pPr marL="171450" indent="-171450" algn="l" defTabSz="685800" rtl="0" eaLnBrk="1" latinLnBrk="0" hangingPunct="1">
              <a:lnSpc>
                <a:spcPct val="100000"/>
              </a:lnSpc>
              <a:spcBef>
                <a:spcPts val="450"/>
              </a:spcBef>
              <a:buFont typeface="Arial" panose="020B0604020202020204" pitchFamily="34" charset="0"/>
              <a:buChar char="•"/>
              <a:defRPr sz="2100" kern="1200">
                <a:solidFill>
                  <a:schemeClr val="tx2">
                    <a:lumMod val="50000"/>
                  </a:schemeClr>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100000"/>
              </a:lnSpc>
              <a:spcBef>
                <a:spcPts val="450"/>
              </a:spcBef>
              <a:buFont typeface="Calibri" panose="020F0502020204030204" pitchFamily="34" charset="0"/>
              <a:buChar char="̶"/>
              <a:defRPr sz="2100" kern="1200">
                <a:solidFill>
                  <a:schemeClr val="tx2">
                    <a:lumMod val="50000"/>
                  </a:schemeClr>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100000"/>
              </a:lnSpc>
              <a:spcBef>
                <a:spcPts val="450"/>
              </a:spcBef>
              <a:buFont typeface="Arial" panose="020B0604020202020204" pitchFamily="34" charset="0"/>
              <a:buChar char="•"/>
              <a:defRPr sz="1500" kern="1200">
                <a:solidFill>
                  <a:schemeClr val="tx2">
                    <a:lumMod val="50000"/>
                  </a:schemeClr>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100000"/>
              </a:lnSpc>
              <a:spcBef>
                <a:spcPts val="450"/>
              </a:spcBef>
              <a:buFont typeface="Arial" panose="020B0604020202020204" pitchFamily="34" charset="0"/>
              <a:buChar char="•"/>
              <a:defRPr sz="1350" kern="1200">
                <a:solidFill>
                  <a:schemeClr val="tx2">
                    <a:lumMod val="50000"/>
                  </a:schemeClr>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100000"/>
              </a:lnSpc>
              <a:spcBef>
                <a:spcPts val="450"/>
              </a:spcBef>
              <a:buFont typeface="Arial" panose="020B0604020202020204" pitchFamily="34" charset="0"/>
              <a:buChar char="•"/>
              <a:defRPr sz="1200" kern="1200">
                <a:solidFill>
                  <a:schemeClr val="tx2">
                    <a:lumMod val="50000"/>
                  </a:schemeClr>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3038" marR="0" lvl="0" indent="-173038" algn="l" defTabSz="6858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sz="1150" b="0" i="0" u="none" strike="noStrike" kern="1200" cap="none" spc="0" normalizeH="0" baseline="0" noProof="0" dirty="0">
                <a:ln>
                  <a:noFill/>
                </a:ln>
                <a:solidFill>
                  <a:srgbClr val="BBBBBB">
                    <a:lumMod val="50000"/>
                  </a:srgbClr>
                </a:solidFill>
                <a:effectLst/>
                <a:uLnTx/>
                <a:uFillTx/>
                <a:latin typeface="Calibri" panose="020F0502020204030204"/>
                <a:ea typeface="MS PGothic" panose="020B0600070205080204" pitchFamily="34" charset="-128"/>
                <a:cs typeface="Arial" panose="020B0604020202020204" pitchFamily="34" charset="0"/>
              </a:rPr>
              <a:t>UCLA MDE Program</a:t>
            </a:r>
          </a:p>
          <a:p>
            <a:pPr marL="173038" marR="0" lvl="0" indent="-173038" algn="l" defTabSz="6858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sz="1150" b="0" i="0" u="none" strike="noStrike" kern="1200" cap="none" spc="0" normalizeH="0" baseline="0" noProof="0" dirty="0">
                <a:ln>
                  <a:noFill/>
                </a:ln>
                <a:solidFill>
                  <a:srgbClr val="BBBBBB">
                    <a:lumMod val="50000"/>
                  </a:srgbClr>
                </a:solidFill>
                <a:effectLst/>
                <a:uLnTx/>
                <a:uFillTx/>
                <a:latin typeface="Calibri" panose="020F0502020204030204"/>
                <a:ea typeface="MS PGothic" panose="020B0600070205080204" pitchFamily="34" charset="-128"/>
                <a:cs typeface="Arial" panose="020B0604020202020204" pitchFamily="34" charset="0"/>
              </a:rPr>
              <a:t>Future Proofing Your Business</a:t>
            </a:r>
          </a:p>
          <a:p>
            <a:pPr marL="173038" marR="0" lvl="0" indent="-173038" algn="l" defTabSz="6858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sz="1150" b="0" i="0" u="none" strike="noStrike" kern="1200" cap="none" spc="0" normalizeH="0" baseline="0" noProof="0" dirty="0">
                <a:ln>
                  <a:noFill/>
                </a:ln>
                <a:solidFill>
                  <a:srgbClr val="BBBBBB">
                    <a:lumMod val="50000"/>
                  </a:srgbClr>
                </a:solidFill>
                <a:effectLst/>
                <a:uLnTx/>
                <a:uFillTx/>
                <a:latin typeface="Calibri" panose="020F0502020204030204"/>
                <a:ea typeface="MS PGothic" panose="020B0600070205080204" pitchFamily="34" charset="-128"/>
                <a:cs typeface="Arial" panose="020B0604020202020204" pitchFamily="34" charset="0"/>
              </a:rPr>
              <a:t>Business Tune-Up Workshops</a:t>
            </a:r>
          </a:p>
          <a:p>
            <a:pPr marL="173038" marR="0" lvl="0" indent="-173038" algn="l" defTabSz="6858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US" sz="1150" b="0" i="0" u="none" strike="noStrike" kern="1200" cap="none" spc="0" normalizeH="0" baseline="0" noProof="0" dirty="0">
                <a:ln>
                  <a:noFill/>
                </a:ln>
                <a:solidFill>
                  <a:srgbClr val="BBBBBB">
                    <a:lumMod val="50000"/>
                  </a:srgbClr>
                </a:solidFill>
                <a:effectLst/>
                <a:uLnTx/>
                <a:uFillTx/>
                <a:latin typeface="Calibri" panose="020F0502020204030204"/>
                <a:ea typeface="MS PGothic" panose="020B0600070205080204" pitchFamily="34" charset="-128"/>
                <a:cs typeface="Arial" panose="020B0604020202020204" pitchFamily="34" charset="0"/>
              </a:rPr>
              <a:t>Free online Training (www.pgetap.com)</a:t>
            </a:r>
          </a:p>
        </p:txBody>
      </p:sp>
    </p:spTree>
    <p:extLst>
      <p:ext uri="{BB962C8B-B14F-4D97-AF65-F5344CB8AC3E}">
        <p14:creationId xmlns:p14="http://schemas.microsoft.com/office/powerpoint/2010/main" val="217074914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8F45E9-8AAE-4DDA-A2F3-9A8CE0849C59}"/>
              </a:ext>
            </a:extLst>
          </p:cNvPr>
          <p:cNvSpPr>
            <a:spLocks noGrp="1"/>
          </p:cNvSpPr>
          <p:nvPr>
            <p:ph type="title"/>
          </p:nvPr>
        </p:nvSpPr>
        <p:spPr>
          <a:xfrm>
            <a:off x="1319409" y="1"/>
            <a:ext cx="10672176" cy="1586751"/>
          </a:xfrm>
        </p:spPr>
        <p:txBody>
          <a:bodyPr anchor="ctr">
            <a:normAutofit/>
          </a:bodyPr>
          <a:lstStyle/>
          <a:p>
            <a:r>
              <a:rPr lang="en-US" dirty="0">
                <a:latin typeface="+mn-lt"/>
              </a:rPr>
              <a:t> Solicitation and SBE/DBE Awarded Contracts</a:t>
            </a:r>
          </a:p>
        </p:txBody>
      </p:sp>
      <p:sp>
        <p:nvSpPr>
          <p:cNvPr id="5" name="Text Placeholder 4">
            <a:extLst>
              <a:ext uri="{FF2B5EF4-FFF2-40B4-BE49-F238E27FC236}">
                <a16:creationId xmlns:a16="http://schemas.microsoft.com/office/drawing/2014/main" id="{7349C1F6-33B7-4739-BCA0-9A3F41CC5DFB}"/>
              </a:ext>
            </a:extLst>
          </p:cNvPr>
          <p:cNvSpPr>
            <a:spLocks noGrp="1"/>
          </p:cNvSpPr>
          <p:nvPr>
            <p:ph type="body" idx="13"/>
          </p:nvPr>
        </p:nvSpPr>
        <p:spPr>
          <a:xfrm>
            <a:off x="1319409" y="1030204"/>
            <a:ext cx="9924995" cy="2309255"/>
          </a:xfrm>
        </p:spPr>
        <p:txBody>
          <a:bodyPr>
            <a:normAutofit/>
          </a:bodyPr>
          <a:lstStyle/>
          <a:p>
            <a:pPr marL="285750" indent="-285750">
              <a:buFont typeface="Arial" panose="020B0604020202020204" pitchFamily="34" charset="0"/>
              <a:buChar char="•"/>
            </a:pPr>
            <a:r>
              <a:rPr lang="en-US" sz="1800">
                <a:solidFill>
                  <a:schemeClr val="tx2">
                    <a:lumMod val="50000"/>
                  </a:schemeClr>
                </a:solidFill>
                <a:latin typeface="+mn-lt"/>
              </a:rPr>
              <a:t>PG</a:t>
            </a:r>
            <a:r>
              <a:rPr lang="en-US" sz="1800" dirty="0">
                <a:solidFill>
                  <a:schemeClr val="tx2">
                    <a:lumMod val="50000"/>
                  </a:schemeClr>
                </a:solidFill>
                <a:latin typeface="+mn-lt"/>
              </a:rPr>
              <a:t>&amp;E plans to issue more targeted solicitations which may better align with small businesses</a:t>
            </a:r>
          </a:p>
          <a:p>
            <a:endParaRPr lang="en-US" sz="1800" dirty="0">
              <a:solidFill>
                <a:schemeClr val="tx2">
                  <a:lumMod val="50000"/>
                </a:schemeClr>
              </a:solidFill>
            </a:endParaRPr>
          </a:p>
        </p:txBody>
      </p:sp>
      <p:graphicFrame>
        <p:nvGraphicFramePr>
          <p:cNvPr id="6" name="Table 6">
            <a:extLst>
              <a:ext uri="{FF2B5EF4-FFF2-40B4-BE49-F238E27FC236}">
                <a16:creationId xmlns:a16="http://schemas.microsoft.com/office/drawing/2014/main" id="{94B23BA9-1AE3-471D-9A79-68367354B55E}"/>
              </a:ext>
            </a:extLst>
          </p:cNvPr>
          <p:cNvGraphicFramePr>
            <a:graphicFrameLocks noGrp="1"/>
          </p:cNvGraphicFramePr>
          <p:nvPr/>
        </p:nvGraphicFramePr>
        <p:xfrm>
          <a:off x="1383333" y="2803981"/>
          <a:ext cx="9617106" cy="2209100"/>
        </p:xfrm>
        <a:graphic>
          <a:graphicData uri="http://schemas.openxmlformats.org/drawingml/2006/table">
            <a:tbl>
              <a:tblPr firstRow="1" bandRow="1">
                <a:tableStyleId>{5C22544A-7EE6-4342-B048-85BDC9FD1C3A}</a:tableStyleId>
              </a:tblPr>
              <a:tblGrid>
                <a:gridCol w="2696481">
                  <a:extLst>
                    <a:ext uri="{9D8B030D-6E8A-4147-A177-3AD203B41FA5}">
                      <a16:colId xmlns:a16="http://schemas.microsoft.com/office/drawing/2014/main" val="683819934"/>
                    </a:ext>
                  </a:extLst>
                </a:gridCol>
                <a:gridCol w="3480379">
                  <a:extLst>
                    <a:ext uri="{9D8B030D-6E8A-4147-A177-3AD203B41FA5}">
                      <a16:colId xmlns:a16="http://schemas.microsoft.com/office/drawing/2014/main" val="1478672739"/>
                    </a:ext>
                  </a:extLst>
                </a:gridCol>
                <a:gridCol w="1810693">
                  <a:extLst>
                    <a:ext uri="{9D8B030D-6E8A-4147-A177-3AD203B41FA5}">
                      <a16:colId xmlns:a16="http://schemas.microsoft.com/office/drawing/2014/main" val="806586261"/>
                    </a:ext>
                  </a:extLst>
                </a:gridCol>
                <a:gridCol w="1629553">
                  <a:extLst>
                    <a:ext uri="{9D8B030D-6E8A-4147-A177-3AD203B41FA5}">
                      <a16:colId xmlns:a16="http://schemas.microsoft.com/office/drawing/2014/main" val="4096577010"/>
                    </a:ext>
                  </a:extLst>
                </a:gridCol>
              </a:tblGrid>
              <a:tr h="284731">
                <a:tc>
                  <a:txBody>
                    <a:bodyPr/>
                    <a:lstStyle/>
                    <a:p>
                      <a:pPr algn="ctr"/>
                      <a:r>
                        <a:rPr lang="en-US" sz="1600" dirty="0"/>
                        <a:t>Category</a:t>
                      </a:r>
                    </a:p>
                  </a:txBody>
                  <a:tcPr>
                    <a:lnB w="12700" cap="flat" cmpd="sng" algn="ctr">
                      <a:solidFill>
                        <a:schemeClr val="tx1"/>
                      </a:solidFill>
                      <a:prstDash val="solid"/>
                      <a:round/>
                      <a:headEnd type="none" w="med" len="med"/>
                      <a:tailEnd type="none" w="med" len="med"/>
                    </a:lnB>
                  </a:tcPr>
                </a:tc>
                <a:tc>
                  <a:txBody>
                    <a:bodyPr/>
                    <a:lstStyle/>
                    <a:p>
                      <a:pPr algn="ctr"/>
                      <a:r>
                        <a:rPr lang="en-US" sz="1600" dirty="0"/>
                        <a:t>Quantity</a:t>
                      </a:r>
                    </a:p>
                  </a:txBody>
                  <a:tcPr>
                    <a:lnB w="12700" cap="flat" cmpd="sng" algn="ctr">
                      <a:solidFill>
                        <a:schemeClr val="tx1"/>
                      </a:solidFill>
                      <a:prstDash val="solid"/>
                      <a:round/>
                      <a:headEnd type="none" w="med" len="med"/>
                      <a:tailEnd type="none" w="med" len="med"/>
                    </a:lnB>
                  </a:tcPr>
                </a:tc>
                <a:tc>
                  <a:txBody>
                    <a:bodyPr/>
                    <a:lstStyle/>
                    <a:p>
                      <a:pPr algn="ctr"/>
                      <a:r>
                        <a:rPr lang="en-US" sz="1600" dirty="0"/>
                        <a:t>EE 3P Spend ($)</a:t>
                      </a:r>
                    </a:p>
                  </a:txBody>
                  <a:tcPr>
                    <a:lnB w="12700" cap="flat" cmpd="sng" algn="ctr">
                      <a:solidFill>
                        <a:schemeClr val="tx1"/>
                      </a:solidFill>
                      <a:prstDash val="solid"/>
                      <a:round/>
                      <a:headEnd type="none" w="med" len="med"/>
                      <a:tailEnd type="none" w="med" len="med"/>
                    </a:lnB>
                  </a:tcPr>
                </a:tc>
                <a:tc>
                  <a:txBody>
                    <a:bodyPr/>
                    <a:lstStyle/>
                    <a:p>
                      <a:pPr algn="ctr"/>
                      <a:r>
                        <a:rPr lang="en-US" sz="1600" dirty="0"/>
                        <a:t>EE 3P Spend (%)</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7258732"/>
                  </a:ext>
                </a:extLst>
              </a:tr>
              <a:tr h="697158">
                <a:tc>
                  <a:txBody>
                    <a:bodyPr/>
                    <a:lstStyle/>
                    <a:p>
                      <a:pPr algn="ctr"/>
                      <a:r>
                        <a:rPr lang="en-US" sz="1600" b="1" dirty="0">
                          <a:solidFill>
                            <a:srgbClr val="000000"/>
                          </a:solidFill>
                        </a:rPr>
                        <a:t>Tier 1: Prime*</a:t>
                      </a:r>
                    </a:p>
                    <a:p>
                      <a:pPr algn="l"/>
                      <a:endParaRPr lang="en-US" sz="1600" b="1" dirty="0">
                        <a:solidFill>
                          <a:srgbClr val="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b="1" dirty="0">
                          <a:solidFill>
                            <a:srgbClr val="000000"/>
                          </a:solidFill>
                        </a:rPr>
                        <a:t>6</a:t>
                      </a:r>
                    </a:p>
                    <a:p>
                      <a:pPr marL="171450" lvl="0" indent="-171450">
                        <a:buFont typeface="Arial" panose="020B0604020202020204" pitchFamily="34" charset="0"/>
                        <a:buChar char="•"/>
                      </a:pPr>
                      <a:r>
                        <a:rPr lang="en-US" sz="1200" dirty="0">
                          <a:solidFill>
                            <a:srgbClr val="000000"/>
                          </a:solidFill>
                        </a:rPr>
                        <a:t>3 are Small Businesses</a:t>
                      </a:r>
                    </a:p>
                    <a:p>
                      <a:pPr marL="171450" lvl="0" indent="-171450">
                        <a:buFont typeface="Arial" panose="020B0604020202020204" pitchFamily="34" charset="0"/>
                        <a:buChar char="•"/>
                      </a:pPr>
                      <a:r>
                        <a:rPr lang="en-US" sz="1200" dirty="0">
                          <a:solidFill>
                            <a:srgbClr val="000000"/>
                          </a:solidFill>
                        </a:rPr>
                        <a:t>2 are CPUC Certified Businesses</a:t>
                      </a:r>
                    </a:p>
                    <a:p>
                      <a:pPr marL="171450" lvl="0" indent="-171450">
                        <a:buFont typeface="Arial" panose="020B0604020202020204" pitchFamily="34" charset="0"/>
                        <a:buChar char="•"/>
                      </a:pPr>
                      <a:r>
                        <a:rPr lang="en-US" sz="1200" dirty="0">
                          <a:solidFill>
                            <a:srgbClr val="000000"/>
                          </a:solidFill>
                        </a:rPr>
                        <a:t>1  is Department of General Services Non-Profit/CPUC Diverse Certifi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b="1" dirty="0">
                          <a:solidFill>
                            <a:srgbClr val="000000"/>
                          </a:solidFill>
                        </a:rPr>
                        <a:t>$69.43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b="1" dirty="0">
                          <a:solidFill>
                            <a:srgbClr val="000000"/>
                          </a:solidFill>
                        </a:rPr>
                        <a:t>17.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50883650"/>
                  </a:ext>
                </a:extLst>
              </a:tr>
              <a:tr h="776540">
                <a:tc>
                  <a:txBody>
                    <a:bodyPr/>
                    <a:lstStyle/>
                    <a:p>
                      <a:pPr algn="ctr"/>
                      <a:r>
                        <a:rPr lang="en-US" sz="1600" b="1" dirty="0">
                          <a:solidFill>
                            <a:srgbClr val="000000"/>
                          </a:solidFill>
                        </a:rPr>
                        <a:t>Tier 2: Subcontracto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800" b="1" dirty="0">
                          <a:solidFill>
                            <a:srgbClr val="000000"/>
                          </a:solidFill>
                        </a:rPr>
                        <a:t>29</a:t>
                      </a:r>
                    </a:p>
                    <a:p>
                      <a:pPr marL="171450" indent="-171450" algn="l">
                        <a:buFont typeface="Arial" panose="020B0604020202020204" pitchFamily="34" charset="0"/>
                        <a:buChar char="•"/>
                      </a:pPr>
                      <a:r>
                        <a:rPr lang="en-US" sz="1200" dirty="0">
                          <a:solidFill>
                            <a:srgbClr val="000000"/>
                          </a:solidFill>
                          <a:highlight>
                            <a:srgbClr val="FFFFFF"/>
                          </a:highlight>
                        </a:rPr>
                        <a:t>16 Programs utilize Small Businesses</a:t>
                      </a:r>
                    </a:p>
                    <a:p>
                      <a:pPr marL="171450" indent="-171450" algn="l">
                        <a:buFont typeface="Arial" panose="020B0604020202020204" pitchFamily="34" charset="0"/>
                        <a:buChar char="•"/>
                      </a:pPr>
                      <a:r>
                        <a:rPr lang="en-US" sz="1200" dirty="0">
                          <a:solidFill>
                            <a:srgbClr val="000000"/>
                          </a:solidFill>
                          <a:highlight>
                            <a:srgbClr val="FFFFFF"/>
                          </a:highlight>
                        </a:rPr>
                        <a:t>13 Programs utilize </a:t>
                      </a:r>
                      <a:r>
                        <a:rPr lang="en-US" sz="1200" dirty="0">
                          <a:solidFill>
                            <a:srgbClr val="000000"/>
                          </a:solidFill>
                        </a:rPr>
                        <a:t>CPUC Certified Business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b="1" dirty="0">
                          <a:solidFill>
                            <a:srgbClr val="000000"/>
                          </a:solidFill>
                        </a:rPr>
                        <a:t>$26.32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600" b="1" dirty="0">
                          <a:solidFill>
                            <a:srgbClr val="000000"/>
                          </a:solidFill>
                        </a:rPr>
                        <a:t>6.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05390326"/>
                  </a:ext>
                </a:extLst>
              </a:tr>
            </a:tbl>
          </a:graphicData>
        </a:graphic>
      </p:graphicFrame>
      <p:graphicFrame>
        <p:nvGraphicFramePr>
          <p:cNvPr id="9" name="Table 10">
            <a:extLst>
              <a:ext uri="{FF2B5EF4-FFF2-40B4-BE49-F238E27FC236}">
                <a16:creationId xmlns:a16="http://schemas.microsoft.com/office/drawing/2014/main" id="{A04D9734-7ED5-496D-8AFA-D733A3D7EF20}"/>
              </a:ext>
            </a:extLst>
          </p:cNvPr>
          <p:cNvGraphicFramePr>
            <a:graphicFrameLocks noGrp="1"/>
          </p:cNvGraphicFramePr>
          <p:nvPr/>
        </p:nvGraphicFramePr>
        <p:xfrm>
          <a:off x="1420237" y="5421431"/>
          <a:ext cx="8258783" cy="670560"/>
        </p:xfrm>
        <a:graphic>
          <a:graphicData uri="http://schemas.openxmlformats.org/drawingml/2006/table">
            <a:tbl>
              <a:tblPr firstRow="1" bandRow="1">
                <a:tableStyleId>{5C22544A-7EE6-4342-B048-85BDC9FD1C3A}</a:tableStyleId>
              </a:tblPr>
              <a:tblGrid>
                <a:gridCol w="1844555">
                  <a:extLst>
                    <a:ext uri="{9D8B030D-6E8A-4147-A177-3AD203B41FA5}">
                      <a16:colId xmlns:a16="http://schemas.microsoft.com/office/drawing/2014/main" val="3919727941"/>
                    </a:ext>
                  </a:extLst>
                </a:gridCol>
                <a:gridCol w="1659172">
                  <a:extLst>
                    <a:ext uri="{9D8B030D-6E8A-4147-A177-3AD203B41FA5}">
                      <a16:colId xmlns:a16="http://schemas.microsoft.com/office/drawing/2014/main" val="2522239672"/>
                    </a:ext>
                  </a:extLst>
                </a:gridCol>
                <a:gridCol w="2131896">
                  <a:extLst>
                    <a:ext uri="{9D8B030D-6E8A-4147-A177-3AD203B41FA5}">
                      <a16:colId xmlns:a16="http://schemas.microsoft.com/office/drawing/2014/main" val="4150144194"/>
                    </a:ext>
                  </a:extLst>
                </a:gridCol>
                <a:gridCol w="2623160">
                  <a:extLst>
                    <a:ext uri="{9D8B030D-6E8A-4147-A177-3AD203B41FA5}">
                      <a16:colId xmlns:a16="http://schemas.microsoft.com/office/drawing/2014/main" val="1351241885"/>
                    </a:ext>
                  </a:extLst>
                </a:gridCol>
              </a:tblGrid>
              <a:tr h="0">
                <a:tc>
                  <a:txBody>
                    <a:bodyPr/>
                    <a:lstStyle/>
                    <a:p>
                      <a:pPr algn="ctr"/>
                      <a:r>
                        <a:rPr lang="en-US" sz="1600" dirty="0"/>
                        <a:t>Category</a:t>
                      </a:r>
                    </a:p>
                  </a:txBody>
                  <a:tcPr/>
                </a:tc>
                <a:tc>
                  <a:txBody>
                    <a:bodyPr/>
                    <a:lstStyle/>
                    <a:p>
                      <a:pPr algn="ctr"/>
                      <a:r>
                        <a:rPr lang="en-US" sz="1600" dirty="0"/>
                        <a:t>Quantity</a:t>
                      </a:r>
                    </a:p>
                  </a:txBody>
                  <a:tcPr/>
                </a:tc>
                <a:tc>
                  <a:txBody>
                    <a:bodyPr/>
                    <a:lstStyle/>
                    <a:p>
                      <a:pPr algn="ctr"/>
                      <a:r>
                        <a:rPr lang="en-US" sz="1600" dirty="0"/>
                        <a:t>EE 3P Spend ($)</a:t>
                      </a:r>
                    </a:p>
                  </a:txBody>
                  <a:tcPr/>
                </a:tc>
                <a:tc>
                  <a:txBody>
                    <a:bodyPr/>
                    <a:lstStyle/>
                    <a:p>
                      <a:pPr algn="ctr"/>
                      <a:r>
                        <a:rPr lang="en-US" sz="1600" dirty="0"/>
                        <a:t>EE 3P Spend (%)</a:t>
                      </a:r>
                    </a:p>
                  </a:txBody>
                  <a:tcPr/>
                </a:tc>
                <a:extLst>
                  <a:ext uri="{0D108BD9-81ED-4DB2-BD59-A6C34878D82A}">
                    <a16:rowId xmlns:a16="http://schemas.microsoft.com/office/drawing/2014/main" val="1111123599"/>
                  </a:ext>
                </a:extLst>
              </a:tr>
              <a:tr h="228565">
                <a:tc>
                  <a:txBody>
                    <a:bodyPr/>
                    <a:lstStyle/>
                    <a:p>
                      <a:pPr algn="ctr"/>
                      <a:r>
                        <a:rPr lang="en-US" sz="1600" b="1" dirty="0">
                          <a:solidFill>
                            <a:srgbClr val="000000"/>
                          </a:solidFill>
                        </a:rPr>
                        <a:t>Prime</a:t>
                      </a:r>
                    </a:p>
                  </a:txBody>
                  <a:tcPr/>
                </a:tc>
                <a:tc>
                  <a:txBody>
                    <a:bodyPr/>
                    <a:lstStyle/>
                    <a:p>
                      <a:pPr algn="ctr"/>
                      <a:r>
                        <a:rPr lang="en-US" sz="1600" b="1" dirty="0">
                          <a:solidFill>
                            <a:srgbClr val="000000"/>
                          </a:solidFill>
                        </a:rPr>
                        <a:t>8</a:t>
                      </a:r>
                    </a:p>
                  </a:txBody>
                  <a:tcPr/>
                </a:tc>
                <a:tc>
                  <a:txBody>
                    <a:bodyPr/>
                    <a:lstStyle/>
                    <a:p>
                      <a:pPr algn="ctr"/>
                      <a:r>
                        <a:rPr lang="en-US" sz="1600" b="1" dirty="0">
                          <a:solidFill>
                            <a:srgbClr val="000000"/>
                          </a:solidFill>
                        </a:rPr>
                        <a:t>$10.15M</a:t>
                      </a:r>
                    </a:p>
                  </a:txBody>
                  <a:tcPr/>
                </a:tc>
                <a:tc>
                  <a:txBody>
                    <a:bodyPr/>
                    <a:lstStyle/>
                    <a:p>
                      <a:pPr algn="ctr"/>
                      <a:r>
                        <a:rPr lang="en-US" sz="1600" b="1" dirty="0">
                          <a:solidFill>
                            <a:srgbClr val="000000"/>
                          </a:solidFill>
                        </a:rPr>
                        <a:t>3%</a:t>
                      </a:r>
                    </a:p>
                  </a:txBody>
                  <a:tcPr/>
                </a:tc>
                <a:extLst>
                  <a:ext uri="{0D108BD9-81ED-4DB2-BD59-A6C34878D82A}">
                    <a16:rowId xmlns:a16="http://schemas.microsoft.com/office/drawing/2014/main" val="1745283312"/>
                  </a:ext>
                </a:extLst>
              </a:tr>
            </a:tbl>
          </a:graphicData>
        </a:graphic>
      </p:graphicFrame>
      <p:sp>
        <p:nvSpPr>
          <p:cNvPr id="12" name="TextBox 11">
            <a:extLst>
              <a:ext uri="{FF2B5EF4-FFF2-40B4-BE49-F238E27FC236}">
                <a16:creationId xmlns:a16="http://schemas.microsoft.com/office/drawing/2014/main" id="{EA13BB09-E907-4D74-8E20-B2B34D6B41B9}"/>
              </a:ext>
            </a:extLst>
          </p:cNvPr>
          <p:cNvSpPr txBox="1"/>
          <p:nvPr/>
        </p:nvSpPr>
        <p:spPr>
          <a:xfrm flipH="1">
            <a:off x="1319409" y="5107311"/>
            <a:ext cx="8035047"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EA420"/>
                </a:solidFill>
                <a:effectLst/>
                <a:uLnTx/>
                <a:uFillTx/>
                <a:latin typeface="Calibri" panose="020F0502020204030204"/>
                <a:ea typeface="+mn-ea"/>
                <a:cs typeface="Arial" panose="020B0604020202020204" pitchFamily="34" charset="0"/>
              </a:rPr>
              <a:t>PG&amp;E’s Local Government Partners breakdown of contract awards:</a:t>
            </a:r>
          </a:p>
        </p:txBody>
      </p:sp>
      <p:sp>
        <p:nvSpPr>
          <p:cNvPr id="4" name="TextBox 3">
            <a:extLst>
              <a:ext uri="{FF2B5EF4-FFF2-40B4-BE49-F238E27FC236}">
                <a16:creationId xmlns:a16="http://schemas.microsoft.com/office/drawing/2014/main" id="{BF2708DA-3687-4022-AB41-462534B87EEB}"/>
              </a:ext>
            </a:extLst>
          </p:cNvPr>
          <p:cNvSpPr txBox="1"/>
          <p:nvPr/>
        </p:nvSpPr>
        <p:spPr>
          <a:xfrm>
            <a:off x="1319409" y="6267879"/>
            <a:ext cx="5625091"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89C4">
                    <a:lumMod val="50000"/>
                  </a:srgbClr>
                </a:solidFill>
                <a:effectLst/>
                <a:uLnTx/>
                <a:uFillTx/>
                <a:latin typeface="Calibri" panose="020F0502020204030204"/>
                <a:ea typeface="+mn-ea"/>
                <a:cs typeface="+mn-cs"/>
              </a:rPr>
              <a:t>**combined % for all contracts based on estimated values provided by Implementers</a:t>
            </a:r>
          </a:p>
        </p:txBody>
      </p:sp>
      <p:sp>
        <p:nvSpPr>
          <p:cNvPr id="8" name="TextBox 7">
            <a:extLst>
              <a:ext uri="{FF2B5EF4-FFF2-40B4-BE49-F238E27FC236}">
                <a16:creationId xmlns:a16="http://schemas.microsoft.com/office/drawing/2014/main" id="{55DC8B1B-20C5-4AAD-B11B-DFC43AD192AD}"/>
              </a:ext>
            </a:extLst>
          </p:cNvPr>
          <p:cNvSpPr txBox="1"/>
          <p:nvPr/>
        </p:nvSpPr>
        <p:spPr>
          <a:xfrm>
            <a:off x="1319409" y="6081288"/>
            <a:ext cx="3787238" cy="25391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89C4">
                    <a:lumMod val="50000"/>
                  </a:srgbClr>
                </a:solidFill>
                <a:effectLst/>
                <a:uLnTx/>
                <a:uFillTx/>
                <a:latin typeface="Calibri" panose="020F0502020204030204"/>
                <a:ea typeface="+mn-ea"/>
                <a:cs typeface="+mn-cs"/>
              </a:rPr>
              <a:t>*Prime self-performed budget is $60.5M and 15.1%</a:t>
            </a:r>
          </a:p>
        </p:txBody>
      </p:sp>
      <p:sp>
        <p:nvSpPr>
          <p:cNvPr id="3" name="Rectangle 2">
            <a:extLst>
              <a:ext uri="{FF2B5EF4-FFF2-40B4-BE49-F238E27FC236}">
                <a16:creationId xmlns:a16="http://schemas.microsoft.com/office/drawing/2014/main" id="{3FFD998A-803C-4023-B39E-812544CA0199}"/>
              </a:ext>
            </a:extLst>
          </p:cNvPr>
          <p:cNvSpPr/>
          <p:nvPr/>
        </p:nvSpPr>
        <p:spPr>
          <a:xfrm>
            <a:off x="1319409" y="2480011"/>
            <a:ext cx="8811968" cy="338554"/>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EEA420"/>
                </a:solidFill>
                <a:effectLst/>
                <a:uLnTx/>
                <a:uFillTx/>
                <a:latin typeface="Calibri" panose="020F0502020204030204"/>
                <a:ea typeface="+mn-ea"/>
                <a:cs typeface="Arial" panose="020B0604020202020204" pitchFamily="34" charset="0"/>
              </a:rPr>
              <a:t>PG&amp;E’s current breakdown of SBE/DBE energy efficiency third-party awarded contracts:</a:t>
            </a:r>
          </a:p>
        </p:txBody>
      </p:sp>
    </p:spTree>
    <p:extLst>
      <p:ext uri="{BB962C8B-B14F-4D97-AF65-F5344CB8AC3E}">
        <p14:creationId xmlns:p14="http://schemas.microsoft.com/office/powerpoint/2010/main" val="1740779848"/>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D4FD55-D7C2-CF43-A91D-9D4502803AB0}"/>
              </a:ext>
            </a:extLst>
          </p:cNvPr>
          <p:cNvSpPr>
            <a:spLocks noGrp="1"/>
          </p:cNvSpPr>
          <p:nvPr>
            <p:ph type="title"/>
          </p:nvPr>
        </p:nvSpPr>
        <p:spPr/>
        <p:txBody>
          <a:bodyPr/>
          <a:lstStyle/>
          <a:p>
            <a:r>
              <a:rPr lang="en-US" dirty="0"/>
              <a:t>SBE/ DBE Challenges</a:t>
            </a:r>
          </a:p>
        </p:txBody>
      </p:sp>
      <p:graphicFrame>
        <p:nvGraphicFramePr>
          <p:cNvPr id="4" name="Content Placeholder 3">
            <a:extLst>
              <a:ext uri="{FF2B5EF4-FFF2-40B4-BE49-F238E27FC236}">
                <a16:creationId xmlns:a16="http://schemas.microsoft.com/office/drawing/2014/main" id="{A74848B9-5A68-234C-9178-3E82084F387E}"/>
              </a:ext>
            </a:extLst>
          </p:cNvPr>
          <p:cNvGraphicFramePr>
            <a:graphicFrameLocks noGrp="1"/>
          </p:cNvGraphicFramePr>
          <p:nvPr>
            <p:ph idx="1"/>
          </p:nvPr>
        </p:nvGraphicFramePr>
        <p:xfrm>
          <a:off x="839570" y="1825625"/>
          <a:ext cx="10964158"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2941157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775F46-BAAF-E04C-BD64-1BB49B023257}"/>
              </a:ext>
            </a:extLst>
          </p:cNvPr>
          <p:cNvSpPr>
            <a:spLocks noGrp="1"/>
          </p:cNvSpPr>
          <p:nvPr>
            <p:ph type="title"/>
          </p:nvPr>
        </p:nvSpPr>
        <p:spPr/>
        <p:txBody>
          <a:bodyPr/>
          <a:lstStyle/>
          <a:p>
            <a:r>
              <a:rPr lang="en-US" dirty="0"/>
              <a:t>Efforts Underway Alleviate Challenges</a:t>
            </a:r>
          </a:p>
        </p:txBody>
      </p:sp>
      <p:graphicFrame>
        <p:nvGraphicFramePr>
          <p:cNvPr id="6" name="Content Placeholder 5">
            <a:extLst>
              <a:ext uri="{FF2B5EF4-FFF2-40B4-BE49-F238E27FC236}">
                <a16:creationId xmlns:a16="http://schemas.microsoft.com/office/drawing/2014/main" id="{815DDAC3-203B-3D46-8EDB-1F94B98898A4}"/>
              </a:ext>
            </a:extLst>
          </p:cNvPr>
          <p:cNvGraphicFramePr>
            <a:graphicFrameLocks noGrp="1"/>
          </p:cNvGraphicFramePr>
          <p:nvPr>
            <p:ph idx="1"/>
          </p:nvPr>
        </p:nvGraphicFramePr>
        <p:xfrm>
          <a:off x="839569" y="1641076"/>
          <a:ext cx="10512862"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2521318"/>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D4FD55-D7C2-CF43-A91D-9D4502803AB0}"/>
              </a:ext>
            </a:extLst>
          </p:cNvPr>
          <p:cNvSpPr>
            <a:spLocks noGrp="1"/>
          </p:cNvSpPr>
          <p:nvPr>
            <p:ph type="title"/>
          </p:nvPr>
        </p:nvSpPr>
        <p:spPr/>
        <p:txBody>
          <a:bodyPr/>
          <a:lstStyle/>
          <a:p>
            <a:r>
              <a:rPr lang="en-US" dirty="0"/>
              <a:t>Other Opportunities for Improvement to Consider</a:t>
            </a:r>
          </a:p>
        </p:txBody>
      </p:sp>
      <p:graphicFrame>
        <p:nvGraphicFramePr>
          <p:cNvPr id="7" name="Content Placeholder 6">
            <a:extLst>
              <a:ext uri="{FF2B5EF4-FFF2-40B4-BE49-F238E27FC236}">
                <a16:creationId xmlns:a16="http://schemas.microsoft.com/office/drawing/2014/main" id="{262B204F-8BB4-4D41-BC83-671F0CCDB584}"/>
              </a:ext>
            </a:extLst>
          </p:cNvPr>
          <p:cNvGraphicFramePr>
            <a:graphicFrameLocks noGrp="1"/>
          </p:cNvGraphicFramePr>
          <p:nvPr>
            <p:ph idx="1"/>
          </p:nvPr>
        </p:nvGraphicFramePr>
        <p:xfrm>
          <a:off x="839570" y="1548581"/>
          <a:ext cx="10512862" cy="46283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67394503"/>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D296B8E9-D625-E44D-A833-DFF44C2CD198}"/>
              </a:ext>
            </a:extLst>
          </p:cNvPr>
          <p:cNvGraphicFramePr/>
          <p:nvPr/>
        </p:nvGraphicFramePr>
        <p:xfrm>
          <a:off x="827497" y="1974173"/>
          <a:ext cx="10530349" cy="33230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2466023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9674860" cy="6858000"/>
          </a:xfrm>
          <a:custGeom>
            <a:avLst/>
            <a:gdLst/>
            <a:ahLst/>
            <a:cxnLst/>
            <a:rect l="l" t="t" r="r" b="b"/>
            <a:pathLst>
              <a:path w="9674860" h="6858000">
                <a:moveTo>
                  <a:pt x="0" y="6858000"/>
                </a:moveTo>
                <a:lnTo>
                  <a:pt x="9674352" y="6858000"/>
                </a:lnTo>
                <a:lnTo>
                  <a:pt x="9674352" y="0"/>
                </a:lnTo>
                <a:lnTo>
                  <a:pt x="0" y="0"/>
                </a:lnTo>
                <a:lnTo>
                  <a:pt x="0" y="6858000"/>
                </a:lnTo>
                <a:close/>
              </a:path>
            </a:pathLst>
          </a:custGeom>
          <a:solidFill>
            <a:srgbClr val="D9D9D9"/>
          </a:solidFill>
        </p:spPr>
        <p:txBody>
          <a:bodyPr wrap="square" lIns="0" tIns="0" rIns="0" bIns="0" rtlCol="0"/>
          <a:lstStyle/>
          <a:p>
            <a:endParaRPr dirty="0"/>
          </a:p>
        </p:txBody>
      </p:sp>
      <p:grpSp>
        <p:nvGrpSpPr>
          <p:cNvPr id="3" name="object 3"/>
          <p:cNvGrpSpPr/>
          <p:nvPr/>
        </p:nvGrpSpPr>
        <p:grpSpPr>
          <a:xfrm>
            <a:off x="0" y="0"/>
            <a:ext cx="12198350" cy="6861809"/>
            <a:chOff x="0" y="0"/>
            <a:chExt cx="12198350" cy="6861809"/>
          </a:xfrm>
        </p:grpSpPr>
        <p:sp>
          <p:nvSpPr>
            <p:cNvPr id="4" name="object 4"/>
            <p:cNvSpPr/>
            <p:nvPr/>
          </p:nvSpPr>
          <p:spPr>
            <a:xfrm>
              <a:off x="0" y="6027420"/>
              <a:ext cx="9685020" cy="460375"/>
            </a:xfrm>
            <a:custGeom>
              <a:avLst/>
              <a:gdLst/>
              <a:ahLst/>
              <a:cxnLst/>
              <a:rect l="l" t="t" r="r" b="b"/>
              <a:pathLst>
                <a:path w="9685020" h="460375">
                  <a:moveTo>
                    <a:pt x="9685020" y="0"/>
                  </a:moveTo>
                  <a:lnTo>
                    <a:pt x="0" y="0"/>
                  </a:lnTo>
                  <a:lnTo>
                    <a:pt x="0" y="460247"/>
                  </a:lnTo>
                  <a:lnTo>
                    <a:pt x="9685020" y="460247"/>
                  </a:lnTo>
                  <a:lnTo>
                    <a:pt x="9685020" y="0"/>
                  </a:lnTo>
                  <a:close/>
                </a:path>
              </a:pathLst>
            </a:custGeom>
            <a:solidFill>
              <a:srgbClr val="FFD046"/>
            </a:solidFill>
          </p:spPr>
          <p:txBody>
            <a:bodyPr wrap="square" lIns="0" tIns="0" rIns="0" bIns="0" rtlCol="0"/>
            <a:lstStyle/>
            <a:p>
              <a:endParaRPr dirty="0"/>
            </a:p>
          </p:txBody>
        </p:sp>
        <p:sp>
          <p:nvSpPr>
            <p:cNvPr id="5" name="object 5"/>
            <p:cNvSpPr/>
            <p:nvPr/>
          </p:nvSpPr>
          <p:spPr>
            <a:xfrm>
              <a:off x="9674352" y="0"/>
              <a:ext cx="2517775" cy="6849109"/>
            </a:xfrm>
            <a:custGeom>
              <a:avLst/>
              <a:gdLst/>
              <a:ahLst/>
              <a:cxnLst/>
              <a:rect l="l" t="t" r="r" b="b"/>
              <a:pathLst>
                <a:path w="2517775" h="6849109">
                  <a:moveTo>
                    <a:pt x="0" y="6848855"/>
                  </a:moveTo>
                  <a:lnTo>
                    <a:pt x="2517648" y="6848855"/>
                  </a:lnTo>
                  <a:lnTo>
                    <a:pt x="2517648" y="0"/>
                  </a:lnTo>
                  <a:lnTo>
                    <a:pt x="0" y="0"/>
                  </a:lnTo>
                  <a:lnTo>
                    <a:pt x="0" y="6848855"/>
                  </a:lnTo>
                  <a:close/>
                </a:path>
              </a:pathLst>
            </a:custGeom>
            <a:solidFill>
              <a:srgbClr val="FFFFFF"/>
            </a:solidFill>
          </p:spPr>
          <p:txBody>
            <a:bodyPr wrap="square" lIns="0" tIns="0" rIns="0" bIns="0" rtlCol="0"/>
            <a:lstStyle/>
            <a:p>
              <a:endParaRPr dirty="0"/>
            </a:p>
          </p:txBody>
        </p:sp>
        <p:sp>
          <p:nvSpPr>
            <p:cNvPr id="6" name="object 6"/>
            <p:cNvSpPr/>
            <p:nvPr/>
          </p:nvSpPr>
          <p:spPr>
            <a:xfrm>
              <a:off x="9674352" y="0"/>
              <a:ext cx="2517775" cy="6849109"/>
            </a:xfrm>
            <a:custGeom>
              <a:avLst/>
              <a:gdLst/>
              <a:ahLst/>
              <a:cxnLst/>
              <a:rect l="l" t="t" r="r" b="b"/>
              <a:pathLst>
                <a:path w="2517775" h="6849109">
                  <a:moveTo>
                    <a:pt x="0" y="6848855"/>
                  </a:moveTo>
                  <a:lnTo>
                    <a:pt x="2517648" y="6848855"/>
                  </a:lnTo>
                  <a:lnTo>
                    <a:pt x="2517648" y="0"/>
                  </a:lnTo>
                </a:path>
                <a:path w="2517775" h="6849109">
                  <a:moveTo>
                    <a:pt x="0" y="0"/>
                  </a:moveTo>
                  <a:lnTo>
                    <a:pt x="0" y="6848855"/>
                  </a:lnTo>
                </a:path>
              </a:pathLst>
            </a:custGeom>
            <a:ln w="12700">
              <a:solidFill>
                <a:srgbClr val="FFFFFF"/>
              </a:solidFill>
            </a:ln>
          </p:spPr>
          <p:txBody>
            <a:bodyPr wrap="square" lIns="0" tIns="0" rIns="0" bIns="0" rtlCol="0"/>
            <a:lstStyle/>
            <a:p>
              <a:endParaRPr dirty="0"/>
            </a:p>
          </p:txBody>
        </p:sp>
      </p:grpSp>
      <p:sp>
        <p:nvSpPr>
          <p:cNvPr id="7" name="object 7"/>
          <p:cNvSpPr txBox="1">
            <a:spLocks noGrp="1"/>
          </p:cNvSpPr>
          <p:nvPr>
            <p:ph type="title"/>
          </p:nvPr>
        </p:nvSpPr>
        <p:spPr>
          <a:xfrm>
            <a:off x="228600" y="853209"/>
            <a:ext cx="9067800" cy="2529860"/>
          </a:xfrm>
          <a:prstGeom prst="rect">
            <a:avLst/>
          </a:prstGeom>
        </p:spPr>
        <p:txBody>
          <a:bodyPr vert="horz" wrap="square" lIns="0" tIns="81280" rIns="0" bIns="0" rtlCol="0">
            <a:spAutoFit/>
          </a:bodyPr>
          <a:lstStyle/>
          <a:p>
            <a:pPr marL="68580">
              <a:lnSpc>
                <a:spcPts val="2050"/>
              </a:lnSpc>
            </a:pPr>
            <a:r>
              <a:rPr lang="en-US" sz="2700" b="1" spc="-10" dirty="0">
                <a:solidFill>
                  <a:srgbClr val="000000"/>
                </a:solidFill>
                <a:latin typeface="Calibri Light"/>
                <a:cs typeface="Calibri Light"/>
              </a:rPr>
              <a:t>Topic 7 – Bidder Feedback</a:t>
            </a:r>
            <a:br>
              <a:rPr lang="en-US" sz="2700" b="1" spc="-10" dirty="0">
                <a:solidFill>
                  <a:srgbClr val="000000"/>
                </a:solidFill>
                <a:latin typeface="Calibri Light"/>
                <a:cs typeface="Calibri Light"/>
              </a:rPr>
            </a:br>
            <a:br>
              <a:rPr lang="en-US" sz="2700" b="1" spc="-10" dirty="0">
                <a:solidFill>
                  <a:srgbClr val="000000"/>
                </a:solidFill>
                <a:latin typeface="Calibri Light"/>
                <a:cs typeface="Calibri Light"/>
              </a:rPr>
            </a:br>
            <a:r>
              <a:rPr lang="en-US" sz="2700" b="1" spc="-10" dirty="0">
                <a:solidFill>
                  <a:srgbClr val="000000"/>
                </a:solidFill>
                <a:latin typeface="Calibri Light"/>
                <a:cs typeface="Calibri Light"/>
              </a:rPr>
              <a:t>- </a:t>
            </a:r>
            <a:r>
              <a:rPr lang="en-US" sz="2700" spc="-10" dirty="0">
                <a:solidFill>
                  <a:srgbClr val="000000"/>
                </a:solidFill>
                <a:latin typeface="Calibri Light"/>
                <a:cs typeface="Calibri Light"/>
              </a:rPr>
              <a:t>IOU Stats / Status on Feedback / Lessons Learned </a:t>
            </a:r>
            <a:br>
              <a:rPr lang="en-US" sz="2700" spc="-10" dirty="0">
                <a:solidFill>
                  <a:srgbClr val="000000"/>
                </a:solidFill>
                <a:latin typeface="Calibri Light"/>
                <a:cs typeface="Calibri Light"/>
              </a:rPr>
            </a:br>
            <a:br>
              <a:rPr lang="en-US" sz="2700" spc="-10" dirty="0">
                <a:solidFill>
                  <a:srgbClr val="000000"/>
                </a:solidFill>
                <a:latin typeface="Calibri Light"/>
                <a:cs typeface="Calibri Light"/>
              </a:rPr>
            </a:br>
            <a:r>
              <a:rPr lang="en-US" sz="2700" spc="-10" dirty="0">
                <a:solidFill>
                  <a:srgbClr val="000000"/>
                </a:solidFill>
                <a:latin typeface="Calibri Light"/>
                <a:cs typeface="Calibri Light"/>
              </a:rPr>
              <a:t>- Participants Discussion</a:t>
            </a:r>
            <a:br>
              <a:rPr lang="en-US" sz="2700" spc="-10" dirty="0">
                <a:solidFill>
                  <a:srgbClr val="000000"/>
                </a:solidFill>
                <a:latin typeface="Calibri Light"/>
                <a:cs typeface="Calibri Light"/>
              </a:rPr>
            </a:br>
            <a:br>
              <a:rPr lang="en-US" sz="2700" b="1" spc="-10" dirty="0">
                <a:solidFill>
                  <a:srgbClr val="000000"/>
                </a:solidFill>
                <a:latin typeface="Calibri Light"/>
                <a:cs typeface="Calibri Light"/>
              </a:rPr>
            </a:br>
            <a:br>
              <a:rPr lang="en-US" sz="2800" dirty="0">
                <a:latin typeface="Calibri"/>
                <a:cs typeface="Calibri"/>
              </a:rPr>
            </a:br>
            <a:br>
              <a:rPr lang="en-US" sz="2700" b="0" spc="-20" dirty="0">
                <a:solidFill>
                  <a:srgbClr val="000000"/>
                </a:solidFill>
                <a:latin typeface="Calibri Light"/>
                <a:cs typeface="Calibri Light"/>
              </a:rPr>
            </a:br>
            <a:endParaRPr sz="2700" dirty="0">
              <a:latin typeface="Calibri Light"/>
              <a:cs typeface="Calibri Light"/>
            </a:endParaRPr>
          </a:p>
        </p:txBody>
      </p:sp>
      <p:sp>
        <p:nvSpPr>
          <p:cNvPr id="8" name="object 8"/>
          <p:cNvSpPr txBox="1"/>
          <p:nvPr/>
        </p:nvSpPr>
        <p:spPr>
          <a:xfrm>
            <a:off x="381000" y="3108654"/>
            <a:ext cx="4572000" cy="3193182"/>
          </a:xfrm>
          <a:prstGeom prst="rect">
            <a:avLst/>
          </a:prstGeom>
        </p:spPr>
        <p:txBody>
          <a:bodyPr vert="horz" wrap="square" lIns="0" tIns="12700" rIns="0" bIns="0" rtlCol="0">
            <a:spAutoFit/>
          </a:bodyPr>
          <a:lstStyle/>
          <a:p>
            <a:pPr marL="12700">
              <a:lnSpc>
                <a:spcPct val="100000"/>
              </a:lnSpc>
              <a:spcBef>
                <a:spcPts val="100"/>
              </a:spcBef>
            </a:pPr>
            <a:r>
              <a:rPr lang="en-US" sz="2000" b="1" spc="-10" dirty="0">
                <a:latin typeface="Calibri Light"/>
                <a:cs typeface="Calibri Light"/>
              </a:rPr>
              <a:t>10:40am – 11:25am</a:t>
            </a:r>
          </a:p>
          <a:p>
            <a:pPr marL="12700">
              <a:lnSpc>
                <a:spcPct val="100000"/>
              </a:lnSpc>
              <a:spcBef>
                <a:spcPts val="100"/>
              </a:spcBef>
            </a:pPr>
            <a:endParaRPr lang="en-US" sz="2000" b="1" spc="-10" dirty="0">
              <a:latin typeface="Calibri Light"/>
              <a:cs typeface="Calibri Light"/>
            </a:endParaRPr>
          </a:p>
          <a:p>
            <a:pPr marL="12700">
              <a:lnSpc>
                <a:spcPct val="100000"/>
              </a:lnSpc>
              <a:spcBef>
                <a:spcPts val="100"/>
              </a:spcBef>
            </a:pPr>
            <a:endParaRPr lang="en-US" sz="2000" b="1" spc="-10" dirty="0">
              <a:latin typeface="Calibri Light"/>
              <a:cs typeface="Calibri Light"/>
            </a:endParaRPr>
          </a:p>
          <a:p>
            <a:pPr marL="12700">
              <a:lnSpc>
                <a:spcPct val="100000"/>
              </a:lnSpc>
              <a:spcBef>
                <a:spcPts val="100"/>
              </a:spcBef>
            </a:pPr>
            <a:r>
              <a:rPr lang="en-US" sz="2000" b="0" spc="-10" dirty="0">
                <a:latin typeface="Calibri Light"/>
                <a:cs typeface="Calibri Light"/>
              </a:rPr>
              <a:t>Independent Evaluator – Elizabeth Lowe</a:t>
            </a:r>
          </a:p>
          <a:p>
            <a:pPr marL="12700">
              <a:lnSpc>
                <a:spcPct val="100000"/>
              </a:lnSpc>
              <a:spcBef>
                <a:spcPts val="100"/>
              </a:spcBef>
            </a:pPr>
            <a:r>
              <a:rPr lang="en-US" sz="2000" spc="-10" dirty="0">
                <a:latin typeface="Calibri Light"/>
                <a:cs typeface="Calibri Light"/>
              </a:rPr>
              <a:t>PG&amp;E – Matt Braunwarth</a:t>
            </a:r>
          </a:p>
          <a:p>
            <a:pPr marL="12700">
              <a:lnSpc>
                <a:spcPct val="100000"/>
              </a:lnSpc>
              <a:spcBef>
                <a:spcPts val="100"/>
              </a:spcBef>
            </a:pPr>
            <a:r>
              <a:rPr lang="en-US" sz="2000" spc="-10" dirty="0">
                <a:latin typeface="Calibri Light"/>
                <a:cs typeface="Calibri Light"/>
              </a:rPr>
              <a:t>SCE – Marissa Barrera</a:t>
            </a:r>
          </a:p>
          <a:p>
            <a:pPr marL="12700">
              <a:lnSpc>
                <a:spcPct val="100000"/>
              </a:lnSpc>
              <a:spcBef>
                <a:spcPts val="100"/>
              </a:spcBef>
            </a:pPr>
            <a:r>
              <a:rPr lang="en-US" sz="2000" spc="-10" dirty="0">
                <a:latin typeface="Calibri Light"/>
                <a:cs typeface="Calibri Light"/>
              </a:rPr>
              <a:t>SoCalGas – Erin Brooks</a:t>
            </a:r>
          </a:p>
          <a:p>
            <a:pPr marL="12700">
              <a:lnSpc>
                <a:spcPct val="100000"/>
              </a:lnSpc>
              <a:spcBef>
                <a:spcPts val="100"/>
              </a:spcBef>
            </a:pPr>
            <a:r>
              <a:rPr lang="en-US" sz="2000" spc="-10" dirty="0">
                <a:latin typeface="Calibri Light"/>
                <a:cs typeface="Calibri Light"/>
              </a:rPr>
              <a:t>SDG&amp;E – Steven Jaffe</a:t>
            </a:r>
          </a:p>
          <a:p>
            <a:pPr marL="12700">
              <a:lnSpc>
                <a:spcPct val="100000"/>
              </a:lnSpc>
              <a:spcBef>
                <a:spcPts val="100"/>
              </a:spcBef>
            </a:pPr>
            <a:r>
              <a:rPr lang="en-US" sz="2000" spc="-10" dirty="0">
                <a:latin typeface="Calibri Light"/>
                <a:cs typeface="Calibri Light"/>
              </a:rPr>
              <a:t>All Participants</a:t>
            </a:r>
            <a:endParaRPr sz="2000" dirty="0">
              <a:latin typeface="Calibri Light"/>
              <a:cs typeface="Calibri Light"/>
            </a:endParaRPr>
          </a:p>
          <a:p>
            <a:pPr>
              <a:lnSpc>
                <a:spcPct val="100000"/>
              </a:lnSpc>
              <a:spcBef>
                <a:spcPts val="15"/>
              </a:spcBef>
            </a:pPr>
            <a:endParaRPr lang="en-US" sz="2000" dirty="0">
              <a:latin typeface="Calibri Light"/>
              <a:cs typeface="Calibri Light"/>
            </a:endParaRPr>
          </a:p>
        </p:txBody>
      </p:sp>
    </p:spTree>
    <p:extLst>
      <p:ext uri="{BB962C8B-B14F-4D97-AF65-F5344CB8AC3E}">
        <p14:creationId xmlns:p14="http://schemas.microsoft.com/office/powerpoint/2010/main" val="21491230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71FFA-08B9-2843-93BD-D5573C83DB8B}"/>
              </a:ext>
            </a:extLst>
          </p:cNvPr>
          <p:cNvSpPr>
            <a:spLocks noGrp="1"/>
          </p:cNvSpPr>
          <p:nvPr>
            <p:ph type="title"/>
          </p:nvPr>
        </p:nvSpPr>
        <p:spPr/>
        <p:txBody>
          <a:bodyPr/>
          <a:lstStyle/>
          <a:p>
            <a:r>
              <a:rPr lang="en-US" dirty="0"/>
              <a:t>Where we’ve been</a:t>
            </a:r>
          </a:p>
        </p:txBody>
      </p:sp>
      <p:sp>
        <p:nvSpPr>
          <p:cNvPr id="3" name="Content Placeholder 2">
            <a:extLst>
              <a:ext uri="{FF2B5EF4-FFF2-40B4-BE49-F238E27FC236}">
                <a16:creationId xmlns:a16="http://schemas.microsoft.com/office/drawing/2014/main" id="{FBA67D7B-CE37-964C-9E9A-8FAFFB0187B7}"/>
              </a:ext>
            </a:extLst>
          </p:cNvPr>
          <p:cNvSpPr>
            <a:spLocks noGrp="1"/>
          </p:cNvSpPr>
          <p:nvPr>
            <p:ph idx="1"/>
          </p:nvPr>
        </p:nvSpPr>
        <p:spPr/>
        <p:txBody>
          <a:bodyPr/>
          <a:lstStyle/>
          <a:p>
            <a:pPr marL="0" indent="0">
              <a:buNone/>
            </a:pPr>
            <a:r>
              <a:rPr lang="en-US" dirty="0"/>
              <a:t>Identified areas for process improvement:</a:t>
            </a:r>
          </a:p>
          <a:p>
            <a:r>
              <a:rPr lang="en-US" dirty="0">
                <a:solidFill>
                  <a:schemeClr val="tx2">
                    <a:lumMod val="60000"/>
                    <a:lumOff val="40000"/>
                  </a:schemeClr>
                </a:solidFill>
              </a:rPr>
              <a:t>Timing: delays in solicitations, unpredictable schedule </a:t>
            </a:r>
          </a:p>
          <a:p>
            <a:r>
              <a:rPr lang="en-US" dirty="0">
                <a:solidFill>
                  <a:schemeClr val="tx2">
                    <a:lumMod val="60000"/>
                    <a:lumOff val="40000"/>
                  </a:schemeClr>
                </a:solidFill>
              </a:rPr>
              <a:t>CET: introduction and user guide for third parties – delivered fall 2020  (CEDARs: https://cedars.sound-data.com/cet_ui/cet-user-guide/)</a:t>
            </a:r>
          </a:p>
          <a:p>
            <a:r>
              <a:rPr lang="en-US" dirty="0"/>
              <a:t>Feedback to bidders: Lack thereof -&gt; lack of meaningful feedback</a:t>
            </a:r>
          </a:p>
          <a:p>
            <a:r>
              <a:rPr lang="en-US" dirty="0"/>
              <a:t>Two stage process: Complexity of RFA</a:t>
            </a:r>
          </a:p>
          <a:p>
            <a:r>
              <a:rPr lang="en-US" dirty="0"/>
              <a:t>Other: feasibility for small and diverse bidders, frequency and transparency on third party process, risk to bidder vs. IOU</a:t>
            </a:r>
          </a:p>
          <a:p>
            <a:endParaRPr lang="en-US" dirty="0"/>
          </a:p>
        </p:txBody>
      </p:sp>
    </p:spTree>
    <p:extLst>
      <p:ext uri="{BB962C8B-B14F-4D97-AF65-F5344CB8AC3E}">
        <p14:creationId xmlns:p14="http://schemas.microsoft.com/office/powerpoint/2010/main" val="263964790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79CBD3C9-4E66-426D-948E-7CF4778107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31140" y="243840"/>
            <a:ext cx="11724640" cy="6377939"/>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31" name="Rectangle 30">
            <a:extLst>
              <a:ext uri="{FF2B5EF4-FFF2-40B4-BE49-F238E27FC236}">
                <a16:creationId xmlns:a16="http://schemas.microsoft.com/office/drawing/2014/main" id="{DDB95FCF-AD96-482F-9FB8-CD95725E6EF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31140" y="243840"/>
            <a:ext cx="11724640" cy="6377939"/>
          </a:xfrm>
          <a:prstGeom prst="rect">
            <a:avLst/>
          </a:prstGeom>
          <a:solidFill>
            <a:schemeClr val="accent1"/>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sp>
      <p:cxnSp>
        <p:nvCxnSpPr>
          <p:cNvPr id="33" name="Straight Connector 32">
            <a:extLst>
              <a:ext uri="{FF2B5EF4-FFF2-40B4-BE49-F238E27FC236}">
                <a16:creationId xmlns:a16="http://schemas.microsoft.com/office/drawing/2014/main" id="{64EEEC00-AD80-4734-BEE6-04CBDEC830C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978660" y="3733800"/>
            <a:ext cx="822960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C6896D1-BFB1-4C84-82DD-31073BED3F0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978660" y="5462458"/>
            <a:ext cx="822960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B704BEC-D7D6-4233-8BA1-6046BEA78143}"/>
              </a:ext>
            </a:extLst>
          </p:cNvPr>
          <p:cNvSpPr>
            <a:spLocks noGrp="1"/>
          </p:cNvSpPr>
          <p:nvPr>
            <p:ph type="title"/>
          </p:nvPr>
        </p:nvSpPr>
        <p:spPr>
          <a:xfrm>
            <a:off x="1109980" y="4208424"/>
            <a:ext cx="9966960" cy="1325880"/>
          </a:xfrm>
        </p:spPr>
        <p:txBody>
          <a:bodyPr vert="horz" lIns="91440" tIns="45720" rIns="91440" bIns="45720" rtlCol="0" anchor="b">
            <a:normAutofit/>
          </a:bodyPr>
          <a:lstStyle/>
          <a:p>
            <a:r>
              <a:rPr lang="en-US" sz="4600" b="1" dirty="0">
                <a:solidFill>
                  <a:srgbClr val="FFFFFF"/>
                </a:solidFill>
              </a:rPr>
              <a:t>IE Observations on </a:t>
            </a:r>
            <a:br>
              <a:rPr lang="en-US" sz="4600" b="1" dirty="0">
                <a:solidFill>
                  <a:srgbClr val="FFFFFF"/>
                </a:solidFill>
              </a:rPr>
            </a:br>
            <a:r>
              <a:rPr lang="en-US" sz="4600" b="1" dirty="0">
                <a:solidFill>
                  <a:srgbClr val="FFFFFF"/>
                </a:solidFill>
              </a:rPr>
              <a:t>Bidder feedback</a:t>
            </a:r>
          </a:p>
        </p:txBody>
      </p:sp>
      <p:sp>
        <p:nvSpPr>
          <p:cNvPr id="37" name="Rectangle 36">
            <a:extLst>
              <a:ext uri="{FF2B5EF4-FFF2-40B4-BE49-F238E27FC236}">
                <a16:creationId xmlns:a16="http://schemas.microsoft.com/office/drawing/2014/main" id="{8A2FDFB1-2B6D-49EB-B6C0-FA923806E0A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31140" y="243841"/>
            <a:ext cx="11722100" cy="3964584"/>
          </a:xfrm>
          <a:prstGeom prst="rect">
            <a:avLst/>
          </a:prstGeom>
          <a:solidFill>
            <a:schemeClr val="bg1"/>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sp>
      <p:pic>
        <p:nvPicPr>
          <p:cNvPr id="24" name="Graphic 23" descr="Social network">
            <a:extLst>
              <a:ext uri="{FF2B5EF4-FFF2-40B4-BE49-F238E27FC236}">
                <a16:creationId xmlns:a16="http://schemas.microsoft.com/office/drawing/2014/main" id="{03D9F6B2-2DCF-4BEC-B3C9-07BADF93EA1E}"/>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578531" y="728472"/>
            <a:ext cx="3027316" cy="3027316"/>
          </a:xfrm>
          <a:prstGeom prst="rect">
            <a:avLst/>
          </a:prstGeom>
        </p:spPr>
      </p:pic>
      <p:sp>
        <p:nvSpPr>
          <p:cNvPr id="4" name="Footer Placeholder 3">
            <a:extLst>
              <a:ext uri="{FF2B5EF4-FFF2-40B4-BE49-F238E27FC236}">
                <a16:creationId xmlns:a16="http://schemas.microsoft.com/office/drawing/2014/main" id="{ABB0C7F6-5B8A-416F-B23F-A902DA693701}"/>
              </a:ext>
            </a:extLst>
          </p:cNvPr>
          <p:cNvSpPr>
            <a:spLocks noGrp="1"/>
          </p:cNvSpPr>
          <p:nvPr>
            <p:ph type="ftr" sz="quarter" idx="11"/>
          </p:nvPr>
        </p:nvSpPr>
        <p:spPr>
          <a:xfrm>
            <a:off x="3949148" y="6223828"/>
            <a:ext cx="4717774" cy="365125"/>
          </a:xfrm>
        </p:spPr>
        <p:txBody>
          <a:bodyPr vert="horz" lIns="91440" tIns="45720" rIns="91440" bIns="45720" rtlCol="0"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orbel" panose="020B0503020204020204"/>
                <a:ea typeface="+mn-ea"/>
                <a:cs typeface="+mn-cs"/>
              </a:rPr>
              <a:t>July 28, 2021 All Hands Meeting</a:t>
            </a:r>
          </a:p>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orbel" panose="020B0503020204020204"/>
              <a:ea typeface="+mn-ea"/>
              <a:cs typeface="+mn-cs"/>
            </a:endParaRPr>
          </a:p>
        </p:txBody>
      </p:sp>
      <p:sp>
        <p:nvSpPr>
          <p:cNvPr id="5" name="Slide Number Placeholder 4">
            <a:extLst>
              <a:ext uri="{FF2B5EF4-FFF2-40B4-BE49-F238E27FC236}">
                <a16:creationId xmlns:a16="http://schemas.microsoft.com/office/drawing/2014/main" id="{DD8BE81C-9C36-4FFF-9613-DC887B1722D5}"/>
              </a:ext>
            </a:extLst>
          </p:cNvPr>
          <p:cNvSpPr>
            <a:spLocks noGrp="1"/>
          </p:cNvSpPr>
          <p:nvPr>
            <p:ph type="sldNum" sz="quarter" idx="12"/>
          </p:nvPr>
        </p:nvSpPr>
        <p:spPr>
          <a:xfrm>
            <a:off x="9329530" y="6223828"/>
            <a:ext cx="1706217"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BF51FD3E-87FA-4BB9-8479-893262DE1709}" type="slidenum">
              <a:rPr kumimoji="0" lang="en-US" sz="1200" b="0" i="0" u="none" strike="noStrike" kern="1200" cap="none" spc="0" normalizeH="0" baseline="0" noProof="0">
                <a:ln>
                  <a:noFill/>
                </a:ln>
                <a:solidFill>
                  <a:srgbClr val="FFFFFF"/>
                </a:solidFill>
                <a:effectLst/>
                <a:uLnTx/>
                <a:uFillTx/>
                <a:latin typeface="Corbel" panose="020B050302020402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10</a:t>
            </a:fld>
            <a:endParaRPr kumimoji="0" lang="en-US" sz="1200" b="0" i="0" u="none" strike="noStrike" kern="1200" cap="none" spc="0" normalizeH="0" baseline="0" noProof="0" dirty="0">
              <a:ln>
                <a:noFill/>
              </a:ln>
              <a:solidFill>
                <a:srgbClr val="FFFFFF"/>
              </a:solidFill>
              <a:effectLst/>
              <a:uLnTx/>
              <a:uFillTx/>
              <a:latin typeface="Corbel" panose="020B0503020204020204"/>
              <a:ea typeface="+mn-ea"/>
              <a:cs typeface="+mn-cs"/>
            </a:endParaRPr>
          </a:p>
        </p:txBody>
      </p:sp>
    </p:spTree>
    <p:extLst>
      <p:ext uri="{BB962C8B-B14F-4D97-AF65-F5344CB8AC3E}">
        <p14:creationId xmlns:p14="http://schemas.microsoft.com/office/powerpoint/2010/main" val="35008589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CC87E-CBBC-4CBC-90A5-565320160CD1}"/>
              </a:ext>
            </a:extLst>
          </p:cNvPr>
          <p:cNvSpPr>
            <a:spLocks noGrp="1"/>
          </p:cNvSpPr>
          <p:nvPr>
            <p:ph type="title"/>
          </p:nvPr>
        </p:nvSpPr>
        <p:spPr/>
        <p:txBody>
          <a:bodyPr/>
          <a:lstStyle/>
          <a:p>
            <a:r>
              <a:rPr lang="en-US" dirty="0"/>
              <a:t>Bidder Feedback – IE Observations</a:t>
            </a:r>
          </a:p>
        </p:txBody>
      </p:sp>
      <p:sp>
        <p:nvSpPr>
          <p:cNvPr id="3" name="Content Placeholder 2">
            <a:extLst>
              <a:ext uri="{FF2B5EF4-FFF2-40B4-BE49-F238E27FC236}">
                <a16:creationId xmlns:a16="http://schemas.microsoft.com/office/drawing/2014/main" id="{42493B16-1414-41F3-A4E3-B2975E42215B}"/>
              </a:ext>
            </a:extLst>
          </p:cNvPr>
          <p:cNvSpPr>
            <a:spLocks noGrp="1"/>
          </p:cNvSpPr>
          <p:nvPr>
            <p:ph idx="1"/>
          </p:nvPr>
        </p:nvSpPr>
        <p:spPr>
          <a:xfrm>
            <a:off x="1143000" y="1622067"/>
            <a:ext cx="10417629" cy="4626334"/>
          </a:xfrm>
        </p:spPr>
        <p:txBody>
          <a:bodyPr>
            <a:normAutofit/>
          </a:bodyPr>
          <a:lstStyle/>
          <a:p>
            <a:pPr>
              <a:buFont typeface="Wingdings" panose="05000000000000000000" pitchFamily="2" charset="2"/>
              <a:buChar char="v"/>
            </a:pPr>
            <a:r>
              <a:rPr lang="en-US" sz="2000" dirty="0">
                <a:solidFill>
                  <a:schemeClr val="accent6">
                    <a:lumMod val="75000"/>
                  </a:schemeClr>
                </a:solidFill>
              </a:rPr>
              <a:t>Each of the IOUs has instituted a bidder feedback process and the approaches have varied widely</a:t>
            </a:r>
            <a:endParaRPr lang="en-US" sz="2000" dirty="0">
              <a:solidFill>
                <a:srgbClr val="FF0000"/>
              </a:solidFill>
            </a:endParaRPr>
          </a:p>
          <a:p>
            <a:pPr>
              <a:buFont typeface="Wingdings" panose="05000000000000000000" pitchFamily="2" charset="2"/>
              <a:buChar char="v"/>
            </a:pPr>
            <a:r>
              <a:rPr lang="en-US" sz="2000" dirty="0"/>
              <a:t>The IEs generally believe that each IOU can improve their bidder feedback processes and the level of information to improve future submittals by the Bidder community </a:t>
            </a:r>
          </a:p>
          <a:p>
            <a:pPr>
              <a:buFont typeface="Wingdings" panose="05000000000000000000" pitchFamily="2" charset="2"/>
              <a:buChar char="v"/>
            </a:pPr>
            <a:r>
              <a:rPr lang="en-US" sz="2000" dirty="0">
                <a:solidFill>
                  <a:schemeClr val="tx1">
                    <a:lumMod val="65000"/>
                    <a:lumOff val="35000"/>
                  </a:schemeClr>
                </a:solidFill>
              </a:rPr>
              <a:t>The IEs believe that requesting feedback from bidders on the solicitation process is an appropriate and effective way to help IOUs make improvements to their solicitations</a:t>
            </a:r>
          </a:p>
          <a:p>
            <a:pPr>
              <a:buFont typeface="Wingdings" panose="05000000000000000000" pitchFamily="2" charset="2"/>
              <a:buChar char="v"/>
            </a:pPr>
            <a:r>
              <a:rPr lang="en-US" sz="2000" dirty="0"/>
              <a:t>We look forward to the IOUs reporting out on their debrief and feedback processes so that we can begin to identify effective practices that can be leveraged across all IOUs and solicitations</a:t>
            </a:r>
          </a:p>
        </p:txBody>
      </p:sp>
      <p:sp>
        <p:nvSpPr>
          <p:cNvPr id="4" name="Footer Placeholder 3">
            <a:extLst>
              <a:ext uri="{FF2B5EF4-FFF2-40B4-BE49-F238E27FC236}">
                <a16:creationId xmlns:a16="http://schemas.microsoft.com/office/drawing/2014/main" id="{C606C9C0-2B77-4642-A06B-CE957EA6CBC9}"/>
              </a:ext>
            </a:extLst>
          </p:cNvPr>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rPr>
              <a:t>July 28, 2021 All Hands Meeting</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5" name="Slide Number Placeholder 4">
            <a:extLst>
              <a:ext uri="{FF2B5EF4-FFF2-40B4-BE49-F238E27FC236}">
                <a16:creationId xmlns:a16="http://schemas.microsoft.com/office/drawing/2014/main" id="{FBC99642-5DBE-417C-8C94-28C601931B3A}"/>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AB73BC-B049-4115-A692-8D63A059BFB8}" type="slidenum">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Tree>
    <p:extLst>
      <p:ext uri="{BB962C8B-B14F-4D97-AF65-F5344CB8AC3E}">
        <p14:creationId xmlns:p14="http://schemas.microsoft.com/office/powerpoint/2010/main" val="3792583732"/>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E88F97-9D9E-483B-A91F-25E263FF2E56}"/>
              </a:ext>
            </a:extLst>
          </p:cNvPr>
          <p:cNvSpPr>
            <a:spLocks noGrp="1"/>
          </p:cNvSpPr>
          <p:nvPr>
            <p:ph type="title"/>
          </p:nvPr>
        </p:nvSpPr>
        <p:spPr/>
        <p:txBody>
          <a:bodyPr/>
          <a:lstStyle/>
          <a:p>
            <a:r>
              <a:rPr lang="en-US" dirty="0"/>
              <a:t>IOU Approaches</a:t>
            </a:r>
          </a:p>
        </p:txBody>
      </p:sp>
      <p:sp>
        <p:nvSpPr>
          <p:cNvPr id="3" name="Content Placeholder 2">
            <a:extLst>
              <a:ext uri="{FF2B5EF4-FFF2-40B4-BE49-F238E27FC236}">
                <a16:creationId xmlns:a16="http://schemas.microsoft.com/office/drawing/2014/main" id="{7495FE90-2F64-4B49-AD8F-D5B4EA6787A2}"/>
              </a:ext>
            </a:extLst>
          </p:cNvPr>
          <p:cNvSpPr>
            <a:spLocks noGrp="1"/>
          </p:cNvSpPr>
          <p:nvPr>
            <p:ph idx="1"/>
          </p:nvPr>
        </p:nvSpPr>
        <p:spPr/>
        <p:txBody>
          <a:bodyPr/>
          <a:lstStyle/>
          <a:p>
            <a:pPr marL="0" marR="0" lvl="0" indent="0">
              <a:spcBef>
                <a:spcPts val="0"/>
              </a:spcBef>
              <a:spcAft>
                <a:spcPts val="0"/>
              </a:spcAft>
              <a:buNone/>
            </a:pPr>
            <a:r>
              <a:rPr lang="en-US" sz="2400" dirty="0">
                <a:effectLst/>
                <a:latin typeface="Calibri" panose="020F0502020204030204" pitchFamily="34" charset="0"/>
                <a:ea typeface="Times New Roman" panose="02020603050405020304" pitchFamily="18" charset="0"/>
              </a:rPr>
              <a:t>The Investor </a:t>
            </a:r>
            <a:r>
              <a:rPr lang="en-US" sz="2400" dirty="0">
                <a:latin typeface="Calibri" panose="020F0502020204030204" pitchFamily="34" charset="0"/>
                <a:ea typeface="Times New Roman" panose="02020603050405020304" pitchFamily="18" charset="0"/>
              </a:rPr>
              <a:t>O</a:t>
            </a:r>
            <a:r>
              <a:rPr lang="en-US" sz="2400" dirty="0">
                <a:effectLst/>
                <a:latin typeface="Calibri" panose="020F0502020204030204" pitchFamily="34" charset="0"/>
                <a:ea typeface="Times New Roman" panose="02020603050405020304" pitchFamily="18" charset="0"/>
              </a:rPr>
              <a:t>wned Utilities were asked to prepare presentations addressing the following:</a:t>
            </a:r>
          </a:p>
          <a:p>
            <a:pPr marL="0" marR="0" lvl="0" indent="0">
              <a:spcBef>
                <a:spcPts val="0"/>
              </a:spcBef>
              <a:spcAft>
                <a:spcPts val="0"/>
              </a:spcAft>
              <a:buNone/>
            </a:pPr>
            <a:endParaRPr lang="en-US" sz="2400" dirty="0">
              <a:effectLst/>
              <a:latin typeface="Calibri" panose="020F0502020204030204" pitchFamily="34" charset="0"/>
              <a:ea typeface="Times New Roman" panose="02020603050405020304" pitchFamily="18" charset="0"/>
            </a:endParaRPr>
          </a:p>
          <a:p>
            <a:pPr marL="342900" marR="0" lvl="0" indent="-342900">
              <a:spcBef>
                <a:spcPts val="0"/>
              </a:spcBef>
              <a:spcAft>
                <a:spcPts val="0"/>
              </a:spcAft>
              <a:buFont typeface="Wingdings" panose="05000000000000000000" pitchFamily="2" charset="2"/>
              <a:buChar char="ü"/>
            </a:pPr>
            <a:r>
              <a:rPr lang="en-US" sz="2400" dirty="0">
                <a:latin typeface="Calibri" panose="020F0502020204030204" pitchFamily="34" charset="0"/>
                <a:ea typeface="Times New Roman" panose="02020603050405020304" pitchFamily="18" charset="0"/>
              </a:rPr>
              <a:t>Describe your</a:t>
            </a:r>
            <a:r>
              <a:rPr lang="en-US" sz="2400" dirty="0">
                <a:effectLst/>
                <a:latin typeface="Calibri" panose="020F0502020204030204" pitchFamily="34" charset="0"/>
                <a:ea typeface="Times New Roman" panose="02020603050405020304" pitchFamily="18" charset="0"/>
              </a:rPr>
              <a:t> approach to bidder debriefs/feedback</a:t>
            </a:r>
            <a:endParaRPr lang="en-US" sz="24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Wingdings" panose="05000000000000000000" pitchFamily="2" charset="2"/>
              <a:buChar char="ü"/>
            </a:pPr>
            <a:r>
              <a:rPr lang="en-US" sz="2400" dirty="0">
                <a:effectLst/>
                <a:latin typeface="Calibri" panose="020F0502020204030204" pitchFamily="34" charset="0"/>
                <a:ea typeface="Times New Roman" panose="02020603050405020304" pitchFamily="18" charset="0"/>
              </a:rPr>
              <a:t>How many debriefs have been conducted to date</a:t>
            </a:r>
            <a:endParaRPr lang="en-US" sz="24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Wingdings" panose="05000000000000000000" pitchFamily="2" charset="2"/>
              <a:buChar char="ü"/>
            </a:pPr>
            <a:r>
              <a:rPr lang="en-US" sz="2400" dirty="0">
                <a:effectLst/>
                <a:latin typeface="Calibri" panose="020F0502020204030204" pitchFamily="34" charset="0"/>
                <a:ea typeface="Times New Roman" panose="02020603050405020304" pitchFamily="18" charset="0"/>
              </a:rPr>
              <a:t>What is the response from the bidder community on the approach/information received</a:t>
            </a:r>
            <a:endParaRPr lang="en-US" sz="24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Wingdings" panose="05000000000000000000" pitchFamily="2" charset="2"/>
              <a:buChar char="ü"/>
            </a:pPr>
            <a:r>
              <a:rPr lang="en-US" sz="2400" dirty="0">
                <a:effectLst/>
                <a:latin typeface="Calibri" panose="020F0502020204030204" pitchFamily="34" charset="0"/>
                <a:ea typeface="Times New Roman" panose="02020603050405020304" pitchFamily="18" charset="0"/>
              </a:rPr>
              <a:t>What process improvements are planned for the future</a:t>
            </a:r>
            <a:endParaRPr lang="en-US" sz="2400" dirty="0">
              <a:effectLst/>
              <a:latin typeface="Calibri" panose="020F0502020204030204" pitchFamily="34" charset="0"/>
              <a:ea typeface="Calibri" panose="020F0502020204030204" pitchFamily="34" charset="0"/>
            </a:endParaRPr>
          </a:p>
          <a:p>
            <a:pPr marL="45720" indent="0">
              <a:buNone/>
            </a:pPr>
            <a:endParaRPr lang="en-US" dirty="0"/>
          </a:p>
        </p:txBody>
      </p:sp>
      <p:sp>
        <p:nvSpPr>
          <p:cNvPr id="4" name="Footer Placeholder 3">
            <a:extLst>
              <a:ext uri="{FF2B5EF4-FFF2-40B4-BE49-F238E27FC236}">
                <a16:creationId xmlns:a16="http://schemas.microsoft.com/office/drawing/2014/main" id="{DC67A6E3-667C-4E87-96BA-7DE3A7EA65CD}"/>
              </a:ext>
            </a:extLst>
          </p:cNvPr>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rPr>
              <a:t>July 28, 2021 All Hands Meeting</a:t>
            </a:r>
          </a:p>
        </p:txBody>
      </p:sp>
      <p:sp>
        <p:nvSpPr>
          <p:cNvPr id="5" name="Slide Number Placeholder 4">
            <a:extLst>
              <a:ext uri="{FF2B5EF4-FFF2-40B4-BE49-F238E27FC236}">
                <a16:creationId xmlns:a16="http://schemas.microsoft.com/office/drawing/2014/main" id="{4E395F21-0582-49F4-8402-D9A4E10B0F84}"/>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AB73BC-B049-4115-A692-8D63A059BFB8}" type="slidenum">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Tree>
    <p:extLst>
      <p:ext uri="{BB962C8B-B14F-4D97-AF65-F5344CB8AC3E}">
        <p14:creationId xmlns:p14="http://schemas.microsoft.com/office/powerpoint/2010/main" val="718204346"/>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6C6896D1-BFB1-4C84-82DD-31073BED3F0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978660" y="5462458"/>
            <a:ext cx="822960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4BA63CC7-7A39-425E-908B-6FA61D9134E2}"/>
              </a:ext>
            </a:extLst>
          </p:cNvPr>
          <p:cNvSpPr>
            <a:spLocks noGrp="1"/>
          </p:cNvSpPr>
          <p:nvPr>
            <p:ph type="ctrTitle"/>
          </p:nvPr>
        </p:nvSpPr>
        <p:spPr>
          <a:xfrm>
            <a:off x="1109980" y="4208424"/>
            <a:ext cx="9966960" cy="1325880"/>
          </a:xfrm>
        </p:spPr>
        <p:txBody>
          <a:bodyPr>
            <a:normAutofit/>
          </a:bodyPr>
          <a:lstStyle/>
          <a:p>
            <a:r>
              <a:rPr lang="en-US" sz="6600" dirty="0">
                <a:solidFill>
                  <a:schemeClr val="bg1"/>
                </a:solidFill>
              </a:rPr>
              <a:t>IOU Presentations</a:t>
            </a:r>
          </a:p>
        </p:txBody>
      </p:sp>
      <p:sp>
        <p:nvSpPr>
          <p:cNvPr id="23" name="Rectangle 22">
            <a:extLst>
              <a:ext uri="{FF2B5EF4-FFF2-40B4-BE49-F238E27FC236}">
                <a16:creationId xmlns:a16="http://schemas.microsoft.com/office/drawing/2014/main" id="{8A2FDFB1-2B6D-49EB-B6C0-FA923806E0A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31140" y="243841"/>
            <a:ext cx="11722100" cy="3964584"/>
          </a:xfrm>
          <a:prstGeom prst="rect">
            <a:avLst/>
          </a:prstGeom>
          <a:solidFill>
            <a:schemeClr val="bg1"/>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sp>
      <p:sp>
        <p:nvSpPr>
          <p:cNvPr id="4" name="Footer Placeholder 3">
            <a:extLst>
              <a:ext uri="{FF2B5EF4-FFF2-40B4-BE49-F238E27FC236}">
                <a16:creationId xmlns:a16="http://schemas.microsoft.com/office/drawing/2014/main" id="{37BBF811-79FB-477C-BA53-B3FCF1B53C67}"/>
              </a:ext>
            </a:extLst>
          </p:cNvPr>
          <p:cNvSpPr>
            <a:spLocks noGrp="1"/>
          </p:cNvSpPr>
          <p:nvPr>
            <p:ph type="ftr" sz="quarter" idx="11"/>
          </p:nvPr>
        </p:nvSpPr>
        <p:spPr>
          <a:xfrm>
            <a:off x="3949148" y="6223828"/>
            <a:ext cx="4717774" cy="365125"/>
          </a:xfrm>
        </p:spPr>
        <p:txBody>
          <a:bodyPr>
            <a:norm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orbel" panose="020B0503020204020204"/>
                <a:ea typeface="+mn-ea"/>
                <a:cs typeface="+mn-cs"/>
              </a:rPr>
              <a:t>July 28, 2021 All Hands Meeting</a:t>
            </a:r>
          </a:p>
          <a:p>
            <a:pPr marL="0" marR="0" lvl="0" indent="0" algn="ctr" defTabSz="4572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orbel" panose="020B0503020204020204"/>
              <a:ea typeface="+mn-ea"/>
              <a:cs typeface="+mn-cs"/>
            </a:endParaRPr>
          </a:p>
        </p:txBody>
      </p:sp>
      <p:sp>
        <p:nvSpPr>
          <p:cNvPr id="5" name="Slide Number Placeholder 4">
            <a:extLst>
              <a:ext uri="{FF2B5EF4-FFF2-40B4-BE49-F238E27FC236}">
                <a16:creationId xmlns:a16="http://schemas.microsoft.com/office/drawing/2014/main" id="{3959979C-3049-4507-98B9-3BF5740ACF53}"/>
              </a:ext>
            </a:extLst>
          </p:cNvPr>
          <p:cNvSpPr>
            <a:spLocks noGrp="1"/>
          </p:cNvSpPr>
          <p:nvPr>
            <p:ph type="sldNum" sz="quarter" idx="12"/>
          </p:nvPr>
        </p:nvSpPr>
        <p:spPr>
          <a:xfrm>
            <a:off x="9329530" y="6223828"/>
            <a:ext cx="1706217" cy="365125"/>
          </a:xfrm>
        </p:spPr>
        <p:txBody>
          <a:bodyPr>
            <a:normAutofit/>
          </a:bodyPr>
          <a:lstStyle/>
          <a:p>
            <a:pPr marL="0" marR="0" lvl="0" indent="0" algn="r" defTabSz="457200" rtl="0" eaLnBrk="1" fontAlgn="auto" latinLnBrk="0" hangingPunct="1">
              <a:lnSpc>
                <a:spcPct val="100000"/>
              </a:lnSpc>
              <a:spcBef>
                <a:spcPts val="0"/>
              </a:spcBef>
              <a:spcAft>
                <a:spcPts val="600"/>
              </a:spcAft>
              <a:buClrTx/>
              <a:buSzTx/>
              <a:buFontTx/>
              <a:buNone/>
              <a:tabLst/>
              <a:defRPr/>
            </a:pPr>
            <a:fld id="{4FAB73BC-B049-4115-A692-8D63A059BFB8}" type="slidenum">
              <a:rPr kumimoji="0" lang="en-US" sz="1200" b="0" i="0" u="none" strike="noStrike" kern="1200" cap="none" spc="0" normalizeH="0" baseline="0" noProof="0">
                <a:ln>
                  <a:noFill/>
                </a:ln>
                <a:solidFill>
                  <a:srgbClr val="FFFFFF"/>
                </a:solidFill>
                <a:effectLst/>
                <a:uLnTx/>
                <a:uFillTx/>
                <a:latin typeface="Corbel" panose="020B0503020204020204"/>
                <a:ea typeface="+mn-ea"/>
                <a:cs typeface="+mn-cs"/>
              </a:rPr>
              <a:pPr marL="0" marR="0" lvl="0" indent="0" algn="r" defTabSz="457200" rtl="0" eaLnBrk="1" fontAlgn="auto" latinLnBrk="0" hangingPunct="1">
                <a:lnSpc>
                  <a:spcPct val="100000"/>
                </a:lnSpc>
                <a:spcBef>
                  <a:spcPts val="0"/>
                </a:spcBef>
                <a:spcAft>
                  <a:spcPts val="600"/>
                </a:spcAft>
                <a:buClrTx/>
                <a:buSzTx/>
                <a:buFontTx/>
                <a:buNone/>
                <a:tabLst/>
                <a:defRPr/>
              </a:pPr>
              <a:t>113</a:t>
            </a:fld>
            <a:endParaRPr kumimoji="0" lang="en-US" sz="1200" b="0" i="0" u="none" strike="noStrike" kern="1200" cap="none" spc="0" normalizeH="0" baseline="0" noProof="0" dirty="0">
              <a:ln>
                <a:noFill/>
              </a:ln>
              <a:solidFill>
                <a:srgbClr val="FFFFFF"/>
              </a:solidFill>
              <a:effectLst/>
              <a:uLnTx/>
              <a:uFillTx/>
              <a:latin typeface="Corbel" panose="020B0503020204020204"/>
              <a:ea typeface="+mn-ea"/>
              <a:cs typeface="+mn-cs"/>
            </a:endParaRPr>
          </a:p>
        </p:txBody>
      </p:sp>
      <p:pic>
        <p:nvPicPr>
          <p:cNvPr id="19" name="Graphic 18" descr="Presentation with checklist RTL">
            <a:extLst>
              <a:ext uri="{FF2B5EF4-FFF2-40B4-BE49-F238E27FC236}">
                <a16:creationId xmlns:a16="http://schemas.microsoft.com/office/drawing/2014/main" id="{17B6B555-B9BF-48FC-953D-4E05D88BE0F8}"/>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794377" y="946775"/>
            <a:ext cx="3027316" cy="3027316"/>
          </a:xfrm>
          <a:prstGeom prst="rect">
            <a:avLst/>
          </a:prstGeom>
        </p:spPr>
      </p:pic>
    </p:spTree>
    <p:extLst>
      <p:ext uri="{BB962C8B-B14F-4D97-AF65-F5344CB8AC3E}">
        <p14:creationId xmlns:p14="http://schemas.microsoft.com/office/powerpoint/2010/main" val="164977329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93928AC7-0BE0-4EC3-8F28-5FE29C60B519}"/>
              </a:ext>
            </a:extLst>
          </p:cNvPr>
          <p:cNvSpPr>
            <a:spLocks noGrp="1"/>
          </p:cNvSpPr>
          <p:nvPr>
            <p:ph type="title"/>
          </p:nvPr>
        </p:nvSpPr>
        <p:spPr bwMode="auto">
          <a:xfrm>
            <a:off x="1066800" y="730960"/>
            <a:ext cx="10515600" cy="4572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p>
            <a:pPr algn="l"/>
            <a:br>
              <a:rPr lang="en-US" altLang="en-US" sz="4000" dirty="0">
                <a:solidFill>
                  <a:schemeClr val="bg1"/>
                </a:solidFill>
                <a:latin typeface="Arial" pitchFamily="34" charset="0"/>
                <a:cs typeface="Arial" pitchFamily="34" charset="0"/>
              </a:rPr>
            </a:br>
            <a:r>
              <a:rPr lang="en-US" altLang="en-US" sz="4000" dirty="0">
                <a:solidFill>
                  <a:schemeClr val="bg1"/>
                </a:solidFill>
                <a:latin typeface="Arial" pitchFamily="34" charset="0"/>
                <a:cs typeface="Arial" pitchFamily="34" charset="0"/>
              </a:rPr>
              <a:t>PGE:</a:t>
            </a:r>
            <a:br>
              <a:rPr lang="en-US" altLang="en-US" sz="4000" dirty="0">
                <a:solidFill>
                  <a:schemeClr val="bg1"/>
                </a:solidFill>
                <a:latin typeface="Arial" pitchFamily="34" charset="0"/>
                <a:cs typeface="Arial" pitchFamily="34" charset="0"/>
              </a:rPr>
            </a:br>
            <a:r>
              <a:rPr lang="en-US" altLang="en-US" sz="4000" dirty="0">
                <a:solidFill>
                  <a:schemeClr val="bg1"/>
                </a:solidFill>
                <a:latin typeface="Arial" pitchFamily="34" charset="0"/>
                <a:cs typeface="Arial" pitchFamily="34" charset="0"/>
              </a:rPr>
              <a:t>Solicitation Process Feedback</a:t>
            </a:r>
            <a:br>
              <a:rPr lang="en-US" altLang="en-US" sz="2700" dirty="0">
                <a:solidFill>
                  <a:schemeClr val="bg1"/>
                </a:solidFill>
                <a:latin typeface="Arial" pitchFamily="34" charset="0"/>
                <a:cs typeface="Arial" pitchFamily="34" charset="0"/>
              </a:rPr>
            </a:br>
            <a:br>
              <a:rPr lang="en-US" altLang="en-US" sz="2700" dirty="0">
                <a:solidFill>
                  <a:schemeClr val="bg1"/>
                </a:solidFill>
                <a:latin typeface="Arial" pitchFamily="34" charset="0"/>
                <a:cs typeface="Arial" pitchFamily="34" charset="0"/>
              </a:rPr>
            </a:br>
            <a:br>
              <a:rPr lang="en-US" altLang="en-US" sz="2700" dirty="0">
                <a:solidFill>
                  <a:schemeClr val="bg1"/>
                </a:solidFill>
                <a:latin typeface="Arial" pitchFamily="34" charset="0"/>
                <a:cs typeface="Arial" pitchFamily="34" charset="0"/>
              </a:rPr>
            </a:br>
            <a:endParaRPr lang="en-US" altLang="en-US" sz="2700"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236059860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26EEB01-EFBC-4D9B-888B-362729E8EDDB}"/>
              </a:ext>
            </a:extLst>
          </p:cNvPr>
          <p:cNvSpPr txBox="1"/>
          <p:nvPr/>
        </p:nvSpPr>
        <p:spPr>
          <a:xfrm>
            <a:off x="196740" y="703974"/>
            <a:ext cx="6454783" cy="2308324"/>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sng"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srgbClr val="000000"/>
                </a:solidFill>
                <a:effectLst/>
                <a:uLnTx/>
                <a:uFillTx/>
                <a:latin typeface="Calibri"/>
                <a:ea typeface="+mn-ea"/>
                <a:cs typeface="+mn-cs"/>
              </a:rPr>
              <a:t>Structure of Feedback Session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sng" strike="noStrike" kern="1200" cap="none" spc="0" normalizeH="0" baseline="0" noProof="0" dirty="0">
              <a:ln>
                <a:noFill/>
              </a:ln>
              <a:solidFill>
                <a:srgbClr val="000000"/>
              </a:solidFill>
              <a:effectLst/>
              <a:uLnTx/>
              <a:uFillTx/>
              <a:latin typeface="Calibri"/>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0000"/>
                </a:solidFill>
                <a:effectLst/>
                <a:uLnTx/>
                <a:uFillTx/>
                <a:latin typeface="Calibri"/>
                <a:ea typeface="+mn-ea"/>
                <a:cs typeface="+mn-cs"/>
              </a:rPr>
              <a:t>30 – 60 min sessions</a:t>
            </a:r>
            <a:r>
              <a:rPr kumimoji="0" lang="en-US" sz="1800" b="0" i="0" u="none" strike="noStrike" kern="1200" cap="none" spc="0" normalizeH="0" baseline="0" noProof="0" dirty="0">
                <a:ln>
                  <a:noFill/>
                </a:ln>
                <a:solidFill>
                  <a:srgbClr val="000000"/>
                </a:solidFill>
                <a:effectLst/>
                <a:uLnTx/>
                <a:uFillTx/>
                <a:latin typeface="Calibri"/>
                <a:ea typeface="+mn-ea"/>
                <a:cs typeface="+mn-cs"/>
              </a:rPr>
              <a:t>, depending on number of bid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0000"/>
                </a:solidFill>
                <a:effectLst/>
                <a:uLnTx/>
                <a:uFillTx/>
                <a:latin typeface="Calibri"/>
                <a:ea typeface="+mn-ea"/>
                <a:cs typeface="+mn-cs"/>
              </a:rPr>
              <a:t>Typical Agenda</a:t>
            </a:r>
            <a:r>
              <a:rPr kumimoji="0" lang="en-US" sz="1800" b="0" i="0" u="none" strike="noStrike" kern="1200" cap="none" spc="0" normalizeH="0" baseline="0" noProof="0" dirty="0">
                <a:ln>
                  <a:noFill/>
                </a:ln>
                <a:solidFill>
                  <a:srgbClr val="000000"/>
                </a:solidFill>
                <a:effectLst/>
                <a:uLnTx/>
                <a:uFillTx/>
                <a:latin typeface="Calibri"/>
                <a:ea typeface="+mn-ea"/>
                <a:cs typeface="+mn-cs"/>
              </a:rPr>
              <a:t>: Review Evaluation Criteria, Evaluation Team, Strengths and Weaknesses, Questions, Feedback</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0000"/>
                </a:solidFill>
                <a:effectLst/>
                <a:uLnTx/>
                <a:uFillTx/>
                <a:latin typeface="Calibri"/>
                <a:ea typeface="+mn-ea"/>
                <a:cs typeface="+mn-cs"/>
              </a:rPr>
              <a:t>Information Provided</a:t>
            </a:r>
            <a:r>
              <a:rPr kumimoji="0" lang="en-US" sz="1800" b="0" i="0" u="none" strike="noStrike" kern="1200" cap="none" spc="0" normalizeH="0" baseline="0" noProof="0" dirty="0">
                <a:ln>
                  <a:noFill/>
                </a:ln>
                <a:solidFill>
                  <a:srgbClr val="000000"/>
                </a:solidFill>
                <a:effectLst/>
                <a:uLnTx/>
                <a:uFillTx/>
                <a:latin typeface="Calibri"/>
                <a:ea typeface="+mn-ea"/>
                <a:cs typeface="+mn-cs"/>
              </a:rPr>
              <a:t>: High Level Strengths and Weaknes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 name="Title 1"/>
          <p:cNvSpPr>
            <a:spLocks noGrp="1"/>
          </p:cNvSpPr>
          <p:nvPr>
            <p:ph type="title"/>
          </p:nvPr>
        </p:nvSpPr>
        <p:spPr/>
        <p:txBody>
          <a:bodyPr/>
          <a:lstStyle/>
          <a:p>
            <a:r>
              <a:rPr lang="en-US" dirty="0"/>
              <a:t>Feedback Sessions</a:t>
            </a:r>
          </a:p>
        </p:txBody>
      </p:sp>
      <p:graphicFrame>
        <p:nvGraphicFramePr>
          <p:cNvPr id="4" name="Table 3">
            <a:extLst>
              <a:ext uri="{FF2B5EF4-FFF2-40B4-BE49-F238E27FC236}">
                <a16:creationId xmlns:a16="http://schemas.microsoft.com/office/drawing/2014/main" id="{6E146747-A54D-47E0-8349-3D9FA69F7140}"/>
              </a:ext>
            </a:extLst>
          </p:cNvPr>
          <p:cNvGraphicFramePr>
            <a:graphicFrameLocks noGrp="1"/>
          </p:cNvGraphicFramePr>
          <p:nvPr/>
        </p:nvGraphicFramePr>
        <p:xfrm>
          <a:off x="6877664" y="1182188"/>
          <a:ext cx="4685071" cy="1830110"/>
        </p:xfrm>
        <a:graphic>
          <a:graphicData uri="http://schemas.openxmlformats.org/drawingml/2006/table">
            <a:tbl>
              <a:tblPr firstRow="1">
                <a:tableStyleId>{5C22544A-7EE6-4342-B048-85BDC9FD1C3A}</a:tableStyleId>
              </a:tblPr>
              <a:tblGrid>
                <a:gridCol w="2340077">
                  <a:extLst>
                    <a:ext uri="{9D8B030D-6E8A-4147-A177-3AD203B41FA5}">
                      <a16:colId xmlns:a16="http://schemas.microsoft.com/office/drawing/2014/main" val="2438033802"/>
                    </a:ext>
                  </a:extLst>
                </a:gridCol>
                <a:gridCol w="1194620">
                  <a:extLst>
                    <a:ext uri="{9D8B030D-6E8A-4147-A177-3AD203B41FA5}">
                      <a16:colId xmlns:a16="http://schemas.microsoft.com/office/drawing/2014/main" val="3295449249"/>
                    </a:ext>
                  </a:extLst>
                </a:gridCol>
                <a:gridCol w="1150374">
                  <a:extLst>
                    <a:ext uri="{9D8B030D-6E8A-4147-A177-3AD203B41FA5}">
                      <a16:colId xmlns:a16="http://schemas.microsoft.com/office/drawing/2014/main" val="4133598656"/>
                    </a:ext>
                  </a:extLst>
                </a:gridCol>
              </a:tblGrid>
              <a:tr h="444515">
                <a:tc>
                  <a:txBody>
                    <a:bodyPr/>
                    <a:lstStyle/>
                    <a:p>
                      <a:pPr algn="l" fontAlgn="b"/>
                      <a:endParaRPr lang="en-US" sz="2000" b="0" i="0" u="none" strike="noStrike" dirty="0">
                        <a:solidFill>
                          <a:srgbClr val="000000"/>
                        </a:solidFill>
                        <a:effectLst/>
                        <a:latin typeface="Calibri" panose="020F0502020204030204" pitchFamily="34" charset="0"/>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800" b="1" i="0" u="none" strike="noStrike" dirty="0">
                          <a:solidFill>
                            <a:schemeClr val="bg1"/>
                          </a:solidFill>
                          <a:effectLst/>
                          <a:latin typeface="Calibri" panose="020F0502020204030204" pitchFamily="34" charset="0"/>
                        </a:rPr>
                        <a:t>TOTALS</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fontAlgn="b"/>
                      <a:r>
                        <a:rPr lang="en-US" sz="1800" u="none" strike="noStrike" dirty="0">
                          <a:effectLst/>
                        </a:rPr>
                        <a:t>%</a:t>
                      </a:r>
                      <a:endParaRPr lang="en-US" sz="1800" b="0" i="0" u="none" strike="noStrike" dirty="0">
                        <a:solidFill>
                          <a:srgbClr val="000000"/>
                        </a:solidFill>
                        <a:effectLst/>
                        <a:latin typeface="Calibri" panose="020F0502020204030204" pitchFamily="34" charset="0"/>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288251538"/>
                  </a:ext>
                </a:extLst>
              </a:tr>
              <a:tr h="530941">
                <a:tc>
                  <a:txBody>
                    <a:bodyPr/>
                    <a:lstStyle/>
                    <a:p>
                      <a:pPr lvl="0" algn="l" fontAlgn="b"/>
                      <a:r>
                        <a:rPr lang="en-US" sz="1800" b="0" i="0" u="none" strike="noStrike" dirty="0">
                          <a:solidFill>
                            <a:srgbClr val="000000"/>
                          </a:solidFill>
                          <a:effectLst/>
                        </a:rPr>
                        <a:t>Sessions Completed</a:t>
                      </a:r>
                      <a:endParaRPr lang="en-US" sz="1800" b="0" i="0" u="none" strike="noStrike" dirty="0">
                        <a:solidFill>
                          <a:srgbClr val="000000"/>
                        </a:solidFill>
                        <a:effectLst/>
                        <a:latin typeface="Calibri" panose="020F0502020204030204" pitchFamily="34" charset="0"/>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800" b="0" i="0" u="none" strike="noStrike" kern="1200" dirty="0">
                          <a:solidFill>
                            <a:srgbClr val="000000"/>
                          </a:solidFill>
                          <a:effectLst/>
                          <a:latin typeface="+mn-lt"/>
                          <a:ea typeface="+mn-ea"/>
                          <a:cs typeface="+mn-cs"/>
                        </a:rPr>
                        <a:t>101</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800" b="0" i="0" u="none" strike="noStrike" dirty="0">
                          <a:solidFill>
                            <a:srgbClr val="000000"/>
                          </a:solidFill>
                          <a:effectLst/>
                          <a:latin typeface="Calibri" panose="020F0502020204030204" pitchFamily="34" charset="0"/>
                        </a:rPr>
                        <a:t>66%</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99536711"/>
                  </a:ext>
                </a:extLst>
              </a:tr>
              <a:tr h="427327">
                <a:tc>
                  <a:txBody>
                    <a:bodyPr/>
                    <a:lstStyle/>
                    <a:p>
                      <a:pPr lvl="0" algn="l" fontAlgn="b"/>
                      <a:r>
                        <a:rPr lang="en-US" sz="1800" b="0" i="0" u="none" strike="noStrike" dirty="0">
                          <a:solidFill>
                            <a:srgbClr val="000000"/>
                          </a:solidFill>
                          <a:effectLst/>
                        </a:rPr>
                        <a:t>Bidder Declined</a:t>
                      </a:r>
                      <a:endParaRPr lang="en-US" sz="1800" b="0" i="0" u="none" strike="noStrike" dirty="0">
                        <a:solidFill>
                          <a:srgbClr val="000000"/>
                        </a:solidFill>
                        <a:effectLst/>
                        <a:latin typeface="Calibri" panose="020F0502020204030204" pitchFamily="34" charset="0"/>
                      </a:endParaRP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fontAlgn="b" latinLnBrk="0" hangingPunct="1"/>
                      <a:r>
                        <a:rPr lang="en-US" sz="1800" b="0" i="0" u="none" strike="noStrike" kern="1200" dirty="0">
                          <a:solidFill>
                            <a:srgbClr val="000000"/>
                          </a:solidFill>
                          <a:effectLst/>
                          <a:latin typeface="+mn-lt"/>
                          <a:ea typeface="+mn-ea"/>
                          <a:cs typeface="+mn-cs"/>
                        </a:rPr>
                        <a:t>52</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r>
                        <a:rPr lang="en-US" sz="1800" b="0" i="0" u="none" strike="noStrike" dirty="0">
                          <a:solidFill>
                            <a:srgbClr val="000000"/>
                          </a:solidFill>
                          <a:effectLst/>
                          <a:latin typeface="Calibri" panose="020F0502020204030204" pitchFamily="34" charset="0"/>
                        </a:rPr>
                        <a:t>34%</a:t>
                      </a:r>
                    </a:p>
                  </a:txBody>
                  <a:tcPr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32650213"/>
                  </a:ext>
                </a:extLst>
              </a:tr>
              <a:tr h="427327">
                <a:tc>
                  <a:txBody>
                    <a:bodyPr/>
                    <a:lstStyle/>
                    <a:p>
                      <a:pPr algn="l" fontAlgn="b"/>
                      <a:r>
                        <a:rPr lang="en-US" sz="1800" b="1" u="none" strike="noStrike" dirty="0">
                          <a:solidFill>
                            <a:srgbClr val="000000"/>
                          </a:solidFill>
                          <a:effectLst/>
                        </a:rPr>
                        <a:t>Total</a:t>
                      </a:r>
                      <a:endParaRPr lang="en-US" sz="1800" b="1" i="0" u="none" strike="noStrike" dirty="0">
                        <a:solidFill>
                          <a:srgbClr val="000000"/>
                        </a:solidFill>
                        <a:effectLst/>
                        <a:latin typeface="Calibri" panose="020F0502020204030204" pitchFamily="34" charset="0"/>
                      </a:endParaRP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b"/>
                      <a:r>
                        <a:rPr lang="en-US" sz="1800" b="1" i="0" u="none" strike="noStrike" dirty="0">
                          <a:solidFill>
                            <a:srgbClr val="000000"/>
                          </a:solidFill>
                          <a:effectLst/>
                          <a:latin typeface="Calibri" panose="020F0502020204030204" pitchFamily="34" charset="0"/>
                        </a:rPr>
                        <a:t>153</a:t>
                      </a: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algn="ctr" fontAlgn="b"/>
                      <a:endParaRPr lang="en-US" sz="1800" b="1" i="0" u="none" strike="noStrike" dirty="0">
                        <a:solidFill>
                          <a:srgbClr val="000000"/>
                        </a:solidFill>
                        <a:effectLst/>
                        <a:latin typeface="Calibri" panose="020F0502020204030204" pitchFamily="34" charset="0"/>
                      </a:endParaRPr>
                    </a:p>
                  </a:txBody>
                  <a:tcPr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320140027"/>
                  </a:ext>
                </a:extLst>
              </a:tr>
            </a:tbl>
          </a:graphicData>
        </a:graphic>
      </p:graphicFrame>
      <p:pic>
        <p:nvPicPr>
          <p:cNvPr id="6" name="Picture 5">
            <a:extLst>
              <a:ext uri="{FF2B5EF4-FFF2-40B4-BE49-F238E27FC236}">
                <a16:creationId xmlns:a16="http://schemas.microsoft.com/office/drawing/2014/main" id="{085FEAFB-5F68-4E5F-B6DE-14CB2E065684}"/>
              </a:ext>
            </a:extLst>
          </p:cNvPr>
          <p:cNvPicPr>
            <a:picLocks noChangeAspect="1"/>
          </p:cNvPicPr>
          <p:nvPr/>
        </p:nvPicPr>
        <p:blipFill>
          <a:blip r:embed="rId3"/>
          <a:stretch>
            <a:fillRect/>
          </a:stretch>
        </p:blipFill>
        <p:spPr>
          <a:xfrm>
            <a:off x="7091515" y="3338203"/>
            <a:ext cx="4257367" cy="3163514"/>
          </a:xfrm>
          <a:prstGeom prst="rect">
            <a:avLst/>
          </a:prstGeom>
        </p:spPr>
      </p:pic>
      <p:graphicFrame>
        <p:nvGraphicFramePr>
          <p:cNvPr id="7" name="Table 6">
            <a:extLst>
              <a:ext uri="{FF2B5EF4-FFF2-40B4-BE49-F238E27FC236}">
                <a16:creationId xmlns:a16="http://schemas.microsoft.com/office/drawing/2014/main" id="{6BCE13C5-EBD2-4170-B392-93201E54C322}"/>
              </a:ext>
            </a:extLst>
          </p:cNvPr>
          <p:cNvGraphicFramePr>
            <a:graphicFrameLocks noGrp="1"/>
          </p:cNvGraphicFramePr>
          <p:nvPr/>
        </p:nvGraphicFramePr>
        <p:xfrm>
          <a:off x="1171001" y="2900131"/>
          <a:ext cx="4506260" cy="3840480"/>
        </p:xfrm>
        <a:graphic>
          <a:graphicData uri="http://schemas.openxmlformats.org/drawingml/2006/table">
            <a:tbl>
              <a:tblPr firstRow="1" bandRow="1">
                <a:tableStyleId>{5C22544A-7EE6-4342-B048-85BDC9FD1C3A}</a:tableStyleId>
              </a:tblPr>
              <a:tblGrid>
                <a:gridCol w="3251200">
                  <a:extLst>
                    <a:ext uri="{9D8B030D-6E8A-4147-A177-3AD203B41FA5}">
                      <a16:colId xmlns:a16="http://schemas.microsoft.com/office/drawing/2014/main" val="4265359625"/>
                    </a:ext>
                  </a:extLst>
                </a:gridCol>
                <a:gridCol w="1255060">
                  <a:extLst>
                    <a:ext uri="{9D8B030D-6E8A-4147-A177-3AD203B41FA5}">
                      <a16:colId xmlns:a16="http://schemas.microsoft.com/office/drawing/2014/main" val="127318926"/>
                    </a:ext>
                  </a:extLst>
                </a:gridCol>
              </a:tblGrid>
              <a:tr h="182880">
                <a:tc>
                  <a:txBody>
                    <a:bodyPr/>
                    <a:lstStyle/>
                    <a:p>
                      <a:pPr marL="60325" indent="0" algn="l"/>
                      <a:r>
                        <a:rPr lang="en-US" sz="1800" dirty="0"/>
                        <a:t>Comment Category</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solidFill>
                  </a:tcPr>
                </a:tc>
                <a:tc>
                  <a:txBody>
                    <a:bodyPr/>
                    <a:lstStyle/>
                    <a:p>
                      <a:pPr algn="ctr"/>
                      <a:r>
                        <a:rPr lang="en-US" sz="1800" dirty="0"/>
                        <a:t>Count</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solidFill>
                  </a:tcPr>
                </a:tc>
                <a:extLst>
                  <a:ext uri="{0D108BD9-81ED-4DB2-BD59-A6C34878D82A}">
                    <a16:rowId xmlns:a16="http://schemas.microsoft.com/office/drawing/2014/main" val="1869902728"/>
                  </a:ext>
                </a:extLst>
              </a:tr>
              <a:tr h="137160">
                <a:tc>
                  <a:txBody>
                    <a:bodyPr/>
                    <a:lstStyle/>
                    <a:p>
                      <a:pPr marL="60325" indent="0" algn="l"/>
                      <a:r>
                        <a:rPr lang="en-US" sz="1800" dirty="0">
                          <a:solidFill>
                            <a:srgbClr val="000000"/>
                          </a:solidFill>
                        </a:rPr>
                        <a:t>Feedback Process</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algn="ctr"/>
                      <a:r>
                        <a:rPr lang="en-US" sz="1800" dirty="0">
                          <a:solidFill>
                            <a:srgbClr val="000000"/>
                          </a:solidFill>
                        </a:rPr>
                        <a:t>16</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703310671"/>
                  </a:ext>
                </a:extLst>
              </a:tr>
              <a:tr h="137160">
                <a:tc>
                  <a:txBody>
                    <a:bodyPr/>
                    <a:lstStyle/>
                    <a:p>
                      <a:pPr marL="60325" indent="0" algn="l"/>
                      <a:r>
                        <a:rPr lang="en-US" sz="1800" dirty="0">
                          <a:solidFill>
                            <a:srgbClr val="000000"/>
                          </a:solidFill>
                        </a:rPr>
                        <a:t>Solicitation Instructions</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dirty="0">
                          <a:solidFill>
                            <a:srgbClr val="000000"/>
                          </a:solidFill>
                        </a:rPr>
                        <a:t>9</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204356377"/>
                  </a:ext>
                </a:extLst>
              </a:tr>
              <a:tr h="137160">
                <a:tc>
                  <a:txBody>
                    <a:bodyPr/>
                    <a:lstStyle/>
                    <a:p>
                      <a:pPr marL="60325" indent="0" algn="l"/>
                      <a:r>
                        <a:rPr lang="en-US" sz="1800" dirty="0">
                          <a:solidFill>
                            <a:srgbClr val="000000"/>
                          </a:solidFill>
                        </a:rPr>
                        <a:t>Negotiations</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dirty="0">
                          <a:solidFill>
                            <a:srgbClr val="000000"/>
                          </a:solidFill>
                        </a:rPr>
                        <a:t>8</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448557533"/>
                  </a:ext>
                </a:extLst>
              </a:tr>
              <a:tr h="137160">
                <a:tc>
                  <a:txBody>
                    <a:bodyPr/>
                    <a:lstStyle/>
                    <a:p>
                      <a:pPr marL="60325" indent="0" algn="l"/>
                      <a:r>
                        <a:rPr lang="en-US" sz="1800" dirty="0">
                          <a:solidFill>
                            <a:srgbClr val="000000"/>
                          </a:solidFill>
                        </a:rPr>
                        <a:t>Communications</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dirty="0">
                          <a:solidFill>
                            <a:srgbClr val="000000"/>
                          </a:solidFill>
                        </a:rPr>
                        <a:t>7</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362778740"/>
                  </a:ext>
                </a:extLst>
              </a:tr>
              <a:tr h="137160">
                <a:tc>
                  <a:txBody>
                    <a:bodyPr/>
                    <a:lstStyle/>
                    <a:p>
                      <a:pPr marL="60325" marR="0" lvl="0" indent="0" algn="l" defTabSz="457200" rtl="0" eaLnBrk="1" fontAlgn="auto" latinLnBrk="0" hangingPunct="1">
                        <a:lnSpc>
                          <a:spcPct val="100000"/>
                        </a:lnSpc>
                        <a:spcBef>
                          <a:spcPts val="0"/>
                        </a:spcBef>
                        <a:spcAft>
                          <a:spcPts val="0"/>
                        </a:spcAft>
                        <a:buClrTx/>
                        <a:buSzTx/>
                        <a:buFontTx/>
                        <a:buNone/>
                        <a:tabLst/>
                        <a:defRPr/>
                      </a:pPr>
                      <a:r>
                        <a:rPr lang="en-US" sz="1800" dirty="0">
                          <a:solidFill>
                            <a:srgbClr val="000000"/>
                          </a:solidFill>
                        </a:rPr>
                        <a:t>RFA Design</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dirty="0">
                          <a:solidFill>
                            <a:srgbClr val="000000"/>
                          </a:solidFill>
                        </a:rPr>
                        <a:t>5</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74562211"/>
                  </a:ext>
                </a:extLst>
              </a:tr>
              <a:tr h="137160">
                <a:tc>
                  <a:txBody>
                    <a:bodyPr/>
                    <a:lstStyle/>
                    <a:p>
                      <a:pPr marL="60325" marR="0" lvl="0" indent="0" algn="l" defTabSz="457200" rtl="0" eaLnBrk="1" fontAlgn="auto" latinLnBrk="0" hangingPunct="1">
                        <a:lnSpc>
                          <a:spcPct val="100000"/>
                        </a:lnSpc>
                        <a:spcBef>
                          <a:spcPts val="0"/>
                        </a:spcBef>
                        <a:spcAft>
                          <a:spcPts val="0"/>
                        </a:spcAft>
                        <a:buClrTx/>
                        <a:buSzTx/>
                        <a:buFontTx/>
                        <a:buNone/>
                        <a:tabLst/>
                        <a:defRPr/>
                      </a:pPr>
                      <a:r>
                        <a:rPr lang="en-US" sz="1800" dirty="0">
                          <a:solidFill>
                            <a:srgbClr val="000000"/>
                          </a:solidFill>
                        </a:rPr>
                        <a:t>Length of Process</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dirty="0">
                          <a:solidFill>
                            <a:srgbClr val="000000"/>
                          </a:solidFill>
                        </a:rPr>
                        <a:t>5</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4141695600"/>
                  </a:ext>
                </a:extLst>
              </a:tr>
              <a:tr h="137160">
                <a:tc>
                  <a:txBody>
                    <a:bodyPr/>
                    <a:lstStyle/>
                    <a:p>
                      <a:pPr marL="60325" marR="0" lvl="0" indent="0" algn="l" defTabSz="457200" rtl="0" eaLnBrk="1" fontAlgn="auto" latinLnBrk="0" hangingPunct="1">
                        <a:lnSpc>
                          <a:spcPct val="100000"/>
                        </a:lnSpc>
                        <a:spcBef>
                          <a:spcPts val="0"/>
                        </a:spcBef>
                        <a:spcAft>
                          <a:spcPts val="0"/>
                        </a:spcAft>
                        <a:buClrTx/>
                        <a:buSzTx/>
                        <a:buFontTx/>
                        <a:buNone/>
                        <a:tabLst/>
                        <a:defRPr/>
                      </a:pPr>
                      <a:r>
                        <a:rPr lang="en-US" sz="1800" dirty="0">
                          <a:solidFill>
                            <a:srgbClr val="000000"/>
                          </a:solidFill>
                        </a:rPr>
                        <a:t>Solicitation Organization</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dirty="0">
                          <a:solidFill>
                            <a:srgbClr val="000000"/>
                          </a:solidFill>
                        </a:rPr>
                        <a:t>3</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55530575"/>
                  </a:ext>
                </a:extLst>
              </a:tr>
              <a:tr h="137160">
                <a:tc>
                  <a:txBody>
                    <a:bodyPr/>
                    <a:lstStyle/>
                    <a:p>
                      <a:pPr marL="60325" marR="0" lvl="0" indent="0" algn="l" defTabSz="457200" rtl="0" eaLnBrk="1" fontAlgn="auto" latinLnBrk="0" hangingPunct="1">
                        <a:lnSpc>
                          <a:spcPct val="100000"/>
                        </a:lnSpc>
                        <a:spcBef>
                          <a:spcPts val="0"/>
                        </a:spcBef>
                        <a:spcAft>
                          <a:spcPts val="0"/>
                        </a:spcAft>
                        <a:buClrTx/>
                        <a:buSzTx/>
                        <a:buFontTx/>
                        <a:buNone/>
                        <a:tabLst/>
                        <a:defRPr/>
                      </a:pPr>
                      <a:r>
                        <a:rPr lang="en-US" sz="1800" dirty="0">
                          <a:solidFill>
                            <a:srgbClr val="000000"/>
                          </a:solidFill>
                        </a:rPr>
                        <a:t>Changes in Budget / Scale</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dirty="0">
                          <a:solidFill>
                            <a:srgbClr val="000000"/>
                          </a:solidFill>
                        </a:rPr>
                        <a:t>3</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467034245"/>
                  </a:ext>
                </a:extLst>
              </a:tr>
              <a:tr h="137160">
                <a:tc>
                  <a:txBody>
                    <a:bodyPr/>
                    <a:lstStyle/>
                    <a:p>
                      <a:pPr marL="60325" marR="0" lvl="0" indent="0" algn="l" defTabSz="457200" rtl="0" eaLnBrk="1" fontAlgn="auto" latinLnBrk="0" hangingPunct="1">
                        <a:lnSpc>
                          <a:spcPct val="100000"/>
                        </a:lnSpc>
                        <a:spcBef>
                          <a:spcPts val="0"/>
                        </a:spcBef>
                        <a:spcAft>
                          <a:spcPts val="0"/>
                        </a:spcAft>
                        <a:buClrTx/>
                        <a:buSzTx/>
                        <a:buFontTx/>
                        <a:buNone/>
                        <a:tabLst/>
                        <a:defRPr/>
                      </a:pPr>
                      <a:r>
                        <a:rPr lang="en-US" sz="1800" dirty="0">
                          <a:solidFill>
                            <a:srgbClr val="000000"/>
                          </a:solidFill>
                        </a:rPr>
                        <a:t>CET Support</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dirty="0">
                          <a:solidFill>
                            <a:srgbClr val="000000"/>
                          </a:solidFill>
                        </a:rPr>
                        <a:t>3</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786662937"/>
                  </a:ext>
                </a:extLst>
              </a:tr>
              <a:tr h="137160">
                <a:tc>
                  <a:txBody>
                    <a:bodyPr/>
                    <a:lstStyle/>
                    <a:p>
                      <a:pPr marL="60325" marR="0" lvl="0" indent="0" algn="l" defTabSz="457200" rtl="0" eaLnBrk="1" fontAlgn="auto" latinLnBrk="0" hangingPunct="1">
                        <a:lnSpc>
                          <a:spcPct val="100000"/>
                        </a:lnSpc>
                        <a:spcBef>
                          <a:spcPts val="0"/>
                        </a:spcBef>
                        <a:spcAft>
                          <a:spcPts val="0"/>
                        </a:spcAft>
                        <a:buClrTx/>
                        <a:buSzTx/>
                        <a:buFontTx/>
                        <a:buNone/>
                        <a:tabLst/>
                        <a:defRPr/>
                      </a:pPr>
                      <a:r>
                        <a:rPr lang="en-US" sz="1800" dirty="0">
                          <a:solidFill>
                            <a:srgbClr val="000000"/>
                          </a:solidFill>
                        </a:rPr>
                        <a:t>CET Policy Changes</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dirty="0">
                          <a:solidFill>
                            <a:srgbClr val="000000"/>
                          </a:solidFill>
                        </a:rPr>
                        <a:t>1</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143617665"/>
                  </a:ext>
                </a:extLst>
              </a:tr>
              <a:tr h="137160">
                <a:tc>
                  <a:txBody>
                    <a:bodyPr/>
                    <a:lstStyle/>
                    <a:p>
                      <a:pPr marL="60325" marR="0" lvl="0" indent="0" algn="l" defTabSz="457200" rtl="0" eaLnBrk="1" fontAlgn="auto" latinLnBrk="0" hangingPunct="1">
                        <a:lnSpc>
                          <a:spcPct val="100000"/>
                        </a:lnSpc>
                        <a:spcBef>
                          <a:spcPts val="0"/>
                        </a:spcBef>
                        <a:spcAft>
                          <a:spcPts val="0"/>
                        </a:spcAft>
                        <a:buClrTx/>
                        <a:buSzTx/>
                        <a:buFontTx/>
                        <a:buNone/>
                        <a:tabLst/>
                        <a:defRPr/>
                      </a:pPr>
                      <a:r>
                        <a:rPr lang="en-US" sz="1800" dirty="0">
                          <a:solidFill>
                            <a:srgbClr val="000000"/>
                          </a:solidFill>
                        </a:rPr>
                        <a:t>Cost of Participation</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dirty="0">
                          <a:solidFill>
                            <a:srgbClr val="000000"/>
                          </a:solidFill>
                        </a:rPr>
                        <a:t>1</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298384112"/>
                  </a:ext>
                </a:extLst>
              </a:tr>
              <a:tr h="137160">
                <a:tc>
                  <a:txBody>
                    <a:bodyPr/>
                    <a:lstStyle/>
                    <a:p>
                      <a:pPr marL="60325" marR="0" lvl="0" indent="0" algn="l" defTabSz="457200" rtl="0" eaLnBrk="1" fontAlgn="auto" latinLnBrk="0" hangingPunct="1">
                        <a:lnSpc>
                          <a:spcPct val="100000"/>
                        </a:lnSpc>
                        <a:spcBef>
                          <a:spcPts val="0"/>
                        </a:spcBef>
                        <a:spcAft>
                          <a:spcPts val="0"/>
                        </a:spcAft>
                        <a:buClrTx/>
                        <a:buSzTx/>
                        <a:buFontTx/>
                        <a:buNone/>
                        <a:tabLst/>
                        <a:defRPr/>
                      </a:pPr>
                      <a:r>
                        <a:rPr lang="en-US" sz="1800" dirty="0">
                          <a:solidFill>
                            <a:srgbClr val="000000"/>
                          </a:solidFill>
                        </a:rPr>
                        <a:t>Solicitation Resources</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dirty="0">
                          <a:solidFill>
                            <a:srgbClr val="000000"/>
                          </a:solidFill>
                        </a:rPr>
                        <a:t>1</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142943059"/>
                  </a:ext>
                </a:extLst>
              </a:tr>
              <a:tr h="137160">
                <a:tc>
                  <a:txBody>
                    <a:bodyPr/>
                    <a:lstStyle/>
                    <a:p>
                      <a:pPr marL="60325" marR="0" lvl="0" indent="0" algn="l" defTabSz="457200" rtl="0" eaLnBrk="1" fontAlgn="auto" latinLnBrk="0" hangingPunct="1">
                        <a:lnSpc>
                          <a:spcPct val="100000"/>
                        </a:lnSpc>
                        <a:spcBef>
                          <a:spcPts val="0"/>
                        </a:spcBef>
                        <a:spcAft>
                          <a:spcPts val="0"/>
                        </a:spcAft>
                        <a:buClrTx/>
                        <a:buSzTx/>
                        <a:buFontTx/>
                        <a:buNone/>
                        <a:tabLst/>
                        <a:defRPr/>
                      </a:pPr>
                      <a:r>
                        <a:rPr lang="en-US" sz="1800" b="1" dirty="0">
                          <a:solidFill>
                            <a:srgbClr val="000000"/>
                          </a:solidFill>
                        </a:rPr>
                        <a:t>TOTAL</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lumMod val="85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800" b="1" dirty="0">
                          <a:solidFill>
                            <a:srgbClr val="000000"/>
                          </a:solidFill>
                        </a:rPr>
                        <a:t>62</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963414922"/>
                  </a:ext>
                </a:extLst>
              </a:tr>
            </a:tbl>
          </a:graphicData>
        </a:graphic>
      </p:graphicFrame>
    </p:spTree>
    <p:extLst>
      <p:ext uri="{BB962C8B-B14F-4D97-AF65-F5344CB8AC3E}">
        <p14:creationId xmlns:p14="http://schemas.microsoft.com/office/powerpoint/2010/main" val="2321235486"/>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26EEB01-EFBC-4D9B-888B-362729E8EDDB}"/>
              </a:ext>
            </a:extLst>
          </p:cNvPr>
          <p:cNvSpPr txBox="1"/>
          <p:nvPr/>
        </p:nvSpPr>
        <p:spPr>
          <a:xfrm>
            <a:off x="818781" y="1114272"/>
            <a:ext cx="10175899" cy="5262979"/>
          </a:xfrm>
          <a:prstGeom prst="rect">
            <a:avLst/>
          </a:prstGeom>
          <a:noFill/>
          <a:ln>
            <a:noFill/>
          </a:ln>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1" i="0" u="none" strike="noStrike" kern="1200" cap="none" spc="0" normalizeH="0" baseline="0" noProof="0" dirty="0">
                <a:ln>
                  <a:noFill/>
                </a:ln>
                <a:solidFill>
                  <a:srgbClr val="000000"/>
                </a:solidFill>
                <a:effectLst/>
                <a:uLnTx/>
                <a:uFillTx/>
                <a:latin typeface="Calibri"/>
                <a:ea typeface="+mn-ea"/>
                <a:cs typeface="+mn-cs"/>
              </a:rPr>
              <a:t>More Timely Feedback:  </a:t>
            </a:r>
            <a:r>
              <a:rPr kumimoji="0" lang="en-US" sz="2800" b="0" i="0" u="none" strike="noStrike" kern="1200" cap="none" spc="0" normalizeH="0" baseline="0" noProof="0" dirty="0">
                <a:ln>
                  <a:noFill/>
                </a:ln>
                <a:solidFill>
                  <a:srgbClr val="000000"/>
                </a:solidFill>
                <a:effectLst/>
                <a:uLnTx/>
                <a:uFillTx/>
                <a:latin typeface="Calibri"/>
                <a:ea typeface="+mn-ea"/>
                <a:cs typeface="+mn-cs"/>
              </a:rPr>
              <a:t>No need to wait until entire solicitation process concludes – provide feedback following RFA stage and then RFP sta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1" i="0" u="none" strike="noStrike" kern="1200" cap="none" spc="0" normalizeH="0" baseline="0" noProof="0" dirty="0">
                <a:ln>
                  <a:noFill/>
                </a:ln>
                <a:solidFill>
                  <a:srgbClr val="000000"/>
                </a:solidFill>
                <a:effectLst/>
                <a:uLnTx/>
                <a:uFillTx/>
                <a:latin typeface="Calibri"/>
                <a:ea typeface="+mn-ea"/>
                <a:cs typeface="+mn-cs"/>
              </a:rPr>
              <a:t>More Detailed Feedback:  </a:t>
            </a:r>
            <a:r>
              <a:rPr kumimoji="0" lang="en-US" sz="2800" b="0" i="0" u="none" strike="noStrike" kern="1200" cap="none" spc="0" normalizeH="0" baseline="0" noProof="0" dirty="0">
                <a:ln>
                  <a:noFill/>
                </a:ln>
                <a:solidFill>
                  <a:srgbClr val="000000"/>
                </a:solidFill>
                <a:effectLst/>
                <a:uLnTx/>
                <a:uFillTx/>
                <a:latin typeface="Calibri"/>
                <a:ea typeface="+mn-ea"/>
                <a:cs typeface="+mn-cs"/>
              </a:rPr>
              <a:t>Go deeper into sub-criteria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1" i="0" u="none" strike="noStrike" kern="1200" cap="none" spc="0" normalizeH="0" baseline="0" noProof="0" dirty="0">
                <a:ln>
                  <a:noFill/>
                </a:ln>
                <a:solidFill>
                  <a:srgbClr val="000000"/>
                </a:solidFill>
                <a:effectLst/>
                <a:uLnTx/>
                <a:uFillTx/>
                <a:latin typeface="Calibri"/>
                <a:ea typeface="+mn-ea"/>
                <a:cs typeface="+mn-cs"/>
              </a:rPr>
              <a:t>Make Information more Actionable:  </a:t>
            </a:r>
            <a:r>
              <a:rPr kumimoji="0" lang="en-US" sz="2800" b="0" i="0" u="none" strike="noStrike" kern="1200" cap="none" spc="0" normalizeH="0" baseline="0" noProof="0" dirty="0">
                <a:ln>
                  <a:noFill/>
                </a:ln>
                <a:solidFill>
                  <a:srgbClr val="000000"/>
                </a:solidFill>
                <a:effectLst/>
                <a:uLnTx/>
                <a:uFillTx/>
                <a:latin typeface="Calibri"/>
                <a:ea typeface="+mn-ea"/>
                <a:cs typeface="+mn-cs"/>
              </a:rPr>
              <a:t>Continue to provide strengths and weaknesses, but consider different methods to present the data in a way that is more usefu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1" i="0" u="none" strike="noStrike" kern="1200" cap="none" spc="0" normalizeH="0" baseline="0" noProof="0" dirty="0">
                <a:ln>
                  <a:noFill/>
                </a:ln>
                <a:solidFill>
                  <a:srgbClr val="000000"/>
                </a:solidFill>
                <a:effectLst/>
                <a:uLnTx/>
                <a:uFillTx/>
                <a:latin typeface="Calibri"/>
                <a:ea typeface="+mn-ea"/>
                <a:cs typeface="+mn-cs"/>
              </a:rPr>
              <a:t>Keep Feedback Two-Way:  </a:t>
            </a:r>
            <a:r>
              <a:rPr kumimoji="0" lang="en-US" sz="2800" b="0" i="0" u="none" strike="noStrike" kern="1200" cap="none" spc="0" normalizeH="0" baseline="0" noProof="0" dirty="0">
                <a:ln>
                  <a:noFill/>
                </a:ln>
                <a:solidFill>
                  <a:srgbClr val="000000"/>
                </a:solidFill>
                <a:effectLst/>
                <a:uLnTx/>
                <a:uFillTx/>
                <a:latin typeface="Calibri"/>
                <a:ea typeface="+mn-ea"/>
                <a:cs typeface="+mn-cs"/>
              </a:rPr>
              <a:t>Collect bidder feedback throughout all stages of the solicitation process</a:t>
            </a:r>
          </a:p>
        </p:txBody>
      </p:sp>
      <p:sp>
        <p:nvSpPr>
          <p:cNvPr id="2" name="Title 1"/>
          <p:cNvSpPr>
            <a:spLocks noGrp="1"/>
          </p:cNvSpPr>
          <p:nvPr>
            <p:ph type="title"/>
          </p:nvPr>
        </p:nvSpPr>
        <p:spPr/>
        <p:txBody>
          <a:bodyPr/>
          <a:lstStyle/>
          <a:p>
            <a:r>
              <a:rPr lang="en-US" sz="3200" dirty="0"/>
              <a:t>Feedback Process Improvements</a:t>
            </a:r>
          </a:p>
        </p:txBody>
      </p:sp>
    </p:spTree>
    <p:extLst>
      <p:ext uri="{BB962C8B-B14F-4D97-AF65-F5344CB8AC3E}">
        <p14:creationId xmlns:p14="http://schemas.microsoft.com/office/powerpoint/2010/main" val="3327442247"/>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29487" y="3631711"/>
            <a:ext cx="10515600" cy="1325563"/>
          </a:xfrm>
        </p:spPr>
        <p:txBody>
          <a:bodyPr>
            <a:normAutofit fontScale="90000"/>
          </a:bodyPr>
          <a:lstStyle/>
          <a:p>
            <a:pPr algn="ctr"/>
            <a:r>
              <a:rPr lang="en-US" dirty="0">
                <a:solidFill>
                  <a:schemeClr val="tx1"/>
                </a:solidFill>
              </a:rPr>
              <a:t>SCE - Bidder Feedback </a:t>
            </a:r>
            <a:br>
              <a:rPr lang="en-US" dirty="0">
                <a:solidFill>
                  <a:schemeClr val="tx1"/>
                </a:solidFill>
              </a:rPr>
            </a:br>
            <a:r>
              <a:rPr lang="en-US" dirty="0">
                <a:solidFill>
                  <a:schemeClr val="tx1"/>
                </a:solidFill>
              </a:rPr>
              <a:t>July 28, 2021</a:t>
            </a:r>
            <a:br>
              <a:rPr lang="en-US" dirty="0">
                <a:solidFill>
                  <a:schemeClr val="tx1"/>
                </a:solidFill>
              </a:rPr>
            </a:br>
            <a:br>
              <a:rPr lang="en-US" dirty="0">
                <a:solidFill>
                  <a:schemeClr val="tx1"/>
                </a:solidFill>
              </a:rPr>
            </a:br>
            <a:r>
              <a:rPr lang="en-US" sz="3100" dirty="0">
                <a:solidFill>
                  <a:schemeClr val="tx1"/>
                </a:solidFill>
              </a:rPr>
              <a:t>Customer Programs &amp; Services</a:t>
            </a:r>
            <a:endParaRPr lang="en-US" dirty="0">
              <a:solidFill>
                <a:schemeClr val="tx1"/>
              </a:solidFill>
            </a:endParaRPr>
          </a:p>
        </p:txBody>
      </p:sp>
    </p:spTree>
    <p:extLst>
      <p:ext uri="{BB962C8B-B14F-4D97-AF65-F5344CB8AC3E}">
        <p14:creationId xmlns:p14="http://schemas.microsoft.com/office/powerpoint/2010/main" val="151435218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4907" y="280064"/>
            <a:ext cx="10515600" cy="595925"/>
          </a:xfrm>
        </p:spPr>
        <p:txBody>
          <a:bodyPr>
            <a:normAutofit/>
          </a:bodyPr>
          <a:lstStyle/>
          <a:p>
            <a:r>
              <a:rPr lang="en-US" dirty="0">
                <a:solidFill>
                  <a:srgbClr val="006269"/>
                </a:solidFill>
              </a:rPr>
              <a:t>Bidder Debrief Sessions after RFAs &amp; RFPs</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94BA17-8AE8-4651-9FD9-8589E5D42325}" type="slidenum">
              <a:rPr kumimoji="0" lang="en-US" sz="1200" b="1" i="0" u="none" strike="noStrike" kern="1200" cap="none" spc="0" normalizeH="0" baseline="0" noProof="0" smtClean="0">
                <a:ln>
                  <a:noFill/>
                </a:ln>
                <a:solidFill>
                  <a:prstClr val="white">
                    <a:lumMod val="50000"/>
                  </a:prstClr>
                </a:solidFill>
                <a:effectLst/>
                <a:uLnTx/>
                <a:uFillTx/>
                <a:latin typeface="Segoe UI Semibold" panose="020B0702040204020203" pitchFamily="34" charset="0"/>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200" b="1" i="0" u="none" strike="noStrike" kern="1200" cap="none" spc="0" normalizeH="0" baseline="0" noProof="0" dirty="0">
              <a:ln>
                <a:noFill/>
              </a:ln>
              <a:solidFill>
                <a:prstClr val="white">
                  <a:lumMod val="50000"/>
                </a:prstClr>
              </a:solidFill>
              <a:effectLst/>
              <a:uLnTx/>
              <a:uFillTx/>
              <a:latin typeface="Segoe UI Semibold" panose="020B0702040204020203" pitchFamily="34" charset="0"/>
              <a:cs typeface="Segoe UI" panose="020B0502040204020203" pitchFamily="34" charset="0"/>
            </a:endParaRPr>
          </a:p>
        </p:txBody>
      </p:sp>
      <p:sp>
        <p:nvSpPr>
          <p:cNvPr id="14" name="TextBox 13">
            <a:extLst>
              <a:ext uri="{FF2B5EF4-FFF2-40B4-BE49-F238E27FC236}">
                <a16:creationId xmlns:a16="http://schemas.microsoft.com/office/drawing/2014/main" id="{A57BAFEA-560B-4C88-ADC2-1F4D6C6AF0FD}"/>
              </a:ext>
            </a:extLst>
          </p:cNvPr>
          <p:cNvSpPr txBox="1"/>
          <p:nvPr/>
        </p:nvSpPr>
        <p:spPr>
          <a:xfrm>
            <a:off x="614907" y="4743433"/>
            <a:ext cx="11059642" cy="2139047"/>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tab pos="4799013" algn="ctr"/>
                <a:tab pos="7088188" algn="ctr"/>
                <a:tab pos="10515600" algn="r"/>
              </a:tabLst>
              <a:defRPr/>
            </a:pPr>
            <a:r>
              <a:rPr kumimoji="0" lang="en-US" sz="1800" b="0" i="0" u="none" strike="noStrike" kern="1200" cap="none" spc="0" normalizeH="0" baseline="0" noProof="0" dirty="0">
                <a:ln>
                  <a:noFill/>
                </a:ln>
                <a:solidFill>
                  <a:srgbClr val="006269"/>
                </a:solidFill>
                <a:effectLst/>
                <a:uLnTx/>
                <a:uFillTx/>
                <a:latin typeface="Segoe UI Light" panose="020B0502040204020203" pitchFamily="34" charset="0"/>
                <a:ea typeface="+mn-ea"/>
                <a:cs typeface="Segoe UI Light" panose="020B0502040204020203" pitchFamily="34" charset="0"/>
              </a:rPr>
              <a:t>SCE added feedback that included the categories where improvements could be made, such as Program Design and Innovation.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4799013" algn="ctr"/>
                <a:tab pos="7088188" algn="ctr"/>
                <a:tab pos="10515600" algn="r"/>
              </a:tabLst>
              <a:defRPr/>
            </a:pPr>
            <a:r>
              <a:rPr kumimoji="0" lang="en-US" sz="1800" b="0" i="0" u="none" strike="noStrike" kern="1200" cap="none" spc="0" normalizeH="0" baseline="0" noProof="0" dirty="0">
                <a:ln>
                  <a:noFill/>
                </a:ln>
                <a:solidFill>
                  <a:srgbClr val="006269"/>
                </a:solidFill>
                <a:effectLst/>
                <a:uLnTx/>
                <a:uFillTx/>
                <a:latin typeface="Segoe UI Light" panose="020B0502040204020203" pitchFamily="34" charset="0"/>
                <a:ea typeface="+mn-ea"/>
                <a:cs typeface="Segoe UI Light" panose="020B0502040204020203" pitchFamily="34" charset="0"/>
              </a:rPr>
              <a:t>Bidders did want details that SCE was not able to share for the sake of preserving the fairness to the market.</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4799013" algn="ctr"/>
                <a:tab pos="7088188" algn="ctr"/>
                <a:tab pos="10515600" algn="r"/>
              </a:tabLst>
              <a:defRPr/>
            </a:pPr>
            <a:r>
              <a:rPr kumimoji="0" lang="en-US" sz="1800" b="0" i="0" u="none" strike="noStrike" kern="1200" cap="none" spc="0" normalizeH="0" baseline="0" noProof="0" dirty="0">
                <a:ln>
                  <a:noFill/>
                </a:ln>
                <a:solidFill>
                  <a:srgbClr val="006269"/>
                </a:solidFill>
                <a:effectLst/>
                <a:uLnTx/>
                <a:uFillTx/>
                <a:latin typeface="Segoe UI Light" panose="020B0502040204020203" pitchFamily="34" charset="0"/>
                <a:ea typeface="+mn-ea"/>
                <a:cs typeface="Segoe UI Light" panose="020B0502040204020203" pitchFamily="34" charset="0"/>
              </a:rPr>
              <a:t>At the conclusion of the RCI and SWL RFPs and after contract execution, SCE conducted a Bidders’ webinar to share lessons learned and aggregated solicitation feedback.</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tab pos="4799013" algn="ctr"/>
                <a:tab pos="7088188" algn="ctr"/>
                <a:tab pos="10515600" algn="r"/>
              </a:tabLst>
              <a:defRPr/>
            </a:pPr>
            <a:endParaRPr kumimoji="0" lang="en-US" sz="1800" b="0" i="0" u="none" strike="noStrike" kern="1200" cap="none" spc="0" normalizeH="0" baseline="0" noProof="0" dirty="0">
              <a:ln>
                <a:noFill/>
              </a:ln>
              <a:solidFill>
                <a:srgbClr val="006269"/>
              </a:solidFill>
              <a:effectLst/>
              <a:uLnTx/>
              <a:uFillTx/>
              <a:latin typeface="Segoe UI Light" panose="020B0502040204020203" pitchFamily="34" charset="0"/>
              <a:ea typeface="+mn-ea"/>
              <a:cs typeface="Segoe UI Light" panose="020B0502040204020203" pitchFamily="34" charset="0"/>
            </a:endParaRPr>
          </a:p>
        </p:txBody>
      </p:sp>
      <p:graphicFrame>
        <p:nvGraphicFramePr>
          <p:cNvPr id="6" name="Table 12">
            <a:extLst>
              <a:ext uri="{FF2B5EF4-FFF2-40B4-BE49-F238E27FC236}">
                <a16:creationId xmlns:a16="http://schemas.microsoft.com/office/drawing/2014/main" id="{3195A4D9-747D-4732-AF17-0FB8E32190DD}"/>
              </a:ext>
            </a:extLst>
          </p:cNvPr>
          <p:cNvGraphicFramePr>
            <a:graphicFrameLocks noGrp="1"/>
          </p:cNvGraphicFramePr>
          <p:nvPr/>
        </p:nvGraphicFramePr>
        <p:xfrm>
          <a:off x="1974366" y="975869"/>
          <a:ext cx="8073484" cy="3601720"/>
        </p:xfrm>
        <a:graphic>
          <a:graphicData uri="http://schemas.openxmlformats.org/drawingml/2006/table">
            <a:tbl>
              <a:tblPr firstRow="1" bandRow="1">
                <a:effectLst>
                  <a:outerShdw blurRad="50800" dist="38100" dir="2700000" algn="tl" rotWithShape="0">
                    <a:prstClr val="black">
                      <a:alpha val="40000"/>
                    </a:prstClr>
                  </a:outerShdw>
                </a:effectLst>
                <a:tableStyleId>{93296810-A885-4BE3-A3E7-6D5BEEA58F35}</a:tableStyleId>
              </a:tblPr>
              <a:tblGrid>
                <a:gridCol w="2634790">
                  <a:extLst>
                    <a:ext uri="{9D8B030D-6E8A-4147-A177-3AD203B41FA5}">
                      <a16:colId xmlns:a16="http://schemas.microsoft.com/office/drawing/2014/main" val="2237419886"/>
                    </a:ext>
                  </a:extLst>
                </a:gridCol>
                <a:gridCol w="1401952">
                  <a:extLst>
                    <a:ext uri="{9D8B030D-6E8A-4147-A177-3AD203B41FA5}">
                      <a16:colId xmlns:a16="http://schemas.microsoft.com/office/drawing/2014/main" val="126615031"/>
                    </a:ext>
                  </a:extLst>
                </a:gridCol>
                <a:gridCol w="1345581">
                  <a:extLst>
                    <a:ext uri="{9D8B030D-6E8A-4147-A177-3AD203B41FA5}">
                      <a16:colId xmlns:a16="http://schemas.microsoft.com/office/drawing/2014/main" val="1101727696"/>
                    </a:ext>
                  </a:extLst>
                </a:gridCol>
                <a:gridCol w="2691161">
                  <a:extLst>
                    <a:ext uri="{9D8B030D-6E8A-4147-A177-3AD203B41FA5}">
                      <a16:colId xmlns:a16="http://schemas.microsoft.com/office/drawing/2014/main" val="1524780930"/>
                    </a:ext>
                  </a:extLst>
                </a:gridCol>
              </a:tblGrid>
              <a:tr h="370840">
                <a:tc>
                  <a:txBody>
                    <a:bodyPr/>
                    <a:lstStyle/>
                    <a:p>
                      <a:pPr algn="ctr"/>
                      <a:r>
                        <a:rPr lang="en-US" dirty="0"/>
                        <a:t>Solicitation</a:t>
                      </a:r>
                    </a:p>
                  </a:txBody>
                  <a:tcPr anchor="ctr">
                    <a:solidFill>
                      <a:srgbClr val="006269"/>
                    </a:solidFill>
                  </a:tcPr>
                </a:tc>
                <a:tc gridSpan="2">
                  <a:txBody>
                    <a:bodyPr/>
                    <a:lstStyle/>
                    <a:p>
                      <a:pPr algn="ctr"/>
                      <a:r>
                        <a:rPr lang="en-US" dirty="0"/>
                        <a:t># of Debriefs Conducted</a:t>
                      </a:r>
                    </a:p>
                  </a:txBody>
                  <a:tcPr anchor="ctr">
                    <a:solidFill>
                      <a:srgbClr val="006269"/>
                    </a:solidFill>
                  </a:tcPr>
                </a:tc>
                <a:tc hMerge="1">
                  <a:txBody>
                    <a:bodyPr/>
                    <a:lstStyle/>
                    <a:p>
                      <a:endParaRPr lang="en-US"/>
                    </a:p>
                  </a:txBody>
                  <a:tcPr/>
                </a:tc>
                <a:tc>
                  <a:txBody>
                    <a:bodyPr/>
                    <a:lstStyle/>
                    <a:p>
                      <a:pPr algn="ctr"/>
                      <a:r>
                        <a:rPr lang="en-US" dirty="0"/>
                        <a:t>General </a:t>
                      </a:r>
                    </a:p>
                    <a:p>
                      <a:pPr algn="ctr"/>
                      <a:r>
                        <a:rPr lang="en-US" dirty="0"/>
                        <a:t>Themes</a:t>
                      </a:r>
                    </a:p>
                  </a:txBody>
                  <a:tcPr anchor="ctr">
                    <a:solidFill>
                      <a:srgbClr val="006269"/>
                    </a:solidFill>
                  </a:tcPr>
                </a:tc>
                <a:extLst>
                  <a:ext uri="{0D108BD9-81ED-4DB2-BD59-A6C34878D82A}">
                    <a16:rowId xmlns:a16="http://schemas.microsoft.com/office/drawing/2014/main" val="201572738"/>
                  </a:ext>
                </a:extLst>
              </a:tr>
              <a:tr h="370840">
                <a:tc>
                  <a:txBody>
                    <a:bodyPr/>
                    <a:lstStyle/>
                    <a:p>
                      <a:pPr algn="ctr"/>
                      <a:endParaRPr lang="en-US" dirty="0"/>
                    </a:p>
                  </a:txBody>
                  <a:tcPr anchor="ctr"/>
                </a:tc>
                <a:tc>
                  <a:txBody>
                    <a:bodyPr/>
                    <a:lstStyle/>
                    <a:p>
                      <a:pPr algn="ctr"/>
                      <a:r>
                        <a:rPr lang="en-US" dirty="0"/>
                        <a:t>RFA</a:t>
                      </a:r>
                    </a:p>
                  </a:txBody>
                  <a:tcPr anchor="ctr"/>
                </a:tc>
                <a:tc>
                  <a:txBody>
                    <a:bodyPr/>
                    <a:lstStyle/>
                    <a:p>
                      <a:pPr algn="ctr"/>
                      <a:r>
                        <a:rPr lang="en-US" dirty="0"/>
                        <a:t>RFP</a:t>
                      </a:r>
                    </a:p>
                  </a:txBody>
                  <a:tcPr anchor="ctr"/>
                </a:tc>
                <a:tc>
                  <a:txBody>
                    <a:bodyPr/>
                    <a:lstStyle/>
                    <a:p>
                      <a:pPr algn="ctr"/>
                      <a:endParaRPr lang="en-US" dirty="0"/>
                    </a:p>
                  </a:txBody>
                  <a:tcPr anchor="ctr"/>
                </a:tc>
                <a:extLst>
                  <a:ext uri="{0D108BD9-81ED-4DB2-BD59-A6C34878D82A}">
                    <a16:rowId xmlns:a16="http://schemas.microsoft.com/office/drawing/2014/main" val="3911138681"/>
                  </a:ext>
                </a:extLst>
              </a:tr>
              <a:tr h="370840">
                <a:tc>
                  <a:txBody>
                    <a:bodyPr/>
                    <a:lstStyle/>
                    <a:p>
                      <a:pPr marL="0" marR="0" algn="ctr">
                        <a:spcBef>
                          <a:spcPts val="0"/>
                        </a:spcBef>
                        <a:spcAft>
                          <a:spcPts val="0"/>
                        </a:spcAft>
                      </a:pPr>
                      <a:r>
                        <a:rPr lang="en-US" sz="1800" dirty="0">
                          <a:effectLst/>
                          <a:latin typeface="Segoe UI Light" panose="020B0502040204020203" pitchFamily="34" charset="0"/>
                          <a:cs typeface="Segoe UI Light" panose="020B0502040204020203" pitchFamily="34" charset="0"/>
                        </a:rPr>
                        <a:t>RCI</a:t>
                      </a:r>
                      <a:endParaRPr lang="en-US" sz="1800" dirty="0">
                        <a:effectLst/>
                        <a:latin typeface="Segoe UI Light" panose="020B0502040204020203" pitchFamily="34" charset="0"/>
                        <a:ea typeface="Calibri" panose="020F0502020204030204" pitchFamily="34" charset="0"/>
                        <a:cs typeface="Segoe UI Light" panose="020B0502040204020203" pitchFamily="34" charset="0"/>
                      </a:endParaRPr>
                    </a:p>
                  </a:txBody>
                  <a:tcPr/>
                </a:tc>
                <a:tc>
                  <a:txBody>
                    <a:bodyPr/>
                    <a:lstStyle/>
                    <a:p>
                      <a:pPr algn="ctr"/>
                      <a:r>
                        <a:rPr lang="en-US" sz="1800" dirty="0">
                          <a:effectLst/>
                          <a:latin typeface="Segoe UI Light" panose="020B0502040204020203" pitchFamily="34" charset="0"/>
                          <a:cs typeface="Segoe UI Light" panose="020B0502040204020203" pitchFamily="34" charset="0"/>
                        </a:rPr>
                        <a:t>12 </a:t>
                      </a:r>
                      <a:endParaRPr lang="en-US" sz="1800" dirty="0">
                        <a:effectLst/>
                        <a:latin typeface="Segoe UI Light" panose="020B0502040204020203" pitchFamily="34" charset="0"/>
                        <a:ea typeface="Calibri" panose="020F0502020204030204" pitchFamily="34" charset="0"/>
                        <a:cs typeface="Segoe UI Light" panose="020B0502040204020203" pitchFamily="34" charset="0"/>
                      </a:endParaRPr>
                    </a:p>
                  </a:txBody>
                  <a:tcPr/>
                </a:tc>
                <a:tc>
                  <a:txBody>
                    <a:bodyPr/>
                    <a:lstStyle/>
                    <a:p>
                      <a:pPr algn="ctr"/>
                      <a:r>
                        <a:rPr lang="en-US" sz="1800" dirty="0">
                          <a:effectLst/>
                          <a:latin typeface="Segoe UI Light" panose="020B0502040204020203" pitchFamily="34" charset="0"/>
                          <a:ea typeface="Calibri" panose="020F0502020204030204" pitchFamily="34" charset="0"/>
                          <a:cs typeface="Segoe UI Light" panose="020B0502040204020203" pitchFamily="34" charset="0"/>
                        </a:rPr>
                        <a:t>2</a:t>
                      </a:r>
                    </a:p>
                  </a:txBody>
                  <a:tcPr/>
                </a:tc>
                <a:tc rowSpan="7">
                  <a:txBody>
                    <a:bodyPr/>
                    <a:lstStyle/>
                    <a:p>
                      <a:pPr marL="285750" indent="-285750" algn="l">
                        <a:buFont typeface="Arial" panose="020B0604020202020204" pitchFamily="34" charset="0"/>
                        <a:buChar char="•"/>
                      </a:pPr>
                      <a:r>
                        <a:rPr lang="en-US" sz="1800" dirty="0">
                          <a:effectLst/>
                          <a:latin typeface="Segoe UI Light" panose="020B0502040204020203" pitchFamily="34" charset="0"/>
                          <a:ea typeface="Calibri" panose="020F0502020204030204" pitchFamily="34" charset="0"/>
                          <a:cs typeface="Segoe UI Light" panose="020B0502040204020203" pitchFamily="34" charset="0"/>
                        </a:rPr>
                        <a:t>More details to improve future bids</a:t>
                      </a:r>
                    </a:p>
                    <a:p>
                      <a:pPr marL="285750" indent="-285750" algn="l">
                        <a:buFont typeface="Arial" panose="020B0604020202020204" pitchFamily="34" charset="0"/>
                        <a:buChar char="•"/>
                      </a:pPr>
                      <a:endParaRPr lang="en-US" sz="1800" dirty="0">
                        <a:effectLst/>
                        <a:latin typeface="Segoe UI Light" panose="020B0502040204020203" pitchFamily="34" charset="0"/>
                        <a:ea typeface="Calibri" panose="020F0502020204030204" pitchFamily="34" charset="0"/>
                        <a:cs typeface="Segoe UI Light" panose="020B0502040204020203" pitchFamily="34" charset="0"/>
                      </a:endParaRPr>
                    </a:p>
                    <a:p>
                      <a:pPr marL="285750" indent="-285750" algn="l">
                        <a:buFont typeface="Arial" panose="020B0604020202020204" pitchFamily="34" charset="0"/>
                        <a:buChar char="•"/>
                      </a:pPr>
                      <a:r>
                        <a:rPr lang="en-US" sz="1800" dirty="0">
                          <a:effectLst/>
                          <a:latin typeface="Segoe UI Light" panose="020B0502040204020203" pitchFamily="34" charset="0"/>
                          <a:ea typeface="Calibri" panose="020F0502020204030204" pitchFamily="34" charset="0"/>
                          <a:cs typeface="Segoe UI Light" panose="020B0502040204020203" pitchFamily="34" charset="0"/>
                        </a:rPr>
                        <a:t>Who was shortlisted</a:t>
                      </a:r>
                    </a:p>
                    <a:p>
                      <a:pPr marL="285750" indent="-285750" algn="l">
                        <a:buFont typeface="Arial" panose="020B0604020202020204" pitchFamily="34" charset="0"/>
                        <a:buChar char="•"/>
                      </a:pPr>
                      <a:endParaRPr lang="en-US" sz="1800" dirty="0">
                        <a:effectLst/>
                        <a:latin typeface="Segoe UI Light" panose="020B0502040204020203" pitchFamily="34" charset="0"/>
                        <a:ea typeface="Calibri" panose="020F0502020204030204" pitchFamily="34" charset="0"/>
                        <a:cs typeface="Segoe UI Light" panose="020B0502040204020203" pitchFamily="34" charset="0"/>
                      </a:endParaRPr>
                    </a:p>
                    <a:p>
                      <a:pPr marL="285750" indent="-285750" algn="l">
                        <a:buFont typeface="Arial" panose="020B0604020202020204" pitchFamily="34" charset="0"/>
                        <a:buChar char="•"/>
                      </a:pPr>
                      <a:r>
                        <a:rPr lang="en-US" sz="1800" dirty="0">
                          <a:effectLst/>
                          <a:latin typeface="Segoe UI Light" panose="020B0502040204020203" pitchFamily="34" charset="0"/>
                          <a:ea typeface="Calibri" panose="020F0502020204030204" pitchFamily="34" charset="0"/>
                          <a:cs typeface="Segoe UI Light" panose="020B0502040204020203" pitchFamily="34" charset="0"/>
                        </a:rPr>
                        <a:t>How to be successful with future bids</a:t>
                      </a:r>
                    </a:p>
                  </a:txBody>
                  <a:tcPr anchor="ctr"/>
                </a:tc>
                <a:extLst>
                  <a:ext uri="{0D108BD9-81ED-4DB2-BD59-A6C34878D82A}">
                    <a16:rowId xmlns:a16="http://schemas.microsoft.com/office/drawing/2014/main" val="2078845725"/>
                  </a:ext>
                </a:extLst>
              </a:tr>
              <a:tr h="370840">
                <a:tc>
                  <a:txBody>
                    <a:bodyPr/>
                    <a:lstStyle/>
                    <a:p>
                      <a:pPr algn="ctr"/>
                      <a:r>
                        <a:rPr lang="en-US" dirty="0">
                          <a:latin typeface="Segoe UI Light" panose="020B0502040204020203" pitchFamily="34" charset="0"/>
                          <a:cs typeface="Segoe UI Light" panose="020B0502040204020203" pitchFamily="34" charset="0"/>
                        </a:rPr>
                        <a:t>SWL</a:t>
                      </a:r>
                    </a:p>
                  </a:txBody>
                  <a:tcPr/>
                </a:tc>
                <a:tc>
                  <a:txBody>
                    <a:bodyPr/>
                    <a:lstStyle/>
                    <a:p>
                      <a:pPr algn="ctr"/>
                      <a:r>
                        <a:rPr lang="en-US" dirty="0">
                          <a:latin typeface="Segoe UI Light" panose="020B0502040204020203" pitchFamily="34" charset="0"/>
                          <a:cs typeface="Segoe UI Light" panose="020B0502040204020203" pitchFamily="34" charset="0"/>
                        </a:rPr>
                        <a:t>0</a:t>
                      </a:r>
                    </a:p>
                  </a:txBody>
                  <a:tcPr/>
                </a:tc>
                <a:tc>
                  <a:txBody>
                    <a:bodyPr/>
                    <a:lstStyle/>
                    <a:p>
                      <a:pPr algn="ctr"/>
                      <a:r>
                        <a:rPr lang="en-US" dirty="0">
                          <a:latin typeface="Segoe UI Light" panose="020B0502040204020203" pitchFamily="34" charset="0"/>
                          <a:cs typeface="Segoe UI Light" panose="020B0502040204020203" pitchFamily="34" charset="0"/>
                        </a:rPr>
                        <a:t>1</a:t>
                      </a:r>
                    </a:p>
                  </a:txBody>
                  <a:tcPr/>
                </a:tc>
                <a:tc vMerge="1">
                  <a:txBody>
                    <a:bodyPr/>
                    <a:lstStyle/>
                    <a:p>
                      <a:pPr algn="ctr"/>
                      <a:endParaRPr lang="en-US" dirty="0"/>
                    </a:p>
                  </a:txBody>
                  <a:tcPr/>
                </a:tc>
                <a:extLst>
                  <a:ext uri="{0D108BD9-81ED-4DB2-BD59-A6C34878D82A}">
                    <a16:rowId xmlns:a16="http://schemas.microsoft.com/office/drawing/2014/main" val="146170031"/>
                  </a:ext>
                </a:extLst>
              </a:tr>
              <a:tr h="370840">
                <a:tc>
                  <a:txBody>
                    <a:bodyPr/>
                    <a:lstStyle/>
                    <a:p>
                      <a:pPr algn="ctr"/>
                      <a:r>
                        <a:rPr lang="en-US" dirty="0">
                          <a:latin typeface="Segoe UI Light" panose="020B0502040204020203" pitchFamily="34" charset="0"/>
                          <a:cs typeface="Segoe UI Light" panose="020B0502040204020203" pitchFamily="34" charset="0"/>
                        </a:rPr>
                        <a:t>SW Emerging Tech</a:t>
                      </a:r>
                    </a:p>
                  </a:txBody>
                  <a:tcPr/>
                </a:tc>
                <a:tc>
                  <a:txBody>
                    <a:bodyPr/>
                    <a:lstStyle/>
                    <a:p>
                      <a:pPr algn="ctr"/>
                      <a:r>
                        <a:rPr lang="en-US" dirty="0">
                          <a:latin typeface="Segoe UI Light" panose="020B0502040204020203" pitchFamily="34" charset="0"/>
                          <a:cs typeface="Segoe UI Light" panose="020B0502040204020203" pitchFamily="34" charset="0"/>
                        </a:rPr>
                        <a:t>2</a:t>
                      </a:r>
                    </a:p>
                  </a:txBody>
                  <a:tcPr/>
                </a:tc>
                <a:tc>
                  <a:txBody>
                    <a:bodyPr/>
                    <a:lstStyle/>
                    <a:p>
                      <a:pPr algn="ctr"/>
                      <a:r>
                        <a:rPr lang="en-US" dirty="0">
                          <a:latin typeface="Segoe UI Light" panose="020B0502040204020203" pitchFamily="34" charset="0"/>
                          <a:cs typeface="Segoe UI Light" panose="020B0502040204020203" pitchFamily="34" charset="0"/>
                        </a:rPr>
                        <a:t>1</a:t>
                      </a:r>
                    </a:p>
                  </a:txBody>
                  <a:tcPr/>
                </a:tc>
                <a:tc vMerge="1">
                  <a:txBody>
                    <a:bodyPr/>
                    <a:lstStyle/>
                    <a:p>
                      <a:pPr algn="ctr"/>
                      <a:endParaRPr lang="en-US" dirty="0"/>
                    </a:p>
                  </a:txBody>
                  <a:tcPr/>
                </a:tc>
                <a:extLst>
                  <a:ext uri="{0D108BD9-81ED-4DB2-BD59-A6C34878D82A}">
                    <a16:rowId xmlns:a16="http://schemas.microsoft.com/office/drawing/2014/main" val="2043233360"/>
                  </a:ext>
                </a:extLst>
              </a:tr>
              <a:tr h="370840">
                <a:tc>
                  <a:txBody>
                    <a:bodyPr/>
                    <a:lstStyle/>
                    <a:p>
                      <a:pPr algn="ctr"/>
                      <a:r>
                        <a:rPr lang="en-US" dirty="0">
                          <a:latin typeface="Segoe UI Light" panose="020B0502040204020203" pitchFamily="34" charset="0"/>
                          <a:cs typeface="Segoe UI Light" panose="020B0502040204020203" pitchFamily="34" charset="0"/>
                        </a:rPr>
                        <a:t>Local Public Sector</a:t>
                      </a:r>
                    </a:p>
                  </a:txBody>
                  <a:tcPr/>
                </a:tc>
                <a:tc>
                  <a:txBody>
                    <a:bodyPr/>
                    <a:lstStyle/>
                    <a:p>
                      <a:pPr algn="ctr"/>
                      <a:r>
                        <a:rPr lang="en-US" dirty="0">
                          <a:latin typeface="Segoe UI Light" panose="020B0502040204020203" pitchFamily="34" charset="0"/>
                          <a:cs typeface="Segoe UI Light" panose="020B0502040204020203" pitchFamily="34" charset="0"/>
                        </a:rPr>
                        <a:t>1</a:t>
                      </a:r>
                    </a:p>
                  </a:txBody>
                  <a:tcPr/>
                </a:tc>
                <a:tc>
                  <a:txBody>
                    <a:bodyPr/>
                    <a:lstStyle/>
                    <a:p>
                      <a:pPr algn="ctr"/>
                      <a:r>
                        <a:rPr lang="en-US" dirty="0">
                          <a:latin typeface="Segoe UI Light" panose="020B0502040204020203" pitchFamily="34" charset="0"/>
                          <a:cs typeface="Segoe UI Light" panose="020B0502040204020203" pitchFamily="34" charset="0"/>
                        </a:rPr>
                        <a:t>4 (pending)</a:t>
                      </a:r>
                    </a:p>
                  </a:txBody>
                  <a:tcPr/>
                </a:tc>
                <a:tc vMerge="1">
                  <a:txBody>
                    <a:bodyPr/>
                    <a:lstStyle/>
                    <a:p>
                      <a:pPr algn="ctr"/>
                      <a:endParaRPr lang="en-US" dirty="0"/>
                    </a:p>
                  </a:txBody>
                  <a:tcPr/>
                </a:tc>
                <a:extLst>
                  <a:ext uri="{0D108BD9-81ED-4DB2-BD59-A6C34878D82A}">
                    <a16:rowId xmlns:a16="http://schemas.microsoft.com/office/drawing/2014/main" val="4217258475"/>
                  </a:ext>
                </a:extLst>
              </a:tr>
              <a:tr h="150849">
                <a:tc>
                  <a:txBody>
                    <a:bodyPr/>
                    <a:lstStyle/>
                    <a:p>
                      <a:pPr algn="ctr"/>
                      <a:r>
                        <a:rPr lang="en-US" dirty="0">
                          <a:latin typeface="Segoe UI Light" panose="020B0502040204020203" pitchFamily="34" charset="0"/>
                          <a:cs typeface="Segoe UI Light" panose="020B0502040204020203" pitchFamily="34" charset="0"/>
                        </a:rPr>
                        <a:t>Local Agriculture</a:t>
                      </a:r>
                    </a:p>
                  </a:txBody>
                  <a:tcPr/>
                </a:tc>
                <a:tc>
                  <a:txBody>
                    <a:bodyPr/>
                    <a:lstStyle/>
                    <a:p>
                      <a:pPr algn="ctr"/>
                      <a:r>
                        <a:rPr lang="en-US" dirty="0">
                          <a:latin typeface="Segoe UI Light" panose="020B0502040204020203" pitchFamily="34" charset="0"/>
                          <a:cs typeface="Segoe UI Light" panose="020B0502040204020203" pitchFamily="34" charset="0"/>
                        </a:rPr>
                        <a:t>1</a:t>
                      </a:r>
                    </a:p>
                  </a:txBody>
                  <a:tcPr/>
                </a:tc>
                <a:tc>
                  <a:txBody>
                    <a:bodyPr/>
                    <a:lstStyle/>
                    <a:p>
                      <a:pPr algn="ctr"/>
                      <a:endParaRPr lang="en-US" dirty="0">
                        <a:latin typeface="Segoe UI Light" panose="020B0502040204020203" pitchFamily="34" charset="0"/>
                        <a:cs typeface="Segoe UI Light" panose="020B0502040204020203" pitchFamily="34" charset="0"/>
                      </a:endParaRPr>
                    </a:p>
                  </a:txBody>
                  <a:tcPr/>
                </a:tc>
                <a:tc vMerge="1">
                  <a:txBody>
                    <a:bodyPr/>
                    <a:lstStyle/>
                    <a:p>
                      <a:pPr algn="ctr"/>
                      <a:endParaRPr lang="en-US" dirty="0"/>
                    </a:p>
                  </a:txBody>
                  <a:tcPr/>
                </a:tc>
                <a:extLst>
                  <a:ext uri="{0D108BD9-81ED-4DB2-BD59-A6C34878D82A}">
                    <a16:rowId xmlns:a16="http://schemas.microsoft.com/office/drawing/2014/main" val="1860483382"/>
                  </a:ext>
                </a:extLst>
              </a:tr>
              <a:tr h="370840">
                <a:tc>
                  <a:txBody>
                    <a:bodyPr/>
                    <a:lstStyle/>
                    <a:p>
                      <a:pPr algn="ctr"/>
                      <a:r>
                        <a:rPr lang="en-US" dirty="0">
                          <a:latin typeface="Segoe UI Light" panose="020B0502040204020203" pitchFamily="34" charset="0"/>
                          <a:cs typeface="Segoe UI Light" panose="020B0502040204020203" pitchFamily="34" charset="0"/>
                        </a:rPr>
                        <a:t>SW Higher Ed</a:t>
                      </a:r>
                    </a:p>
                  </a:txBody>
                  <a:tcPr/>
                </a:tc>
                <a:tc>
                  <a:txBody>
                    <a:bodyPr/>
                    <a:lstStyle/>
                    <a:p>
                      <a:pPr algn="ctr"/>
                      <a:r>
                        <a:rPr lang="en-US" dirty="0">
                          <a:latin typeface="Segoe UI Light" panose="020B0502040204020203" pitchFamily="34" charset="0"/>
                          <a:cs typeface="Segoe UI Light" panose="020B0502040204020203" pitchFamily="34" charset="0"/>
                        </a:rPr>
                        <a:t>1</a:t>
                      </a:r>
                    </a:p>
                  </a:txBody>
                  <a:tcPr/>
                </a:tc>
                <a:tc>
                  <a:txBody>
                    <a:bodyPr/>
                    <a:lstStyle/>
                    <a:p>
                      <a:pPr algn="ctr"/>
                      <a:endParaRPr lang="en-US" dirty="0">
                        <a:latin typeface="Segoe UI Light" panose="020B0502040204020203" pitchFamily="34" charset="0"/>
                        <a:cs typeface="Segoe UI Light" panose="020B0502040204020203" pitchFamily="34" charset="0"/>
                      </a:endParaRPr>
                    </a:p>
                  </a:txBody>
                  <a:tcPr/>
                </a:tc>
                <a:tc vMerge="1">
                  <a:txBody>
                    <a:bodyPr/>
                    <a:lstStyle/>
                    <a:p>
                      <a:pPr marL="285750" indent="-285750" algn="l">
                        <a:buFont typeface="Arial" panose="020B0604020202020204" pitchFamily="34" charset="0"/>
                        <a:buChar char="•"/>
                      </a:pPr>
                      <a:endParaRPr lang="en-US" sz="1800" dirty="0">
                        <a:effectLst/>
                        <a:latin typeface="Segoe UI Light" panose="020B0502040204020203" pitchFamily="34" charset="0"/>
                        <a:ea typeface="Calibri" panose="020F0502020204030204" pitchFamily="34" charset="0"/>
                        <a:cs typeface="Segoe UI Light" panose="020B0502040204020203" pitchFamily="34" charset="0"/>
                      </a:endParaRPr>
                    </a:p>
                  </a:txBody>
                  <a:tcPr anchor="ctr"/>
                </a:tc>
                <a:extLst>
                  <a:ext uri="{0D108BD9-81ED-4DB2-BD59-A6C34878D82A}">
                    <a16:rowId xmlns:a16="http://schemas.microsoft.com/office/drawing/2014/main" val="628321009"/>
                  </a:ext>
                </a:extLst>
              </a:tr>
              <a:tr h="370840">
                <a:tc>
                  <a:txBody>
                    <a:bodyPr/>
                    <a:lstStyle/>
                    <a:p>
                      <a:pPr algn="ctr"/>
                      <a:r>
                        <a:rPr lang="en-US" dirty="0">
                          <a:latin typeface="Segoe UI Light" panose="020B0502040204020203" pitchFamily="34" charset="0"/>
                          <a:cs typeface="Segoe UI Light" panose="020B0502040204020203" pitchFamily="34" charset="0"/>
                        </a:rPr>
                        <a:t>SW Water Wastewater</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latin typeface="Segoe UI Light" panose="020B0502040204020203" pitchFamily="34" charset="0"/>
                          <a:cs typeface="Segoe UI Light" panose="020B0502040204020203" pitchFamily="34" charset="0"/>
                        </a:rPr>
                        <a:t>1 (pending)</a:t>
                      </a:r>
                    </a:p>
                  </a:txBody>
                  <a:tcPr/>
                </a:tc>
                <a:tc>
                  <a:txBody>
                    <a:bodyPr/>
                    <a:lstStyle/>
                    <a:p>
                      <a:pPr algn="ctr"/>
                      <a:endParaRPr lang="en-US" dirty="0">
                        <a:latin typeface="Segoe UI Light" panose="020B0502040204020203" pitchFamily="34" charset="0"/>
                        <a:cs typeface="Segoe UI Light" panose="020B0502040204020203" pitchFamily="34" charset="0"/>
                      </a:endParaRPr>
                    </a:p>
                  </a:txBody>
                  <a:tcPr/>
                </a:tc>
                <a:tc vMerge="1">
                  <a:txBody>
                    <a:bodyPr/>
                    <a:lstStyle/>
                    <a:p>
                      <a:pPr marL="285750" indent="-285750" algn="l">
                        <a:buFont typeface="Arial" panose="020B0604020202020204" pitchFamily="34" charset="0"/>
                        <a:buChar char="•"/>
                      </a:pPr>
                      <a:endParaRPr lang="en-US" sz="1800" dirty="0">
                        <a:effectLst/>
                        <a:latin typeface="Segoe UI Light" panose="020B0502040204020203" pitchFamily="34" charset="0"/>
                        <a:ea typeface="Calibri" panose="020F0502020204030204" pitchFamily="34" charset="0"/>
                        <a:cs typeface="Segoe UI Light" panose="020B0502040204020203" pitchFamily="34" charset="0"/>
                      </a:endParaRPr>
                    </a:p>
                  </a:txBody>
                  <a:tcPr anchor="ctr"/>
                </a:tc>
                <a:extLst>
                  <a:ext uri="{0D108BD9-81ED-4DB2-BD59-A6C34878D82A}">
                    <a16:rowId xmlns:a16="http://schemas.microsoft.com/office/drawing/2014/main" val="3796238994"/>
                  </a:ext>
                </a:extLst>
              </a:tr>
            </a:tbl>
          </a:graphicData>
        </a:graphic>
      </p:graphicFrame>
    </p:spTree>
    <p:extLst>
      <p:ext uri="{BB962C8B-B14F-4D97-AF65-F5344CB8AC3E}">
        <p14:creationId xmlns:p14="http://schemas.microsoft.com/office/powerpoint/2010/main" val="908530569"/>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52468"/>
            <a:ext cx="10515600" cy="595925"/>
          </a:xfrm>
        </p:spPr>
        <p:txBody>
          <a:bodyPr>
            <a:normAutofit/>
          </a:bodyPr>
          <a:lstStyle/>
          <a:p>
            <a:r>
              <a:rPr lang="en-US" dirty="0">
                <a:solidFill>
                  <a:srgbClr val="006269"/>
                </a:solidFill>
              </a:rPr>
              <a:t>Bidders’ Webinar on April 15, 2021</a:t>
            </a:r>
          </a:p>
        </p:txBody>
      </p:sp>
      <p:sp>
        <p:nvSpPr>
          <p:cNvPr id="3" name="Content Placeholder 2"/>
          <p:cNvSpPr>
            <a:spLocks noGrp="1"/>
          </p:cNvSpPr>
          <p:nvPr>
            <p:ph idx="1"/>
          </p:nvPr>
        </p:nvSpPr>
        <p:spPr>
          <a:xfrm>
            <a:off x="838200" y="961053"/>
            <a:ext cx="10515600" cy="5413055"/>
          </a:xfrm>
          <a:solidFill>
            <a:schemeClr val="bg1">
              <a:lumMod val="85000"/>
            </a:schemeClr>
          </a:solidFill>
        </p:spPr>
        <p:txBody>
          <a:bodyPr vert="horz" lIns="91440" tIns="45720" rIns="91440" bIns="45720" rtlCol="0" anchor="t">
            <a:normAutofit fontScale="92500" lnSpcReduction="10000"/>
          </a:bodyPr>
          <a:lstStyle/>
          <a:p>
            <a:pPr marL="0" marR="0" indent="0">
              <a:lnSpc>
                <a:spcPct val="107000"/>
              </a:lnSpc>
              <a:spcBef>
                <a:spcPts val="0"/>
              </a:spcBef>
              <a:spcAft>
                <a:spcPts val="800"/>
              </a:spcAft>
              <a:buNone/>
            </a:pPr>
            <a:r>
              <a:rPr lang="en-US" dirty="0">
                <a:solidFill>
                  <a:srgbClr val="006269"/>
                </a:solidFill>
                <a:latin typeface="Segoe UI Light"/>
                <a:cs typeface="Segoe UI Light"/>
              </a:rPr>
              <a:t>Invitees and Attendees</a:t>
            </a:r>
          </a:p>
          <a:p>
            <a:pPr lvl="1">
              <a:lnSpc>
                <a:spcPct val="107000"/>
              </a:lnSpc>
              <a:spcBef>
                <a:spcPts val="0"/>
              </a:spcBef>
              <a:spcAft>
                <a:spcPts val="800"/>
              </a:spcAft>
            </a:pPr>
            <a:r>
              <a:rPr lang="en-US" dirty="0">
                <a:solidFill>
                  <a:srgbClr val="006269"/>
                </a:solidFill>
                <a:latin typeface="Segoe UI Light"/>
                <a:cs typeface="Segoe UI Light"/>
              </a:rPr>
              <a:t>Invited approximately 250 </a:t>
            </a:r>
            <a:endParaRPr lang="en-US" dirty="0">
              <a:solidFill>
                <a:srgbClr val="006269"/>
              </a:solidFill>
              <a:latin typeface="Segoe UI Light" panose="020B0502040204020203" pitchFamily="34" charset="0"/>
              <a:cs typeface="Segoe UI Light" panose="020B0502040204020203" pitchFamily="34" charset="0"/>
            </a:endParaRPr>
          </a:p>
          <a:p>
            <a:pPr lvl="2">
              <a:lnSpc>
                <a:spcPct val="107000"/>
              </a:lnSpc>
              <a:spcBef>
                <a:spcPts val="0"/>
              </a:spcBef>
              <a:spcAft>
                <a:spcPts val="800"/>
              </a:spcAft>
            </a:pPr>
            <a:r>
              <a:rPr lang="en-US" dirty="0">
                <a:solidFill>
                  <a:srgbClr val="006269"/>
                </a:solidFill>
                <a:latin typeface="Segoe UI Light"/>
                <a:cs typeface="Segoe UI Light"/>
              </a:rPr>
              <a:t>Solicitation participants from SCE's Residential, Commercial and Industrial (RCI) and Statewide Lighting solicitation </a:t>
            </a:r>
          </a:p>
          <a:p>
            <a:pPr lvl="2">
              <a:lnSpc>
                <a:spcPct val="107000"/>
              </a:lnSpc>
              <a:spcBef>
                <a:spcPts val="0"/>
              </a:spcBef>
              <a:spcAft>
                <a:spcPts val="800"/>
              </a:spcAft>
            </a:pPr>
            <a:r>
              <a:rPr lang="en-US" dirty="0">
                <a:solidFill>
                  <a:srgbClr val="006269"/>
                </a:solidFill>
                <a:latin typeface="Segoe UI Light"/>
                <a:cs typeface="Segoe UI Light"/>
              </a:rPr>
              <a:t>Expanded to PEPMA-registered suppliers and other IOUs</a:t>
            </a:r>
          </a:p>
          <a:p>
            <a:pPr lvl="2">
              <a:lnSpc>
                <a:spcPct val="107000"/>
              </a:lnSpc>
              <a:spcBef>
                <a:spcPts val="0"/>
              </a:spcBef>
              <a:spcAft>
                <a:spcPts val="800"/>
              </a:spcAft>
            </a:pPr>
            <a:r>
              <a:rPr lang="en-US" dirty="0">
                <a:solidFill>
                  <a:srgbClr val="006269"/>
                </a:solidFill>
                <a:latin typeface="Segoe UI Light"/>
                <a:cs typeface="Segoe UI Light"/>
              </a:rPr>
              <a:t>Independent Evaluators (Barakat Consulting, Inc., MCR Performance Solutions, LLC, Don Arambula Consulting)</a:t>
            </a:r>
          </a:p>
          <a:p>
            <a:pPr lvl="1">
              <a:lnSpc>
                <a:spcPct val="107000"/>
              </a:lnSpc>
              <a:spcBef>
                <a:spcPts val="0"/>
              </a:spcBef>
              <a:spcAft>
                <a:spcPts val="800"/>
              </a:spcAft>
            </a:pPr>
            <a:r>
              <a:rPr lang="en-US" dirty="0">
                <a:solidFill>
                  <a:srgbClr val="006269"/>
                </a:solidFill>
                <a:latin typeface="Segoe UI Light"/>
                <a:cs typeface="Segoe UI Light"/>
              </a:rPr>
              <a:t>Over 100 individual participants attended</a:t>
            </a:r>
          </a:p>
          <a:p>
            <a:pPr marL="0" marR="0" indent="0">
              <a:lnSpc>
                <a:spcPct val="107000"/>
              </a:lnSpc>
              <a:spcBef>
                <a:spcPts val="0"/>
              </a:spcBef>
              <a:spcAft>
                <a:spcPts val="800"/>
              </a:spcAft>
              <a:buNone/>
            </a:pPr>
            <a:r>
              <a:rPr lang="en-US" dirty="0">
                <a:solidFill>
                  <a:srgbClr val="006269"/>
                </a:solidFill>
                <a:latin typeface="Segoe UI Light"/>
                <a:cs typeface="Segoe UI Light"/>
              </a:rPr>
              <a:t>Participant questions and themes</a:t>
            </a:r>
          </a:p>
          <a:p>
            <a:pPr lvl="1">
              <a:lnSpc>
                <a:spcPct val="107000"/>
              </a:lnSpc>
              <a:spcBef>
                <a:spcPts val="0"/>
              </a:spcBef>
              <a:spcAft>
                <a:spcPts val="800"/>
              </a:spcAft>
            </a:pPr>
            <a:r>
              <a:rPr lang="en-US" dirty="0">
                <a:solidFill>
                  <a:srgbClr val="006269"/>
                </a:solidFill>
                <a:latin typeface="Segoe UI Light"/>
                <a:cs typeface="Segoe UI Light"/>
              </a:rPr>
              <a:t>Increased transparency of who is participating in the RFA/RFP</a:t>
            </a:r>
          </a:p>
          <a:p>
            <a:pPr lvl="1">
              <a:lnSpc>
                <a:spcPct val="107000"/>
              </a:lnSpc>
              <a:spcBef>
                <a:spcPts val="0"/>
              </a:spcBef>
              <a:spcAft>
                <a:spcPts val="800"/>
              </a:spcAft>
            </a:pPr>
            <a:r>
              <a:rPr lang="en-US" dirty="0">
                <a:solidFill>
                  <a:srgbClr val="006269"/>
                </a:solidFill>
                <a:latin typeface="Segoe UI Light"/>
                <a:cs typeface="Segoe UI Light"/>
              </a:rPr>
              <a:t>Access to information related to active and future solicitation opportunities </a:t>
            </a:r>
          </a:p>
          <a:p>
            <a:pPr lvl="1">
              <a:lnSpc>
                <a:spcPct val="107000"/>
              </a:lnSpc>
              <a:spcBef>
                <a:spcPts val="0"/>
              </a:spcBef>
              <a:spcAft>
                <a:spcPts val="800"/>
              </a:spcAft>
            </a:pPr>
            <a:r>
              <a:rPr lang="en-US" dirty="0">
                <a:solidFill>
                  <a:srgbClr val="006269"/>
                </a:solidFill>
                <a:latin typeface="Segoe UI Light"/>
                <a:cs typeface="Segoe UI Light"/>
              </a:rPr>
              <a:t>Clarification on savings, goals, and percentages of meeting 3</a:t>
            </a:r>
            <a:r>
              <a:rPr lang="en-US" baseline="30000" dirty="0">
                <a:solidFill>
                  <a:srgbClr val="006269"/>
                </a:solidFill>
                <a:latin typeface="Segoe UI Light"/>
                <a:cs typeface="Segoe UI Light"/>
              </a:rPr>
              <a:t>rd</a:t>
            </a:r>
            <a:r>
              <a:rPr lang="en-US" dirty="0">
                <a:solidFill>
                  <a:srgbClr val="006269"/>
                </a:solidFill>
                <a:latin typeface="Segoe UI Light"/>
                <a:cs typeface="Segoe UI Light"/>
              </a:rPr>
              <a:t> Party contracting requirements</a:t>
            </a:r>
          </a:p>
          <a:p>
            <a:pPr lvl="1">
              <a:lnSpc>
                <a:spcPct val="107000"/>
              </a:lnSpc>
              <a:spcBef>
                <a:spcPts val="0"/>
              </a:spcBef>
              <a:spcAft>
                <a:spcPts val="800"/>
              </a:spcAft>
            </a:pPr>
            <a:r>
              <a:rPr lang="en-US" dirty="0">
                <a:solidFill>
                  <a:srgbClr val="006269"/>
                </a:solidFill>
                <a:latin typeface="Segoe UI Light"/>
                <a:cs typeface="Segoe UI Light"/>
              </a:rPr>
              <a:t>Clarification of negotiation process and approach</a:t>
            </a:r>
          </a:p>
          <a:p>
            <a:pPr lvl="1">
              <a:lnSpc>
                <a:spcPct val="107000"/>
              </a:lnSpc>
              <a:spcBef>
                <a:spcPts val="0"/>
              </a:spcBef>
              <a:spcAft>
                <a:spcPts val="800"/>
              </a:spcAft>
            </a:pPr>
            <a:r>
              <a:rPr lang="en-US" dirty="0">
                <a:solidFill>
                  <a:srgbClr val="006269"/>
                </a:solidFill>
                <a:latin typeface="Segoe UI Light"/>
                <a:cs typeface="Segoe UI Light"/>
              </a:rPr>
              <a:t>Desire to better understand SCE’s expectation related to Innovation</a:t>
            </a:r>
          </a:p>
          <a:p>
            <a:pPr lvl="2">
              <a:lnSpc>
                <a:spcPct val="107000"/>
              </a:lnSpc>
              <a:spcBef>
                <a:spcPts val="0"/>
              </a:spcBef>
              <a:spcAft>
                <a:spcPts val="800"/>
              </a:spcAft>
            </a:pPr>
            <a:endParaRPr lang="en-US" dirty="0">
              <a:solidFill>
                <a:srgbClr val="006269"/>
              </a:solidFill>
              <a:latin typeface="Segoe UI Light"/>
              <a:cs typeface="Segoe UI Light"/>
            </a:endParaRPr>
          </a:p>
          <a:p>
            <a:pPr lvl="1">
              <a:lnSpc>
                <a:spcPct val="107000"/>
              </a:lnSpc>
              <a:spcBef>
                <a:spcPts val="0"/>
              </a:spcBef>
              <a:spcAft>
                <a:spcPts val="800"/>
              </a:spcAft>
            </a:pPr>
            <a:endParaRPr lang="en-US" dirty="0">
              <a:solidFill>
                <a:srgbClr val="006269"/>
              </a:solidFill>
              <a:latin typeface="Segoe UI Light"/>
              <a:cs typeface="Segoe UI Light"/>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94BA17-8AE8-4651-9FD9-8589E5D42325}" type="slidenum">
              <a:rPr kumimoji="0" lang="en-US" sz="1200" b="1" i="0" u="none" strike="noStrike" kern="1200" cap="none" spc="0" normalizeH="0" baseline="0" noProof="0" smtClean="0">
                <a:ln>
                  <a:noFill/>
                </a:ln>
                <a:solidFill>
                  <a:prstClr val="white">
                    <a:lumMod val="50000"/>
                  </a:prstClr>
                </a:solidFill>
                <a:effectLst/>
                <a:uLnTx/>
                <a:uFillTx/>
                <a:latin typeface="Segoe UI Semibold" panose="020B0702040204020203" pitchFamily="34" charset="0"/>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9</a:t>
            </a:fld>
            <a:endParaRPr kumimoji="0" lang="en-US" sz="1200" b="1" i="0" u="none" strike="noStrike" kern="1200" cap="none" spc="0" normalizeH="0" baseline="0" noProof="0" dirty="0">
              <a:ln>
                <a:noFill/>
              </a:ln>
              <a:solidFill>
                <a:prstClr val="white">
                  <a:lumMod val="50000"/>
                </a:prstClr>
              </a:solidFill>
              <a:effectLst/>
              <a:uLnTx/>
              <a:uFillTx/>
              <a:latin typeface="Segoe UI Semibold" panose="020B0702040204020203" pitchFamily="34" charset="0"/>
              <a:cs typeface="Segoe UI" panose="020B0502040204020203" pitchFamily="34" charset="0"/>
            </a:endParaRPr>
          </a:p>
        </p:txBody>
      </p:sp>
    </p:spTree>
    <p:extLst>
      <p:ext uri="{BB962C8B-B14F-4D97-AF65-F5344CB8AC3E}">
        <p14:creationId xmlns:p14="http://schemas.microsoft.com/office/powerpoint/2010/main" val="7958720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66C760-559F-1C47-B586-AC069BB61EB0}"/>
              </a:ext>
            </a:extLst>
          </p:cNvPr>
          <p:cNvSpPr>
            <a:spLocks noGrp="1"/>
          </p:cNvSpPr>
          <p:nvPr>
            <p:ph type="title"/>
          </p:nvPr>
        </p:nvSpPr>
        <p:spPr/>
        <p:txBody>
          <a:bodyPr/>
          <a:lstStyle/>
          <a:p>
            <a:r>
              <a:rPr lang="en-US" dirty="0"/>
              <a:t>Parallel efforts launched to identify and make improvements </a:t>
            </a:r>
          </a:p>
        </p:txBody>
      </p:sp>
      <p:sp>
        <p:nvSpPr>
          <p:cNvPr id="3" name="Content Placeholder 2">
            <a:extLst>
              <a:ext uri="{FF2B5EF4-FFF2-40B4-BE49-F238E27FC236}">
                <a16:creationId xmlns:a16="http://schemas.microsoft.com/office/drawing/2014/main" id="{9EF0CF8C-B2E7-1D41-B5C4-84104863ADC5}"/>
              </a:ext>
            </a:extLst>
          </p:cNvPr>
          <p:cNvSpPr>
            <a:spLocks noGrp="1"/>
          </p:cNvSpPr>
          <p:nvPr>
            <p:ph idx="1"/>
          </p:nvPr>
        </p:nvSpPr>
        <p:spPr/>
        <p:txBody>
          <a:bodyPr/>
          <a:lstStyle/>
          <a:p>
            <a:r>
              <a:rPr lang="en-US" dirty="0"/>
              <a:t>Evaluation study on two stage process</a:t>
            </a:r>
          </a:p>
          <a:p>
            <a:r>
              <a:rPr lang="en-US" dirty="0"/>
              <a:t>Independent evaluators’ semi-annual reports - Continued exchange of info, learning, and application of best practices across IOUs</a:t>
            </a:r>
          </a:p>
          <a:p>
            <a:r>
              <a:rPr lang="en-US" dirty="0"/>
              <a:t>D. 21-05-031 Guidance Attachment A finalized and uploaded July 23, 2021 to </a:t>
            </a:r>
            <a:r>
              <a:rPr lang="en-US" dirty="0">
                <a:hlinkClick r:id="rId3"/>
              </a:rPr>
              <a:t>https://www.cpuc.ca.gov/industries-and-topics/electrical-energy/demand-side-management/energy-efficiency/rolling-portfolio-program-guidance</a:t>
            </a:r>
            <a:r>
              <a:rPr lang="en-US" dirty="0"/>
              <a:t> calls for EE program administrators in the applications for 2024-2027 budgets to present and defend strategy and approach to third party solicitations. </a:t>
            </a:r>
          </a:p>
        </p:txBody>
      </p:sp>
    </p:spTree>
    <p:extLst>
      <p:ext uri="{BB962C8B-B14F-4D97-AF65-F5344CB8AC3E}">
        <p14:creationId xmlns:p14="http://schemas.microsoft.com/office/powerpoint/2010/main" val="2389527539"/>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85929"/>
            <a:ext cx="10515600" cy="595925"/>
          </a:xfrm>
        </p:spPr>
        <p:txBody>
          <a:bodyPr>
            <a:normAutofit/>
          </a:bodyPr>
          <a:lstStyle/>
          <a:p>
            <a:r>
              <a:rPr lang="en-US" dirty="0">
                <a:solidFill>
                  <a:srgbClr val="006269"/>
                </a:solidFill>
              </a:rPr>
              <a:t>Bidders’ Webinar Survey </a:t>
            </a:r>
          </a:p>
        </p:txBody>
      </p:sp>
      <p:sp>
        <p:nvSpPr>
          <p:cNvPr id="3" name="Content Placeholder 2"/>
          <p:cNvSpPr>
            <a:spLocks noGrp="1"/>
          </p:cNvSpPr>
          <p:nvPr>
            <p:ph idx="1"/>
          </p:nvPr>
        </p:nvSpPr>
        <p:spPr>
          <a:xfrm>
            <a:off x="838200" y="961053"/>
            <a:ext cx="10515600" cy="5413055"/>
          </a:xfrm>
        </p:spPr>
        <p:txBody>
          <a:bodyPr vert="horz" lIns="91440" tIns="45720" rIns="91440" bIns="45720" rtlCol="0" anchor="t">
            <a:normAutofit/>
          </a:bodyPr>
          <a:lstStyle/>
          <a:p>
            <a:pPr>
              <a:lnSpc>
                <a:spcPct val="107000"/>
              </a:lnSpc>
              <a:spcBef>
                <a:spcPts val="0"/>
              </a:spcBef>
              <a:spcAft>
                <a:spcPts val="800"/>
              </a:spcAft>
            </a:pPr>
            <a:r>
              <a:rPr lang="en-US" sz="2800" dirty="0">
                <a:solidFill>
                  <a:srgbClr val="006269"/>
                </a:solidFill>
                <a:latin typeface="Segoe UI Light" panose="020B0502040204020203" pitchFamily="34" charset="0"/>
                <a:cs typeface="Segoe UI Light" panose="020B0502040204020203" pitchFamily="34" charset="0"/>
              </a:rPr>
              <a:t>Survey Results:</a:t>
            </a:r>
          </a:p>
          <a:p>
            <a:pPr lvl="2">
              <a:lnSpc>
                <a:spcPct val="150000"/>
              </a:lnSpc>
              <a:spcBef>
                <a:spcPts val="0"/>
              </a:spcBef>
              <a:spcAft>
                <a:spcPts val="800"/>
              </a:spcAft>
            </a:pPr>
            <a:r>
              <a:rPr lang="en-US" sz="2000" dirty="0">
                <a:solidFill>
                  <a:srgbClr val="006269"/>
                </a:solidFill>
                <a:latin typeface="Segoe UI Light" panose="020B0502040204020203" pitchFamily="34" charset="0"/>
                <a:cs typeface="Segoe UI Light" panose="020B0502040204020203" pitchFamily="34" charset="0"/>
              </a:rPr>
              <a:t>17 responses indicated the webinar met the objective or were neutral</a:t>
            </a:r>
          </a:p>
          <a:p>
            <a:pPr lvl="2">
              <a:lnSpc>
                <a:spcPct val="150000"/>
              </a:lnSpc>
              <a:spcBef>
                <a:spcPts val="0"/>
              </a:spcBef>
              <a:spcAft>
                <a:spcPts val="800"/>
              </a:spcAft>
            </a:pPr>
            <a:r>
              <a:rPr lang="en-US" sz="2000" dirty="0">
                <a:solidFill>
                  <a:srgbClr val="006269"/>
                </a:solidFill>
                <a:latin typeface="Segoe UI Light" panose="020B0502040204020203" pitchFamily="34" charset="0"/>
                <a:cs typeface="Segoe UI Light" panose="020B0502040204020203" pitchFamily="34" charset="0"/>
              </a:rPr>
              <a:t>4 responses indicated the webinar did not meet the objective</a:t>
            </a:r>
          </a:p>
          <a:p>
            <a:pPr>
              <a:lnSpc>
                <a:spcPct val="107000"/>
              </a:lnSpc>
              <a:spcBef>
                <a:spcPts val="0"/>
              </a:spcBef>
              <a:spcAft>
                <a:spcPts val="800"/>
              </a:spcAft>
            </a:pPr>
            <a:r>
              <a:rPr lang="en-US" sz="2800" dirty="0">
                <a:solidFill>
                  <a:srgbClr val="006269"/>
                </a:solidFill>
                <a:latin typeface="Segoe UI Light" panose="020B0502040204020203" pitchFamily="34" charset="0"/>
                <a:cs typeface="Segoe UI Light" panose="020B0502040204020203" pitchFamily="34" charset="0"/>
              </a:rPr>
              <a:t>Key takeaways from survey feedback</a:t>
            </a:r>
          </a:p>
          <a:p>
            <a:pPr lvl="2">
              <a:lnSpc>
                <a:spcPct val="150000"/>
              </a:lnSpc>
              <a:spcBef>
                <a:spcPts val="0"/>
              </a:spcBef>
              <a:spcAft>
                <a:spcPts val="800"/>
              </a:spcAft>
            </a:pPr>
            <a:r>
              <a:rPr lang="en-US" sz="2000" dirty="0">
                <a:solidFill>
                  <a:srgbClr val="006269"/>
                </a:solidFill>
                <a:latin typeface="Segoe UI Light" panose="020B0502040204020203" pitchFamily="34" charset="0"/>
                <a:cs typeface="Segoe UI Light" panose="020B0502040204020203" pitchFamily="34" charset="0"/>
              </a:rPr>
              <a:t>Webinar was informative and allowed for ample feedback during Q&amp;A</a:t>
            </a:r>
          </a:p>
          <a:p>
            <a:pPr lvl="2">
              <a:lnSpc>
                <a:spcPct val="150000"/>
              </a:lnSpc>
              <a:spcBef>
                <a:spcPts val="0"/>
              </a:spcBef>
              <a:spcAft>
                <a:spcPts val="800"/>
              </a:spcAft>
            </a:pPr>
            <a:r>
              <a:rPr lang="en-US" sz="2000" dirty="0">
                <a:solidFill>
                  <a:srgbClr val="006269"/>
                </a:solidFill>
                <a:latin typeface="Segoe UI Light" panose="020B0502040204020203" pitchFamily="34" charset="0"/>
                <a:cs typeface="Segoe UI Light" panose="020B0502040204020203" pitchFamily="34" charset="0"/>
              </a:rPr>
              <a:t>CET presentation was useful</a:t>
            </a:r>
          </a:p>
          <a:p>
            <a:pPr lvl="2">
              <a:lnSpc>
                <a:spcPct val="150000"/>
              </a:lnSpc>
              <a:spcBef>
                <a:spcPts val="0"/>
              </a:spcBef>
            </a:pPr>
            <a:r>
              <a:rPr lang="en-US" sz="2000" dirty="0">
                <a:solidFill>
                  <a:srgbClr val="006269"/>
                </a:solidFill>
                <a:latin typeface="Segoe UI Light" panose="020B0502040204020203" pitchFamily="34" charset="0"/>
                <a:cs typeface="Segoe UI Light" panose="020B0502040204020203" pitchFamily="34" charset="0"/>
              </a:rPr>
              <a:t>Request for transparency with list of primes and attendees</a:t>
            </a:r>
          </a:p>
          <a:p>
            <a:pPr lvl="2">
              <a:lnSpc>
                <a:spcPct val="200000"/>
              </a:lnSpc>
              <a:spcBef>
                <a:spcPts val="0"/>
              </a:spcBef>
            </a:pPr>
            <a:r>
              <a:rPr lang="en-US" sz="2000" dirty="0">
                <a:solidFill>
                  <a:srgbClr val="006269"/>
                </a:solidFill>
                <a:latin typeface="Segoe UI Light" panose="020B0502040204020203" pitchFamily="34" charset="0"/>
                <a:cs typeface="Segoe UI Light" panose="020B0502040204020203" pitchFamily="34" charset="0"/>
              </a:rPr>
              <a:t>Enhance the content/details focused on the CET</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94BA17-8AE8-4651-9FD9-8589E5D42325}" type="slidenum">
              <a:rPr kumimoji="0" lang="en-US" sz="1200" b="1" i="0" u="none" strike="noStrike" kern="1200" cap="none" spc="0" normalizeH="0" baseline="0" noProof="0" smtClean="0">
                <a:ln>
                  <a:noFill/>
                </a:ln>
                <a:solidFill>
                  <a:prstClr val="white">
                    <a:lumMod val="50000"/>
                  </a:prstClr>
                </a:solidFill>
                <a:effectLst/>
                <a:uLnTx/>
                <a:uFillTx/>
                <a:latin typeface="Segoe UI Semibold" panose="020B0702040204020203" pitchFamily="34" charset="0"/>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0</a:t>
            </a:fld>
            <a:endParaRPr kumimoji="0" lang="en-US" sz="1200" b="1" i="0" u="none" strike="noStrike" kern="1200" cap="none" spc="0" normalizeH="0" baseline="0" noProof="0" dirty="0">
              <a:ln>
                <a:noFill/>
              </a:ln>
              <a:solidFill>
                <a:prstClr val="white">
                  <a:lumMod val="50000"/>
                </a:prstClr>
              </a:solidFill>
              <a:effectLst/>
              <a:uLnTx/>
              <a:uFillTx/>
              <a:latin typeface="Segoe UI Semibold" panose="020B0702040204020203" pitchFamily="34" charset="0"/>
              <a:cs typeface="Segoe UI" panose="020B0502040204020203" pitchFamily="34" charset="0"/>
            </a:endParaRPr>
          </a:p>
        </p:txBody>
      </p:sp>
    </p:spTree>
    <p:extLst>
      <p:ext uri="{BB962C8B-B14F-4D97-AF65-F5344CB8AC3E}">
        <p14:creationId xmlns:p14="http://schemas.microsoft.com/office/powerpoint/2010/main" val="2824290737"/>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87FECC1-A11A-4723-9900-0A528CE1E953}"/>
              </a:ext>
            </a:extLst>
          </p:cNvPr>
          <p:cNvSpPr txBox="1"/>
          <p:nvPr/>
        </p:nvSpPr>
        <p:spPr>
          <a:xfrm>
            <a:off x="0" y="6623400"/>
            <a:ext cx="398814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Calibri (Body)"/>
                <a:ea typeface="+mn-ea"/>
                <a:cs typeface="Arial"/>
              </a:rPr>
              <a:t>CONFIDENTIAL MEETING MATERIALS – DO NOT DISTRIBUTE</a:t>
            </a:r>
          </a:p>
        </p:txBody>
      </p:sp>
      <p:sp>
        <p:nvSpPr>
          <p:cNvPr id="23" name="TextBox 22">
            <a:extLst>
              <a:ext uri="{FF2B5EF4-FFF2-40B4-BE49-F238E27FC236}">
                <a16:creationId xmlns:a16="http://schemas.microsoft.com/office/drawing/2014/main" id="{C55FEC0B-286E-4FEA-AE22-96BCD1E2AAFA}"/>
              </a:ext>
            </a:extLst>
          </p:cNvPr>
          <p:cNvSpPr txBox="1"/>
          <p:nvPr/>
        </p:nvSpPr>
        <p:spPr>
          <a:xfrm>
            <a:off x="440989" y="6485"/>
            <a:ext cx="6229590"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243175"/>
                </a:solidFill>
                <a:effectLst/>
                <a:uLnTx/>
                <a:uFillTx/>
                <a:latin typeface="Arial Narrow" panose="020B0606020202030204" pitchFamily="34" charset="0"/>
                <a:ea typeface="+mn-ea"/>
                <a:cs typeface="Arial"/>
              </a:rPr>
              <a:t>SoCalGas Bidder Feedback</a:t>
            </a:r>
          </a:p>
        </p:txBody>
      </p:sp>
      <p:sp>
        <p:nvSpPr>
          <p:cNvPr id="6" name="TextBox 5">
            <a:extLst>
              <a:ext uri="{FF2B5EF4-FFF2-40B4-BE49-F238E27FC236}">
                <a16:creationId xmlns:a16="http://schemas.microsoft.com/office/drawing/2014/main" id="{AA3C6EF7-964E-49D1-AA39-443212EF4D28}"/>
              </a:ext>
            </a:extLst>
          </p:cNvPr>
          <p:cNvSpPr txBox="1"/>
          <p:nvPr/>
        </p:nvSpPr>
        <p:spPr>
          <a:xfrm>
            <a:off x="-84221" y="6638789"/>
            <a:ext cx="1219200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lumMod val="50000"/>
                  </a:prstClr>
                </a:solidFill>
                <a:effectLst/>
                <a:uLnTx/>
                <a:uFillTx/>
                <a:latin typeface="Arial Narrow" panose="020B0606020202030204" pitchFamily="34" charset="0"/>
                <a:ea typeface="+mn-ea"/>
                <a:cs typeface="Arial"/>
              </a:rPr>
              <a:t>1</a:t>
            </a:r>
          </a:p>
        </p:txBody>
      </p:sp>
      <p:sp>
        <p:nvSpPr>
          <p:cNvPr id="2" name="Rectangle 1">
            <a:extLst>
              <a:ext uri="{FF2B5EF4-FFF2-40B4-BE49-F238E27FC236}">
                <a16:creationId xmlns:a16="http://schemas.microsoft.com/office/drawing/2014/main" id="{ED4AF437-6D6C-49BA-9DF7-6A7F46D99CC1}"/>
              </a:ext>
            </a:extLst>
          </p:cNvPr>
          <p:cNvSpPr/>
          <p:nvPr/>
        </p:nvSpPr>
        <p:spPr>
          <a:xfrm>
            <a:off x="453957" y="1123378"/>
            <a:ext cx="10311319" cy="1477328"/>
          </a:xfrm>
          <a:prstGeom prst="rect">
            <a:avLst/>
          </a:prstGeom>
          <a:ln>
            <a:solidFill>
              <a:schemeClr val="tx2"/>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66666"/>
                </a:solidFill>
                <a:effectLst/>
                <a:uLnTx/>
                <a:uFillTx/>
                <a:latin typeface="Arial" panose="020B0604020202020204" pitchFamily="34" charset="0"/>
                <a:ea typeface="+mn-ea"/>
                <a:cs typeface="+mn-cs"/>
              </a:rPr>
              <a:t>“Feedback will only be given individually to those bidders that request it. Communication will be in the form of written information provided via Supply Management and through Power Advocate only. Bidders will receive the same level of information. To maintain a fair and even-leveled competitiveness, the feedback will be given at a high level and the weight ratio given to each scoring criteria will not be discussed.” </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 name="TextBox 2">
            <a:extLst>
              <a:ext uri="{FF2B5EF4-FFF2-40B4-BE49-F238E27FC236}">
                <a16:creationId xmlns:a16="http://schemas.microsoft.com/office/drawing/2014/main" id="{E053B9B9-6A55-41B2-ABCE-A99C36616051}"/>
              </a:ext>
            </a:extLst>
          </p:cNvPr>
          <p:cNvSpPr txBox="1"/>
          <p:nvPr/>
        </p:nvSpPr>
        <p:spPr>
          <a:xfrm>
            <a:off x="453957" y="795966"/>
            <a:ext cx="278211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4B91"/>
                </a:solidFill>
                <a:effectLst/>
                <a:uLnTx/>
                <a:uFillTx/>
                <a:latin typeface="Calibri"/>
                <a:ea typeface="+mn-ea"/>
                <a:cs typeface="+mn-cs"/>
              </a:rPr>
              <a:t>From </a:t>
            </a:r>
            <a:r>
              <a:rPr kumimoji="0" lang="en-US" sz="1800" b="0" i="0" u="none" strike="noStrike" kern="1200" cap="none" spc="0" normalizeH="0" baseline="0" noProof="0" dirty="0">
                <a:ln>
                  <a:noFill/>
                </a:ln>
                <a:solidFill>
                  <a:srgbClr val="004B91"/>
                </a:solidFill>
                <a:effectLst/>
                <a:uLnTx/>
                <a:uFillTx/>
                <a:latin typeface="Calibri"/>
                <a:ea typeface="+mn-ea"/>
                <a:cs typeface="+mn-cs"/>
                <a:hlinkClick r:id="rId3"/>
              </a:rPr>
              <a:t>SoCalGas.com </a:t>
            </a:r>
            <a:endParaRPr kumimoji="0" lang="en-US" sz="1800" b="0" i="0" u="none" strike="noStrike" kern="1200" cap="none" spc="0" normalizeH="0" baseline="0" noProof="0" dirty="0">
              <a:ln>
                <a:noFill/>
              </a:ln>
              <a:solidFill>
                <a:srgbClr val="004B91"/>
              </a:solidFill>
              <a:effectLst/>
              <a:uLnTx/>
              <a:uFillTx/>
              <a:latin typeface="Calibri"/>
              <a:ea typeface="+mn-ea"/>
              <a:cs typeface="+mn-cs"/>
            </a:endParaRPr>
          </a:p>
        </p:txBody>
      </p:sp>
      <p:sp>
        <p:nvSpPr>
          <p:cNvPr id="4" name="TextBox 3">
            <a:extLst>
              <a:ext uri="{FF2B5EF4-FFF2-40B4-BE49-F238E27FC236}">
                <a16:creationId xmlns:a16="http://schemas.microsoft.com/office/drawing/2014/main" id="{E150244F-FE5E-4EEB-8701-0B77154FD590}"/>
              </a:ext>
            </a:extLst>
          </p:cNvPr>
          <p:cNvSpPr txBox="1"/>
          <p:nvPr/>
        </p:nvSpPr>
        <p:spPr>
          <a:xfrm>
            <a:off x="453957" y="2932611"/>
            <a:ext cx="10311319" cy="295465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SoCalGas has distributed 9 requests for written feedback thus far.  Feedback provides scoring criteria where bidders scored low compared to other bidd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SoCalGas has not received any feedback on the approach and/or level of information provid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No pending process improvements for bidder feedback.</a:t>
            </a:r>
            <a:br>
              <a:rPr kumimoji="0" lang="en-US" sz="1800" b="0" i="0" u="none" strike="noStrike" kern="1200" cap="none" spc="0" normalizeH="0" baseline="0" noProof="0" dirty="0">
                <a:ln>
                  <a:noFill/>
                </a:ln>
                <a:solidFill>
                  <a:prstClr val="black"/>
                </a:solidFill>
                <a:effectLst/>
                <a:uLnTx/>
                <a:uFillTx/>
                <a:latin typeface="Calibri"/>
                <a:ea typeface="+mn-ea"/>
                <a:cs typeface="+mn-cs"/>
              </a:rPr>
            </a:b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02754646"/>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9F11B31-8450-E64F-9893-92E16069341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50518" y="1498413"/>
            <a:ext cx="2093910" cy="1184891"/>
          </a:xfrm>
          <a:prstGeom prst="rect">
            <a:avLst/>
          </a:prstGeom>
        </p:spPr>
      </p:pic>
      <p:sp>
        <p:nvSpPr>
          <p:cNvPr id="11" name="Title 1">
            <a:extLst>
              <a:ext uri="{FF2B5EF4-FFF2-40B4-BE49-F238E27FC236}">
                <a16:creationId xmlns:a16="http://schemas.microsoft.com/office/drawing/2014/main" id="{3488EDB2-B75C-3044-9CC6-858CF4687D9E}"/>
              </a:ext>
            </a:extLst>
          </p:cNvPr>
          <p:cNvSpPr txBox="1">
            <a:spLocks/>
          </p:cNvSpPr>
          <p:nvPr/>
        </p:nvSpPr>
        <p:spPr>
          <a:xfrm>
            <a:off x="253251" y="3341661"/>
            <a:ext cx="5888445" cy="562772"/>
          </a:xfrm>
          <a:prstGeom prst="rect">
            <a:avLst/>
          </a:prstGeom>
        </p:spPr>
        <p:txBody>
          <a:bodyPr anchor="b">
            <a:normAutofit/>
          </a:bodyPr>
          <a:lstStyle>
            <a:lvl1pPr algn="ctr" defTabSz="914400" rtl="0" eaLnBrk="1" latinLnBrk="0" hangingPunct="1">
              <a:lnSpc>
                <a:spcPct val="90000"/>
              </a:lnSpc>
              <a:spcBef>
                <a:spcPct val="0"/>
              </a:spcBef>
              <a:buNone/>
              <a:defRPr sz="4500" kern="1200" baseline="0">
                <a:solidFill>
                  <a:schemeClr val="tx1"/>
                </a:solidFill>
                <a:latin typeface="Arial" panose="020B0604020202020204" pitchFamily="34" charset="0"/>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Arial" panose="020B0604020202020204" pitchFamily="34" charset="0"/>
                <a:ea typeface="+mj-ea"/>
                <a:cs typeface="+mj-cs"/>
              </a:rPr>
              <a:t>Bidder Feedback Process</a:t>
            </a:r>
          </a:p>
        </p:txBody>
      </p:sp>
      <p:sp>
        <p:nvSpPr>
          <p:cNvPr id="12" name="Subtitle 2">
            <a:extLst>
              <a:ext uri="{FF2B5EF4-FFF2-40B4-BE49-F238E27FC236}">
                <a16:creationId xmlns:a16="http://schemas.microsoft.com/office/drawing/2014/main" id="{17C90936-4D3C-7C40-BA70-BFE4FB68932D}"/>
              </a:ext>
            </a:extLst>
          </p:cNvPr>
          <p:cNvSpPr txBox="1">
            <a:spLocks/>
          </p:cNvSpPr>
          <p:nvPr/>
        </p:nvSpPr>
        <p:spPr>
          <a:xfrm>
            <a:off x="1013073" y="4036257"/>
            <a:ext cx="4565606" cy="686745"/>
          </a:xfrm>
          <a:prstGeom prst="rect">
            <a:avLst/>
          </a:prstGeom>
        </p:spPr>
        <p:txBody>
          <a:bodyPr/>
          <a:lstStyle>
            <a:lvl1pPr marL="0" indent="0" algn="ctr" defTabSz="914400" rtl="0" eaLnBrk="1" latinLnBrk="0" hangingPunct="1">
              <a:lnSpc>
                <a:spcPct val="90000"/>
              </a:lnSpc>
              <a:spcBef>
                <a:spcPts val="1000"/>
              </a:spcBef>
              <a:buFont typeface="Arial" panose="020B0604020202020204" pitchFamily="34" charset="0"/>
              <a:buNone/>
              <a:defRPr sz="2400" b="0" kern="1200" baseline="0">
                <a:solidFill>
                  <a:schemeClr val="tx1"/>
                </a:solidFill>
                <a:latin typeface="Arial" panose="020B0604020202020204" pitchFamily="34"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baseline="0">
                <a:solidFill>
                  <a:schemeClr val="tx1"/>
                </a:solidFill>
                <a:latin typeface="Arial" panose="020B0604020202020204" pitchFamily="34" charset="0"/>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baseline="0">
                <a:solidFill>
                  <a:schemeClr val="tx1"/>
                </a:solidFill>
                <a:latin typeface="Arial" panose="020B0604020202020204" pitchFamily="34" charset="0"/>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baseline="0">
                <a:solidFill>
                  <a:schemeClr val="tx1"/>
                </a:solidFill>
                <a:latin typeface="Arial" panose="020B0604020202020204" pitchFamily="34" charset="0"/>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baseline="0">
                <a:solidFill>
                  <a:schemeClr val="tx1"/>
                </a:solidFill>
                <a:latin typeface="Arial" panose="020B0604020202020204" pitchFamily="34" charset="0"/>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Energy Efficiency Third-Party Solicitations Stakeholder Forum - 7/28/21</a:t>
            </a:r>
          </a:p>
        </p:txBody>
      </p:sp>
      <p:pic>
        <p:nvPicPr>
          <p:cNvPr id="1026" name="Picture 2" descr="Why government should always offer tender debriefs - Mia">
            <a:extLst>
              <a:ext uri="{FF2B5EF4-FFF2-40B4-BE49-F238E27FC236}">
                <a16:creationId xmlns:a16="http://schemas.microsoft.com/office/drawing/2014/main" id="{797902A9-AAE3-49C3-A598-BC35290EECA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23749" y="1519237"/>
            <a:ext cx="5715000" cy="3819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080608"/>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3F9992C-FF9D-4EFB-8FD4-3C39BBB9E537}"/>
              </a:ext>
            </a:extLst>
          </p:cNvPr>
          <p:cNvSpPr txBox="1">
            <a:spLocks/>
          </p:cNvSpPr>
          <p:nvPr/>
        </p:nvSpPr>
        <p:spPr>
          <a:xfrm>
            <a:off x="411161" y="407960"/>
            <a:ext cx="9522952" cy="410882"/>
          </a:xfrm>
          <a:prstGeom prst="rect">
            <a:avLst/>
          </a:prstGeom>
        </p:spPr>
        <p:txBody>
          <a:bodyPr wrap="square">
            <a:spAutoFit/>
          </a:bodyPr>
          <a:lstStyle>
            <a:lvl1pPr algn="l" defTabSz="914400" rtl="0" eaLnBrk="1" latinLnBrk="0" hangingPunct="1">
              <a:lnSpc>
                <a:spcPct val="90000"/>
              </a:lnSpc>
              <a:spcBef>
                <a:spcPct val="0"/>
              </a:spcBef>
              <a:buNone/>
              <a:defRPr sz="4400" kern="1200" baseline="0">
                <a:solidFill>
                  <a:schemeClr val="tx1"/>
                </a:solidFill>
                <a:latin typeface="Arial" panose="020B0604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3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j-cs"/>
              </a:rPr>
              <a:t>SDG&amp;E Bidder Feedback Update</a:t>
            </a:r>
          </a:p>
        </p:txBody>
      </p:sp>
      <p:sp>
        <p:nvSpPr>
          <p:cNvPr id="8" name="TextBox 7">
            <a:extLst>
              <a:ext uri="{FF2B5EF4-FFF2-40B4-BE49-F238E27FC236}">
                <a16:creationId xmlns:a16="http://schemas.microsoft.com/office/drawing/2014/main" id="{54184748-E173-4FBE-A587-16202E63FF4F}"/>
              </a:ext>
            </a:extLst>
          </p:cNvPr>
          <p:cNvSpPr txBox="1"/>
          <p:nvPr/>
        </p:nvSpPr>
        <p:spPr>
          <a:xfrm>
            <a:off x="411162" y="1947318"/>
            <a:ext cx="6801402" cy="375552"/>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endParaRPr>
          </a:p>
        </p:txBody>
      </p:sp>
      <p:sp>
        <p:nvSpPr>
          <p:cNvPr id="6" name="TextBox 5">
            <a:extLst>
              <a:ext uri="{FF2B5EF4-FFF2-40B4-BE49-F238E27FC236}">
                <a16:creationId xmlns:a16="http://schemas.microsoft.com/office/drawing/2014/main" id="{C937A680-974F-4122-9463-72D95391A8F4}"/>
              </a:ext>
            </a:extLst>
          </p:cNvPr>
          <p:cNvSpPr txBox="1"/>
          <p:nvPr/>
        </p:nvSpPr>
        <p:spPr>
          <a:xfrm>
            <a:off x="327187" y="896054"/>
            <a:ext cx="6618897" cy="4770537"/>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800" b="0" i="1"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mn-cs"/>
              </a:rPr>
              <a:t>SDG&amp;E approach to bidder debriefs/feedback-  </a:t>
            </a:r>
            <a:br>
              <a:rPr kumimoji="0" lang="en-US" sz="1800" b="0" i="1"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mn-cs"/>
              </a:rPr>
            </a:b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mn-cs"/>
              </a:rPr>
              <a:t>Provide letter to bidder with reason (-s) for not advancing. Now offering 20-minute feedback session option to bidders. Session to include positive and constructive feedback on submittal. Session allows for bidder to provide feedback on the SDG&amp;E RFA/RFP process.</a:t>
            </a:r>
            <a:b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mn-cs"/>
              </a:rPr>
            </a:b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Times New Roman" panose="02020603050405020304" pitchFamily="18" charset="0"/>
                <a:cs typeface="+mn-cs"/>
              </a:rPr>
              <a:t> </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800" b="0" i="1" u="none" strike="noStrike" kern="1200" cap="none" spc="0" normalizeH="0" baseline="0" noProof="0" dirty="0">
                <a:ln>
                  <a:noFill/>
                </a:ln>
                <a:solidFill>
                  <a:prstClr val="black"/>
                </a:solidFill>
                <a:effectLst/>
                <a:uLnTx/>
                <a:uFillTx/>
                <a:latin typeface="Calibri" panose="020F0502020204030204" pitchFamily="34" charset="0"/>
                <a:ea typeface="+mn-ea"/>
                <a:cs typeface="+mn-cs"/>
              </a:rPr>
              <a:t>How many debriefs conducted to date: </a:t>
            </a:r>
            <a:br>
              <a:rPr kumimoji="0" lang="en-US" sz="1800" b="0" i="1" u="none" strike="noStrike" kern="1200" cap="none" spc="0" normalizeH="0" baseline="0" noProof="0" dirty="0">
                <a:ln>
                  <a:noFill/>
                </a:ln>
                <a:solidFill>
                  <a:prstClr val="black"/>
                </a:solidFill>
                <a:effectLst/>
                <a:uLnTx/>
                <a:uFillTx/>
                <a:latin typeface="Calibri" panose="020F0502020204030204" pitchFamily="34" charset="0"/>
                <a:ea typeface="+mn-ea"/>
                <a:cs typeface="+mn-cs"/>
              </a:rPr>
            </a:b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The Residential 2.0 RFA has an upcoming debrief session scheduled in mid-July 2021.*  </a:t>
            </a:r>
            <a:b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b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800" b="0" i="1" u="none" strike="noStrike" kern="1200" cap="none" spc="0" normalizeH="0" baseline="0" noProof="0" dirty="0">
                <a:ln>
                  <a:noFill/>
                </a:ln>
                <a:solidFill>
                  <a:prstClr val="black"/>
                </a:solidFill>
                <a:effectLst/>
                <a:uLnTx/>
                <a:uFillTx/>
                <a:latin typeface="Calibri" panose="020F0502020204030204" pitchFamily="34" charset="0"/>
                <a:ea typeface="+mn-ea"/>
                <a:cs typeface="+mn-cs"/>
              </a:rPr>
              <a:t>Response from the bidder community on the approach/information received: </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t>
            </a:r>
            <a:b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b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The Residential 2.0 RFA has an upcoming debrief session scheduled in mid-July 2021.*</a:t>
            </a:r>
            <a:b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b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arenR"/>
              <a:tabLst/>
              <a:defRPr/>
            </a:pPr>
            <a:r>
              <a:rPr kumimoji="0" lang="en-US" sz="1800" b="0" i="1" u="none" strike="noStrike" kern="1200" cap="none" spc="0" normalizeH="0" baseline="0" noProof="0" dirty="0">
                <a:ln>
                  <a:noFill/>
                </a:ln>
                <a:solidFill>
                  <a:prstClr val="black"/>
                </a:solidFill>
                <a:effectLst/>
                <a:uLnTx/>
                <a:uFillTx/>
                <a:latin typeface="Calibri" panose="020F0502020204030204" pitchFamily="34" charset="0"/>
                <a:ea typeface="+mn-ea"/>
                <a:cs typeface="+mn-cs"/>
              </a:rPr>
              <a:t>Process improvements for the future:</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a:t>
            </a:r>
            <a:b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b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Will monitor success of these feedback sessions and update our processes accordingly.  </a:t>
            </a:r>
          </a:p>
        </p:txBody>
      </p:sp>
      <p:sp>
        <p:nvSpPr>
          <p:cNvPr id="2" name="TextBox 1">
            <a:extLst>
              <a:ext uri="{FF2B5EF4-FFF2-40B4-BE49-F238E27FC236}">
                <a16:creationId xmlns:a16="http://schemas.microsoft.com/office/drawing/2014/main" id="{5E3DEF0F-FA9A-45F4-9538-34B5BDCC05E0}"/>
              </a:ext>
            </a:extLst>
          </p:cNvPr>
          <p:cNvSpPr txBox="1"/>
          <p:nvPr/>
        </p:nvSpPr>
        <p:spPr>
          <a:xfrm>
            <a:off x="327185" y="5912812"/>
            <a:ext cx="6277022"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t the time of slide submittal, the feedback session has not yet been conducted. An additional update will be provided if the session is conducted prior to the Stakeholder Forum presentation. </a:t>
            </a:r>
          </a:p>
        </p:txBody>
      </p:sp>
      <p:pic>
        <p:nvPicPr>
          <p:cNvPr id="5" name="Picture 4">
            <a:extLst>
              <a:ext uri="{FF2B5EF4-FFF2-40B4-BE49-F238E27FC236}">
                <a16:creationId xmlns:a16="http://schemas.microsoft.com/office/drawing/2014/main" id="{3FE418BA-64F1-46A8-877D-D5229912144C}"/>
              </a:ext>
            </a:extLst>
          </p:cNvPr>
          <p:cNvPicPr>
            <a:picLocks noChangeAspect="1"/>
          </p:cNvPicPr>
          <p:nvPr/>
        </p:nvPicPr>
        <p:blipFill>
          <a:blip r:embed="rId3"/>
          <a:stretch>
            <a:fillRect/>
          </a:stretch>
        </p:blipFill>
        <p:spPr>
          <a:xfrm>
            <a:off x="7772144" y="0"/>
            <a:ext cx="4042552" cy="5347063"/>
          </a:xfrm>
          <a:prstGeom prst="rect">
            <a:avLst/>
          </a:prstGeom>
        </p:spPr>
      </p:pic>
      <p:pic>
        <p:nvPicPr>
          <p:cNvPr id="10" name="Picture 9">
            <a:extLst>
              <a:ext uri="{FF2B5EF4-FFF2-40B4-BE49-F238E27FC236}">
                <a16:creationId xmlns:a16="http://schemas.microsoft.com/office/drawing/2014/main" id="{9BB5BA83-EB79-449F-9EED-0C7540CE8ABC}"/>
              </a:ext>
            </a:extLst>
          </p:cNvPr>
          <p:cNvPicPr>
            <a:picLocks noChangeAspect="1"/>
          </p:cNvPicPr>
          <p:nvPr/>
        </p:nvPicPr>
        <p:blipFill>
          <a:blip r:embed="rId4"/>
          <a:stretch>
            <a:fillRect/>
          </a:stretch>
        </p:blipFill>
        <p:spPr>
          <a:xfrm>
            <a:off x="7855132" y="5347063"/>
            <a:ext cx="4009681" cy="883713"/>
          </a:xfrm>
          <a:prstGeom prst="rect">
            <a:avLst/>
          </a:prstGeom>
        </p:spPr>
      </p:pic>
      <p:pic>
        <p:nvPicPr>
          <p:cNvPr id="12" name="Picture 11">
            <a:extLst>
              <a:ext uri="{FF2B5EF4-FFF2-40B4-BE49-F238E27FC236}">
                <a16:creationId xmlns:a16="http://schemas.microsoft.com/office/drawing/2014/main" id="{2B29837D-4730-44C8-BAA6-057D9A5535DE}"/>
              </a:ext>
            </a:extLst>
          </p:cNvPr>
          <p:cNvPicPr>
            <a:picLocks noChangeAspect="1"/>
          </p:cNvPicPr>
          <p:nvPr/>
        </p:nvPicPr>
        <p:blipFill>
          <a:blip r:embed="rId5"/>
          <a:stretch>
            <a:fillRect/>
          </a:stretch>
        </p:blipFill>
        <p:spPr>
          <a:xfrm>
            <a:off x="7935821" y="6230776"/>
            <a:ext cx="1364933" cy="145501"/>
          </a:xfrm>
          <a:prstGeom prst="rect">
            <a:avLst/>
          </a:prstGeom>
        </p:spPr>
      </p:pic>
    </p:spTree>
    <p:extLst>
      <p:ext uri="{BB962C8B-B14F-4D97-AF65-F5344CB8AC3E}">
        <p14:creationId xmlns:p14="http://schemas.microsoft.com/office/powerpoint/2010/main" val="158812305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9674860" cy="6858000"/>
          </a:xfrm>
          <a:custGeom>
            <a:avLst/>
            <a:gdLst/>
            <a:ahLst/>
            <a:cxnLst/>
            <a:rect l="l" t="t" r="r" b="b"/>
            <a:pathLst>
              <a:path w="9674860" h="6858000">
                <a:moveTo>
                  <a:pt x="0" y="6858000"/>
                </a:moveTo>
                <a:lnTo>
                  <a:pt x="9674352" y="6858000"/>
                </a:lnTo>
                <a:lnTo>
                  <a:pt x="9674352" y="0"/>
                </a:lnTo>
                <a:lnTo>
                  <a:pt x="0" y="0"/>
                </a:lnTo>
                <a:lnTo>
                  <a:pt x="0" y="6858000"/>
                </a:lnTo>
                <a:close/>
              </a:path>
            </a:pathLst>
          </a:custGeom>
          <a:solidFill>
            <a:srgbClr val="D9D9D9"/>
          </a:solidFill>
        </p:spPr>
        <p:txBody>
          <a:bodyPr wrap="square" lIns="0" tIns="0" rIns="0" bIns="0" rtlCol="0"/>
          <a:lstStyle/>
          <a:p>
            <a:endParaRPr dirty="0"/>
          </a:p>
        </p:txBody>
      </p:sp>
      <p:grpSp>
        <p:nvGrpSpPr>
          <p:cNvPr id="3" name="object 3"/>
          <p:cNvGrpSpPr/>
          <p:nvPr/>
        </p:nvGrpSpPr>
        <p:grpSpPr>
          <a:xfrm>
            <a:off x="0" y="0"/>
            <a:ext cx="12198350" cy="6861809"/>
            <a:chOff x="0" y="0"/>
            <a:chExt cx="12198350" cy="6861809"/>
          </a:xfrm>
        </p:grpSpPr>
        <p:sp>
          <p:nvSpPr>
            <p:cNvPr id="4" name="object 4"/>
            <p:cNvSpPr/>
            <p:nvPr/>
          </p:nvSpPr>
          <p:spPr>
            <a:xfrm>
              <a:off x="0" y="6027420"/>
              <a:ext cx="9685020" cy="460375"/>
            </a:xfrm>
            <a:custGeom>
              <a:avLst/>
              <a:gdLst/>
              <a:ahLst/>
              <a:cxnLst/>
              <a:rect l="l" t="t" r="r" b="b"/>
              <a:pathLst>
                <a:path w="9685020" h="460375">
                  <a:moveTo>
                    <a:pt x="9685020" y="0"/>
                  </a:moveTo>
                  <a:lnTo>
                    <a:pt x="0" y="0"/>
                  </a:lnTo>
                  <a:lnTo>
                    <a:pt x="0" y="460247"/>
                  </a:lnTo>
                  <a:lnTo>
                    <a:pt x="9685020" y="460247"/>
                  </a:lnTo>
                  <a:lnTo>
                    <a:pt x="9685020" y="0"/>
                  </a:lnTo>
                  <a:close/>
                </a:path>
              </a:pathLst>
            </a:custGeom>
            <a:solidFill>
              <a:srgbClr val="FFD046"/>
            </a:solidFill>
          </p:spPr>
          <p:txBody>
            <a:bodyPr wrap="square" lIns="0" tIns="0" rIns="0" bIns="0" rtlCol="0"/>
            <a:lstStyle/>
            <a:p>
              <a:endParaRPr dirty="0"/>
            </a:p>
          </p:txBody>
        </p:sp>
        <p:sp>
          <p:nvSpPr>
            <p:cNvPr id="5" name="object 5"/>
            <p:cNvSpPr/>
            <p:nvPr/>
          </p:nvSpPr>
          <p:spPr>
            <a:xfrm>
              <a:off x="9674352" y="0"/>
              <a:ext cx="2517775" cy="6849109"/>
            </a:xfrm>
            <a:custGeom>
              <a:avLst/>
              <a:gdLst/>
              <a:ahLst/>
              <a:cxnLst/>
              <a:rect l="l" t="t" r="r" b="b"/>
              <a:pathLst>
                <a:path w="2517775" h="6849109">
                  <a:moveTo>
                    <a:pt x="0" y="6848855"/>
                  </a:moveTo>
                  <a:lnTo>
                    <a:pt x="2517648" y="6848855"/>
                  </a:lnTo>
                  <a:lnTo>
                    <a:pt x="2517648" y="0"/>
                  </a:lnTo>
                  <a:lnTo>
                    <a:pt x="0" y="0"/>
                  </a:lnTo>
                  <a:lnTo>
                    <a:pt x="0" y="6848855"/>
                  </a:lnTo>
                  <a:close/>
                </a:path>
              </a:pathLst>
            </a:custGeom>
            <a:solidFill>
              <a:srgbClr val="FFFFFF"/>
            </a:solidFill>
          </p:spPr>
          <p:txBody>
            <a:bodyPr wrap="square" lIns="0" tIns="0" rIns="0" bIns="0" rtlCol="0"/>
            <a:lstStyle/>
            <a:p>
              <a:endParaRPr dirty="0"/>
            </a:p>
          </p:txBody>
        </p:sp>
        <p:sp>
          <p:nvSpPr>
            <p:cNvPr id="6" name="object 6"/>
            <p:cNvSpPr/>
            <p:nvPr/>
          </p:nvSpPr>
          <p:spPr>
            <a:xfrm>
              <a:off x="9674352" y="0"/>
              <a:ext cx="2517775" cy="6849109"/>
            </a:xfrm>
            <a:custGeom>
              <a:avLst/>
              <a:gdLst/>
              <a:ahLst/>
              <a:cxnLst/>
              <a:rect l="l" t="t" r="r" b="b"/>
              <a:pathLst>
                <a:path w="2517775" h="6849109">
                  <a:moveTo>
                    <a:pt x="0" y="6848855"/>
                  </a:moveTo>
                  <a:lnTo>
                    <a:pt x="2517648" y="6848855"/>
                  </a:lnTo>
                  <a:lnTo>
                    <a:pt x="2517648" y="0"/>
                  </a:lnTo>
                </a:path>
                <a:path w="2517775" h="6849109">
                  <a:moveTo>
                    <a:pt x="0" y="0"/>
                  </a:moveTo>
                  <a:lnTo>
                    <a:pt x="0" y="6848855"/>
                  </a:lnTo>
                </a:path>
              </a:pathLst>
            </a:custGeom>
            <a:ln w="12700">
              <a:solidFill>
                <a:srgbClr val="FFFFFF"/>
              </a:solidFill>
            </a:ln>
          </p:spPr>
          <p:txBody>
            <a:bodyPr wrap="square" lIns="0" tIns="0" rIns="0" bIns="0" rtlCol="0"/>
            <a:lstStyle/>
            <a:p>
              <a:endParaRPr dirty="0"/>
            </a:p>
          </p:txBody>
        </p:sp>
      </p:grpSp>
      <p:sp>
        <p:nvSpPr>
          <p:cNvPr id="7" name="object 7"/>
          <p:cNvSpPr txBox="1">
            <a:spLocks noGrp="1"/>
          </p:cNvSpPr>
          <p:nvPr>
            <p:ph type="title"/>
          </p:nvPr>
        </p:nvSpPr>
        <p:spPr>
          <a:xfrm>
            <a:off x="152400" y="1306031"/>
            <a:ext cx="9067800" cy="1138453"/>
          </a:xfrm>
          <a:prstGeom prst="rect">
            <a:avLst/>
          </a:prstGeom>
        </p:spPr>
        <p:txBody>
          <a:bodyPr vert="horz" wrap="square" lIns="0" tIns="81280" rIns="0" bIns="0" rtlCol="0">
            <a:spAutoFit/>
          </a:bodyPr>
          <a:lstStyle/>
          <a:p>
            <a:pPr marL="12700" marR="5715">
              <a:lnSpc>
                <a:spcPts val="4320"/>
              </a:lnSpc>
              <a:spcBef>
                <a:spcPts val="640"/>
              </a:spcBef>
            </a:pPr>
            <a:r>
              <a:rPr lang="en-US" sz="2700" b="1" spc="-10" dirty="0">
                <a:solidFill>
                  <a:srgbClr val="000000"/>
                </a:solidFill>
                <a:latin typeface="Calibri Light"/>
                <a:cs typeface="Calibri Light"/>
              </a:rPr>
              <a:t>Open Discussion / Q&amp;A</a:t>
            </a:r>
            <a:br>
              <a:rPr lang="en-US" sz="2700" b="0" spc="-20" dirty="0">
                <a:solidFill>
                  <a:srgbClr val="000000"/>
                </a:solidFill>
                <a:latin typeface="Calibri Light"/>
                <a:cs typeface="Calibri Light"/>
              </a:rPr>
            </a:br>
            <a:endParaRPr sz="2700" dirty="0">
              <a:latin typeface="Calibri Light"/>
              <a:cs typeface="Calibri Light"/>
            </a:endParaRPr>
          </a:p>
        </p:txBody>
      </p:sp>
      <p:sp>
        <p:nvSpPr>
          <p:cNvPr id="8" name="object 8"/>
          <p:cNvSpPr txBox="1"/>
          <p:nvPr/>
        </p:nvSpPr>
        <p:spPr>
          <a:xfrm>
            <a:off x="381000" y="3618427"/>
            <a:ext cx="4114800" cy="1590179"/>
          </a:xfrm>
          <a:prstGeom prst="rect">
            <a:avLst/>
          </a:prstGeom>
        </p:spPr>
        <p:txBody>
          <a:bodyPr vert="horz" wrap="square" lIns="0" tIns="12700" rIns="0" bIns="0" rtlCol="0">
            <a:spAutoFit/>
          </a:bodyPr>
          <a:lstStyle/>
          <a:p>
            <a:pPr marL="12700">
              <a:lnSpc>
                <a:spcPct val="100000"/>
              </a:lnSpc>
              <a:spcBef>
                <a:spcPts val="100"/>
              </a:spcBef>
            </a:pPr>
            <a:r>
              <a:rPr lang="en-US" sz="2000" b="1" spc="-10" dirty="0">
                <a:latin typeface="Calibri Light"/>
                <a:cs typeface="Calibri Light"/>
              </a:rPr>
              <a:t>11:25am – 11:55am</a:t>
            </a:r>
          </a:p>
          <a:p>
            <a:pPr marL="12700">
              <a:lnSpc>
                <a:spcPct val="100000"/>
              </a:lnSpc>
              <a:spcBef>
                <a:spcPts val="100"/>
              </a:spcBef>
            </a:pPr>
            <a:endParaRPr lang="en-US" sz="2000" spc="-10" dirty="0">
              <a:latin typeface="Calibri Light"/>
              <a:cs typeface="Calibri Light"/>
            </a:endParaRPr>
          </a:p>
          <a:p>
            <a:pPr marL="12700">
              <a:lnSpc>
                <a:spcPct val="100000"/>
              </a:lnSpc>
              <a:spcBef>
                <a:spcPts val="100"/>
              </a:spcBef>
            </a:pPr>
            <a:r>
              <a:rPr lang="en-US" sz="2000" b="0" spc="-10" dirty="0">
                <a:latin typeface="Calibri Light"/>
                <a:cs typeface="Calibri Light"/>
              </a:rPr>
              <a:t>Facilitator – Brandon Sanders (SCE)</a:t>
            </a:r>
          </a:p>
          <a:p>
            <a:pPr marL="12700">
              <a:lnSpc>
                <a:spcPct val="100000"/>
              </a:lnSpc>
              <a:spcBef>
                <a:spcPts val="100"/>
              </a:spcBef>
            </a:pPr>
            <a:r>
              <a:rPr lang="en-US" sz="2000" b="0" spc="-10" dirty="0">
                <a:latin typeface="Calibri Light"/>
                <a:cs typeface="Calibri Light"/>
              </a:rPr>
              <a:t>All Participants</a:t>
            </a:r>
          </a:p>
          <a:p>
            <a:pPr>
              <a:lnSpc>
                <a:spcPct val="100000"/>
              </a:lnSpc>
              <a:spcBef>
                <a:spcPts val="15"/>
              </a:spcBef>
            </a:pPr>
            <a:endParaRPr lang="en-US" sz="2000" dirty="0">
              <a:latin typeface="Calibri Light"/>
              <a:cs typeface="Calibri Light"/>
            </a:endParaRPr>
          </a:p>
        </p:txBody>
      </p:sp>
    </p:spTree>
    <p:extLst>
      <p:ext uri="{BB962C8B-B14F-4D97-AF65-F5344CB8AC3E}">
        <p14:creationId xmlns:p14="http://schemas.microsoft.com/office/powerpoint/2010/main" val="3773786149"/>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36830" y="-8891"/>
            <a:ext cx="9674860" cy="6858000"/>
          </a:xfrm>
          <a:custGeom>
            <a:avLst/>
            <a:gdLst/>
            <a:ahLst/>
            <a:cxnLst/>
            <a:rect l="l" t="t" r="r" b="b"/>
            <a:pathLst>
              <a:path w="9674860" h="6858000">
                <a:moveTo>
                  <a:pt x="0" y="6858000"/>
                </a:moveTo>
                <a:lnTo>
                  <a:pt x="9674352" y="6858000"/>
                </a:lnTo>
                <a:lnTo>
                  <a:pt x="9674352" y="0"/>
                </a:lnTo>
                <a:lnTo>
                  <a:pt x="0" y="0"/>
                </a:lnTo>
                <a:lnTo>
                  <a:pt x="0" y="6858000"/>
                </a:lnTo>
                <a:close/>
              </a:path>
            </a:pathLst>
          </a:custGeom>
          <a:solidFill>
            <a:srgbClr val="D9D9D9"/>
          </a:solidFill>
        </p:spPr>
        <p:txBody>
          <a:bodyPr wrap="square" lIns="0" tIns="0" rIns="0" bIns="0" rtlCol="0"/>
          <a:lstStyle/>
          <a:p>
            <a:endParaRPr dirty="0"/>
          </a:p>
        </p:txBody>
      </p:sp>
      <p:grpSp>
        <p:nvGrpSpPr>
          <p:cNvPr id="3" name="object 3"/>
          <p:cNvGrpSpPr/>
          <p:nvPr/>
        </p:nvGrpSpPr>
        <p:grpSpPr>
          <a:xfrm>
            <a:off x="0" y="0"/>
            <a:ext cx="12198350" cy="6861809"/>
            <a:chOff x="0" y="0"/>
            <a:chExt cx="12198350" cy="6861809"/>
          </a:xfrm>
        </p:grpSpPr>
        <p:sp>
          <p:nvSpPr>
            <p:cNvPr id="4" name="object 4"/>
            <p:cNvSpPr/>
            <p:nvPr/>
          </p:nvSpPr>
          <p:spPr>
            <a:xfrm>
              <a:off x="0" y="6027420"/>
              <a:ext cx="9685020" cy="460375"/>
            </a:xfrm>
            <a:custGeom>
              <a:avLst/>
              <a:gdLst/>
              <a:ahLst/>
              <a:cxnLst/>
              <a:rect l="l" t="t" r="r" b="b"/>
              <a:pathLst>
                <a:path w="9685020" h="460375">
                  <a:moveTo>
                    <a:pt x="9685020" y="0"/>
                  </a:moveTo>
                  <a:lnTo>
                    <a:pt x="0" y="0"/>
                  </a:lnTo>
                  <a:lnTo>
                    <a:pt x="0" y="460247"/>
                  </a:lnTo>
                  <a:lnTo>
                    <a:pt x="9685020" y="460247"/>
                  </a:lnTo>
                  <a:lnTo>
                    <a:pt x="9685020" y="0"/>
                  </a:lnTo>
                  <a:close/>
                </a:path>
              </a:pathLst>
            </a:custGeom>
            <a:solidFill>
              <a:srgbClr val="FFD046"/>
            </a:solidFill>
          </p:spPr>
          <p:txBody>
            <a:bodyPr wrap="square" lIns="0" tIns="0" rIns="0" bIns="0" rtlCol="0"/>
            <a:lstStyle/>
            <a:p>
              <a:endParaRPr dirty="0"/>
            </a:p>
          </p:txBody>
        </p:sp>
        <p:sp>
          <p:nvSpPr>
            <p:cNvPr id="5" name="object 5"/>
            <p:cNvSpPr/>
            <p:nvPr/>
          </p:nvSpPr>
          <p:spPr>
            <a:xfrm>
              <a:off x="9674352" y="0"/>
              <a:ext cx="2517775" cy="6849109"/>
            </a:xfrm>
            <a:custGeom>
              <a:avLst/>
              <a:gdLst/>
              <a:ahLst/>
              <a:cxnLst/>
              <a:rect l="l" t="t" r="r" b="b"/>
              <a:pathLst>
                <a:path w="2517775" h="6849109">
                  <a:moveTo>
                    <a:pt x="0" y="6848855"/>
                  </a:moveTo>
                  <a:lnTo>
                    <a:pt x="2517648" y="6848855"/>
                  </a:lnTo>
                  <a:lnTo>
                    <a:pt x="2517648" y="0"/>
                  </a:lnTo>
                  <a:lnTo>
                    <a:pt x="0" y="0"/>
                  </a:lnTo>
                  <a:lnTo>
                    <a:pt x="0" y="6848855"/>
                  </a:lnTo>
                  <a:close/>
                </a:path>
              </a:pathLst>
            </a:custGeom>
            <a:solidFill>
              <a:srgbClr val="FFFFFF"/>
            </a:solidFill>
          </p:spPr>
          <p:txBody>
            <a:bodyPr wrap="square" lIns="0" tIns="0" rIns="0" bIns="0" rtlCol="0"/>
            <a:lstStyle/>
            <a:p>
              <a:endParaRPr dirty="0"/>
            </a:p>
          </p:txBody>
        </p:sp>
        <p:sp>
          <p:nvSpPr>
            <p:cNvPr id="6" name="object 6"/>
            <p:cNvSpPr/>
            <p:nvPr/>
          </p:nvSpPr>
          <p:spPr>
            <a:xfrm>
              <a:off x="9674352" y="0"/>
              <a:ext cx="2517775" cy="6849109"/>
            </a:xfrm>
            <a:custGeom>
              <a:avLst/>
              <a:gdLst/>
              <a:ahLst/>
              <a:cxnLst/>
              <a:rect l="l" t="t" r="r" b="b"/>
              <a:pathLst>
                <a:path w="2517775" h="6849109">
                  <a:moveTo>
                    <a:pt x="0" y="6848855"/>
                  </a:moveTo>
                  <a:lnTo>
                    <a:pt x="2517648" y="6848855"/>
                  </a:lnTo>
                  <a:lnTo>
                    <a:pt x="2517648" y="0"/>
                  </a:lnTo>
                </a:path>
                <a:path w="2517775" h="6849109">
                  <a:moveTo>
                    <a:pt x="0" y="0"/>
                  </a:moveTo>
                  <a:lnTo>
                    <a:pt x="0" y="6848855"/>
                  </a:lnTo>
                </a:path>
              </a:pathLst>
            </a:custGeom>
            <a:ln w="12700">
              <a:solidFill>
                <a:srgbClr val="FFFFFF"/>
              </a:solidFill>
            </a:ln>
          </p:spPr>
          <p:txBody>
            <a:bodyPr wrap="square" lIns="0" tIns="0" rIns="0" bIns="0" rtlCol="0"/>
            <a:lstStyle/>
            <a:p>
              <a:endParaRPr dirty="0"/>
            </a:p>
          </p:txBody>
        </p:sp>
      </p:grpSp>
      <p:sp>
        <p:nvSpPr>
          <p:cNvPr id="7" name="object 7"/>
          <p:cNvSpPr txBox="1">
            <a:spLocks noGrp="1"/>
          </p:cNvSpPr>
          <p:nvPr>
            <p:ph type="title"/>
          </p:nvPr>
        </p:nvSpPr>
        <p:spPr>
          <a:xfrm>
            <a:off x="152400" y="1049569"/>
            <a:ext cx="9067800" cy="2241319"/>
          </a:xfrm>
          <a:prstGeom prst="rect">
            <a:avLst/>
          </a:prstGeom>
        </p:spPr>
        <p:txBody>
          <a:bodyPr vert="horz" wrap="square" lIns="0" tIns="81280" rIns="0" bIns="0" rtlCol="0">
            <a:spAutoFit/>
          </a:bodyPr>
          <a:lstStyle/>
          <a:p>
            <a:pPr marL="12700" marR="5715">
              <a:lnSpc>
                <a:spcPts val="4320"/>
              </a:lnSpc>
              <a:spcBef>
                <a:spcPts val="640"/>
              </a:spcBef>
            </a:pPr>
            <a:r>
              <a:rPr lang="en-US" sz="2700" b="1" spc="-10" dirty="0">
                <a:solidFill>
                  <a:srgbClr val="000000"/>
                </a:solidFill>
                <a:latin typeface="Calibri Light"/>
                <a:cs typeface="Calibri Light"/>
              </a:rPr>
              <a:t>Closing</a:t>
            </a:r>
            <a:br>
              <a:rPr lang="en-US" sz="2700" b="1" spc="-10" dirty="0">
                <a:solidFill>
                  <a:srgbClr val="000000"/>
                </a:solidFill>
                <a:latin typeface="Calibri Light"/>
                <a:cs typeface="Calibri Light"/>
              </a:rPr>
            </a:br>
            <a:r>
              <a:rPr lang="en-US" sz="2700" b="1" spc="-10" dirty="0">
                <a:solidFill>
                  <a:srgbClr val="000000"/>
                </a:solidFill>
                <a:latin typeface="Calibri Light"/>
                <a:cs typeface="Calibri Light"/>
              </a:rPr>
              <a:t>- </a:t>
            </a:r>
            <a:r>
              <a:rPr lang="en-US" sz="2700" spc="-10" dirty="0">
                <a:solidFill>
                  <a:srgbClr val="000000"/>
                </a:solidFill>
                <a:latin typeface="Calibri Light"/>
                <a:cs typeface="Calibri Light"/>
              </a:rPr>
              <a:t>Next Steps</a:t>
            </a:r>
            <a:br>
              <a:rPr lang="en-US" sz="2700" spc="-10" dirty="0">
                <a:solidFill>
                  <a:srgbClr val="000000"/>
                </a:solidFill>
                <a:latin typeface="Calibri Light"/>
                <a:cs typeface="Calibri Light"/>
              </a:rPr>
            </a:br>
            <a:r>
              <a:rPr lang="en-US" sz="2700" spc="-10" dirty="0">
                <a:solidFill>
                  <a:srgbClr val="000000"/>
                </a:solidFill>
                <a:latin typeface="Calibri Light"/>
                <a:cs typeface="Calibri Light"/>
              </a:rPr>
              <a:t>- Closing Remarks</a:t>
            </a:r>
            <a:br>
              <a:rPr lang="en-US" sz="2700" b="0" spc="-20" dirty="0">
                <a:solidFill>
                  <a:srgbClr val="000000"/>
                </a:solidFill>
                <a:latin typeface="Calibri Light"/>
                <a:cs typeface="Calibri Light"/>
              </a:rPr>
            </a:br>
            <a:endParaRPr sz="2700" dirty="0">
              <a:latin typeface="Calibri Light"/>
              <a:cs typeface="Calibri Light"/>
            </a:endParaRPr>
          </a:p>
        </p:txBody>
      </p:sp>
      <p:sp>
        <p:nvSpPr>
          <p:cNvPr id="8" name="object 8"/>
          <p:cNvSpPr txBox="1"/>
          <p:nvPr/>
        </p:nvSpPr>
        <p:spPr>
          <a:xfrm>
            <a:off x="685800" y="4194534"/>
            <a:ext cx="4114800" cy="628377"/>
          </a:xfrm>
          <a:prstGeom prst="rect">
            <a:avLst/>
          </a:prstGeom>
        </p:spPr>
        <p:txBody>
          <a:bodyPr vert="horz" wrap="square" lIns="0" tIns="12700" rIns="0" bIns="0" rtlCol="0">
            <a:spAutoFit/>
          </a:bodyPr>
          <a:lstStyle/>
          <a:p>
            <a:pPr marL="12700">
              <a:lnSpc>
                <a:spcPct val="100000"/>
              </a:lnSpc>
              <a:spcBef>
                <a:spcPts val="100"/>
              </a:spcBef>
            </a:pPr>
            <a:endParaRPr lang="en-US" sz="2000" b="0" spc="-10" dirty="0">
              <a:latin typeface="Calibri Light"/>
              <a:cs typeface="Calibri Light"/>
            </a:endParaRPr>
          </a:p>
          <a:p>
            <a:pPr>
              <a:lnSpc>
                <a:spcPct val="100000"/>
              </a:lnSpc>
              <a:spcBef>
                <a:spcPts val="15"/>
              </a:spcBef>
            </a:pPr>
            <a:endParaRPr lang="en-US" sz="2000" dirty="0">
              <a:latin typeface="Calibri Light"/>
              <a:cs typeface="Calibri Light"/>
            </a:endParaRPr>
          </a:p>
        </p:txBody>
      </p:sp>
      <p:sp>
        <p:nvSpPr>
          <p:cNvPr id="10" name="object 8">
            <a:extLst>
              <a:ext uri="{FF2B5EF4-FFF2-40B4-BE49-F238E27FC236}">
                <a16:creationId xmlns:a16="http://schemas.microsoft.com/office/drawing/2014/main" id="{8CE6FF8C-019F-4318-BF8B-33F9A4BA7C54}"/>
              </a:ext>
            </a:extLst>
          </p:cNvPr>
          <p:cNvSpPr txBox="1"/>
          <p:nvPr/>
        </p:nvSpPr>
        <p:spPr>
          <a:xfrm>
            <a:off x="381000" y="3885620"/>
            <a:ext cx="4572000" cy="1910779"/>
          </a:xfrm>
          <a:prstGeom prst="rect">
            <a:avLst/>
          </a:prstGeom>
        </p:spPr>
        <p:txBody>
          <a:bodyPr vert="horz" wrap="square" lIns="0" tIns="12700" rIns="0" bIns="0" rtlCol="0">
            <a:spAutoFit/>
          </a:bodyPr>
          <a:lstStyle/>
          <a:p>
            <a:pPr marL="12700">
              <a:lnSpc>
                <a:spcPct val="100000"/>
              </a:lnSpc>
              <a:spcBef>
                <a:spcPts val="100"/>
              </a:spcBef>
            </a:pPr>
            <a:r>
              <a:rPr lang="en-US" sz="2000" b="1" spc="-10" dirty="0">
                <a:latin typeface="Calibri Light"/>
                <a:cs typeface="Calibri Light"/>
              </a:rPr>
              <a:t>11:55am – 12:00noon</a:t>
            </a:r>
          </a:p>
          <a:p>
            <a:pPr marL="12700">
              <a:lnSpc>
                <a:spcPct val="100000"/>
              </a:lnSpc>
              <a:spcBef>
                <a:spcPts val="100"/>
              </a:spcBef>
            </a:pPr>
            <a:endParaRPr lang="en-US" sz="2000" b="1" spc="-10" dirty="0">
              <a:latin typeface="Calibri Light"/>
              <a:cs typeface="Calibri Light"/>
            </a:endParaRPr>
          </a:p>
          <a:p>
            <a:pPr marL="12700">
              <a:lnSpc>
                <a:spcPct val="100000"/>
              </a:lnSpc>
              <a:spcBef>
                <a:spcPts val="100"/>
              </a:spcBef>
            </a:pPr>
            <a:endParaRPr lang="en-US" sz="2000" b="1" spc="-10" dirty="0">
              <a:latin typeface="Calibri Light"/>
              <a:cs typeface="Calibri Light"/>
            </a:endParaRPr>
          </a:p>
          <a:p>
            <a:pPr marL="12700">
              <a:lnSpc>
                <a:spcPct val="100000"/>
              </a:lnSpc>
              <a:spcBef>
                <a:spcPts val="100"/>
              </a:spcBef>
            </a:pPr>
            <a:r>
              <a:rPr lang="en-US" sz="2000" spc="-10" dirty="0">
                <a:latin typeface="Calibri Light"/>
                <a:cs typeface="Calibri Light"/>
              </a:rPr>
              <a:t>PG&amp;E – Bella Shamoun</a:t>
            </a:r>
          </a:p>
          <a:p>
            <a:pPr marL="12700">
              <a:lnSpc>
                <a:spcPct val="100000"/>
              </a:lnSpc>
              <a:spcBef>
                <a:spcPts val="100"/>
              </a:spcBef>
            </a:pPr>
            <a:r>
              <a:rPr lang="en-US" sz="2000" spc="-10" dirty="0">
                <a:latin typeface="Calibri Light"/>
                <a:cs typeface="Calibri Light"/>
              </a:rPr>
              <a:t>CPUC – Alison LaBonte</a:t>
            </a:r>
          </a:p>
          <a:p>
            <a:pPr>
              <a:lnSpc>
                <a:spcPct val="100000"/>
              </a:lnSpc>
              <a:spcBef>
                <a:spcPts val="15"/>
              </a:spcBef>
            </a:pPr>
            <a:endParaRPr lang="en-US" sz="2000" dirty="0">
              <a:latin typeface="Calibri Light"/>
              <a:cs typeface="Calibri Light"/>
            </a:endParaRPr>
          </a:p>
        </p:txBody>
      </p:sp>
    </p:spTree>
    <p:extLst>
      <p:ext uri="{BB962C8B-B14F-4D97-AF65-F5344CB8AC3E}">
        <p14:creationId xmlns:p14="http://schemas.microsoft.com/office/powerpoint/2010/main" val="580370458"/>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0" y="5987796"/>
            <a:ext cx="9685020" cy="525780"/>
            <a:chOff x="0" y="5987796"/>
            <a:chExt cx="9685020" cy="525780"/>
          </a:xfrm>
        </p:grpSpPr>
        <p:sp>
          <p:nvSpPr>
            <p:cNvPr id="3" name="object 3"/>
            <p:cNvSpPr/>
            <p:nvPr/>
          </p:nvSpPr>
          <p:spPr>
            <a:xfrm>
              <a:off x="0" y="6027420"/>
              <a:ext cx="9685020" cy="460375"/>
            </a:xfrm>
            <a:custGeom>
              <a:avLst/>
              <a:gdLst/>
              <a:ahLst/>
              <a:cxnLst/>
              <a:rect l="l" t="t" r="r" b="b"/>
              <a:pathLst>
                <a:path w="9685020" h="460375">
                  <a:moveTo>
                    <a:pt x="9685020" y="0"/>
                  </a:moveTo>
                  <a:lnTo>
                    <a:pt x="0" y="0"/>
                  </a:lnTo>
                  <a:lnTo>
                    <a:pt x="0" y="460247"/>
                  </a:lnTo>
                  <a:lnTo>
                    <a:pt x="9685020" y="460247"/>
                  </a:lnTo>
                  <a:lnTo>
                    <a:pt x="9685020" y="0"/>
                  </a:lnTo>
                  <a:close/>
                </a:path>
              </a:pathLst>
            </a:custGeom>
            <a:solidFill>
              <a:srgbClr val="FFD046"/>
            </a:solidFill>
          </p:spPr>
          <p:txBody>
            <a:bodyPr wrap="square" lIns="0" tIns="0" rIns="0" bIns="0" rtlCol="0"/>
            <a:lstStyle/>
            <a:p>
              <a:endParaRPr dirty="0"/>
            </a:p>
          </p:txBody>
        </p:sp>
        <p:sp>
          <p:nvSpPr>
            <p:cNvPr id="4" name="object 4"/>
            <p:cNvSpPr/>
            <p:nvPr/>
          </p:nvSpPr>
          <p:spPr>
            <a:xfrm>
              <a:off x="9681971" y="5987796"/>
              <a:ext cx="0" cy="525780"/>
            </a:xfrm>
            <a:custGeom>
              <a:avLst/>
              <a:gdLst/>
              <a:ahLst/>
              <a:cxnLst/>
              <a:rect l="l" t="t" r="r" b="b"/>
              <a:pathLst>
                <a:path h="525779">
                  <a:moveTo>
                    <a:pt x="0" y="0"/>
                  </a:moveTo>
                  <a:lnTo>
                    <a:pt x="0" y="525297"/>
                  </a:lnTo>
                </a:path>
              </a:pathLst>
            </a:custGeom>
            <a:ln w="3175">
              <a:solidFill>
                <a:srgbClr val="D0D0D2"/>
              </a:solidFill>
            </a:ln>
          </p:spPr>
          <p:txBody>
            <a:bodyPr wrap="square" lIns="0" tIns="0" rIns="0" bIns="0" rtlCol="0"/>
            <a:lstStyle/>
            <a:p>
              <a:endParaRPr dirty="0"/>
            </a:p>
          </p:txBody>
        </p:sp>
      </p:grpSp>
      <p:sp>
        <p:nvSpPr>
          <p:cNvPr id="5" name="object 5"/>
          <p:cNvSpPr txBox="1">
            <a:spLocks noGrp="1"/>
          </p:cNvSpPr>
          <p:nvPr>
            <p:ph type="title"/>
          </p:nvPr>
        </p:nvSpPr>
        <p:spPr>
          <a:xfrm>
            <a:off x="916939" y="244855"/>
            <a:ext cx="4422775" cy="690574"/>
          </a:xfrm>
          <a:prstGeom prst="rect">
            <a:avLst/>
          </a:prstGeom>
        </p:spPr>
        <p:txBody>
          <a:bodyPr vert="horz" wrap="square" lIns="0" tIns="13335" rIns="0" bIns="0" rtlCol="0">
            <a:spAutoFit/>
          </a:bodyPr>
          <a:lstStyle/>
          <a:p>
            <a:pPr marL="12700">
              <a:lnSpc>
                <a:spcPct val="100000"/>
              </a:lnSpc>
              <a:spcBef>
                <a:spcPts val="105"/>
              </a:spcBef>
            </a:pPr>
            <a:r>
              <a:rPr lang="en-US" b="0" spc="-5" dirty="0">
                <a:solidFill>
                  <a:srgbClr val="000000"/>
                </a:solidFill>
                <a:latin typeface="Calibri Light"/>
                <a:cs typeface="Calibri Light"/>
              </a:rPr>
              <a:t>Next Steps</a:t>
            </a:r>
            <a:endParaRPr b="0" spc="-20" dirty="0">
              <a:solidFill>
                <a:srgbClr val="000000"/>
              </a:solidFill>
              <a:latin typeface="Calibri Light"/>
              <a:cs typeface="Calibri Light"/>
            </a:endParaRPr>
          </a:p>
        </p:txBody>
      </p:sp>
      <p:sp>
        <p:nvSpPr>
          <p:cNvPr id="7" name="TextBox 6">
            <a:extLst>
              <a:ext uri="{FF2B5EF4-FFF2-40B4-BE49-F238E27FC236}">
                <a16:creationId xmlns:a16="http://schemas.microsoft.com/office/drawing/2014/main" id="{A6C4B074-457E-4CEF-8478-FA77F1F3C734}"/>
              </a:ext>
            </a:extLst>
          </p:cNvPr>
          <p:cNvSpPr txBox="1"/>
          <p:nvPr/>
        </p:nvSpPr>
        <p:spPr>
          <a:xfrm>
            <a:off x="990599" y="1447800"/>
            <a:ext cx="9685019" cy="3416320"/>
          </a:xfrm>
          <a:prstGeom prst="rect">
            <a:avLst/>
          </a:prstGeom>
          <a:noFill/>
        </p:spPr>
        <p:txBody>
          <a:bodyPr wrap="square" rtlCol="0">
            <a:spAutoFit/>
          </a:bodyPr>
          <a:lstStyle/>
          <a:p>
            <a:pPr marL="342900" indent="-342900">
              <a:buFont typeface="Arial" panose="020B0604020202020204" pitchFamily="34" charset="0"/>
              <a:buChar char="•"/>
            </a:pPr>
            <a:r>
              <a:rPr lang="en-US" sz="2400" dirty="0"/>
              <a:t>Meeting minutes will be posted to CAEECC</a:t>
            </a:r>
          </a:p>
          <a:p>
            <a:endParaRPr lang="en-US" sz="2400" dirty="0"/>
          </a:p>
          <a:p>
            <a:endParaRPr lang="en-US" sz="2400" dirty="0"/>
          </a:p>
          <a:p>
            <a:pPr marL="342900" indent="-342900">
              <a:buFont typeface="Arial" panose="020B0604020202020204" pitchFamily="34" charset="0"/>
              <a:buChar char="•"/>
            </a:pPr>
            <a:r>
              <a:rPr lang="en-US" sz="2400" dirty="0"/>
              <a:t>Survey will be sent out within the next 2 days </a:t>
            </a:r>
          </a:p>
          <a:p>
            <a:r>
              <a:rPr lang="en-US" sz="2400" dirty="0"/>
              <a:t>	keep an eye for them and provide comments/feedback</a:t>
            </a:r>
          </a:p>
          <a:p>
            <a:endParaRPr lang="en-US" sz="2400" dirty="0"/>
          </a:p>
          <a:p>
            <a:endParaRPr lang="en-US" sz="2400" dirty="0"/>
          </a:p>
          <a:p>
            <a:pPr marL="342900" indent="-342900">
              <a:buFont typeface="Arial" panose="020B0604020202020204" pitchFamily="34" charset="0"/>
              <a:buChar char="•"/>
            </a:pPr>
            <a:r>
              <a:rPr lang="en-US" sz="2400" dirty="0"/>
              <a:t>Looking for topics for the next Stakeholder Forum (January 2022)</a:t>
            </a:r>
          </a:p>
          <a:p>
            <a:r>
              <a:rPr lang="en-US" sz="2400" dirty="0"/>
              <a:t>	</a:t>
            </a:r>
            <a:endParaRPr lang="en-US" sz="2000" dirty="0"/>
          </a:p>
        </p:txBody>
      </p:sp>
    </p:spTree>
    <p:extLst>
      <p:ext uri="{BB962C8B-B14F-4D97-AF65-F5344CB8AC3E}">
        <p14:creationId xmlns:p14="http://schemas.microsoft.com/office/powerpoint/2010/main" val="4012723797"/>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0" y="5987796"/>
            <a:ext cx="9685020" cy="525780"/>
            <a:chOff x="0" y="5987796"/>
            <a:chExt cx="9685020" cy="525780"/>
          </a:xfrm>
        </p:grpSpPr>
        <p:sp>
          <p:nvSpPr>
            <p:cNvPr id="3" name="object 3"/>
            <p:cNvSpPr/>
            <p:nvPr/>
          </p:nvSpPr>
          <p:spPr>
            <a:xfrm>
              <a:off x="0" y="6027420"/>
              <a:ext cx="9685020" cy="460375"/>
            </a:xfrm>
            <a:custGeom>
              <a:avLst/>
              <a:gdLst/>
              <a:ahLst/>
              <a:cxnLst/>
              <a:rect l="l" t="t" r="r" b="b"/>
              <a:pathLst>
                <a:path w="9685020" h="460375">
                  <a:moveTo>
                    <a:pt x="9685020" y="0"/>
                  </a:moveTo>
                  <a:lnTo>
                    <a:pt x="0" y="0"/>
                  </a:lnTo>
                  <a:lnTo>
                    <a:pt x="0" y="460247"/>
                  </a:lnTo>
                  <a:lnTo>
                    <a:pt x="9685020" y="460247"/>
                  </a:lnTo>
                  <a:lnTo>
                    <a:pt x="9685020" y="0"/>
                  </a:lnTo>
                  <a:close/>
                </a:path>
              </a:pathLst>
            </a:custGeom>
            <a:solidFill>
              <a:srgbClr val="FFD046"/>
            </a:solidFill>
          </p:spPr>
          <p:txBody>
            <a:bodyPr wrap="square" lIns="0" tIns="0" rIns="0" bIns="0" rtlCol="0"/>
            <a:lstStyle/>
            <a:p>
              <a:endParaRPr dirty="0"/>
            </a:p>
          </p:txBody>
        </p:sp>
        <p:sp>
          <p:nvSpPr>
            <p:cNvPr id="4" name="object 4"/>
            <p:cNvSpPr/>
            <p:nvPr/>
          </p:nvSpPr>
          <p:spPr>
            <a:xfrm>
              <a:off x="9681971" y="5987796"/>
              <a:ext cx="0" cy="525780"/>
            </a:xfrm>
            <a:custGeom>
              <a:avLst/>
              <a:gdLst/>
              <a:ahLst/>
              <a:cxnLst/>
              <a:rect l="l" t="t" r="r" b="b"/>
              <a:pathLst>
                <a:path h="525779">
                  <a:moveTo>
                    <a:pt x="0" y="0"/>
                  </a:moveTo>
                  <a:lnTo>
                    <a:pt x="0" y="525297"/>
                  </a:lnTo>
                </a:path>
              </a:pathLst>
            </a:custGeom>
            <a:ln w="3175">
              <a:solidFill>
                <a:srgbClr val="D0D0D2"/>
              </a:solidFill>
            </a:ln>
          </p:spPr>
          <p:txBody>
            <a:bodyPr wrap="square" lIns="0" tIns="0" rIns="0" bIns="0" rtlCol="0"/>
            <a:lstStyle/>
            <a:p>
              <a:endParaRPr dirty="0"/>
            </a:p>
          </p:txBody>
        </p:sp>
      </p:grpSp>
      <p:sp>
        <p:nvSpPr>
          <p:cNvPr id="5" name="object 5"/>
          <p:cNvSpPr txBox="1">
            <a:spLocks noGrp="1"/>
          </p:cNvSpPr>
          <p:nvPr>
            <p:ph type="title"/>
          </p:nvPr>
        </p:nvSpPr>
        <p:spPr>
          <a:xfrm>
            <a:off x="3581400" y="2438400"/>
            <a:ext cx="4422775" cy="690574"/>
          </a:xfrm>
          <a:prstGeom prst="rect">
            <a:avLst/>
          </a:prstGeom>
        </p:spPr>
        <p:txBody>
          <a:bodyPr vert="horz" wrap="square" lIns="0" tIns="13335" rIns="0" bIns="0" rtlCol="0">
            <a:spAutoFit/>
          </a:bodyPr>
          <a:lstStyle/>
          <a:p>
            <a:pPr marL="12700">
              <a:lnSpc>
                <a:spcPct val="100000"/>
              </a:lnSpc>
              <a:spcBef>
                <a:spcPts val="105"/>
              </a:spcBef>
            </a:pPr>
            <a:r>
              <a:rPr lang="en-US" b="0" spc="-5">
                <a:solidFill>
                  <a:srgbClr val="000000"/>
                </a:solidFill>
                <a:latin typeface="Calibri Light"/>
                <a:cs typeface="Calibri Light"/>
              </a:rPr>
              <a:t>Closing Remarks</a:t>
            </a:r>
            <a:endParaRPr b="0" spc="-20" dirty="0">
              <a:solidFill>
                <a:srgbClr val="000000"/>
              </a:solidFill>
              <a:latin typeface="Calibri Light"/>
              <a:cs typeface="Calibri Light"/>
            </a:endParaRPr>
          </a:p>
        </p:txBody>
      </p:sp>
    </p:spTree>
    <p:extLst>
      <p:ext uri="{BB962C8B-B14F-4D97-AF65-F5344CB8AC3E}">
        <p14:creationId xmlns:p14="http://schemas.microsoft.com/office/powerpoint/2010/main" val="12091578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6C2D67-83AA-0941-9695-5C61E8477102}"/>
              </a:ext>
            </a:extLst>
          </p:cNvPr>
          <p:cNvSpPr>
            <a:spLocks noGrp="1"/>
          </p:cNvSpPr>
          <p:nvPr>
            <p:ph type="title"/>
          </p:nvPr>
        </p:nvSpPr>
        <p:spPr/>
        <p:txBody>
          <a:bodyPr>
            <a:normAutofit/>
          </a:bodyPr>
          <a:lstStyle/>
          <a:p>
            <a:r>
              <a:rPr lang="en-US" dirty="0"/>
              <a:t>Emerging areas we see in future as IOUs approach meeting 60% of budget 3P solicited</a:t>
            </a:r>
          </a:p>
        </p:txBody>
      </p:sp>
      <p:sp>
        <p:nvSpPr>
          <p:cNvPr id="3" name="Content Placeholder 2">
            <a:extLst>
              <a:ext uri="{FF2B5EF4-FFF2-40B4-BE49-F238E27FC236}">
                <a16:creationId xmlns:a16="http://schemas.microsoft.com/office/drawing/2014/main" id="{F964D694-26BB-8943-AB19-102865D1E650}"/>
              </a:ext>
            </a:extLst>
          </p:cNvPr>
          <p:cNvSpPr>
            <a:spLocks noGrp="1"/>
          </p:cNvSpPr>
          <p:nvPr>
            <p:ph idx="1"/>
          </p:nvPr>
        </p:nvSpPr>
        <p:spPr/>
        <p:txBody>
          <a:bodyPr/>
          <a:lstStyle/>
          <a:p>
            <a:r>
              <a:rPr lang="en-US" dirty="0"/>
              <a:t>Renew or recompete when contract terms up, under what criteria/rules</a:t>
            </a:r>
          </a:p>
          <a:p>
            <a:r>
              <a:rPr lang="en-US" dirty="0"/>
              <a:t>Infrastructure and effort associated with 3P solicitation across IOU/IE/PRG – how might this, and roles of IOU, IE, PRG shift between 60% and future round solicitations?</a:t>
            </a:r>
          </a:p>
          <a:p>
            <a:r>
              <a:rPr lang="en-US" dirty="0"/>
              <a:t>Measuring success, cost effective, innovation, diversity/growth of market players in EE to help with both of these</a:t>
            </a:r>
          </a:p>
          <a:p>
            <a:r>
              <a:rPr lang="en-US" dirty="0"/>
              <a:t>Impact to third party contracts from shifts to goals at segment and portfolio level</a:t>
            </a:r>
          </a:p>
        </p:txBody>
      </p:sp>
    </p:spTree>
    <p:extLst>
      <p:ext uri="{BB962C8B-B14F-4D97-AF65-F5344CB8AC3E}">
        <p14:creationId xmlns:p14="http://schemas.microsoft.com/office/powerpoint/2010/main" val="29649316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AD343F-9565-5542-9EFE-1118BAE74884}"/>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82CDAD1C-8810-A74A-9758-FFBF5BD174D1}"/>
              </a:ext>
            </a:extLst>
          </p:cNvPr>
          <p:cNvSpPr>
            <a:spLocks noGrp="1"/>
          </p:cNvSpPr>
          <p:nvPr>
            <p:ph idx="1"/>
          </p:nvPr>
        </p:nvSpPr>
        <p:spPr/>
        <p:txBody>
          <a:bodyPr>
            <a:normAutofit lnSpcReduction="10000"/>
          </a:bodyPr>
          <a:lstStyle/>
          <a:p>
            <a:r>
              <a:rPr lang="en-US" dirty="0"/>
              <a:t>Introduction</a:t>
            </a:r>
          </a:p>
          <a:p>
            <a:r>
              <a:rPr lang="en-US" dirty="0"/>
              <a:t>Topic 1:Portfolio Update: Budget Advice Letters, EE Applications, TSB Goal and Impacts on Bidder Community </a:t>
            </a:r>
          </a:p>
          <a:p>
            <a:r>
              <a:rPr lang="en-US" dirty="0"/>
              <a:t>Topic 2: Independent Evaluators’ Semi-Annual Report (includes info on redactions)</a:t>
            </a:r>
          </a:p>
          <a:p>
            <a:r>
              <a:rPr lang="en-US" dirty="0"/>
              <a:t>Topic 3: 3P Process Evaluation Study Update</a:t>
            </a:r>
          </a:p>
          <a:p>
            <a:r>
              <a:rPr lang="en-US" dirty="0"/>
              <a:t>Topic 4: Two Stage Solicitations Team Progress Report</a:t>
            </a:r>
          </a:p>
          <a:p>
            <a:r>
              <a:rPr lang="en-US" dirty="0"/>
              <a:t>Topic 5: Overview of Engagement Touchpoints</a:t>
            </a:r>
          </a:p>
          <a:p>
            <a:r>
              <a:rPr lang="en-US" dirty="0"/>
              <a:t>Topic 6: Cultivating Small and Diverse Businesses as 3P EE Implementers </a:t>
            </a:r>
          </a:p>
          <a:p>
            <a:r>
              <a:rPr lang="en-US" dirty="0"/>
              <a:t>Topic 7: Bidder Feedback</a:t>
            </a:r>
          </a:p>
          <a:p>
            <a:r>
              <a:rPr lang="en-US" dirty="0"/>
              <a:t>Open discussion</a:t>
            </a:r>
          </a:p>
          <a:p>
            <a:endParaRPr lang="en-US"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9052430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49F467-55F5-3B4E-BC7D-363743900421}"/>
              </a:ext>
            </a:extLst>
          </p:cNvPr>
          <p:cNvSpPr>
            <a:spLocks noGrp="1"/>
          </p:cNvSpPr>
          <p:nvPr>
            <p:ph type="title"/>
          </p:nvPr>
        </p:nvSpPr>
        <p:spPr/>
        <p:txBody>
          <a:bodyPr/>
          <a:lstStyle/>
          <a:p>
            <a:r>
              <a:rPr lang="en-US" dirty="0"/>
              <a:t>Antitrust Guidelines</a:t>
            </a:r>
          </a:p>
        </p:txBody>
      </p:sp>
      <p:sp>
        <p:nvSpPr>
          <p:cNvPr id="3" name="Content Placeholder 2">
            <a:extLst>
              <a:ext uri="{FF2B5EF4-FFF2-40B4-BE49-F238E27FC236}">
                <a16:creationId xmlns:a16="http://schemas.microsoft.com/office/drawing/2014/main" id="{1B3E13B5-2730-BC48-99B8-0DF229368500}"/>
              </a:ext>
            </a:extLst>
          </p:cNvPr>
          <p:cNvSpPr>
            <a:spLocks noGrp="1"/>
          </p:cNvSpPr>
          <p:nvPr>
            <p:ph idx="1"/>
          </p:nvPr>
        </p:nvSpPr>
        <p:spPr/>
        <p:txBody>
          <a:bodyPr>
            <a:normAutofit fontScale="70000" lnSpcReduction="20000"/>
          </a:bodyPr>
          <a:lstStyle/>
          <a:p>
            <a:pPr marL="0" indent="0">
              <a:lnSpc>
                <a:spcPct val="150000"/>
              </a:lnSpc>
              <a:spcBef>
                <a:spcPts val="0"/>
              </a:spcBef>
              <a:buNone/>
            </a:pPr>
            <a:r>
              <a:rPr lang="en-US" dirty="0">
                <a:latin typeface="Verdana" panose="020B0604030504040204" pitchFamily="34" charset="0"/>
                <a:ea typeface="Verdana" panose="020B0604030504040204" pitchFamily="34" charset="0"/>
              </a:rPr>
              <a:t>This meeting is for the sole purpose of facilitating compliance with the CPUC order pertaining to Energy Efficiency and is intended to take place in full compliance with all applicable provisions of the CPUC orders, rules and regulations and all applicable provisions of state and federal antitrust laws. These discussions will be conducted in full conformance with the antitrust compliance guidelines.  </a:t>
            </a:r>
          </a:p>
          <a:p>
            <a:pPr marL="0" indent="0">
              <a:lnSpc>
                <a:spcPct val="150000"/>
              </a:lnSpc>
              <a:spcBef>
                <a:spcPts val="0"/>
              </a:spcBef>
              <a:buNone/>
            </a:pPr>
            <a:endParaRPr lang="en-US" dirty="0">
              <a:latin typeface="Verdana" panose="020B0604030504040204" pitchFamily="34" charset="0"/>
              <a:ea typeface="Verdana" panose="020B0604030504040204" pitchFamily="34" charset="0"/>
            </a:endParaRPr>
          </a:p>
          <a:p>
            <a:pPr marL="0" indent="0">
              <a:lnSpc>
                <a:spcPct val="150000"/>
              </a:lnSpc>
              <a:spcBef>
                <a:spcPts val="0"/>
              </a:spcBef>
              <a:buNone/>
            </a:pPr>
            <a:endParaRPr lang="en-US" dirty="0">
              <a:latin typeface="Verdana" panose="020B0604030504040204" pitchFamily="34" charset="0"/>
              <a:ea typeface="Verdana" panose="020B0604030504040204" pitchFamily="34" charset="0"/>
            </a:endParaRPr>
          </a:p>
          <a:p>
            <a:pPr marL="0" indent="0">
              <a:lnSpc>
                <a:spcPct val="150000"/>
              </a:lnSpc>
              <a:spcBef>
                <a:spcPts val="0"/>
              </a:spcBef>
              <a:buNone/>
            </a:pPr>
            <a:r>
              <a:rPr lang="en-US" dirty="0">
                <a:latin typeface="Verdana" panose="020B0604030504040204" pitchFamily="34" charset="0"/>
                <a:ea typeface="Verdana" panose="020B0604030504040204" pitchFamily="34" charset="0"/>
              </a:rPr>
              <a:t>Among other things, the antitrust laws forbid any agreement between or among competitors regarding prices, availability of service, terms of sale, division or markets, allocation of customers or any other activity that unreasonably restrains competition, including components of pricing such as vendor or contractor costs. It is the responsibility of every participant at this meeting to carry out this commitment.</a:t>
            </a:r>
            <a:endParaRPr lang="en-US" dirty="0"/>
          </a:p>
        </p:txBody>
      </p:sp>
    </p:spTree>
    <p:extLst>
      <p:ext uri="{BB962C8B-B14F-4D97-AF65-F5344CB8AC3E}">
        <p14:creationId xmlns:p14="http://schemas.microsoft.com/office/powerpoint/2010/main" val="21455562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15472F1-D24F-E448-9A57-3E83DE1A4B04}"/>
              </a:ext>
            </a:extLst>
          </p:cNvPr>
          <p:cNvSpPr txBox="1">
            <a:spLocks/>
          </p:cNvSpPr>
          <p:nvPr/>
        </p:nvSpPr>
        <p:spPr>
          <a:xfrm>
            <a:off x="967579" y="3068053"/>
            <a:ext cx="4568952" cy="1023728"/>
          </a:xfrm>
          <a:prstGeom prst="rect">
            <a:avLst/>
          </a:prstGeom>
        </p:spPr>
        <p:txBody>
          <a:bodyPr>
            <a:normAutofit/>
          </a:bodyPr>
          <a:lstStyle>
            <a:lvl1pPr algn="l" defTabSz="914400" rtl="0" eaLnBrk="1" fontAlgn="b" latinLnBrk="0" hangingPunct="1">
              <a:lnSpc>
                <a:spcPct val="90000"/>
              </a:lnSpc>
              <a:spcBef>
                <a:spcPct val="0"/>
              </a:spcBef>
              <a:buNone/>
              <a:defRPr sz="3600" b="1" kern="1200">
                <a:solidFill>
                  <a:schemeClr val="bg1"/>
                </a:solidFill>
                <a:latin typeface="+mj-lt"/>
                <a:ea typeface="+mj-ea"/>
                <a:cs typeface="+mj-cs"/>
              </a:defRPr>
            </a:lvl1pPr>
          </a:lstStyle>
          <a:p>
            <a:pPr marL="0" marR="0" lvl="0" indent="0" algn="l" defTabSz="914400" rtl="0" eaLnBrk="1" fontAlgn="b" latinLnBrk="0" hangingPunct="1">
              <a:lnSpc>
                <a:spcPct val="110000"/>
              </a:lnSpc>
              <a:spcBef>
                <a:spcPct val="0"/>
              </a:spcBef>
              <a:spcAft>
                <a:spcPts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Century Gothic" panose="020F0302020204030204"/>
                <a:ea typeface="+mj-ea"/>
                <a:cs typeface="+mj-cs"/>
              </a:rPr>
              <a:t>Let’s Go!</a:t>
            </a:r>
          </a:p>
        </p:txBody>
      </p:sp>
      <p:sp>
        <p:nvSpPr>
          <p:cNvPr id="9" name="Rectangle 8">
            <a:extLst>
              <a:ext uri="{FF2B5EF4-FFF2-40B4-BE49-F238E27FC236}">
                <a16:creationId xmlns:a16="http://schemas.microsoft.com/office/drawing/2014/main" id="{190B6040-71B8-7745-81FD-C79F2A84D522}"/>
              </a:ext>
            </a:extLst>
          </p:cNvPr>
          <p:cNvSpPr/>
          <p:nvPr/>
        </p:nvSpPr>
        <p:spPr>
          <a:xfrm>
            <a:off x="457200" y="6130089"/>
            <a:ext cx="2791326" cy="58353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32692022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0668" y="-8891"/>
            <a:ext cx="9674860" cy="6858000"/>
          </a:xfrm>
          <a:custGeom>
            <a:avLst/>
            <a:gdLst/>
            <a:ahLst/>
            <a:cxnLst/>
            <a:rect l="l" t="t" r="r" b="b"/>
            <a:pathLst>
              <a:path w="9674860" h="6858000">
                <a:moveTo>
                  <a:pt x="0" y="6858000"/>
                </a:moveTo>
                <a:lnTo>
                  <a:pt x="9674352" y="6858000"/>
                </a:lnTo>
                <a:lnTo>
                  <a:pt x="9674352" y="0"/>
                </a:lnTo>
                <a:lnTo>
                  <a:pt x="0" y="0"/>
                </a:lnTo>
                <a:lnTo>
                  <a:pt x="0" y="6858000"/>
                </a:lnTo>
                <a:close/>
              </a:path>
            </a:pathLst>
          </a:custGeom>
          <a:solidFill>
            <a:srgbClr val="D9D9D9"/>
          </a:solidFill>
        </p:spPr>
        <p:txBody>
          <a:bodyPr wrap="square" lIns="0" tIns="0" rIns="0" bIns="0" rtlCol="0"/>
          <a:lstStyle/>
          <a:p>
            <a:endParaRPr dirty="0"/>
          </a:p>
        </p:txBody>
      </p:sp>
      <p:grpSp>
        <p:nvGrpSpPr>
          <p:cNvPr id="3" name="object 3"/>
          <p:cNvGrpSpPr/>
          <p:nvPr/>
        </p:nvGrpSpPr>
        <p:grpSpPr>
          <a:xfrm>
            <a:off x="0" y="0"/>
            <a:ext cx="12198350" cy="6861809"/>
            <a:chOff x="0" y="0"/>
            <a:chExt cx="12198350" cy="6861809"/>
          </a:xfrm>
        </p:grpSpPr>
        <p:sp>
          <p:nvSpPr>
            <p:cNvPr id="4" name="object 4"/>
            <p:cNvSpPr/>
            <p:nvPr/>
          </p:nvSpPr>
          <p:spPr>
            <a:xfrm>
              <a:off x="0" y="6027420"/>
              <a:ext cx="9685020" cy="460375"/>
            </a:xfrm>
            <a:custGeom>
              <a:avLst/>
              <a:gdLst/>
              <a:ahLst/>
              <a:cxnLst/>
              <a:rect l="l" t="t" r="r" b="b"/>
              <a:pathLst>
                <a:path w="9685020" h="460375">
                  <a:moveTo>
                    <a:pt x="9685020" y="0"/>
                  </a:moveTo>
                  <a:lnTo>
                    <a:pt x="0" y="0"/>
                  </a:lnTo>
                  <a:lnTo>
                    <a:pt x="0" y="460247"/>
                  </a:lnTo>
                  <a:lnTo>
                    <a:pt x="9685020" y="460247"/>
                  </a:lnTo>
                  <a:lnTo>
                    <a:pt x="9685020" y="0"/>
                  </a:lnTo>
                  <a:close/>
                </a:path>
              </a:pathLst>
            </a:custGeom>
            <a:solidFill>
              <a:srgbClr val="FFD046"/>
            </a:solidFill>
          </p:spPr>
          <p:txBody>
            <a:bodyPr wrap="square" lIns="0" tIns="0" rIns="0" bIns="0" rtlCol="0"/>
            <a:lstStyle/>
            <a:p>
              <a:endParaRPr dirty="0"/>
            </a:p>
          </p:txBody>
        </p:sp>
        <p:sp>
          <p:nvSpPr>
            <p:cNvPr id="5" name="object 5"/>
            <p:cNvSpPr/>
            <p:nvPr/>
          </p:nvSpPr>
          <p:spPr>
            <a:xfrm>
              <a:off x="9674352" y="0"/>
              <a:ext cx="2517775" cy="6849109"/>
            </a:xfrm>
            <a:custGeom>
              <a:avLst/>
              <a:gdLst/>
              <a:ahLst/>
              <a:cxnLst/>
              <a:rect l="l" t="t" r="r" b="b"/>
              <a:pathLst>
                <a:path w="2517775" h="6849109">
                  <a:moveTo>
                    <a:pt x="0" y="6848855"/>
                  </a:moveTo>
                  <a:lnTo>
                    <a:pt x="2517648" y="6848855"/>
                  </a:lnTo>
                  <a:lnTo>
                    <a:pt x="2517648" y="0"/>
                  </a:lnTo>
                  <a:lnTo>
                    <a:pt x="0" y="0"/>
                  </a:lnTo>
                  <a:lnTo>
                    <a:pt x="0" y="6848855"/>
                  </a:lnTo>
                  <a:close/>
                </a:path>
              </a:pathLst>
            </a:custGeom>
            <a:solidFill>
              <a:srgbClr val="FFFFFF"/>
            </a:solidFill>
          </p:spPr>
          <p:txBody>
            <a:bodyPr wrap="square" lIns="0" tIns="0" rIns="0" bIns="0" rtlCol="0"/>
            <a:lstStyle/>
            <a:p>
              <a:endParaRPr dirty="0"/>
            </a:p>
          </p:txBody>
        </p:sp>
        <p:sp>
          <p:nvSpPr>
            <p:cNvPr id="6" name="object 6"/>
            <p:cNvSpPr/>
            <p:nvPr/>
          </p:nvSpPr>
          <p:spPr>
            <a:xfrm>
              <a:off x="9674352" y="0"/>
              <a:ext cx="2517775" cy="6849109"/>
            </a:xfrm>
            <a:custGeom>
              <a:avLst/>
              <a:gdLst/>
              <a:ahLst/>
              <a:cxnLst/>
              <a:rect l="l" t="t" r="r" b="b"/>
              <a:pathLst>
                <a:path w="2517775" h="6849109">
                  <a:moveTo>
                    <a:pt x="0" y="6848855"/>
                  </a:moveTo>
                  <a:lnTo>
                    <a:pt x="2517648" y="6848855"/>
                  </a:lnTo>
                  <a:lnTo>
                    <a:pt x="2517648" y="0"/>
                  </a:lnTo>
                </a:path>
                <a:path w="2517775" h="6849109">
                  <a:moveTo>
                    <a:pt x="0" y="0"/>
                  </a:moveTo>
                  <a:lnTo>
                    <a:pt x="0" y="6848855"/>
                  </a:lnTo>
                </a:path>
              </a:pathLst>
            </a:custGeom>
            <a:ln w="12700">
              <a:solidFill>
                <a:srgbClr val="FFFFFF"/>
              </a:solidFill>
            </a:ln>
          </p:spPr>
          <p:txBody>
            <a:bodyPr wrap="square" lIns="0" tIns="0" rIns="0" bIns="0" rtlCol="0"/>
            <a:lstStyle/>
            <a:p>
              <a:endParaRPr dirty="0"/>
            </a:p>
          </p:txBody>
        </p:sp>
      </p:grpSp>
      <p:sp>
        <p:nvSpPr>
          <p:cNvPr id="7" name="object 7"/>
          <p:cNvSpPr txBox="1">
            <a:spLocks noGrp="1"/>
          </p:cNvSpPr>
          <p:nvPr>
            <p:ph type="title"/>
          </p:nvPr>
        </p:nvSpPr>
        <p:spPr>
          <a:xfrm>
            <a:off x="76200" y="1133601"/>
            <a:ext cx="9587992" cy="1675459"/>
          </a:xfrm>
          <a:prstGeom prst="rect">
            <a:avLst/>
          </a:prstGeom>
        </p:spPr>
        <p:txBody>
          <a:bodyPr vert="horz" wrap="square" lIns="0" tIns="13335" rIns="0" bIns="0" rtlCol="0">
            <a:spAutoFit/>
          </a:bodyPr>
          <a:lstStyle/>
          <a:p>
            <a:pPr marL="12700">
              <a:lnSpc>
                <a:spcPct val="100000"/>
              </a:lnSpc>
              <a:spcBef>
                <a:spcPts val="105"/>
              </a:spcBef>
            </a:pPr>
            <a:r>
              <a:rPr lang="en-US" sz="2700" b="1" spc="-15" dirty="0">
                <a:solidFill>
                  <a:srgbClr val="000000"/>
                </a:solidFill>
                <a:latin typeface="Calibri Light"/>
                <a:cs typeface="Calibri Light"/>
              </a:rPr>
              <a:t>Topic 1 - IOU Update</a:t>
            </a:r>
            <a:br>
              <a:rPr lang="en-US" sz="2700" b="1" spc="-15" dirty="0">
                <a:solidFill>
                  <a:srgbClr val="000000"/>
                </a:solidFill>
                <a:latin typeface="Calibri Light"/>
                <a:cs typeface="Calibri Light"/>
              </a:rPr>
            </a:br>
            <a:br>
              <a:rPr lang="en-US" sz="2700" b="0" spc="-15" dirty="0">
                <a:solidFill>
                  <a:srgbClr val="000000"/>
                </a:solidFill>
                <a:latin typeface="Calibri Light"/>
                <a:cs typeface="Calibri Light"/>
              </a:rPr>
            </a:br>
            <a:r>
              <a:rPr lang="en-US" sz="2700" b="0" spc="-15" dirty="0">
                <a:solidFill>
                  <a:srgbClr val="000000"/>
                </a:solidFill>
                <a:latin typeface="Calibri Light"/>
                <a:cs typeface="Calibri Light"/>
              </a:rPr>
              <a:t> - Portfolio Update, Budget Advice Letters, and EE Applications</a:t>
            </a:r>
            <a:br>
              <a:rPr lang="en-US" sz="2700" b="0" spc="-15" dirty="0">
                <a:solidFill>
                  <a:srgbClr val="000000"/>
                </a:solidFill>
                <a:latin typeface="Calibri Light"/>
                <a:cs typeface="Calibri Light"/>
              </a:rPr>
            </a:br>
            <a:r>
              <a:rPr lang="en-US" sz="2700" b="0" spc="-15" dirty="0">
                <a:solidFill>
                  <a:srgbClr val="000000"/>
                </a:solidFill>
                <a:latin typeface="Calibri Light"/>
                <a:cs typeface="Calibri Light"/>
              </a:rPr>
              <a:t> - Total System Benefit (TSB) Goal and Impacts on Bidder Community</a:t>
            </a:r>
            <a:endParaRPr sz="2700" b="0" spc="-15" dirty="0">
              <a:solidFill>
                <a:srgbClr val="000000"/>
              </a:solidFill>
              <a:latin typeface="Calibri Light"/>
              <a:cs typeface="Calibri Light"/>
            </a:endParaRPr>
          </a:p>
        </p:txBody>
      </p:sp>
      <p:sp>
        <p:nvSpPr>
          <p:cNvPr id="8" name="object 8"/>
          <p:cNvSpPr txBox="1"/>
          <p:nvPr/>
        </p:nvSpPr>
        <p:spPr>
          <a:xfrm>
            <a:off x="381000" y="4048941"/>
            <a:ext cx="3962400" cy="2214068"/>
          </a:xfrm>
          <a:prstGeom prst="rect">
            <a:avLst/>
          </a:prstGeom>
        </p:spPr>
        <p:txBody>
          <a:bodyPr vert="horz" wrap="square" lIns="0" tIns="43815" rIns="0" bIns="0" rtlCol="0">
            <a:spAutoFit/>
          </a:bodyPr>
          <a:lstStyle/>
          <a:p>
            <a:pPr marL="12700" marR="5080">
              <a:lnSpc>
                <a:spcPct val="90000"/>
              </a:lnSpc>
              <a:spcBef>
                <a:spcPts val="345"/>
              </a:spcBef>
            </a:pPr>
            <a:r>
              <a:rPr lang="en-US" sz="2000" b="1" spc="-15" dirty="0">
                <a:solidFill>
                  <a:srgbClr val="000000"/>
                </a:solidFill>
                <a:latin typeface="Calibri Light"/>
                <a:cs typeface="Calibri Light"/>
              </a:rPr>
              <a:t>8:15am – 8:35am</a:t>
            </a:r>
          </a:p>
          <a:p>
            <a:pPr marL="12700" marR="5080">
              <a:lnSpc>
                <a:spcPct val="90000"/>
              </a:lnSpc>
              <a:spcBef>
                <a:spcPts val="345"/>
              </a:spcBef>
            </a:pPr>
            <a:r>
              <a:rPr lang="en-US" sz="2000" b="1" spc="-15" dirty="0">
                <a:solidFill>
                  <a:srgbClr val="000000"/>
                </a:solidFill>
                <a:latin typeface="Calibri Light"/>
                <a:cs typeface="Calibri Light"/>
              </a:rPr>
              <a:t> </a:t>
            </a:r>
          </a:p>
          <a:p>
            <a:pPr marL="12700" marR="5080">
              <a:lnSpc>
                <a:spcPct val="90000"/>
              </a:lnSpc>
              <a:spcBef>
                <a:spcPts val="345"/>
              </a:spcBef>
            </a:pPr>
            <a:r>
              <a:rPr lang="en-US" sz="2000" dirty="0">
                <a:latin typeface="Calibri Light"/>
                <a:cs typeface="Calibri Light"/>
              </a:rPr>
              <a:t>SoCalGas</a:t>
            </a:r>
            <a:r>
              <a:rPr lang="en-US" sz="2000" spc="-75" dirty="0">
                <a:latin typeface="Calibri Light"/>
                <a:cs typeface="Calibri Light"/>
              </a:rPr>
              <a:t> </a:t>
            </a:r>
            <a:r>
              <a:rPr lang="en-US" sz="2000" dirty="0">
                <a:latin typeface="Calibri Light"/>
                <a:cs typeface="Calibri Light"/>
              </a:rPr>
              <a:t>–</a:t>
            </a:r>
            <a:r>
              <a:rPr lang="en-US" sz="2000" spc="-25" dirty="0">
                <a:latin typeface="Calibri Light"/>
                <a:cs typeface="Calibri Light"/>
              </a:rPr>
              <a:t> </a:t>
            </a:r>
            <a:r>
              <a:rPr lang="en-US" sz="2000" spc="-5" dirty="0">
                <a:latin typeface="Calibri Light"/>
                <a:cs typeface="Calibri Light"/>
              </a:rPr>
              <a:t>Erin Brooks</a:t>
            </a:r>
          </a:p>
          <a:p>
            <a:pPr marL="12700" marR="5080">
              <a:lnSpc>
                <a:spcPct val="90000"/>
              </a:lnSpc>
              <a:spcBef>
                <a:spcPts val="345"/>
              </a:spcBef>
            </a:pPr>
            <a:r>
              <a:rPr lang="en-US" sz="2000" dirty="0">
                <a:latin typeface="Calibri Light"/>
                <a:cs typeface="Calibri Light"/>
              </a:rPr>
              <a:t>PG&amp;E</a:t>
            </a:r>
            <a:r>
              <a:rPr lang="en-US" sz="2000" spc="-40" dirty="0">
                <a:latin typeface="Calibri Light"/>
                <a:cs typeface="Calibri Light"/>
              </a:rPr>
              <a:t> </a:t>
            </a:r>
            <a:r>
              <a:rPr lang="en-US" sz="2000" dirty="0">
                <a:latin typeface="Calibri Light"/>
                <a:cs typeface="Calibri Light"/>
              </a:rPr>
              <a:t>–</a:t>
            </a:r>
            <a:r>
              <a:rPr lang="en-US" sz="2000" spc="-10" dirty="0">
                <a:latin typeface="Calibri Light"/>
                <a:cs typeface="Calibri Light"/>
              </a:rPr>
              <a:t> </a:t>
            </a:r>
            <a:r>
              <a:rPr lang="en-US" sz="2000" spc="-15" dirty="0">
                <a:latin typeface="Calibri Light"/>
                <a:cs typeface="Calibri Light"/>
              </a:rPr>
              <a:t>Matt</a:t>
            </a:r>
            <a:r>
              <a:rPr lang="en-US" sz="2000" spc="-30" dirty="0">
                <a:latin typeface="Calibri Light"/>
                <a:cs typeface="Calibri Light"/>
              </a:rPr>
              <a:t> </a:t>
            </a:r>
            <a:r>
              <a:rPr lang="en-US" sz="2000" spc="-10" dirty="0">
                <a:latin typeface="Calibri Light"/>
                <a:cs typeface="Calibri Light"/>
              </a:rPr>
              <a:t>Braunwarth</a:t>
            </a:r>
          </a:p>
          <a:p>
            <a:pPr marL="12700" marR="5080">
              <a:lnSpc>
                <a:spcPct val="90000"/>
              </a:lnSpc>
              <a:spcBef>
                <a:spcPts val="345"/>
              </a:spcBef>
            </a:pPr>
            <a:r>
              <a:rPr lang="en-US" sz="2000" dirty="0">
                <a:latin typeface="Calibri Light"/>
                <a:cs typeface="Calibri Light"/>
              </a:rPr>
              <a:t>SCE – Brandon Sanders</a:t>
            </a:r>
          </a:p>
          <a:p>
            <a:pPr marL="12700" marR="5080">
              <a:lnSpc>
                <a:spcPct val="90000"/>
              </a:lnSpc>
              <a:spcBef>
                <a:spcPts val="345"/>
              </a:spcBef>
            </a:pPr>
            <a:r>
              <a:rPr lang="en-US" sz="2000" spc="-5" dirty="0">
                <a:latin typeface="Calibri Light"/>
                <a:cs typeface="Calibri Light"/>
              </a:rPr>
              <a:t>SDG&amp;E – Elaine Allyn/Roland Mollen</a:t>
            </a:r>
          </a:p>
          <a:p>
            <a:pPr marL="12700" marR="5080">
              <a:lnSpc>
                <a:spcPct val="90000"/>
              </a:lnSpc>
              <a:spcBef>
                <a:spcPts val="345"/>
              </a:spcBef>
            </a:pPr>
            <a:endParaRPr sz="2000" dirty="0">
              <a:latin typeface="Calibri Light"/>
              <a:cs typeface="Calibri Light"/>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87FECC1-A11A-4723-9900-0A528CE1E953}"/>
              </a:ext>
            </a:extLst>
          </p:cNvPr>
          <p:cNvSpPr txBox="1"/>
          <p:nvPr/>
        </p:nvSpPr>
        <p:spPr>
          <a:xfrm>
            <a:off x="0" y="6623400"/>
            <a:ext cx="398814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0000"/>
                </a:solidFill>
                <a:effectLst/>
                <a:uLnTx/>
                <a:uFillTx/>
                <a:latin typeface="Calibri (Body)"/>
                <a:ea typeface="+mn-ea"/>
                <a:cs typeface="Arial"/>
              </a:rPr>
              <a:t>CONFIDENTIAL MEETING MATERIALS – DO NOT DISTRIBUTE</a:t>
            </a:r>
          </a:p>
        </p:txBody>
      </p:sp>
      <p:sp>
        <p:nvSpPr>
          <p:cNvPr id="23" name="TextBox 22">
            <a:extLst>
              <a:ext uri="{FF2B5EF4-FFF2-40B4-BE49-F238E27FC236}">
                <a16:creationId xmlns:a16="http://schemas.microsoft.com/office/drawing/2014/main" id="{C55FEC0B-286E-4FEA-AE22-96BCD1E2AAFA}"/>
              </a:ext>
            </a:extLst>
          </p:cNvPr>
          <p:cNvSpPr txBox="1"/>
          <p:nvPr/>
        </p:nvSpPr>
        <p:spPr>
          <a:xfrm>
            <a:off x="440989" y="6485"/>
            <a:ext cx="4068743" cy="7694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243175"/>
                </a:solidFill>
                <a:effectLst/>
                <a:uLnTx/>
                <a:uFillTx/>
                <a:latin typeface="Arial Narrow" panose="020B0606020202030204" pitchFamily="34" charset="0"/>
                <a:ea typeface="+mn-ea"/>
                <a:cs typeface="Arial"/>
              </a:rPr>
              <a:t>SoCalGas Update</a:t>
            </a:r>
          </a:p>
        </p:txBody>
      </p:sp>
      <p:sp>
        <p:nvSpPr>
          <p:cNvPr id="6" name="TextBox 5">
            <a:extLst>
              <a:ext uri="{FF2B5EF4-FFF2-40B4-BE49-F238E27FC236}">
                <a16:creationId xmlns:a16="http://schemas.microsoft.com/office/drawing/2014/main" id="{AA3C6EF7-964E-49D1-AA39-443212EF4D28}"/>
              </a:ext>
            </a:extLst>
          </p:cNvPr>
          <p:cNvSpPr txBox="1"/>
          <p:nvPr/>
        </p:nvSpPr>
        <p:spPr>
          <a:xfrm>
            <a:off x="-84221" y="6638789"/>
            <a:ext cx="1219200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lumMod val="50000"/>
                  </a:prstClr>
                </a:solidFill>
                <a:effectLst/>
                <a:uLnTx/>
                <a:uFillTx/>
                <a:latin typeface="Arial Narrow" panose="020B0606020202030204" pitchFamily="34" charset="0"/>
                <a:ea typeface="+mn-ea"/>
                <a:cs typeface="Arial"/>
              </a:rPr>
              <a:t>1</a:t>
            </a:r>
          </a:p>
        </p:txBody>
      </p:sp>
      <p:sp>
        <p:nvSpPr>
          <p:cNvPr id="7" name="Rectangle 6">
            <a:extLst>
              <a:ext uri="{FF2B5EF4-FFF2-40B4-BE49-F238E27FC236}">
                <a16:creationId xmlns:a16="http://schemas.microsoft.com/office/drawing/2014/main" id="{5EDE4E7C-FB62-4021-99A9-621534C3C89B}"/>
              </a:ext>
            </a:extLst>
          </p:cNvPr>
          <p:cNvSpPr/>
          <p:nvPr/>
        </p:nvSpPr>
        <p:spPr>
          <a:xfrm>
            <a:off x="685800" y="1295400"/>
            <a:ext cx="9525000" cy="3000821"/>
          </a:xfrm>
          <a:prstGeom prst="rect">
            <a:avLst/>
          </a:prstGeom>
        </p:spPr>
        <p:txBody>
          <a:bodyPr wrap="square">
            <a:spAutoFit/>
          </a:bodyPr>
          <a:lstStyle/>
          <a:p>
            <a:pPr lvl="0">
              <a:defRPr/>
            </a:pPr>
            <a:r>
              <a:rPr lang="en-US" sz="2700" kern="0" spc="-15" dirty="0">
                <a:solidFill>
                  <a:srgbClr val="000000"/>
                </a:solidFill>
                <a:latin typeface="Calibri Light"/>
                <a:cs typeface="Calibri Light"/>
              </a:rPr>
              <a:t>-  Portfolio Update, Budget Advice Letters, and EE Applications</a:t>
            </a:r>
            <a:br>
              <a:rPr lang="en-US" sz="2700" kern="0" spc="-15" dirty="0">
                <a:solidFill>
                  <a:srgbClr val="000000"/>
                </a:solidFill>
                <a:latin typeface="Calibri Light"/>
                <a:cs typeface="Calibri Light"/>
              </a:rPr>
            </a:br>
            <a:r>
              <a:rPr lang="en-US" sz="2700" kern="0" spc="-15" dirty="0">
                <a:solidFill>
                  <a:srgbClr val="000000"/>
                </a:solidFill>
                <a:latin typeface="Calibri Light"/>
                <a:cs typeface="Calibri Light"/>
              </a:rPr>
              <a:t>-  Total System Benefit (TSB) Goal and Impacts on Bidder Community</a:t>
            </a:r>
          </a:p>
          <a:p>
            <a:pPr lvl="0">
              <a:defRPr/>
            </a:pPr>
            <a:endParaRPr lang="en-US" sz="2700" kern="0" spc="-15" dirty="0">
              <a:solidFill>
                <a:srgbClr val="000000"/>
              </a:solidFill>
              <a:latin typeface="Calibri Light"/>
              <a:cs typeface="Calibri Light"/>
            </a:endParaRPr>
          </a:p>
          <a:p>
            <a:pPr lvl="0">
              <a:defRPr/>
            </a:pPr>
            <a:endParaRPr lang="en-US" sz="2700" kern="0" spc="-15" dirty="0">
              <a:solidFill>
                <a:srgbClr val="000000"/>
              </a:solidFill>
              <a:latin typeface="Calibri Light"/>
              <a:cs typeface="Calibri Light"/>
            </a:endParaRPr>
          </a:p>
          <a:p>
            <a:pPr lvl="0">
              <a:defRPr/>
            </a:pPr>
            <a:endParaRPr lang="en-US" sz="2700" kern="0" spc="-15" dirty="0">
              <a:solidFill>
                <a:srgbClr val="000000"/>
              </a:solidFill>
              <a:latin typeface="Calibri Light"/>
              <a:cs typeface="Calibri Light"/>
            </a:endParaRPr>
          </a:p>
          <a:p>
            <a:pPr lvl="0">
              <a:defRPr/>
            </a:pPr>
            <a:endParaRPr lang="en-US" sz="2700" kern="0" spc="-15" dirty="0">
              <a:solidFill>
                <a:srgbClr val="000000"/>
              </a:solidFill>
              <a:latin typeface="Calibri Light"/>
              <a:cs typeface="Calibri Light"/>
            </a:endParaRPr>
          </a:p>
          <a:p>
            <a:pPr lvl="0">
              <a:defRPr/>
            </a:pPr>
            <a:r>
              <a:rPr lang="en-US" sz="2700" kern="0" spc="-15" dirty="0">
                <a:solidFill>
                  <a:srgbClr val="000000"/>
                </a:solidFill>
                <a:latin typeface="Calibri Light"/>
                <a:cs typeface="Calibri Light"/>
              </a:rPr>
              <a:t>SoCalGas: Erin Brooks</a:t>
            </a:r>
            <a:endParaRPr lang="en-US" kern="0" dirty="0">
              <a:solidFill>
                <a:sysClr val="windowText" lastClr="000000"/>
              </a:solidFill>
              <a:latin typeface="Arial"/>
            </a:endParaRPr>
          </a:p>
        </p:txBody>
      </p:sp>
    </p:spTree>
    <p:extLst>
      <p:ext uri="{BB962C8B-B14F-4D97-AF65-F5344CB8AC3E}">
        <p14:creationId xmlns:p14="http://schemas.microsoft.com/office/powerpoint/2010/main" val="27087629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9" name="TextBox 4"/>
          <p:cNvSpPr txBox="1">
            <a:spLocks noChangeArrowheads="1"/>
          </p:cNvSpPr>
          <p:nvPr/>
        </p:nvSpPr>
        <p:spPr bwMode="auto">
          <a:xfrm>
            <a:off x="1662734" y="177800"/>
            <a:ext cx="9667724" cy="5847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nchor="t">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altLang="en-US" sz="3200" b="1" i="0" u="none" strike="noStrike" kern="1200" cap="none" spc="0" normalizeH="0" baseline="0" noProof="0" dirty="0">
                <a:ln>
                  <a:noFill/>
                </a:ln>
                <a:solidFill>
                  <a:srgbClr val="FFC000"/>
                </a:solidFill>
                <a:effectLst/>
                <a:uLnTx/>
                <a:uFillTx/>
                <a:latin typeface="Arial"/>
                <a:ea typeface="MS PGothic"/>
                <a:cs typeface="Arial"/>
              </a:rPr>
              <a:t>PG&amp;E Update</a:t>
            </a:r>
          </a:p>
        </p:txBody>
      </p:sp>
      <p:sp>
        <p:nvSpPr>
          <p:cNvPr id="3" name="Rectangle 2">
            <a:extLst>
              <a:ext uri="{FF2B5EF4-FFF2-40B4-BE49-F238E27FC236}">
                <a16:creationId xmlns:a16="http://schemas.microsoft.com/office/drawing/2014/main" id="{D6D7B37D-FCC0-45F3-A65E-6C3967FBA7E4}"/>
              </a:ext>
            </a:extLst>
          </p:cNvPr>
          <p:cNvSpPr/>
          <p:nvPr/>
        </p:nvSpPr>
        <p:spPr>
          <a:xfrm>
            <a:off x="1143000" y="1981200"/>
            <a:ext cx="9753600" cy="3416320"/>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br>
              <a:rPr kumimoji="0" lang="en-US" sz="2700" b="0" i="0" u="none" strike="noStrike" kern="0" cap="none" spc="-15" normalizeH="0" baseline="0" noProof="0" dirty="0">
                <a:ln>
                  <a:noFill/>
                </a:ln>
                <a:solidFill>
                  <a:srgbClr val="000000"/>
                </a:solidFill>
                <a:effectLst/>
                <a:uLnTx/>
                <a:uFillTx/>
                <a:latin typeface="Calibri Light"/>
                <a:ea typeface="+mj-ea"/>
                <a:cs typeface="Calibri Light"/>
              </a:rPr>
            </a:br>
            <a:r>
              <a:rPr kumimoji="0" lang="en-US" sz="2700" b="0" i="0" u="none" strike="noStrike" kern="0" cap="none" spc="-15" normalizeH="0" baseline="0" noProof="0" dirty="0">
                <a:ln>
                  <a:noFill/>
                </a:ln>
                <a:solidFill>
                  <a:srgbClr val="000000"/>
                </a:solidFill>
                <a:effectLst/>
                <a:uLnTx/>
                <a:uFillTx/>
                <a:latin typeface="Calibri Light"/>
                <a:ea typeface="+mj-ea"/>
                <a:cs typeface="Calibri Light"/>
              </a:rPr>
              <a:t> - Portfolio Update, Budget Advice Letters, and EE Applications</a:t>
            </a:r>
            <a:br>
              <a:rPr kumimoji="0" lang="en-US" sz="2700" b="0" i="0" u="none" strike="noStrike" kern="0" cap="none" spc="-15" normalizeH="0" baseline="0" noProof="0" dirty="0">
                <a:ln>
                  <a:noFill/>
                </a:ln>
                <a:solidFill>
                  <a:srgbClr val="000000"/>
                </a:solidFill>
                <a:effectLst/>
                <a:uLnTx/>
                <a:uFillTx/>
                <a:latin typeface="Calibri Light"/>
                <a:ea typeface="+mj-ea"/>
                <a:cs typeface="Calibri Light"/>
              </a:rPr>
            </a:br>
            <a:r>
              <a:rPr kumimoji="0" lang="en-US" sz="2700" b="0" i="0" u="none" strike="noStrike" kern="0" cap="none" spc="-15" normalizeH="0" baseline="0" noProof="0" dirty="0">
                <a:ln>
                  <a:noFill/>
                </a:ln>
                <a:solidFill>
                  <a:srgbClr val="000000"/>
                </a:solidFill>
                <a:effectLst/>
                <a:uLnTx/>
                <a:uFillTx/>
                <a:latin typeface="Calibri Light"/>
                <a:ea typeface="+mj-ea"/>
                <a:cs typeface="Calibri Light"/>
              </a:rPr>
              <a:t> - Total System Benefit (TSB) Goal and Impacts on Bidder Community</a:t>
            </a:r>
          </a:p>
          <a:p>
            <a:pPr marL="0" marR="0" lvl="0" indent="0" defTabSz="914400" eaLnBrk="1" fontAlgn="auto" latinLnBrk="0" hangingPunct="1">
              <a:lnSpc>
                <a:spcPct val="100000"/>
              </a:lnSpc>
              <a:spcBef>
                <a:spcPts val="0"/>
              </a:spcBef>
              <a:spcAft>
                <a:spcPts val="0"/>
              </a:spcAft>
              <a:buClrTx/>
              <a:buSzTx/>
              <a:buFontTx/>
              <a:buNone/>
              <a:tabLst/>
              <a:defRPr/>
            </a:pPr>
            <a:endParaRPr lang="en-US" sz="2700" kern="0" spc="-15" dirty="0">
              <a:solidFill>
                <a:srgbClr val="000000"/>
              </a:solidFill>
              <a:latin typeface="Calibri Light"/>
              <a:ea typeface="+mj-ea"/>
              <a:cs typeface="Calibri Light"/>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0" cap="none" spc="-15" normalizeH="0" baseline="0" noProof="0" dirty="0">
              <a:ln>
                <a:noFill/>
              </a:ln>
              <a:solidFill>
                <a:srgbClr val="000000"/>
              </a:solidFill>
              <a:effectLst/>
              <a:uLnTx/>
              <a:uFillTx/>
              <a:latin typeface="Calibri Light"/>
              <a:ea typeface="+mj-ea"/>
              <a:cs typeface="Calibri Light"/>
            </a:endParaRPr>
          </a:p>
          <a:p>
            <a:pPr marL="0" marR="0" lvl="0" indent="0" defTabSz="914400" eaLnBrk="1" fontAlgn="auto" latinLnBrk="0" hangingPunct="1">
              <a:lnSpc>
                <a:spcPct val="100000"/>
              </a:lnSpc>
              <a:spcBef>
                <a:spcPts val="0"/>
              </a:spcBef>
              <a:spcAft>
                <a:spcPts val="0"/>
              </a:spcAft>
              <a:buClrTx/>
              <a:buSzTx/>
              <a:buFontTx/>
              <a:buNone/>
              <a:tabLst/>
              <a:defRPr/>
            </a:pPr>
            <a:endParaRPr lang="en-US" sz="2700" kern="0" spc="-15" dirty="0">
              <a:solidFill>
                <a:srgbClr val="000000"/>
              </a:solidFill>
              <a:latin typeface="Calibri Light"/>
              <a:ea typeface="+mj-ea"/>
              <a:cs typeface="Calibri Light"/>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700" b="0" i="0" u="none" strike="noStrike" kern="0" cap="none" spc="-15" normalizeH="0" baseline="0" noProof="0" dirty="0">
              <a:ln>
                <a:noFill/>
              </a:ln>
              <a:solidFill>
                <a:srgbClr val="000000"/>
              </a:solidFill>
              <a:effectLst/>
              <a:uLnTx/>
              <a:uFillTx/>
              <a:latin typeface="Calibri Light"/>
              <a:ea typeface="+mj-ea"/>
              <a:cs typeface="Calibri Light"/>
            </a:endParaRPr>
          </a:p>
          <a:p>
            <a:pPr marL="0" marR="0" lvl="0" indent="0" defTabSz="914400" eaLnBrk="1" fontAlgn="auto" latinLnBrk="0" hangingPunct="1">
              <a:lnSpc>
                <a:spcPct val="100000"/>
              </a:lnSpc>
              <a:spcBef>
                <a:spcPts val="0"/>
              </a:spcBef>
              <a:spcAft>
                <a:spcPts val="0"/>
              </a:spcAft>
              <a:buClrTx/>
              <a:buSzTx/>
              <a:buFontTx/>
              <a:buNone/>
              <a:tabLst/>
              <a:defRPr/>
            </a:pPr>
            <a:r>
              <a:rPr lang="en-US" sz="2700" kern="0" spc="-15" dirty="0">
                <a:solidFill>
                  <a:srgbClr val="000000"/>
                </a:solidFill>
                <a:latin typeface="Calibri Light"/>
                <a:ea typeface="+mj-ea"/>
                <a:cs typeface="Calibri Light"/>
              </a:rPr>
              <a:t>PG&amp;E: Matt Braunwarth</a:t>
            </a:r>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6412975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extBox 48">
            <a:extLst>
              <a:ext uri="{FF2B5EF4-FFF2-40B4-BE49-F238E27FC236}">
                <a16:creationId xmlns:a16="http://schemas.microsoft.com/office/drawing/2014/main" id="{6972577A-A0FE-46E5-9E83-7F78A1352D60}"/>
              </a:ext>
            </a:extLst>
          </p:cNvPr>
          <p:cNvSpPr txBox="1"/>
          <p:nvPr/>
        </p:nvSpPr>
        <p:spPr>
          <a:xfrm>
            <a:off x="8307347" y="1859887"/>
            <a:ext cx="2903147" cy="954107"/>
          </a:xfrm>
          <a:prstGeom prst="rect">
            <a:avLst/>
          </a:prstGeom>
          <a:noFill/>
          <a:ln>
            <a:noFill/>
          </a:ln>
        </p:spPr>
        <p:txBody>
          <a:bodyPr wrap="square" rtlCol="0" anchor="t">
            <a:spAutoFit/>
          </a:bodyPr>
          <a:lstStyle/>
          <a:p>
            <a:pPr marL="0" marR="0" lvl="0" indent="0" algn="l" defTabSz="1219170" rtl="0" eaLnBrk="1" fontAlgn="base" latinLnBrk="0" hangingPunct="0">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ヒラギノ角ゴ Pro W3"/>
                <a:cs typeface="+mn-cs"/>
              </a:rPr>
              <a:t>Know who can perform first aid and CPR. Call 911 if you’re alone or share your location with the call leader to send help.</a:t>
            </a:r>
          </a:p>
        </p:txBody>
      </p:sp>
      <p:sp>
        <p:nvSpPr>
          <p:cNvPr id="11269" name="TextBox 4"/>
          <p:cNvSpPr txBox="1">
            <a:spLocks noChangeArrowheads="1"/>
          </p:cNvSpPr>
          <p:nvPr/>
        </p:nvSpPr>
        <p:spPr bwMode="auto">
          <a:xfrm>
            <a:off x="1662734" y="177800"/>
            <a:ext cx="9667724" cy="5847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nchor="t">
            <a:spAutoFit/>
          </a:bodyPr>
          <a:lstStyle>
            <a:lvl1pPr eaLnBrk="0" hangingPunct="0">
              <a:defRPr sz="2400">
                <a:solidFill>
                  <a:schemeClr val="tx1"/>
                </a:solidFill>
                <a:latin typeface="Calibri" pitchFamily="34" charset="0"/>
                <a:ea typeface="MS PGothic" pitchFamily="34" charset="-128"/>
              </a:defRPr>
            </a:lvl1pPr>
            <a:lvl2pPr marL="742950" indent="-285750" eaLnBrk="0" hangingPunct="0">
              <a:defRPr sz="2400">
                <a:solidFill>
                  <a:schemeClr val="tx1"/>
                </a:solidFill>
                <a:latin typeface="Calibri" pitchFamily="34" charset="0"/>
                <a:ea typeface="MS PGothic" pitchFamily="34" charset="-128"/>
              </a:defRPr>
            </a:lvl2pPr>
            <a:lvl3pPr marL="1143000" indent="-228600" eaLnBrk="0" hangingPunct="0">
              <a:defRPr sz="2400">
                <a:solidFill>
                  <a:schemeClr val="tx1"/>
                </a:solidFill>
                <a:latin typeface="Calibri" pitchFamily="34" charset="0"/>
                <a:ea typeface="MS PGothic" pitchFamily="34" charset="-128"/>
              </a:defRPr>
            </a:lvl3pPr>
            <a:lvl4pPr marL="1600200" indent="-228600" eaLnBrk="0" hangingPunct="0">
              <a:defRPr sz="2400">
                <a:solidFill>
                  <a:schemeClr val="tx1"/>
                </a:solidFill>
                <a:latin typeface="Calibri" pitchFamily="34" charset="0"/>
                <a:ea typeface="MS PGothic" pitchFamily="34" charset="-128"/>
              </a:defRPr>
            </a:lvl4pPr>
            <a:lvl5pPr marL="2057400" indent="-228600" eaLnBrk="0" hangingPunct="0">
              <a:defRPr sz="2400">
                <a:solidFill>
                  <a:schemeClr val="tx1"/>
                </a:solidFill>
                <a:latin typeface="Calibri"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Calibri" pitchFamily="34" charset="0"/>
                <a:ea typeface="MS PGothic" pitchFamily="34" charset="-128"/>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altLang="en-US" sz="3200" b="1" i="0" u="none" strike="noStrike" kern="1200" cap="none" spc="0" normalizeH="0" baseline="0" noProof="0" dirty="0">
                <a:ln>
                  <a:noFill/>
                </a:ln>
                <a:solidFill>
                  <a:srgbClr val="FFFFFF"/>
                </a:solidFill>
                <a:effectLst/>
                <a:uLnTx/>
                <a:uFillTx/>
                <a:latin typeface="Arial"/>
                <a:ea typeface="MS PGothic"/>
                <a:cs typeface="Arial"/>
              </a:rPr>
              <a:t>Safety Orientation: </a:t>
            </a:r>
            <a:r>
              <a:rPr kumimoji="0" lang="en-US" altLang="en-US" sz="3200" b="1" i="0" u="none" strike="noStrike" kern="1200" cap="none" spc="0" normalizeH="0" baseline="0" noProof="0" dirty="0">
                <a:ln>
                  <a:noFill/>
                </a:ln>
                <a:solidFill>
                  <a:srgbClr val="FFC000"/>
                </a:solidFill>
                <a:effectLst/>
                <a:uLnTx/>
                <a:uFillTx/>
                <a:latin typeface="Arial"/>
                <a:ea typeface="MS PGothic"/>
                <a:cs typeface="Arial"/>
              </a:rPr>
              <a:t>Remote Workplace</a:t>
            </a:r>
          </a:p>
        </p:txBody>
      </p:sp>
      <p:sp>
        <p:nvSpPr>
          <p:cNvPr id="22" name="TextBox 21">
            <a:extLst>
              <a:ext uri="{FF2B5EF4-FFF2-40B4-BE49-F238E27FC236}">
                <a16:creationId xmlns:a16="http://schemas.microsoft.com/office/drawing/2014/main" id="{E93E0125-8821-4BF9-8F07-6AC49A8EBF41}"/>
              </a:ext>
            </a:extLst>
          </p:cNvPr>
          <p:cNvSpPr txBox="1"/>
          <p:nvPr/>
        </p:nvSpPr>
        <p:spPr>
          <a:xfrm>
            <a:off x="1279805" y="1863866"/>
            <a:ext cx="2748348" cy="1031051"/>
          </a:xfrm>
          <a:prstGeom prst="rect">
            <a:avLst/>
          </a:prstGeom>
          <a:noFill/>
          <a:ln>
            <a:noFill/>
          </a:ln>
        </p:spPr>
        <p:txBody>
          <a:bodyPr wrap="square" rtlCol="0" anchor="t">
            <a:spAutoFit/>
          </a:bodyPr>
          <a:lstStyle/>
          <a:p>
            <a:pPr marL="0" marR="0" lvl="0" indent="0" algn="l" defTabSz="1219170" rtl="0" eaLnBrk="1" fontAlgn="base" latinLnBrk="0" hangingPunct="0">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Arial"/>
              </a:rPr>
              <a:t>Know the safest places to duck, cover, and hold, such as under sturdy desks and tables. </a:t>
            </a:r>
            <a:endParaRPr kumimoji="0" lang="en-US" sz="1400" b="0" i="0" u="none" strike="noStrike" kern="1200" cap="none" spc="0" normalizeH="0" baseline="0" noProof="0" dirty="0">
              <a:ln>
                <a:noFill/>
              </a:ln>
              <a:solidFill>
                <a:srgbClr val="000000"/>
              </a:solidFill>
              <a:effectLst/>
              <a:uLnTx/>
              <a:uFillTx/>
              <a:latin typeface="Arial"/>
              <a:ea typeface="ヒラギノ角ゴ Pro W3" pitchFamily="-65" charset="-128"/>
              <a:cs typeface="Arial"/>
            </a:endParaRPr>
          </a:p>
          <a:p>
            <a:pPr marL="342891" marR="0" lvl="0" indent="-342891" algn="l" defTabSz="1219170" rtl="0" eaLnBrk="1" fontAlgn="base" latinLnBrk="0" hangingPunct="0">
              <a:lnSpc>
                <a:spcPct val="100000"/>
              </a:lnSpc>
              <a:spcBef>
                <a:spcPct val="0"/>
              </a:spcBef>
              <a:spcAft>
                <a:spcPts val="600"/>
              </a:spcAft>
              <a:buClrTx/>
              <a:buSzTx/>
              <a:buFont typeface="Wingdings" panose="05000000000000000000" pitchFamily="2" charset="2"/>
              <a:buChar char="q"/>
              <a:tabLst/>
              <a:defRPr/>
            </a:pPr>
            <a:endParaRPr kumimoji="0" lang="en-US" sz="1400" b="0" i="0" u="none" strike="noStrike" kern="1200" cap="none" spc="0" normalizeH="0" baseline="0" noProof="0" dirty="0">
              <a:ln>
                <a:noFill/>
              </a:ln>
              <a:solidFill>
                <a:srgbClr val="000000"/>
              </a:solidFill>
              <a:effectLst/>
              <a:uLnTx/>
              <a:uFillTx/>
              <a:latin typeface="Arial" charset="0"/>
              <a:ea typeface="Times New Roman" panose="02020603050405020304" pitchFamily="18" charset="0"/>
              <a:cs typeface="+mn-cs"/>
            </a:endParaRPr>
          </a:p>
        </p:txBody>
      </p:sp>
      <p:pic>
        <p:nvPicPr>
          <p:cNvPr id="34" name="Picture 33">
            <a:extLst>
              <a:ext uri="{FF2B5EF4-FFF2-40B4-BE49-F238E27FC236}">
                <a16:creationId xmlns:a16="http://schemas.microsoft.com/office/drawing/2014/main" id="{0F1AEA4A-E215-40BC-8B82-6044E10081AD}"/>
              </a:ext>
            </a:extLst>
          </p:cNvPr>
          <p:cNvPicPr>
            <a:picLocks noChangeAspect="1"/>
          </p:cNvPicPr>
          <p:nvPr/>
        </p:nvPicPr>
        <p:blipFill>
          <a:blip r:embed="rId3"/>
          <a:stretch>
            <a:fillRect/>
          </a:stretch>
        </p:blipFill>
        <p:spPr>
          <a:xfrm>
            <a:off x="1279807" y="1278957"/>
            <a:ext cx="527091" cy="524443"/>
          </a:xfrm>
          <a:prstGeom prst="rect">
            <a:avLst/>
          </a:prstGeom>
          <a:ln>
            <a:noFill/>
          </a:ln>
        </p:spPr>
      </p:pic>
      <p:pic>
        <p:nvPicPr>
          <p:cNvPr id="35" name="Picture 34">
            <a:extLst>
              <a:ext uri="{FF2B5EF4-FFF2-40B4-BE49-F238E27FC236}">
                <a16:creationId xmlns:a16="http://schemas.microsoft.com/office/drawing/2014/main" id="{9F9ECF9B-A48F-41AC-B74D-7658096B8B6D}"/>
              </a:ext>
            </a:extLst>
          </p:cNvPr>
          <p:cNvPicPr>
            <a:picLocks noChangeAspect="1"/>
          </p:cNvPicPr>
          <p:nvPr/>
        </p:nvPicPr>
        <p:blipFill>
          <a:blip r:embed="rId4"/>
          <a:stretch>
            <a:fillRect/>
          </a:stretch>
        </p:blipFill>
        <p:spPr>
          <a:xfrm>
            <a:off x="4704370" y="1276309"/>
            <a:ext cx="527091" cy="527091"/>
          </a:xfrm>
          <a:prstGeom prst="rect">
            <a:avLst/>
          </a:prstGeom>
          <a:ln>
            <a:noFill/>
          </a:ln>
        </p:spPr>
      </p:pic>
      <p:pic>
        <p:nvPicPr>
          <p:cNvPr id="36" name="Picture 35">
            <a:extLst>
              <a:ext uri="{FF2B5EF4-FFF2-40B4-BE49-F238E27FC236}">
                <a16:creationId xmlns:a16="http://schemas.microsoft.com/office/drawing/2014/main" id="{6DE524A4-A0CD-4E1B-BC8B-D078ABE4F5D8}"/>
              </a:ext>
            </a:extLst>
          </p:cNvPr>
          <p:cNvPicPr>
            <a:picLocks noChangeAspect="1"/>
          </p:cNvPicPr>
          <p:nvPr/>
        </p:nvPicPr>
        <p:blipFill>
          <a:blip r:embed="rId5"/>
          <a:stretch>
            <a:fillRect/>
          </a:stretch>
        </p:blipFill>
        <p:spPr>
          <a:xfrm>
            <a:off x="8307348" y="1258873"/>
            <a:ext cx="550191" cy="550191"/>
          </a:xfrm>
          <a:prstGeom prst="rect">
            <a:avLst/>
          </a:prstGeom>
          <a:ln>
            <a:noFill/>
          </a:ln>
        </p:spPr>
      </p:pic>
      <p:sp>
        <p:nvSpPr>
          <p:cNvPr id="47" name="TextBox 46">
            <a:extLst>
              <a:ext uri="{FF2B5EF4-FFF2-40B4-BE49-F238E27FC236}">
                <a16:creationId xmlns:a16="http://schemas.microsoft.com/office/drawing/2014/main" id="{BFEEC8AD-D8D8-43D1-9C08-250EB99C58FD}"/>
              </a:ext>
            </a:extLst>
          </p:cNvPr>
          <p:cNvSpPr txBox="1"/>
          <p:nvPr/>
        </p:nvSpPr>
        <p:spPr>
          <a:xfrm>
            <a:off x="4704370" y="1863016"/>
            <a:ext cx="2682240" cy="1169551"/>
          </a:xfrm>
          <a:prstGeom prst="rect">
            <a:avLst/>
          </a:prstGeom>
          <a:noFill/>
          <a:ln>
            <a:noFill/>
          </a:ln>
        </p:spPr>
        <p:txBody>
          <a:bodyPr wrap="square" rtlCol="0" anchor="t">
            <a:spAutoFit/>
          </a:bodyPr>
          <a:lstStyle/>
          <a:p>
            <a:pPr marL="0" marR="0" lvl="0" indent="0" algn="l" defTabSz="1219170" rtl="0" eaLnBrk="1" fontAlgn="base" latinLnBrk="0" hangingPunct="0">
              <a:lnSpc>
                <a:spcPct val="100000"/>
              </a:lnSpc>
              <a:spcBef>
                <a:spcPct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ヒラギノ角ゴ Pro W3"/>
                <a:cs typeface="Arial"/>
              </a:rPr>
              <a:t>Know your exits, escape routes, and evacuation plan. If safe to do so, use your compliant fire extinguisher. Exit the house, and call 911.</a:t>
            </a:r>
          </a:p>
        </p:txBody>
      </p:sp>
      <p:sp>
        <p:nvSpPr>
          <p:cNvPr id="6" name="Rectangle 5">
            <a:extLst>
              <a:ext uri="{FF2B5EF4-FFF2-40B4-BE49-F238E27FC236}">
                <a16:creationId xmlns:a16="http://schemas.microsoft.com/office/drawing/2014/main" id="{E0B3EA00-4287-4D51-8249-821F4E097731}"/>
              </a:ext>
            </a:extLst>
          </p:cNvPr>
          <p:cNvSpPr/>
          <p:nvPr/>
        </p:nvSpPr>
        <p:spPr>
          <a:xfrm>
            <a:off x="1848755" y="1352930"/>
            <a:ext cx="1300356" cy="338554"/>
          </a:xfrm>
          <a:prstGeom prst="rect">
            <a:avLst/>
          </a:prstGeom>
          <a:ln>
            <a:noFill/>
          </a:ln>
        </p:spPr>
        <p:txBody>
          <a:bodyPr wrap="none">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Arial"/>
              </a:rPr>
              <a:t>Earthquake</a:t>
            </a:r>
            <a:endParaRPr kumimoji="0" lang="en-US" sz="1600" b="0" i="0" u="none" strike="noStrike" kern="1200" cap="none" spc="0" normalizeH="0" baseline="0" noProof="0" dirty="0">
              <a:ln>
                <a:noFill/>
              </a:ln>
              <a:solidFill>
                <a:srgbClr val="000000"/>
              </a:solidFill>
              <a:effectLst/>
              <a:uLnTx/>
              <a:uFillTx/>
              <a:latin typeface="Arial" charset="0"/>
              <a:ea typeface="ヒラギノ角ゴ Pro W3" pitchFamily="-65" charset="-128"/>
              <a:cs typeface="+mn-cs"/>
            </a:endParaRPr>
          </a:p>
        </p:txBody>
      </p:sp>
      <p:sp>
        <p:nvSpPr>
          <p:cNvPr id="7" name="Rectangle 6">
            <a:extLst>
              <a:ext uri="{FF2B5EF4-FFF2-40B4-BE49-F238E27FC236}">
                <a16:creationId xmlns:a16="http://schemas.microsoft.com/office/drawing/2014/main" id="{6547C8B6-2711-4BAE-B73D-AC45700617EC}"/>
              </a:ext>
            </a:extLst>
          </p:cNvPr>
          <p:cNvSpPr/>
          <p:nvPr/>
        </p:nvSpPr>
        <p:spPr>
          <a:xfrm>
            <a:off x="5268577" y="1343948"/>
            <a:ext cx="561372" cy="338554"/>
          </a:xfrm>
          <a:prstGeom prst="rect">
            <a:avLst/>
          </a:prstGeom>
          <a:ln>
            <a:noFill/>
          </a:ln>
        </p:spPr>
        <p:txBody>
          <a:bodyPr wrap="none">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ヒラギノ角ゴ Pro W3"/>
                <a:cs typeface="Arial"/>
              </a:rPr>
              <a:t>Fire</a:t>
            </a:r>
            <a:endParaRPr kumimoji="0" lang="en-US" sz="1600" b="0" i="0" u="none" strike="noStrike" kern="1200" cap="none" spc="0" normalizeH="0" baseline="0" noProof="0" dirty="0">
              <a:ln>
                <a:noFill/>
              </a:ln>
              <a:solidFill>
                <a:srgbClr val="000000"/>
              </a:solidFill>
              <a:effectLst/>
              <a:uLnTx/>
              <a:uFillTx/>
              <a:latin typeface="Arial" charset="0"/>
              <a:ea typeface="ヒラギノ角ゴ Pro W3" pitchFamily="-65" charset="-128"/>
              <a:cs typeface="+mn-cs"/>
            </a:endParaRPr>
          </a:p>
        </p:txBody>
      </p:sp>
      <p:sp>
        <p:nvSpPr>
          <p:cNvPr id="9" name="Rectangle 8">
            <a:extLst>
              <a:ext uri="{FF2B5EF4-FFF2-40B4-BE49-F238E27FC236}">
                <a16:creationId xmlns:a16="http://schemas.microsoft.com/office/drawing/2014/main" id="{132854FB-B7DE-4533-A9BF-68AAFE1891DA}"/>
              </a:ext>
            </a:extLst>
          </p:cNvPr>
          <p:cNvSpPr/>
          <p:nvPr/>
        </p:nvSpPr>
        <p:spPr>
          <a:xfrm>
            <a:off x="8857538" y="1236009"/>
            <a:ext cx="1970351" cy="584775"/>
          </a:xfrm>
          <a:prstGeom prst="rect">
            <a:avLst/>
          </a:prstGeom>
          <a:ln>
            <a:noFill/>
          </a:ln>
        </p:spPr>
        <p:txBody>
          <a:bodyPr wrap="square">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ヒラギノ角ゴ Pro W3"/>
                <a:cs typeface="+mn-cs"/>
              </a:rPr>
              <a:t>Medical Emergency</a:t>
            </a:r>
            <a:endParaRPr kumimoji="0" lang="en-US" sz="1600" b="0" i="0" u="none" strike="noStrike" kern="1200" cap="none" spc="0" normalizeH="0" baseline="0" noProof="0" dirty="0">
              <a:ln>
                <a:noFill/>
              </a:ln>
              <a:solidFill>
                <a:srgbClr val="000000"/>
              </a:solidFill>
              <a:effectLst/>
              <a:uLnTx/>
              <a:uFillTx/>
              <a:latin typeface="Arial" charset="0"/>
              <a:ea typeface="ヒラギノ角ゴ Pro W3" pitchFamily="-65" charset="-128"/>
              <a:cs typeface="+mn-cs"/>
            </a:endParaRPr>
          </a:p>
        </p:txBody>
      </p:sp>
      <p:sp>
        <p:nvSpPr>
          <p:cNvPr id="33" name="TextBox 32">
            <a:extLst>
              <a:ext uri="{FF2B5EF4-FFF2-40B4-BE49-F238E27FC236}">
                <a16:creationId xmlns:a16="http://schemas.microsoft.com/office/drawing/2014/main" id="{051DA5A2-D6A3-4975-A75A-F7FEB575D3A3}"/>
              </a:ext>
            </a:extLst>
          </p:cNvPr>
          <p:cNvSpPr txBox="1"/>
          <p:nvPr/>
        </p:nvSpPr>
        <p:spPr>
          <a:xfrm>
            <a:off x="8338498" y="4006589"/>
            <a:ext cx="2682240" cy="1795363"/>
          </a:xfrm>
          <a:prstGeom prst="rect">
            <a:avLst/>
          </a:prstGeom>
          <a:noFill/>
          <a:ln>
            <a:noFill/>
          </a:ln>
        </p:spPr>
        <p:txBody>
          <a:bodyPr wrap="square" rtlCol="0" anchor="t">
            <a:spAutoFit/>
          </a:bodyPr>
          <a:lstStyle/>
          <a:p>
            <a:pPr marL="232828" marR="0" lvl="0" indent="-232828" algn="l" defTabSz="1219170" rtl="0" eaLnBrk="1" fontAlgn="base" latinLnBrk="0" hangingPunct="0">
              <a:lnSpc>
                <a:spcPct val="100000"/>
              </a:lnSpc>
              <a:spcBef>
                <a:spcPct val="0"/>
              </a:spcBef>
              <a:spcAft>
                <a:spcPts val="8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000000"/>
                </a:solidFill>
                <a:effectLst/>
                <a:uLnTx/>
                <a:uFillTx/>
                <a:latin typeface="Arial"/>
                <a:ea typeface="ヒラギノ角ゴ Pro W3" pitchFamily="-65" charset="-128"/>
                <a:cs typeface="Arial"/>
              </a:rPr>
              <a:t>I’m cared for.</a:t>
            </a:r>
          </a:p>
          <a:p>
            <a:pPr marL="232828" marR="0" lvl="0" indent="-232828" algn="l" defTabSz="1219170" rtl="0" eaLnBrk="1" fontAlgn="base" latinLnBrk="0" hangingPunct="0">
              <a:lnSpc>
                <a:spcPct val="100000"/>
              </a:lnSpc>
              <a:spcBef>
                <a:spcPct val="0"/>
              </a:spcBef>
              <a:spcAft>
                <a:spcPts val="8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000000"/>
                </a:solidFill>
                <a:effectLst/>
                <a:uLnTx/>
                <a:uFillTx/>
                <a:latin typeface="Arial"/>
                <a:ea typeface="ヒラギノ角ゴ Pro W3" pitchFamily="-65" charset="-128"/>
                <a:cs typeface="Arial"/>
              </a:rPr>
              <a:t>People have my back and I have theirs.</a:t>
            </a:r>
          </a:p>
          <a:p>
            <a:pPr marL="232828" marR="0" lvl="0" indent="-232828" algn="l" defTabSz="1219170" rtl="0" eaLnBrk="1" fontAlgn="base" latinLnBrk="0" hangingPunct="0">
              <a:lnSpc>
                <a:spcPct val="100000"/>
              </a:lnSpc>
              <a:spcBef>
                <a:spcPct val="0"/>
              </a:spcBef>
              <a:spcAft>
                <a:spcPts val="8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000000"/>
                </a:solidFill>
                <a:effectLst/>
                <a:uLnTx/>
                <a:uFillTx/>
                <a:latin typeface="Arial"/>
                <a:ea typeface="ヒラギノ角ゴ Pro W3" pitchFamily="-65" charset="-128"/>
                <a:cs typeface="Arial"/>
              </a:rPr>
              <a:t>It’s safe to take risks.</a:t>
            </a:r>
          </a:p>
          <a:p>
            <a:pPr marL="232828" marR="0" lvl="0" indent="-232828" algn="l" defTabSz="1219170" rtl="0" eaLnBrk="1" fontAlgn="base" latinLnBrk="0" hangingPunct="0">
              <a:lnSpc>
                <a:spcPct val="100000"/>
              </a:lnSpc>
              <a:spcBef>
                <a:spcPct val="0"/>
              </a:spcBef>
              <a:spcAft>
                <a:spcPts val="8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000000"/>
                </a:solidFill>
                <a:effectLst/>
                <a:uLnTx/>
                <a:uFillTx/>
                <a:latin typeface="Arial"/>
                <a:ea typeface="ヒラギノ角ゴ Pro W3" pitchFamily="-65" charset="-128"/>
                <a:cs typeface="Arial"/>
              </a:rPr>
              <a:t>New ideas are welcome. </a:t>
            </a:r>
          </a:p>
          <a:p>
            <a:pPr marL="232828" marR="0" lvl="0" indent="-232828" algn="l" defTabSz="1219170" rtl="0" eaLnBrk="1" fontAlgn="base" latinLnBrk="0" hangingPunct="0">
              <a:lnSpc>
                <a:spcPct val="100000"/>
              </a:lnSpc>
              <a:spcBef>
                <a:spcPct val="0"/>
              </a:spcBef>
              <a:spcAft>
                <a:spcPts val="8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000000"/>
                </a:solidFill>
                <a:effectLst/>
                <a:uLnTx/>
                <a:uFillTx/>
                <a:latin typeface="Arial"/>
                <a:ea typeface="ヒラギノ角ゴ Pro W3" pitchFamily="-65" charset="-128"/>
                <a:cs typeface="Arial"/>
              </a:rPr>
              <a:t>I practice self-care.</a:t>
            </a:r>
          </a:p>
        </p:txBody>
      </p:sp>
      <p:pic>
        <p:nvPicPr>
          <p:cNvPr id="38" name="Picture 37">
            <a:extLst>
              <a:ext uri="{FF2B5EF4-FFF2-40B4-BE49-F238E27FC236}">
                <a16:creationId xmlns:a16="http://schemas.microsoft.com/office/drawing/2014/main" id="{36D52EC4-CA97-41F6-A025-8B38DFF11B5F}"/>
              </a:ext>
            </a:extLst>
          </p:cNvPr>
          <p:cNvPicPr>
            <a:picLocks noChangeAspect="1"/>
          </p:cNvPicPr>
          <p:nvPr/>
        </p:nvPicPr>
        <p:blipFill>
          <a:blip r:embed="rId6"/>
          <a:stretch>
            <a:fillRect/>
          </a:stretch>
        </p:blipFill>
        <p:spPr>
          <a:xfrm>
            <a:off x="1279810" y="3452441"/>
            <a:ext cx="527089" cy="527089"/>
          </a:xfrm>
          <a:prstGeom prst="rect">
            <a:avLst/>
          </a:prstGeom>
          <a:ln>
            <a:noFill/>
          </a:ln>
        </p:spPr>
      </p:pic>
      <p:pic>
        <p:nvPicPr>
          <p:cNvPr id="39" name="Picture 38">
            <a:extLst>
              <a:ext uri="{FF2B5EF4-FFF2-40B4-BE49-F238E27FC236}">
                <a16:creationId xmlns:a16="http://schemas.microsoft.com/office/drawing/2014/main" id="{5D0BA7F3-A0B3-4EF3-ACE1-B115A7E1AAC9}"/>
              </a:ext>
            </a:extLst>
          </p:cNvPr>
          <p:cNvPicPr>
            <a:picLocks noChangeAspect="1"/>
          </p:cNvPicPr>
          <p:nvPr/>
        </p:nvPicPr>
        <p:blipFill>
          <a:blip r:embed="rId7"/>
          <a:stretch>
            <a:fillRect/>
          </a:stretch>
        </p:blipFill>
        <p:spPr>
          <a:xfrm>
            <a:off x="8338500" y="3427536"/>
            <a:ext cx="527089" cy="529752"/>
          </a:xfrm>
          <a:prstGeom prst="rect">
            <a:avLst/>
          </a:prstGeom>
          <a:ln>
            <a:noFill/>
          </a:ln>
        </p:spPr>
      </p:pic>
      <p:sp>
        <p:nvSpPr>
          <p:cNvPr id="50" name="TextBox 49">
            <a:extLst>
              <a:ext uri="{FF2B5EF4-FFF2-40B4-BE49-F238E27FC236}">
                <a16:creationId xmlns:a16="http://schemas.microsoft.com/office/drawing/2014/main" id="{54037995-7414-4E2C-8A62-3D9076BAC67D}"/>
              </a:ext>
            </a:extLst>
          </p:cNvPr>
          <p:cNvSpPr txBox="1"/>
          <p:nvPr/>
        </p:nvSpPr>
        <p:spPr>
          <a:xfrm>
            <a:off x="1279807" y="4005697"/>
            <a:ext cx="2682240" cy="738664"/>
          </a:xfrm>
          <a:prstGeom prst="rect">
            <a:avLst/>
          </a:prstGeom>
          <a:noFill/>
          <a:ln>
            <a:noFill/>
          </a:ln>
        </p:spPr>
        <p:txBody>
          <a:bodyPr wrap="square" rtlCol="0" anchor="t">
            <a:spAutoFit/>
          </a:bodyPr>
          <a:lstStyle/>
          <a:p>
            <a:pPr marL="232828" marR="0" lvl="0" indent="-232828" algn="l" defTabSz="1219170" rtl="0" eaLnBrk="1" fontAlgn="base" latinLnBrk="0" hangingPunct="1">
              <a:lnSpc>
                <a:spcPct val="100000"/>
              </a:lnSpc>
              <a:spcBef>
                <a:spcPct val="0"/>
              </a:spcBef>
              <a:spcAft>
                <a:spcPts val="8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Arial"/>
              </a:rPr>
              <a:t>Practice </a:t>
            </a:r>
            <a:r>
              <a:rPr kumimoji="0" lang="en-US" sz="1400" b="1" i="1" u="none" strike="noStrike" kern="1200" cap="none" spc="0" normalizeH="0" baseline="0" noProof="0" dirty="0">
                <a:ln>
                  <a:noFill/>
                </a:ln>
                <a:solidFill>
                  <a:srgbClr val="000000"/>
                </a:solidFill>
                <a:effectLst/>
                <a:uLnTx/>
                <a:uFillTx/>
                <a:latin typeface="Arial"/>
                <a:ea typeface="Times New Roman" panose="02020603050405020304" pitchFamily="18" charset="0"/>
                <a:cs typeface="Arial"/>
              </a:rPr>
              <a:t>30/30</a:t>
            </a:r>
            <a:r>
              <a:rPr kumimoji="0" lang="en-US" sz="14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Arial"/>
              </a:rPr>
              <a:t> (every 30 </a:t>
            </a:r>
            <a:r>
              <a:rPr kumimoji="0" lang="en-US" sz="1400" b="0" i="0" u="none" strike="noStrike" kern="1200" cap="none" spc="0" normalizeH="0" baseline="0" noProof="0" dirty="0">
                <a:ln>
                  <a:noFill/>
                </a:ln>
                <a:solidFill>
                  <a:srgbClr val="000000"/>
                </a:solidFill>
                <a:effectLst/>
                <a:uLnTx/>
                <a:uFillTx/>
                <a:latin typeface="Arial"/>
                <a:ea typeface="ヒラギノ角ゴ Pro W3" pitchFamily="-65" charset="-128"/>
                <a:cs typeface="Arial"/>
              </a:rPr>
              <a:t>minutes, move &amp; stretch for 30 seconds).</a:t>
            </a:r>
          </a:p>
        </p:txBody>
      </p:sp>
      <p:sp>
        <p:nvSpPr>
          <p:cNvPr id="11" name="Rectangle 10">
            <a:extLst>
              <a:ext uri="{FF2B5EF4-FFF2-40B4-BE49-F238E27FC236}">
                <a16:creationId xmlns:a16="http://schemas.microsoft.com/office/drawing/2014/main" id="{819D511E-7ADD-40EE-92E0-34ABC7709512}"/>
              </a:ext>
            </a:extLst>
          </p:cNvPr>
          <p:cNvSpPr/>
          <p:nvPr/>
        </p:nvSpPr>
        <p:spPr>
          <a:xfrm>
            <a:off x="8888241" y="3413547"/>
            <a:ext cx="2017964" cy="584775"/>
          </a:xfrm>
          <a:prstGeom prst="rect">
            <a:avLst/>
          </a:prstGeom>
          <a:ln>
            <a:noFill/>
          </a:ln>
        </p:spPr>
        <p:txBody>
          <a:bodyPr wrap="square">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ヒラギノ角ゴ Pro W3"/>
                <a:cs typeface="Arial"/>
              </a:rPr>
              <a:t>Psychological Safety</a:t>
            </a:r>
            <a:endParaRPr kumimoji="0" lang="en-US" sz="1600" b="0" i="0" u="none" strike="noStrike" kern="1200" cap="none" spc="0" normalizeH="0" baseline="0" noProof="0" dirty="0">
              <a:ln>
                <a:noFill/>
              </a:ln>
              <a:solidFill>
                <a:srgbClr val="000000"/>
              </a:solidFill>
              <a:effectLst/>
              <a:uLnTx/>
              <a:uFillTx/>
              <a:latin typeface="Arial" charset="0"/>
              <a:ea typeface="ヒラギノ角ゴ Pro W3" pitchFamily="-65" charset="-128"/>
              <a:cs typeface="+mn-cs"/>
            </a:endParaRPr>
          </a:p>
        </p:txBody>
      </p:sp>
      <p:sp>
        <p:nvSpPr>
          <p:cNvPr id="12" name="Rectangle 11">
            <a:extLst>
              <a:ext uri="{FF2B5EF4-FFF2-40B4-BE49-F238E27FC236}">
                <a16:creationId xmlns:a16="http://schemas.microsoft.com/office/drawing/2014/main" id="{9BDCC889-8DD1-4D8B-BC78-DFA58CB79166}"/>
              </a:ext>
            </a:extLst>
          </p:cNvPr>
          <p:cNvSpPr/>
          <p:nvPr/>
        </p:nvSpPr>
        <p:spPr>
          <a:xfrm>
            <a:off x="1806898" y="3554426"/>
            <a:ext cx="1369286" cy="338554"/>
          </a:xfrm>
          <a:prstGeom prst="rect">
            <a:avLst/>
          </a:prstGeom>
          <a:ln>
            <a:noFill/>
          </a:ln>
        </p:spPr>
        <p:txBody>
          <a:bodyPr wrap="none">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Arial"/>
              </a:rPr>
              <a:t>Ergonomics</a:t>
            </a:r>
            <a:endParaRPr kumimoji="0" lang="en-US" sz="1600" b="0" i="0" u="none" strike="noStrike" kern="1200" cap="none" spc="0" normalizeH="0" baseline="0" noProof="0" dirty="0">
              <a:ln>
                <a:noFill/>
              </a:ln>
              <a:solidFill>
                <a:srgbClr val="000000"/>
              </a:solidFill>
              <a:effectLst/>
              <a:uLnTx/>
              <a:uFillTx/>
              <a:latin typeface="Arial" charset="0"/>
              <a:ea typeface="ヒラギノ角ゴ Pro W3" pitchFamily="-65" charset="-128"/>
              <a:cs typeface="+mn-cs"/>
            </a:endParaRPr>
          </a:p>
        </p:txBody>
      </p:sp>
      <p:grpSp>
        <p:nvGrpSpPr>
          <p:cNvPr id="4" name="Group 3">
            <a:extLst>
              <a:ext uri="{FF2B5EF4-FFF2-40B4-BE49-F238E27FC236}">
                <a16:creationId xmlns:a16="http://schemas.microsoft.com/office/drawing/2014/main" id="{9C80A79A-E7FF-4A67-8D7C-1932FA2F1A84}"/>
              </a:ext>
            </a:extLst>
          </p:cNvPr>
          <p:cNvGrpSpPr/>
          <p:nvPr/>
        </p:nvGrpSpPr>
        <p:grpSpPr>
          <a:xfrm>
            <a:off x="4704371" y="3513966"/>
            <a:ext cx="3136977" cy="1722124"/>
            <a:chOff x="6774063" y="2570651"/>
            <a:chExt cx="2352733" cy="1291593"/>
          </a:xfrm>
        </p:grpSpPr>
        <p:sp>
          <p:nvSpPr>
            <p:cNvPr id="5" name="Oval 4">
              <a:extLst>
                <a:ext uri="{FF2B5EF4-FFF2-40B4-BE49-F238E27FC236}">
                  <a16:creationId xmlns:a16="http://schemas.microsoft.com/office/drawing/2014/main" id="{60D4D608-3485-443B-9EF7-0CE3292912ED}"/>
                </a:ext>
              </a:extLst>
            </p:cNvPr>
            <p:cNvSpPr/>
            <p:nvPr/>
          </p:nvSpPr>
          <p:spPr>
            <a:xfrm>
              <a:off x="6774064" y="2570651"/>
              <a:ext cx="395318" cy="395318"/>
            </a:xfrm>
            <a:prstGeom prst="ellipse">
              <a:avLst/>
            </a:prstGeom>
            <a:blipFill dpi="0" rotWithShape="1">
              <a:blip r:embed="rId8" cstate="print">
                <a:extLst>
                  <a:ext uri="{28A0092B-C50C-407E-A947-70E740481C1C}">
                    <a14:useLocalDpi xmlns:a14="http://schemas.microsoft.com/office/drawing/2010/main" val="0"/>
                  </a:ext>
                </a:extLst>
              </a:blip>
              <a:srcRect/>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2133"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9ABBCF53-FBA8-4863-B23F-7F48EE1FFAD8}"/>
                </a:ext>
              </a:extLst>
            </p:cNvPr>
            <p:cNvSpPr/>
            <p:nvPr/>
          </p:nvSpPr>
          <p:spPr>
            <a:xfrm>
              <a:off x="7188948" y="2646851"/>
              <a:ext cx="847829" cy="253916"/>
            </a:xfrm>
            <a:prstGeom prst="rect">
              <a:avLst/>
            </a:prstGeom>
            <a:ln>
              <a:noFill/>
            </a:ln>
          </p:spPr>
          <p:txBody>
            <a:bodyPr wrap="none">
              <a:spAutoFit/>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Arial"/>
                </a:rPr>
                <a:t>COVID-19</a:t>
              </a:r>
              <a:endParaRPr kumimoji="0" lang="en-US" sz="1600" b="0" i="0" u="none" strike="noStrike" kern="1200" cap="none" spc="0" normalizeH="0" baseline="0" noProof="0" dirty="0">
                <a:ln>
                  <a:noFill/>
                </a:ln>
                <a:solidFill>
                  <a:srgbClr val="000000"/>
                </a:solidFill>
                <a:effectLst/>
                <a:uLnTx/>
                <a:uFillTx/>
                <a:latin typeface="Arial" charset="0"/>
                <a:ea typeface="ヒラギノ角ゴ Pro W3" pitchFamily="-65" charset="-128"/>
                <a:cs typeface="+mn-cs"/>
              </a:endParaRPr>
            </a:p>
          </p:txBody>
        </p:sp>
        <p:sp>
          <p:nvSpPr>
            <p:cNvPr id="37" name="TextBox 36">
              <a:extLst>
                <a:ext uri="{FF2B5EF4-FFF2-40B4-BE49-F238E27FC236}">
                  <a16:creationId xmlns:a16="http://schemas.microsoft.com/office/drawing/2014/main" id="{DBA54EFC-9B62-42FD-A7B3-820C37F8F03C}"/>
                </a:ext>
              </a:extLst>
            </p:cNvPr>
            <p:cNvSpPr txBox="1"/>
            <p:nvPr/>
          </p:nvSpPr>
          <p:spPr>
            <a:xfrm>
              <a:off x="6774063" y="2992775"/>
              <a:ext cx="2352733" cy="869469"/>
            </a:xfrm>
            <a:prstGeom prst="rect">
              <a:avLst/>
            </a:prstGeom>
            <a:noFill/>
            <a:ln>
              <a:noFill/>
            </a:ln>
          </p:spPr>
          <p:txBody>
            <a:bodyPr wrap="square" rtlCol="0">
              <a:spAutoFit/>
            </a:bodyPr>
            <a:lstStyle/>
            <a:p>
              <a:pPr marL="232828" marR="0" lvl="0" indent="-232828" algn="l" defTabSz="1219170" rtl="0" eaLnBrk="1" fontAlgn="base" latinLnBrk="0" hangingPunct="1">
                <a:lnSpc>
                  <a:spcPct val="100000"/>
                </a:lnSpc>
                <a:spcBef>
                  <a:spcPct val="0"/>
                </a:spcBef>
                <a:spcAft>
                  <a:spcPts val="8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Arial"/>
                </a:rPr>
                <a:t>Maintain at least 6’ distance where possible.</a:t>
              </a:r>
            </a:p>
            <a:p>
              <a:pPr marL="232828" marR="0" lvl="0" indent="-232828" algn="l" defTabSz="1219170" rtl="0" eaLnBrk="1" fontAlgn="base" latinLnBrk="0" hangingPunct="1">
                <a:lnSpc>
                  <a:spcPct val="100000"/>
                </a:lnSpc>
                <a:spcBef>
                  <a:spcPct val="0"/>
                </a:spcBef>
                <a:spcAft>
                  <a:spcPts val="8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Arial"/>
                </a:rPr>
                <a:t>Wear your mask.</a:t>
              </a:r>
            </a:p>
            <a:p>
              <a:pPr marL="232828" marR="0" lvl="0" indent="-232828" algn="l" defTabSz="1219170" rtl="0" eaLnBrk="1" fontAlgn="base" latinLnBrk="0" hangingPunct="1">
                <a:lnSpc>
                  <a:spcPct val="100000"/>
                </a:lnSpc>
                <a:spcBef>
                  <a:spcPct val="0"/>
                </a:spcBef>
                <a:spcAft>
                  <a:spcPts val="800"/>
                </a:spcAft>
                <a:buClrTx/>
                <a:buSzTx/>
                <a:buFont typeface="Wingdings" panose="05000000000000000000" pitchFamily="2" charset="2"/>
                <a:buChar char="ü"/>
                <a:tabLst/>
                <a:defRPr/>
              </a:pPr>
              <a:r>
                <a:rPr kumimoji="0" lang="en-US" sz="1400" b="0" i="0" u="none" strike="noStrike" kern="1200" cap="none" spc="0" normalizeH="0" baseline="0" noProof="0" dirty="0">
                  <a:ln>
                    <a:noFill/>
                  </a:ln>
                  <a:solidFill>
                    <a:srgbClr val="000000"/>
                  </a:solidFill>
                  <a:effectLst/>
                  <a:uLnTx/>
                  <a:uFillTx/>
                  <a:latin typeface="Arial"/>
                  <a:ea typeface="Times New Roman" panose="02020603050405020304" pitchFamily="18" charset="0"/>
                  <a:cs typeface="Arial"/>
                </a:rPr>
                <a:t>Wash hands frequently.</a:t>
              </a:r>
            </a:p>
          </p:txBody>
        </p:sp>
      </p:grpSp>
    </p:spTree>
    <p:extLst>
      <p:ext uri="{BB962C8B-B14F-4D97-AF65-F5344CB8AC3E}">
        <p14:creationId xmlns:p14="http://schemas.microsoft.com/office/powerpoint/2010/main" val="32996355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0187457-D883-495E-8AD2-E0F5F6CD1BDF}"/>
              </a:ext>
            </a:extLst>
          </p:cNvPr>
          <p:cNvSpPr/>
          <p:nvPr/>
        </p:nvSpPr>
        <p:spPr>
          <a:xfrm>
            <a:off x="1143000" y="1981200"/>
            <a:ext cx="9753600" cy="3416320"/>
          </a:xfrm>
          <a:prstGeom prst="rect">
            <a:avLst/>
          </a:prstGeom>
        </p:spPr>
        <p:txBody>
          <a:bodyPr wrap="square">
            <a:spAutoFit/>
          </a:bodyPr>
          <a:lstStyle/>
          <a:p>
            <a:br>
              <a:rPr lang="en-US" sz="2700" kern="0" spc="-15" dirty="0">
                <a:solidFill>
                  <a:srgbClr val="000000"/>
                </a:solidFill>
                <a:latin typeface="Calibri Light"/>
                <a:cs typeface="Calibri Light"/>
              </a:rPr>
            </a:br>
            <a:r>
              <a:rPr lang="en-US" sz="2700" kern="0" spc="-15" dirty="0">
                <a:solidFill>
                  <a:srgbClr val="000000"/>
                </a:solidFill>
                <a:latin typeface="Calibri Light"/>
                <a:cs typeface="Calibri Light"/>
              </a:rPr>
              <a:t> - Portfolio Update, Budget Advice Letters, and EE Applications</a:t>
            </a:r>
            <a:br>
              <a:rPr lang="en-US" sz="2700" kern="0" spc="-15" dirty="0">
                <a:solidFill>
                  <a:srgbClr val="000000"/>
                </a:solidFill>
                <a:latin typeface="Calibri Light"/>
                <a:cs typeface="Calibri Light"/>
              </a:rPr>
            </a:br>
            <a:r>
              <a:rPr lang="en-US" sz="2700" kern="0" spc="-15" dirty="0">
                <a:solidFill>
                  <a:srgbClr val="000000"/>
                </a:solidFill>
                <a:latin typeface="Calibri Light"/>
                <a:cs typeface="Calibri Light"/>
              </a:rPr>
              <a:t> - Total System Benefit (TSB) Goal and Impacts on Bidder Community</a:t>
            </a:r>
          </a:p>
          <a:p>
            <a:endParaRPr lang="en-US" sz="2700" kern="0" spc="-15" dirty="0">
              <a:solidFill>
                <a:srgbClr val="000000"/>
              </a:solidFill>
              <a:latin typeface="Calibri Light"/>
              <a:cs typeface="Calibri Light"/>
            </a:endParaRPr>
          </a:p>
          <a:p>
            <a:endParaRPr lang="en-US" sz="2700" kern="0" spc="-15" dirty="0">
              <a:solidFill>
                <a:srgbClr val="000000"/>
              </a:solidFill>
              <a:latin typeface="Calibri Light"/>
              <a:cs typeface="Calibri Light"/>
            </a:endParaRPr>
          </a:p>
          <a:p>
            <a:endParaRPr lang="en-US" sz="2700" kern="0" spc="-15" dirty="0">
              <a:solidFill>
                <a:srgbClr val="000000"/>
              </a:solidFill>
              <a:latin typeface="Calibri Light"/>
              <a:cs typeface="Calibri Light"/>
            </a:endParaRPr>
          </a:p>
          <a:p>
            <a:endParaRPr lang="en-US" sz="2700" kern="0" spc="-15" dirty="0">
              <a:solidFill>
                <a:srgbClr val="000000"/>
              </a:solidFill>
              <a:latin typeface="Calibri Light"/>
              <a:cs typeface="Calibri Light"/>
            </a:endParaRPr>
          </a:p>
          <a:p>
            <a:r>
              <a:rPr lang="en-US" sz="2700" kern="0" spc="-15" dirty="0">
                <a:solidFill>
                  <a:srgbClr val="000000"/>
                </a:solidFill>
                <a:latin typeface="Calibri Light"/>
                <a:cs typeface="Calibri Light"/>
              </a:rPr>
              <a:t>SCE: Brandon Sanders</a:t>
            </a:r>
            <a:endParaRPr lang="en-US" kern="0" dirty="0">
              <a:solidFill>
                <a:sysClr val="windowText" lastClr="000000"/>
              </a:solidFill>
              <a:latin typeface="Arial"/>
            </a:endParaRPr>
          </a:p>
        </p:txBody>
      </p:sp>
      <p:sp>
        <p:nvSpPr>
          <p:cNvPr id="5" name="Title 4">
            <a:extLst>
              <a:ext uri="{FF2B5EF4-FFF2-40B4-BE49-F238E27FC236}">
                <a16:creationId xmlns:a16="http://schemas.microsoft.com/office/drawing/2014/main" id="{3BBCBD77-63F3-4002-8B9E-A83E4AEB2999}"/>
              </a:ext>
            </a:extLst>
          </p:cNvPr>
          <p:cNvSpPr>
            <a:spLocks noGrp="1"/>
          </p:cNvSpPr>
          <p:nvPr>
            <p:ph type="title"/>
          </p:nvPr>
        </p:nvSpPr>
        <p:spPr>
          <a:xfrm>
            <a:off x="914400" y="381000"/>
            <a:ext cx="10515600" cy="1325563"/>
          </a:xfrm>
        </p:spPr>
        <p:txBody>
          <a:bodyPr/>
          <a:lstStyle/>
          <a:p>
            <a:r>
              <a:rPr lang="en-US" dirty="0"/>
              <a:t>SCE Update</a:t>
            </a:r>
          </a:p>
        </p:txBody>
      </p:sp>
    </p:spTree>
    <p:extLst>
      <p:ext uri="{BB962C8B-B14F-4D97-AF65-F5344CB8AC3E}">
        <p14:creationId xmlns:p14="http://schemas.microsoft.com/office/powerpoint/2010/main" val="1928445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54184748-E173-4FBE-A587-16202E63FF4F}"/>
              </a:ext>
            </a:extLst>
          </p:cNvPr>
          <p:cNvSpPr txBox="1"/>
          <p:nvPr/>
        </p:nvSpPr>
        <p:spPr>
          <a:xfrm>
            <a:off x="411162" y="1947318"/>
            <a:ext cx="6801402" cy="375552"/>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6E091CC5-143B-42A0-B88C-9AD631C64BF7}"/>
              </a:ext>
            </a:extLst>
          </p:cNvPr>
          <p:cNvSpPr/>
          <p:nvPr/>
        </p:nvSpPr>
        <p:spPr>
          <a:xfrm>
            <a:off x="914400" y="1720840"/>
            <a:ext cx="9753600" cy="3416320"/>
          </a:xfrm>
          <a:prstGeom prst="rect">
            <a:avLst/>
          </a:prstGeom>
        </p:spPr>
        <p:txBody>
          <a:bodyPr wrap="square">
            <a:spAutoFit/>
          </a:bodyPr>
          <a:lstStyle/>
          <a:p>
            <a:br>
              <a:rPr lang="en-US" sz="2700" kern="0" spc="-15" dirty="0">
                <a:solidFill>
                  <a:srgbClr val="000000"/>
                </a:solidFill>
                <a:latin typeface="Calibri Light"/>
                <a:cs typeface="Calibri Light"/>
              </a:rPr>
            </a:br>
            <a:r>
              <a:rPr lang="en-US" sz="2700" kern="0" spc="-15" dirty="0">
                <a:solidFill>
                  <a:srgbClr val="000000"/>
                </a:solidFill>
                <a:latin typeface="Calibri Light"/>
                <a:cs typeface="Calibri Light"/>
              </a:rPr>
              <a:t> - Portfolio Update, Budget Advice Letters, and EE Applications</a:t>
            </a:r>
            <a:br>
              <a:rPr lang="en-US" sz="2700" kern="0" spc="-15" dirty="0">
                <a:solidFill>
                  <a:srgbClr val="000000"/>
                </a:solidFill>
                <a:latin typeface="Calibri Light"/>
                <a:cs typeface="Calibri Light"/>
              </a:rPr>
            </a:br>
            <a:r>
              <a:rPr lang="en-US" sz="2700" kern="0" spc="-15" dirty="0">
                <a:solidFill>
                  <a:srgbClr val="000000"/>
                </a:solidFill>
                <a:latin typeface="Calibri Light"/>
                <a:cs typeface="Calibri Light"/>
              </a:rPr>
              <a:t> - Total System Benefit (TSB) Goal and Impacts on Bidder Community</a:t>
            </a:r>
          </a:p>
          <a:p>
            <a:endParaRPr lang="en-US" sz="2700" kern="0" spc="-15" dirty="0">
              <a:solidFill>
                <a:srgbClr val="000000"/>
              </a:solidFill>
              <a:latin typeface="Calibri Light"/>
              <a:cs typeface="Calibri Light"/>
            </a:endParaRPr>
          </a:p>
          <a:p>
            <a:endParaRPr lang="en-US" sz="2700" kern="0" spc="-15" dirty="0">
              <a:solidFill>
                <a:srgbClr val="000000"/>
              </a:solidFill>
              <a:latin typeface="Calibri Light"/>
              <a:cs typeface="Calibri Light"/>
            </a:endParaRPr>
          </a:p>
          <a:p>
            <a:endParaRPr lang="en-US" sz="2700" kern="0" spc="-15" dirty="0">
              <a:solidFill>
                <a:srgbClr val="000000"/>
              </a:solidFill>
              <a:latin typeface="Calibri Light"/>
              <a:cs typeface="Calibri Light"/>
            </a:endParaRPr>
          </a:p>
          <a:p>
            <a:endParaRPr lang="en-US" sz="2700" kern="0" spc="-15" dirty="0">
              <a:solidFill>
                <a:srgbClr val="000000"/>
              </a:solidFill>
              <a:latin typeface="Calibri Light"/>
              <a:cs typeface="Calibri Light"/>
            </a:endParaRPr>
          </a:p>
          <a:p>
            <a:r>
              <a:rPr lang="en-US" sz="2700" kern="0" spc="-15" dirty="0">
                <a:solidFill>
                  <a:srgbClr val="000000"/>
                </a:solidFill>
                <a:latin typeface="Calibri Light"/>
                <a:cs typeface="Calibri Light"/>
              </a:rPr>
              <a:t>SDG&amp;E: </a:t>
            </a:r>
            <a:r>
              <a:rPr lang="en-US" sz="2700" spc="-5" dirty="0">
                <a:latin typeface="Calibri Light"/>
                <a:cs typeface="Calibri Light"/>
              </a:rPr>
              <a:t>Elaine Allyn </a:t>
            </a:r>
            <a:r>
              <a:rPr lang="en-US" sz="2800" spc="-5" dirty="0">
                <a:latin typeface="Calibri Light"/>
                <a:cs typeface="Calibri Light"/>
              </a:rPr>
              <a:t>/ </a:t>
            </a:r>
            <a:r>
              <a:rPr lang="en-US" sz="2700" kern="0" spc="-15" dirty="0">
                <a:solidFill>
                  <a:srgbClr val="000000"/>
                </a:solidFill>
                <a:latin typeface="Calibri Light"/>
                <a:cs typeface="Calibri Light"/>
              </a:rPr>
              <a:t>Roland Mollen</a:t>
            </a:r>
            <a:endParaRPr lang="en-US" kern="0" dirty="0">
              <a:solidFill>
                <a:sysClr val="windowText" lastClr="000000"/>
              </a:solidFill>
              <a:latin typeface="Arial"/>
            </a:endParaRPr>
          </a:p>
        </p:txBody>
      </p:sp>
      <p:sp>
        <p:nvSpPr>
          <p:cNvPr id="11" name="Title 4">
            <a:extLst>
              <a:ext uri="{FF2B5EF4-FFF2-40B4-BE49-F238E27FC236}">
                <a16:creationId xmlns:a16="http://schemas.microsoft.com/office/drawing/2014/main" id="{693D4734-AD6C-4E70-8D82-13A16B1995DD}"/>
              </a:ext>
            </a:extLst>
          </p:cNvPr>
          <p:cNvSpPr txBox="1">
            <a:spLocks/>
          </p:cNvSpPr>
          <p:nvPr/>
        </p:nvSpPr>
        <p:spPr>
          <a:xfrm>
            <a:off x="914400" y="381000"/>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t>SDG&amp;E Update</a:t>
            </a:r>
          </a:p>
        </p:txBody>
      </p:sp>
    </p:spTree>
    <p:extLst>
      <p:ext uri="{BB962C8B-B14F-4D97-AF65-F5344CB8AC3E}">
        <p14:creationId xmlns:p14="http://schemas.microsoft.com/office/powerpoint/2010/main" val="3119205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9674860" cy="6858000"/>
          </a:xfrm>
          <a:custGeom>
            <a:avLst/>
            <a:gdLst/>
            <a:ahLst/>
            <a:cxnLst/>
            <a:rect l="l" t="t" r="r" b="b"/>
            <a:pathLst>
              <a:path w="9674860" h="6858000">
                <a:moveTo>
                  <a:pt x="0" y="6858000"/>
                </a:moveTo>
                <a:lnTo>
                  <a:pt x="9674352" y="6858000"/>
                </a:lnTo>
                <a:lnTo>
                  <a:pt x="9674352" y="0"/>
                </a:lnTo>
                <a:lnTo>
                  <a:pt x="0" y="0"/>
                </a:lnTo>
                <a:lnTo>
                  <a:pt x="0" y="6858000"/>
                </a:lnTo>
                <a:close/>
              </a:path>
            </a:pathLst>
          </a:custGeom>
          <a:solidFill>
            <a:srgbClr val="D9D9D9"/>
          </a:solidFill>
        </p:spPr>
        <p:txBody>
          <a:bodyPr wrap="square" lIns="0" tIns="0" rIns="0" bIns="0" rtlCol="0"/>
          <a:lstStyle/>
          <a:p>
            <a:endParaRPr dirty="0"/>
          </a:p>
        </p:txBody>
      </p:sp>
      <p:grpSp>
        <p:nvGrpSpPr>
          <p:cNvPr id="3" name="object 3"/>
          <p:cNvGrpSpPr/>
          <p:nvPr/>
        </p:nvGrpSpPr>
        <p:grpSpPr>
          <a:xfrm>
            <a:off x="0" y="0"/>
            <a:ext cx="12198350" cy="6861809"/>
            <a:chOff x="0" y="0"/>
            <a:chExt cx="12198350" cy="6861809"/>
          </a:xfrm>
        </p:grpSpPr>
        <p:sp>
          <p:nvSpPr>
            <p:cNvPr id="4" name="object 4"/>
            <p:cNvSpPr/>
            <p:nvPr/>
          </p:nvSpPr>
          <p:spPr>
            <a:xfrm>
              <a:off x="0" y="6027420"/>
              <a:ext cx="9685020" cy="460375"/>
            </a:xfrm>
            <a:custGeom>
              <a:avLst/>
              <a:gdLst/>
              <a:ahLst/>
              <a:cxnLst/>
              <a:rect l="l" t="t" r="r" b="b"/>
              <a:pathLst>
                <a:path w="9685020" h="460375">
                  <a:moveTo>
                    <a:pt x="9685020" y="0"/>
                  </a:moveTo>
                  <a:lnTo>
                    <a:pt x="0" y="0"/>
                  </a:lnTo>
                  <a:lnTo>
                    <a:pt x="0" y="460247"/>
                  </a:lnTo>
                  <a:lnTo>
                    <a:pt x="9685020" y="460247"/>
                  </a:lnTo>
                  <a:lnTo>
                    <a:pt x="9685020" y="0"/>
                  </a:lnTo>
                  <a:close/>
                </a:path>
              </a:pathLst>
            </a:custGeom>
            <a:solidFill>
              <a:srgbClr val="FFD046"/>
            </a:solidFill>
          </p:spPr>
          <p:txBody>
            <a:bodyPr wrap="square" lIns="0" tIns="0" rIns="0" bIns="0" rtlCol="0"/>
            <a:lstStyle/>
            <a:p>
              <a:endParaRPr dirty="0"/>
            </a:p>
          </p:txBody>
        </p:sp>
        <p:sp>
          <p:nvSpPr>
            <p:cNvPr id="5" name="object 5"/>
            <p:cNvSpPr/>
            <p:nvPr/>
          </p:nvSpPr>
          <p:spPr>
            <a:xfrm>
              <a:off x="9674352" y="0"/>
              <a:ext cx="2517775" cy="6849109"/>
            </a:xfrm>
            <a:custGeom>
              <a:avLst/>
              <a:gdLst/>
              <a:ahLst/>
              <a:cxnLst/>
              <a:rect l="l" t="t" r="r" b="b"/>
              <a:pathLst>
                <a:path w="2517775" h="6849109">
                  <a:moveTo>
                    <a:pt x="0" y="6848855"/>
                  </a:moveTo>
                  <a:lnTo>
                    <a:pt x="2517648" y="6848855"/>
                  </a:lnTo>
                  <a:lnTo>
                    <a:pt x="2517648" y="0"/>
                  </a:lnTo>
                  <a:lnTo>
                    <a:pt x="0" y="0"/>
                  </a:lnTo>
                  <a:lnTo>
                    <a:pt x="0" y="6848855"/>
                  </a:lnTo>
                  <a:close/>
                </a:path>
              </a:pathLst>
            </a:custGeom>
            <a:solidFill>
              <a:srgbClr val="FFFFFF"/>
            </a:solidFill>
          </p:spPr>
          <p:txBody>
            <a:bodyPr wrap="square" lIns="0" tIns="0" rIns="0" bIns="0" rtlCol="0"/>
            <a:lstStyle/>
            <a:p>
              <a:endParaRPr dirty="0"/>
            </a:p>
          </p:txBody>
        </p:sp>
        <p:sp>
          <p:nvSpPr>
            <p:cNvPr id="6" name="object 6"/>
            <p:cNvSpPr/>
            <p:nvPr/>
          </p:nvSpPr>
          <p:spPr>
            <a:xfrm>
              <a:off x="9674352" y="0"/>
              <a:ext cx="2517775" cy="6849109"/>
            </a:xfrm>
            <a:custGeom>
              <a:avLst/>
              <a:gdLst/>
              <a:ahLst/>
              <a:cxnLst/>
              <a:rect l="l" t="t" r="r" b="b"/>
              <a:pathLst>
                <a:path w="2517775" h="6849109">
                  <a:moveTo>
                    <a:pt x="0" y="6848855"/>
                  </a:moveTo>
                  <a:lnTo>
                    <a:pt x="2517648" y="6848855"/>
                  </a:lnTo>
                  <a:lnTo>
                    <a:pt x="2517648" y="0"/>
                  </a:lnTo>
                </a:path>
                <a:path w="2517775" h="6849109">
                  <a:moveTo>
                    <a:pt x="0" y="0"/>
                  </a:moveTo>
                  <a:lnTo>
                    <a:pt x="0" y="6848855"/>
                  </a:lnTo>
                </a:path>
              </a:pathLst>
            </a:custGeom>
            <a:ln w="12700">
              <a:solidFill>
                <a:srgbClr val="FFFFFF"/>
              </a:solidFill>
            </a:ln>
          </p:spPr>
          <p:txBody>
            <a:bodyPr wrap="square" lIns="0" tIns="0" rIns="0" bIns="0" rtlCol="0"/>
            <a:lstStyle/>
            <a:p>
              <a:endParaRPr dirty="0"/>
            </a:p>
          </p:txBody>
        </p:sp>
      </p:grpSp>
      <p:sp>
        <p:nvSpPr>
          <p:cNvPr id="7" name="object 7"/>
          <p:cNvSpPr txBox="1">
            <a:spLocks noGrp="1"/>
          </p:cNvSpPr>
          <p:nvPr>
            <p:ph type="title"/>
          </p:nvPr>
        </p:nvSpPr>
        <p:spPr>
          <a:xfrm>
            <a:off x="303276" y="973580"/>
            <a:ext cx="9067800" cy="1689886"/>
          </a:xfrm>
          <a:prstGeom prst="rect">
            <a:avLst/>
          </a:prstGeom>
        </p:spPr>
        <p:txBody>
          <a:bodyPr vert="horz" wrap="square" lIns="0" tIns="81280" rIns="0" bIns="0" rtlCol="0">
            <a:spAutoFit/>
          </a:bodyPr>
          <a:lstStyle/>
          <a:p>
            <a:pPr marL="12700" marR="5715">
              <a:lnSpc>
                <a:spcPts val="4320"/>
              </a:lnSpc>
              <a:spcBef>
                <a:spcPts val="640"/>
              </a:spcBef>
            </a:pPr>
            <a:r>
              <a:rPr lang="en-US" sz="2700" b="1" spc="-10" dirty="0">
                <a:solidFill>
                  <a:srgbClr val="000000"/>
                </a:solidFill>
                <a:latin typeface="Calibri Light"/>
                <a:cs typeface="Calibri Light"/>
              </a:rPr>
              <a:t>Topic 2 - </a:t>
            </a:r>
            <a:r>
              <a:rPr sz="2700" b="1" spc="-10" dirty="0">
                <a:solidFill>
                  <a:srgbClr val="000000"/>
                </a:solidFill>
                <a:latin typeface="Calibri Light"/>
                <a:cs typeface="Calibri Light"/>
              </a:rPr>
              <a:t>Independent </a:t>
            </a:r>
            <a:r>
              <a:rPr sz="2700" b="1" spc="-30" dirty="0">
                <a:solidFill>
                  <a:srgbClr val="000000"/>
                </a:solidFill>
                <a:latin typeface="Calibri Light"/>
                <a:cs typeface="Calibri Light"/>
              </a:rPr>
              <a:t>Evaluator</a:t>
            </a:r>
            <a:r>
              <a:rPr lang="en-US" sz="2700" b="1" spc="-30" dirty="0">
                <a:solidFill>
                  <a:srgbClr val="000000"/>
                </a:solidFill>
                <a:latin typeface="Calibri Light"/>
                <a:cs typeface="Calibri Light"/>
              </a:rPr>
              <a:t>s’</a:t>
            </a:r>
            <a:r>
              <a:rPr sz="2700" b="1" spc="-30" dirty="0">
                <a:solidFill>
                  <a:srgbClr val="000000"/>
                </a:solidFill>
                <a:latin typeface="Calibri Light"/>
                <a:cs typeface="Calibri Light"/>
              </a:rPr>
              <a:t> </a:t>
            </a:r>
            <a:r>
              <a:rPr sz="2700" b="1" dirty="0">
                <a:solidFill>
                  <a:srgbClr val="000000"/>
                </a:solidFill>
                <a:latin typeface="Calibri Light"/>
                <a:cs typeface="Calibri Light"/>
              </a:rPr>
              <a:t>Semi- </a:t>
            </a:r>
            <a:r>
              <a:rPr sz="2700" b="1" spc="-890" dirty="0">
                <a:solidFill>
                  <a:srgbClr val="000000"/>
                </a:solidFill>
                <a:latin typeface="Calibri Light"/>
                <a:cs typeface="Calibri Light"/>
              </a:rPr>
              <a:t> </a:t>
            </a:r>
            <a:r>
              <a:rPr sz="2700" b="1" spc="-5" dirty="0">
                <a:solidFill>
                  <a:srgbClr val="000000"/>
                </a:solidFill>
                <a:latin typeface="Calibri Light"/>
                <a:cs typeface="Calibri Light"/>
              </a:rPr>
              <a:t>Annual</a:t>
            </a:r>
            <a:r>
              <a:rPr sz="2700" b="1" spc="-30" dirty="0">
                <a:solidFill>
                  <a:srgbClr val="000000"/>
                </a:solidFill>
                <a:latin typeface="Calibri Light"/>
                <a:cs typeface="Calibri Light"/>
              </a:rPr>
              <a:t> </a:t>
            </a:r>
            <a:r>
              <a:rPr sz="2700" b="1" spc="-20" dirty="0">
                <a:solidFill>
                  <a:srgbClr val="000000"/>
                </a:solidFill>
                <a:latin typeface="Calibri Light"/>
                <a:cs typeface="Calibri Light"/>
              </a:rPr>
              <a:t>Reports</a:t>
            </a:r>
            <a:br>
              <a:rPr lang="en-US" sz="2700" b="0" spc="-20" dirty="0">
                <a:solidFill>
                  <a:srgbClr val="000000"/>
                </a:solidFill>
                <a:latin typeface="Calibri Light"/>
                <a:cs typeface="Calibri Light"/>
              </a:rPr>
            </a:br>
            <a:r>
              <a:rPr lang="en-US" sz="2700" b="0" spc="-20" dirty="0">
                <a:solidFill>
                  <a:srgbClr val="000000"/>
                </a:solidFill>
                <a:latin typeface="Calibri Light"/>
                <a:cs typeface="Calibri Light"/>
              </a:rPr>
              <a:t>- IE Update</a:t>
            </a:r>
            <a:br>
              <a:rPr lang="en-US" sz="2700" b="0" spc="-20" dirty="0">
                <a:solidFill>
                  <a:srgbClr val="000000"/>
                </a:solidFill>
                <a:latin typeface="Calibri Light"/>
                <a:cs typeface="Calibri Light"/>
              </a:rPr>
            </a:br>
            <a:r>
              <a:rPr lang="en-US" sz="2700" b="0" spc="-20" dirty="0">
                <a:solidFill>
                  <a:srgbClr val="000000"/>
                </a:solidFill>
                <a:latin typeface="Calibri Light"/>
                <a:cs typeface="Calibri Light"/>
              </a:rPr>
              <a:t>- Redactions to the Semi-Annual Reports Before Made Public</a:t>
            </a:r>
            <a:endParaRPr sz="2700" dirty="0">
              <a:latin typeface="Calibri Light"/>
              <a:cs typeface="Calibri Light"/>
            </a:endParaRPr>
          </a:p>
        </p:txBody>
      </p:sp>
      <p:sp>
        <p:nvSpPr>
          <p:cNvPr id="8" name="object 8"/>
          <p:cNvSpPr txBox="1"/>
          <p:nvPr/>
        </p:nvSpPr>
        <p:spPr>
          <a:xfrm>
            <a:off x="685800" y="4194534"/>
            <a:ext cx="5029200" cy="1910779"/>
          </a:xfrm>
          <a:prstGeom prst="rect">
            <a:avLst/>
          </a:prstGeom>
        </p:spPr>
        <p:txBody>
          <a:bodyPr vert="horz" wrap="square" lIns="0" tIns="12700" rIns="0" bIns="0" rtlCol="0">
            <a:spAutoFit/>
          </a:bodyPr>
          <a:lstStyle/>
          <a:p>
            <a:pPr marL="12700">
              <a:lnSpc>
                <a:spcPct val="100000"/>
              </a:lnSpc>
              <a:spcBef>
                <a:spcPts val="100"/>
              </a:spcBef>
            </a:pPr>
            <a:r>
              <a:rPr lang="en-US" sz="2000" b="1" spc="-10" dirty="0">
                <a:latin typeface="Calibri Light"/>
                <a:cs typeface="Calibri Light"/>
              </a:rPr>
              <a:t>8:35am – 8:55am</a:t>
            </a:r>
          </a:p>
          <a:p>
            <a:pPr marL="12700">
              <a:lnSpc>
                <a:spcPct val="100000"/>
              </a:lnSpc>
              <a:spcBef>
                <a:spcPts val="100"/>
              </a:spcBef>
            </a:pPr>
            <a:endParaRPr lang="en-US" sz="2000" spc="-10" dirty="0">
              <a:latin typeface="Calibri Light"/>
              <a:cs typeface="Calibri Light"/>
            </a:endParaRPr>
          </a:p>
          <a:p>
            <a:pPr marL="12700">
              <a:lnSpc>
                <a:spcPct val="100000"/>
              </a:lnSpc>
              <a:spcBef>
                <a:spcPts val="100"/>
              </a:spcBef>
            </a:pPr>
            <a:r>
              <a:rPr lang="en-US" sz="2000" b="0" spc="-10" dirty="0">
                <a:latin typeface="Calibri Light"/>
                <a:cs typeface="Calibri Light"/>
              </a:rPr>
              <a:t>Independent Evaluators:</a:t>
            </a:r>
          </a:p>
          <a:p>
            <a:pPr marL="469900" lvl="1">
              <a:spcBef>
                <a:spcPts val="100"/>
              </a:spcBef>
            </a:pPr>
            <a:r>
              <a:rPr lang="en-US" sz="2000" b="0" spc="-10" dirty="0">
                <a:latin typeface="Calibri Light"/>
                <a:cs typeface="Calibri Light"/>
              </a:rPr>
              <a:t>Elizabeth Lowe</a:t>
            </a:r>
          </a:p>
          <a:p>
            <a:pPr marL="469900" lvl="1">
              <a:spcBef>
                <a:spcPts val="100"/>
              </a:spcBef>
            </a:pPr>
            <a:r>
              <a:rPr lang="en-US" sz="2000" spc="-10" dirty="0">
                <a:latin typeface="Calibri Light"/>
                <a:cs typeface="Calibri Light"/>
              </a:rPr>
              <a:t>Don Arambula</a:t>
            </a:r>
            <a:endParaRPr sz="2000" dirty="0">
              <a:latin typeface="Calibri Light"/>
              <a:cs typeface="Calibri Light"/>
            </a:endParaRPr>
          </a:p>
          <a:p>
            <a:pPr>
              <a:lnSpc>
                <a:spcPct val="100000"/>
              </a:lnSpc>
              <a:spcBef>
                <a:spcPts val="15"/>
              </a:spcBef>
            </a:pPr>
            <a:endParaRPr lang="en-US" sz="2000" dirty="0">
              <a:latin typeface="Calibri Light"/>
              <a:cs typeface="Calibri Light"/>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7B187D-FDB2-44B9-B2AF-67D56439A285}"/>
              </a:ext>
            </a:extLst>
          </p:cNvPr>
          <p:cNvSpPr>
            <a:spLocks noGrp="1"/>
          </p:cNvSpPr>
          <p:nvPr>
            <p:ph type="ctrTitle"/>
          </p:nvPr>
        </p:nvSpPr>
        <p:spPr/>
        <p:txBody>
          <a:bodyPr>
            <a:normAutofit/>
          </a:bodyPr>
          <a:lstStyle/>
          <a:p>
            <a:r>
              <a:rPr lang="en-US" dirty="0"/>
              <a:t>Independent Evaluators’</a:t>
            </a:r>
            <a:br>
              <a:rPr lang="en-US" dirty="0"/>
            </a:br>
            <a:r>
              <a:rPr lang="en-US" dirty="0"/>
              <a:t>observations</a:t>
            </a:r>
          </a:p>
        </p:txBody>
      </p:sp>
      <p:sp>
        <p:nvSpPr>
          <p:cNvPr id="3" name="Subtitle 2">
            <a:extLst>
              <a:ext uri="{FF2B5EF4-FFF2-40B4-BE49-F238E27FC236}">
                <a16:creationId xmlns:a16="http://schemas.microsoft.com/office/drawing/2014/main" id="{5DBD25BB-4C8A-4F66-83CD-C0736B9A0B4B}"/>
              </a:ext>
            </a:extLst>
          </p:cNvPr>
          <p:cNvSpPr>
            <a:spLocks noGrp="1"/>
          </p:cNvSpPr>
          <p:nvPr>
            <p:ph type="subTitle" idx="1"/>
          </p:nvPr>
        </p:nvSpPr>
        <p:spPr>
          <a:xfrm>
            <a:off x="1709530" y="3883282"/>
            <a:ext cx="8767860" cy="1388165"/>
          </a:xfrm>
        </p:spPr>
        <p:txBody>
          <a:bodyPr/>
          <a:lstStyle/>
          <a:p>
            <a:r>
              <a:rPr lang="en-US" dirty="0">
                <a:solidFill>
                  <a:schemeClr val="bg1"/>
                </a:solidFill>
              </a:rPr>
              <a:t>July 28, 2021</a:t>
            </a:r>
          </a:p>
        </p:txBody>
      </p:sp>
      <p:sp>
        <p:nvSpPr>
          <p:cNvPr id="7" name="Title 1">
            <a:extLst>
              <a:ext uri="{FF2B5EF4-FFF2-40B4-BE49-F238E27FC236}">
                <a16:creationId xmlns:a16="http://schemas.microsoft.com/office/drawing/2014/main" id="{5948BE75-B505-4C4D-A07B-21F4AEE3CCBC}"/>
              </a:ext>
            </a:extLst>
          </p:cNvPr>
          <p:cNvSpPr txBox="1">
            <a:spLocks/>
          </p:cNvSpPr>
          <p:nvPr/>
        </p:nvSpPr>
        <p:spPr>
          <a:xfrm>
            <a:off x="1079636" y="4275438"/>
            <a:ext cx="9966960" cy="2212059"/>
          </a:xfrm>
          <a:prstGeom prst="rect">
            <a:avLst/>
          </a:prstGeom>
        </p:spPr>
        <p:txBody>
          <a:bodyPr vert="horz" lIns="91440" tIns="45720" rIns="91440" bIns="45720" rtlCol="0" anchor="b">
            <a:normAutofit fontScale="97500"/>
          </a:bodyPr>
          <a:lstStyle>
            <a:lvl1pPr algn="ctr" defTabSz="914400" rtl="0" eaLnBrk="1" latinLnBrk="0" hangingPunct="1">
              <a:lnSpc>
                <a:spcPct val="85000"/>
              </a:lnSpc>
              <a:spcBef>
                <a:spcPct val="0"/>
              </a:spcBef>
              <a:buNone/>
              <a:defRPr sz="7200" b="1" kern="1200" cap="all" baseline="0">
                <a:solidFill>
                  <a:schemeClr val="tx2"/>
                </a:solidFill>
                <a:latin typeface="+mj-lt"/>
                <a:ea typeface="+mj-ea"/>
                <a:cs typeface="+mj-cs"/>
              </a:defRPr>
            </a:lvl1pPr>
          </a:lstStyle>
          <a:p>
            <a:pPr marL="0" marR="0" lvl="0" indent="0" algn="ctr" defTabSz="914400" rtl="0" eaLnBrk="1" fontAlgn="auto" latinLnBrk="0" hangingPunct="1">
              <a:lnSpc>
                <a:spcPct val="85000"/>
              </a:lnSpc>
              <a:spcBef>
                <a:spcPct val="0"/>
              </a:spcBef>
              <a:spcAft>
                <a:spcPts val="0"/>
              </a:spcAft>
              <a:buClrTx/>
              <a:buSzTx/>
              <a:buFontTx/>
              <a:buNone/>
              <a:tabLst/>
              <a:defRPr/>
            </a:pPr>
            <a:endParaRPr kumimoji="0" lang="en-US" sz="2100" b="1" i="0" u="none" strike="noStrike" kern="1200" cap="all" spc="0" normalizeH="0" baseline="0" noProof="0" dirty="0">
              <a:ln>
                <a:noFill/>
              </a:ln>
              <a:solidFill>
                <a:srgbClr val="565349"/>
              </a:solidFill>
              <a:effectLst/>
              <a:uLnTx/>
              <a:uFillTx/>
              <a:latin typeface="Corbel" panose="020B0503020204020204"/>
              <a:ea typeface="+mj-ea"/>
              <a:cs typeface="+mj-cs"/>
            </a:endParaRPr>
          </a:p>
          <a:p>
            <a:pPr marL="0" marR="0" lvl="0" indent="0" algn="ctr" defTabSz="914400" rtl="0" eaLnBrk="1" fontAlgn="auto" latinLnBrk="0" hangingPunct="1">
              <a:lnSpc>
                <a:spcPct val="85000"/>
              </a:lnSpc>
              <a:spcBef>
                <a:spcPct val="0"/>
              </a:spcBef>
              <a:spcAft>
                <a:spcPts val="0"/>
              </a:spcAft>
              <a:buClrTx/>
              <a:buSzTx/>
              <a:buFontTx/>
              <a:buNone/>
              <a:tabLst/>
              <a:defRPr/>
            </a:pPr>
            <a:r>
              <a:rPr kumimoji="0" lang="en-US" sz="2100" b="1" i="0" u="none" strike="noStrike" kern="1200" cap="all" spc="0" normalizeH="0" baseline="0" noProof="0" dirty="0">
                <a:ln>
                  <a:noFill/>
                </a:ln>
                <a:solidFill>
                  <a:srgbClr val="565349"/>
                </a:solidFill>
                <a:effectLst/>
                <a:uLnTx/>
                <a:uFillTx/>
                <a:latin typeface="Corbel" panose="020B0503020204020204"/>
                <a:ea typeface="+mj-ea"/>
                <a:cs typeface="+mj-cs"/>
              </a:rPr>
              <a:t>Apex ANALYTICS</a:t>
            </a:r>
          </a:p>
          <a:p>
            <a:pPr marL="0" marR="0" lvl="0" indent="0" algn="ctr" defTabSz="914400" rtl="0" eaLnBrk="1" fontAlgn="auto" latinLnBrk="0" hangingPunct="1">
              <a:lnSpc>
                <a:spcPct val="85000"/>
              </a:lnSpc>
              <a:spcBef>
                <a:spcPct val="0"/>
              </a:spcBef>
              <a:spcAft>
                <a:spcPts val="0"/>
              </a:spcAft>
              <a:buClrTx/>
              <a:buSzTx/>
              <a:buFontTx/>
              <a:buNone/>
              <a:tabLst/>
              <a:defRPr/>
            </a:pPr>
            <a:r>
              <a:rPr kumimoji="0" lang="en-US" sz="2100" b="1" i="0" u="none" strike="noStrike" kern="1200" cap="all" spc="0" normalizeH="0" baseline="0" noProof="0" dirty="0">
                <a:ln>
                  <a:noFill/>
                </a:ln>
                <a:solidFill>
                  <a:srgbClr val="565349"/>
                </a:solidFill>
                <a:effectLst/>
                <a:uLnTx/>
                <a:uFillTx/>
                <a:latin typeface="Corbel" panose="020B0503020204020204"/>
                <a:ea typeface="+mj-ea"/>
                <a:cs typeface="+mj-cs"/>
              </a:rPr>
              <a:t>Barakat consulting, Inc.</a:t>
            </a:r>
          </a:p>
          <a:p>
            <a:pPr marL="0" marR="0" lvl="0" indent="0" algn="ctr" defTabSz="914400" rtl="0" eaLnBrk="1" fontAlgn="auto" latinLnBrk="0" hangingPunct="1">
              <a:lnSpc>
                <a:spcPct val="85000"/>
              </a:lnSpc>
              <a:spcBef>
                <a:spcPct val="0"/>
              </a:spcBef>
              <a:spcAft>
                <a:spcPts val="0"/>
              </a:spcAft>
              <a:buClrTx/>
              <a:buSzTx/>
              <a:buFontTx/>
              <a:buNone/>
              <a:tabLst/>
              <a:defRPr/>
            </a:pPr>
            <a:r>
              <a:rPr kumimoji="0" lang="en-US" sz="2100" b="1" i="0" u="none" strike="noStrike" kern="1200" cap="all" spc="0" normalizeH="0" baseline="0" noProof="0" dirty="0">
                <a:ln>
                  <a:noFill/>
                </a:ln>
                <a:solidFill>
                  <a:srgbClr val="565349"/>
                </a:solidFill>
                <a:effectLst/>
                <a:uLnTx/>
                <a:uFillTx/>
                <a:latin typeface="Corbel" panose="020B0503020204020204"/>
                <a:ea typeface="+mj-ea"/>
                <a:cs typeface="+mj-cs"/>
              </a:rPr>
              <a:t>Don Arambula Consulting</a:t>
            </a:r>
          </a:p>
          <a:p>
            <a:pPr marL="0" marR="0" lvl="0" indent="0" algn="ctr" defTabSz="914400" rtl="0" eaLnBrk="1" fontAlgn="auto" latinLnBrk="0" hangingPunct="1">
              <a:lnSpc>
                <a:spcPct val="85000"/>
              </a:lnSpc>
              <a:spcBef>
                <a:spcPct val="0"/>
              </a:spcBef>
              <a:spcAft>
                <a:spcPts val="0"/>
              </a:spcAft>
              <a:buClrTx/>
              <a:buSzTx/>
              <a:buFontTx/>
              <a:buNone/>
              <a:tabLst/>
              <a:defRPr/>
            </a:pPr>
            <a:r>
              <a:rPr kumimoji="0" lang="en-US" sz="2100" b="1" i="0" u="none" strike="noStrike" kern="1200" cap="all" spc="0" normalizeH="0" baseline="0" noProof="0" dirty="0">
                <a:ln>
                  <a:noFill/>
                </a:ln>
                <a:solidFill>
                  <a:srgbClr val="565349"/>
                </a:solidFill>
                <a:effectLst/>
                <a:uLnTx/>
                <a:uFillTx/>
                <a:latin typeface="Corbel" panose="020B0503020204020204"/>
                <a:ea typeface="+mj-ea"/>
                <a:cs typeface="+mj-cs"/>
              </a:rPr>
              <a:t>EAJ Energy advisors</a:t>
            </a:r>
          </a:p>
          <a:p>
            <a:pPr marL="0" marR="0" lvl="0" indent="0" algn="ctr" defTabSz="914400" rtl="0" eaLnBrk="1" fontAlgn="auto" latinLnBrk="0" hangingPunct="1">
              <a:lnSpc>
                <a:spcPct val="85000"/>
              </a:lnSpc>
              <a:spcBef>
                <a:spcPct val="0"/>
              </a:spcBef>
              <a:spcAft>
                <a:spcPts val="0"/>
              </a:spcAft>
              <a:buClrTx/>
              <a:buSzTx/>
              <a:buFontTx/>
              <a:buNone/>
              <a:tabLst/>
              <a:defRPr/>
            </a:pPr>
            <a:r>
              <a:rPr kumimoji="0" lang="en-US" sz="2100" b="1" i="0" u="none" strike="noStrike" kern="1200" cap="all" spc="0" normalizeH="0" baseline="0" noProof="0" dirty="0">
                <a:ln>
                  <a:noFill/>
                </a:ln>
                <a:solidFill>
                  <a:srgbClr val="565349"/>
                </a:solidFill>
                <a:effectLst/>
                <a:uLnTx/>
                <a:uFillTx/>
                <a:latin typeface="Corbel" panose="020B0503020204020204"/>
                <a:ea typeface="+mj-ea"/>
                <a:cs typeface="+mj-cs"/>
              </a:rPr>
              <a:t>Great Work Energy</a:t>
            </a:r>
          </a:p>
          <a:p>
            <a:pPr marL="0" marR="0" lvl="0" indent="0" algn="ctr" defTabSz="914400" rtl="0" eaLnBrk="1" fontAlgn="auto" latinLnBrk="0" hangingPunct="1">
              <a:lnSpc>
                <a:spcPct val="85000"/>
              </a:lnSpc>
              <a:spcBef>
                <a:spcPct val="0"/>
              </a:spcBef>
              <a:spcAft>
                <a:spcPts val="0"/>
              </a:spcAft>
              <a:buClrTx/>
              <a:buSzTx/>
              <a:buFontTx/>
              <a:buNone/>
              <a:tabLst/>
              <a:defRPr/>
            </a:pPr>
            <a:r>
              <a:rPr kumimoji="0" lang="en-US" sz="2100" b="1" i="0" u="none" strike="noStrike" kern="1200" cap="all" spc="0" normalizeH="0" baseline="0" noProof="0" dirty="0">
                <a:ln>
                  <a:noFill/>
                </a:ln>
                <a:solidFill>
                  <a:srgbClr val="565349"/>
                </a:solidFill>
                <a:effectLst/>
                <a:uLnTx/>
                <a:uFillTx/>
                <a:latin typeface="Corbel" panose="020B0503020204020204"/>
                <a:ea typeface="+mj-ea"/>
                <a:cs typeface="+mj-cs"/>
              </a:rPr>
              <a:t>MCR Corporate Services</a:t>
            </a:r>
          </a:p>
          <a:p>
            <a:pPr marL="0" marR="0" lvl="0" indent="0" algn="ctr" defTabSz="914400" rtl="0" eaLnBrk="1" fontAlgn="auto" latinLnBrk="0" hangingPunct="1">
              <a:lnSpc>
                <a:spcPct val="85000"/>
              </a:lnSpc>
              <a:spcBef>
                <a:spcPct val="0"/>
              </a:spcBef>
              <a:spcAft>
                <a:spcPts val="0"/>
              </a:spcAft>
              <a:buClrTx/>
              <a:buSzTx/>
              <a:buFontTx/>
              <a:buNone/>
              <a:tabLst/>
              <a:defRPr/>
            </a:pPr>
            <a:r>
              <a:rPr kumimoji="0" lang="en-US" sz="2100" b="1" i="0" u="none" strike="noStrike" kern="1200" cap="all" spc="0" normalizeH="0" baseline="0" noProof="0" dirty="0">
                <a:ln>
                  <a:noFill/>
                </a:ln>
                <a:solidFill>
                  <a:srgbClr val="565349"/>
                </a:solidFill>
                <a:effectLst/>
                <a:uLnTx/>
                <a:uFillTx/>
                <a:latin typeface="Corbel" panose="020B0503020204020204"/>
                <a:ea typeface="+mj-ea"/>
                <a:cs typeface="+mj-cs"/>
              </a:rPr>
              <a:t>THE Mendota Group, LLC</a:t>
            </a:r>
          </a:p>
          <a:p>
            <a:pPr marL="0" marR="0" lvl="0" indent="0" algn="ctr" defTabSz="914400" rtl="0" eaLnBrk="1" fontAlgn="auto" latinLnBrk="0" hangingPunct="1">
              <a:lnSpc>
                <a:spcPct val="85000"/>
              </a:lnSpc>
              <a:spcBef>
                <a:spcPct val="0"/>
              </a:spcBef>
              <a:spcAft>
                <a:spcPts val="0"/>
              </a:spcAft>
              <a:buClrTx/>
              <a:buSzTx/>
              <a:buFontTx/>
              <a:buNone/>
              <a:tabLst/>
              <a:defRPr/>
            </a:pPr>
            <a:endParaRPr kumimoji="0" lang="en-US" sz="2100" b="1" i="0" u="none" strike="noStrike" kern="1200" cap="all" spc="0" normalizeH="0" baseline="0" noProof="0" dirty="0">
              <a:ln>
                <a:noFill/>
              </a:ln>
              <a:solidFill>
                <a:srgbClr val="565349"/>
              </a:solidFill>
              <a:effectLst/>
              <a:uLnTx/>
              <a:uFillTx/>
              <a:latin typeface="Corbel" panose="020B0503020204020204"/>
              <a:ea typeface="+mj-ea"/>
              <a:cs typeface="+mj-cs"/>
            </a:endParaRPr>
          </a:p>
        </p:txBody>
      </p:sp>
    </p:spTree>
    <p:extLst>
      <p:ext uri="{BB962C8B-B14F-4D97-AF65-F5344CB8AC3E}">
        <p14:creationId xmlns:p14="http://schemas.microsoft.com/office/powerpoint/2010/main" val="38168638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79CBD3C9-4E66-426D-948E-7CF4778107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31140" y="243840"/>
            <a:ext cx="11724640" cy="6377939"/>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29" name="Rectangle 28">
            <a:extLst>
              <a:ext uri="{FF2B5EF4-FFF2-40B4-BE49-F238E27FC236}">
                <a16:creationId xmlns:a16="http://schemas.microsoft.com/office/drawing/2014/main" id="{DDB95FCF-AD96-482F-9FB8-CD95725E6EF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31140" y="243840"/>
            <a:ext cx="11724640" cy="6377939"/>
          </a:xfrm>
          <a:prstGeom prst="rect">
            <a:avLst/>
          </a:prstGeom>
          <a:solidFill>
            <a:schemeClr val="accent1"/>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sp>
      <p:cxnSp>
        <p:nvCxnSpPr>
          <p:cNvPr id="31" name="Straight Connector 30">
            <a:extLst>
              <a:ext uri="{FF2B5EF4-FFF2-40B4-BE49-F238E27FC236}">
                <a16:creationId xmlns:a16="http://schemas.microsoft.com/office/drawing/2014/main" id="{64EEEC00-AD80-4734-BEE6-04CBDEC830C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978660" y="3733800"/>
            <a:ext cx="822960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C6896D1-BFB1-4C84-82DD-31073BED3F0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978660" y="5462458"/>
            <a:ext cx="822960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B704BEC-D7D6-4233-8BA1-6046BEA78143}"/>
              </a:ext>
            </a:extLst>
          </p:cNvPr>
          <p:cNvSpPr>
            <a:spLocks noGrp="1"/>
          </p:cNvSpPr>
          <p:nvPr>
            <p:ph type="title"/>
          </p:nvPr>
        </p:nvSpPr>
        <p:spPr>
          <a:xfrm>
            <a:off x="1109980" y="4208424"/>
            <a:ext cx="9966960" cy="1325880"/>
          </a:xfrm>
        </p:spPr>
        <p:txBody>
          <a:bodyPr vert="horz" lIns="91440" tIns="45720" rIns="91440" bIns="45720" rtlCol="0" anchor="b">
            <a:normAutofit/>
          </a:bodyPr>
          <a:lstStyle/>
          <a:p>
            <a:r>
              <a:rPr lang="en-US" sz="6600" b="1" dirty="0">
                <a:solidFill>
                  <a:srgbClr val="FFFFFF"/>
                </a:solidFill>
              </a:rPr>
              <a:t>Observations </a:t>
            </a:r>
          </a:p>
        </p:txBody>
      </p:sp>
      <p:sp>
        <p:nvSpPr>
          <p:cNvPr id="3" name="Text Placeholder 2">
            <a:extLst>
              <a:ext uri="{FF2B5EF4-FFF2-40B4-BE49-F238E27FC236}">
                <a16:creationId xmlns:a16="http://schemas.microsoft.com/office/drawing/2014/main" id="{FA2A1DC1-E997-4EC7-A804-3043456A362B}"/>
              </a:ext>
            </a:extLst>
          </p:cNvPr>
          <p:cNvSpPr>
            <a:spLocks noGrp="1"/>
          </p:cNvSpPr>
          <p:nvPr>
            <p:ph type="body" idx="1"/>
          </p:nvPr>
        </p:nvSpPr>
        <p:spPr>
          <a:xfrm>
            <a:off x="1709530" y="5598293"/>
            <a:ext cx="8767860" cy="553690"/>
          </a:xfrm>
        </p:spPr>
        <p:txBody>
          <a:bodyPr vert="horz" lIns="91440" tIns="45720" rIns="91440" bIns="45720" rtlCol="0">
            <a:normAutofit/>
          </a:bodyPr>
          <a:lstStyle/>
          <a:p>
            <a:r>
              <a:rPr lang="en-US" sz="1600" dirty="0">
                <a:solidFill>
                  <a:srgbClr val="FFFFFF"/>
                </a:solidFill>
              </a:rPr>
              <a:t>Note: These Observations are based on what was observed and reported on during the October 2020- March 2021</a:t>
            </a:r>
            <a:r>
              <a:rPr lang="en-US" sz="1600" dirty="0">
                <a:solidFill>
                  <a:srgbClr val="FF0000"/>
                </a:solidFill>
              </a:rPr>
              <a:t> </a:t>
            </a:r>
            <a:r>
              <a:rPr lang="en-US" sz="1600" dirty="0">
                <a:solidFill>
                  <a:srgbClr val="FFFFFF"/>
                </a:solidFill>
              </a:rPr>
              <a:t>Reporting Timeframe</a:t>
            </a:r>
          </a:p>
        </p:txBody>
      </p:sp>
      <p:sp>
        <p:nvSpPr>
          <p:cNvPr id="35" name="Rectangle 34">
            <a:extLst>
              <a:ext uri="{FF2B5EF4-FFF2-40B4-BE49-F238E27FC236}">
                <a16:creationId xmlns:a16="http://schemas.microsoft.com/office/drawing/2014/main" id="{8A2FDFB1-2B6D-49EB-B6C0-FA923806E0A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31140" y="243841"/>
            <a:ext cx="11722100" cy="3964584"/>
          </a:xfrm>
          <a:prstGeom prst="rect">
            <a:avLst/>
          </a:prstGeom>
          <a:solidFill>
            <a:schemeClr val="bg1"/>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sp>
      <p:pic>
        <p:nvPicPr>
          <p:cNvPr id="24" name="Graphic 23" descr="Eyes with solid fill">
            <a:extLst>
              <a:ext uri="{FF2B5EF4-FFF2-40B4-BE49-F238E27FC236}">
                <a16:creationId xmlns:a16="http://schemas.microsoft.com/office/drawing/2014/main" id="{03D9F6B2-2DCF-4BEC-B3C9-07BADF93EA1E}"/>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578531" y="714824"/>
            <a:ext cx="3027316" cy="3027316"/>
          </a:xfrm>
          <a:prstGeom prst="rect">
            <a:avLst/>
          </a:prstGeom>
        </p:spPr>
      </p:pic>
      <p:sp>
        <p:nvSpPr>
          <p:cNvPr id="4" name="Footer Placeholder 3">
            <a:extLst>
              <a:ext uri="{FF2B5EF4-FFF2-40B4-BE49-F238E27FC236}">
                <a16:creationId xmlns:a16="http://schemas.microsoft.com/office/drawing/2014/main" id="{ABB0C7F6-5B8A-416F-B23F-A902DA693701}"/>
              </a:ext>
            </a:extLst>
          </p:cNvPr>
          <p:cNvSpPr>
            <a:spLocks noGrp="1"/>
          </p:cNvSpPr>
          <p:nvPr>
            <p:ph type="ftr" sz="quarter" idx="11"/>
          </p:nvPr>
        </p:nvSpPr>
        <p:spPr>
          <a:xfrm>
            <a:off x="3949148" y="6223828"/>
            <a:ext cx="4717774" cy="365125"/>
          </a:xfrm>
        </p:spPr>
        <p:txBody>
          <a:bodyPr vert="horz" lIns="91440" tIns="45720" rIns="91440" bIns="45720" rtlCol="0"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orbel" panose="020B0503020204020204"/>
                <a:ea typeface="+mn-ea"/>
                <a:cs typeface="+mn-cs"/>
              </a:rPr>
              <a:t>Semi-Annual Report: July 28 , 2021 Stakeholder Meeting</a:t>
            </a:r>
          </a:p>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orbel" panose="020B0503020204020204"/>
              <a:ea typeface="+mn-ea"/>
              <a:cs typeface="+mn-cs"/>
            </a:endParaRPr>
          </a:p>
        </p:txBody>
      </p:sp>
      <p:sp>
        <p:nvSpPr>
          <p:cNvPr id="5" name="Slide Number Placeholder 4">
            <a:extLst>
              <a:ext uri="{FF2B5EF4-FFF2-40B4-BE49-F238E27FC236}">
                <a16:creationId xmlns:a16="http://schemas.microsoft.com/office/drawing/2014/main" id="{DD8BE81C-9C36-4FFF-9613-DC887B1722D5}"/>
              </a:ext>
            </a:extLst>
          </p:cNvPr>
          <p:cNvSpPr>
            <a:spLocks noGrp="1"/>
          </p:cNvSpPr>
          <p:nvPr>
            <p:ph type="sldNum" sz="quarter" idx="12"/>
          </p:nvPr>
        </p:nvSpPr>
        <p:spPr>
          <a:xfrm>
            <a:off x="9329530" y="6223828"/>
            <a:ext cx="1706217"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BF51FD3E-87FA-4BB9-8479-893262DE1709}" type="slidenum">
              <a:rPr kumimoji="0" lang="en-US" sz="1200" b="0" i="0" u="none" strike="noStrike" kern="1200" cap="none" spc="0" normalizeH="0" baseline="0" noProof="0">
                <a:ln>
                  <a:noFill/>
                </a:ln>
                <a:solidFill>
                  <a:srgbClr val="FFFFFF"/>
                </a:solidFill>
                <a:effectLst/>
                <a:uLnTx/>
                <a:uFillTx/>
                <a:latin typeface="Corbel" panose="020B050302020402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4</a:t>
            </a:fld>
            <a:endParaRPr kumimoji="0" lang="en-US" sz="1200" b="0" i="0" u="none" strike="noStrike" kern="1200" cap="none" spc="0" normalizeH="0" baseline="0" noProof="0" dirty="0">
              <a:ln>
                <a:noFill/>
              </a:ln>
              <a:solidFill>
                <a:srgbClr val="FFFFFF"/>
              </a:solidFill>
              <a:effectLst/>
              <a:uLnTx/>
              <a:uFillTx/>
              <a:latin typeface="Corbel" panose="020B0503020204020204"/>
              <a:ea typeface="+mn-ea"/>
              <a:cs typeface="+mn-cs"/>
            </a:endParaRPr>
          </a:p>
        </p:txBody>
      </p:sp>
    </p:spTree>
    <p:extLst>
      <p:ext uri="{BB962C8B-B14F-4D97-AF65-F5344CB8AC3E}">
        <p14:creationId xmlns:p14="http://schemas.microsoft.com/office/powerpoint/2010/main" val="10472749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00C4F1C3-3ADD-491F-8C66-57912A24217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31140" y="243840"/>
            <a:ext cx="11724640" cy="6377939"/>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25" name="Rectangle 24">
            <a:extLst>
              <a:ext uri="{FF2B5EF4-FFF2-40B4-BE49-F238E27FC236}">
                <a16:creationId xmlns:a16="http://schemas.microsoft.com/office/drawing/2014/main" id="{0B323FE0-DFB0-4368-A3C2-FC1402A98C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31140" y="243840"/>
            <a:ext cx="11724640" cy="6377939"/>
          </a:xfrm>
          <a:prstGeom prst="rect">
            <a:avLst/>
          </a:prstGeom>
          <a:solidFill>
            <a:schemeClr val="accent1"/>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sp>
      <p:cxnSp>
        <p:nvCxnSpPr>
          <p:cNvPr id="27" name="Straight Connector 26">
            <a:extLst>
              <a:ext uri="{FF2B5EF4-FFF2-40B4-BE49-F238E27FC236}">
                <a16:creationId xmlns:a16="http://schemas.microsoft.com/office/drawing/2014/main" id="{E4BCA77F-6A46-46C1-822E-DF8DB6F08D5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978660" y="3733800"/>
            <a:ext cx="822960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useBgFill="1">
        <p:nvSpPr>
          <p:cNvPr id="29" name="Rectangle 28">
            <a:extLst>
              <a:ext uri="{FF2B5EF4-FFF2-40B4-BE49-F238E27FC236}">
                <a16:creationId xmlns:a16="http://schemas.microsoft.com/office/drawing/2014/main" id="{7C684499-6F30-4C6A-8094-E2E3E91B305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a:noFill/>
          </a:ln>
        </p:spPr>
        <p:style>
          <a:lnRef idx="2">
            <a:schemeClr val="accent1">
              <a:shade val="50000"/>
            </a:schemeClr>
          </a:lnRef>
          <a:fillRef idx="1">
            <a:schemeClr val="accent1"/>
          </a:fillRef>
          <a:effectRef idx="0">
            <a:schemeClr val="accent1"/>
          </a:effectRef>
          <a:fontRef idx="minor">
            <a:schemeClr val="lt1"/>
          </a:fontRef>
        </p:style>
      </p:sp>
      <p:sp>
        <p:nvSpPr>
          <p:cNvPr id="31" name="Rectangle 30">
            <a:extLst>
              <a:ext uri="{FF2B5EF4-FFF2-40B4-BE49-F238E27FC236}">
                <a16:creationId xmlns:a16="http://schemas.microsoft.com/office/drawing/2014/main" id="{D5AECED4-26C2-4E8F-A340-2402369DC2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28600" y="246888"/>
            <a:ext cx="11724640" cy="6377939"/>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CB704BEC-D7D6-4233-8BA1-6046BEA78143}"/>
              </a:ext>
            </a:extLst>
          </p:cNvPr>
          <p:cNvSpPr>
            <a:spLocks noGrp="1"/>
          </p:cNvSpPr>
          <p:nvPr>
            <p:ph type="title"/>
          </p:nvPr>
        </p:nvSpPr>
        <p:spPr>
          <a:xfrm>
            <a:off x="895467" y="863364"/>
            <a:ext cx="6657476" cy="5126124"/>
          </a:xfrm>
        </p:spPr>
        <p:txBody>
          <a:bodyPr vert="horz" lIns="91440" tIns="45720" rIns="91440" bIns="45720" rtlCol="0" anchor="ctr">
            <a:normAutofit/>
          </a:bodyPr>
          <a:lstStyle/>
          <a:p>
            <a:pPr algn="r"/>
            <a:r>
              <a:rPr lang="en-US" sz="6600" b="1" dirty="0">
                <a:solidFill>
                  <a:schemeClr val="tx1"/>
                </a:solidFill>
              </a:rPr>
              <a:t>PG&amp;E</a:t>
            </a:r>
          </a:p>
        </p:txBody>
      </p:sp>
      <p:cxnSp>
        <p:nvCxnSpPr>
          <p:cNvPr id="33" name="Straight Connector 32">
            <a:extLst>
              <a:ext uri="{FF2B5EF4-FFF2-40B4-BE49-F238E27FC236}">
                <a16:creationId xmlns:a16="http://schemas.microsoft.com/office/drawing/2014/main" id="{C9213D27-7A25-46D8-B1BD-E470E49C6C2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7961243" y="2054826"/>
            <a:ext cx="0" cy="27432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Slide Number Placeholder 4">
            <a:extLst>
              <a:ext uri="{FF2B5EF4-FFF2-40B4-BE49-F238E27FC236}">
                <a16:creationId xmlns:a16="http://schemas.microsoft.com/office/drawing/2014/main" id="{DD8BE81C-9C36-4FFF-9613-DC887B1722D5}"/>
              </a:ext>
            </a:extLst>
          </p:cNvPr>
          <p:cNvSpPr>
            <a:spLocks noGrp="1"/>
          </p:cNvSpPr>
          <p:nvPr>
            <p:ph type="sldNum" sz="quarter" idx="12"/>
          </p:nvPr>
        </p:nvSpPr>
        <p:spPr>
          <a:xfrm>
            <a:off x="10066487" y="6223828"/>
            <a:ext cx="1706217" cy="365125"/>
          </a:xfrm>
        </p:spPr>
        <p:txBody>
          <a:bodyPr vert="horz" lIns="91440" tIns="45720" rIns="91440" bIns="45720" rtlCol="0" anchor="ctr">
            <a:normAutofit/>
          </a:bodyPr>
          <a:lstStyle/>
          <a:p>
            <a:pPr marL="0" marR="0" lvl="0" indent="0" algn="r" defTabSz="457200" rtl="0" eaLnBrk="1" fontAlgn="auto" latinLnBrk="0" hangingPunct="1">
              <a:lnSpc>
                <a:spcPct val="100000"/>
              </a:lnSpc>
              <a:spcBef>
                <a:spcPts val="0"/>
              </a:spcBef>
              <a:spcAft>
                <a:spcPts val="600"/>
              </a:spcAft>
              <a:buClrTx/>
              <a:buSzTx/>
              <a:buFontTx/>
              <a:buNone/>
              <a:tabLst/>
              <a:defRPr/>
            </a:pPr>
            <a:fld id="{BF51FD3E-87FA-4BB9-8479-893262DE1709}" type="slidenum">
              <a:rPr kumimoji="0" lang="en-US" sz="1200" b="0" i="0" u="none" strike="noStrike" kern="1200" cap="none" spc="0" normalizeH="0" baseline="0" noProof="0">
                <a:ln>
                  <a:noFill/>
                </a:ln>
                <a:solidFill>
                  <a:srgbClr val="A6B727">
                    <a:lumMod val="40000"/>
                    <a:lumOff val="60000"/>
                  </a:srgbClr>
                </a:solidFill>
                <a:effectLst/>
                <a:uLnTx/>
                <a:uFillTx/>
                <a:latin typeface="Corbel" panose="020B0503020204020204"/>
                <a:ea typeface="+mn-ea"/>
                <a:cs typeface="+mn-cs"/>
              </a:rPr>
              <a:pPr marL="0" marR="0" lvl="0" indent="0" algn="r" defTabSz="457200" rtl="0" eaLnBrk="1" fontAlgn="auto" latinLnBrk="0" hangingPunct="1">
                <a:lnSpc>
                  <a:spcPct val="100000"/>
                </a:lnSpc>
                <a:spcBef>
                  <a:spcPts val="0"/>
                </a:spcBef>
                <a:spcAft>
                  <a:spcPts val="600"/>
                </a:spcAft>
                <a:buClrTx/>
                <a:buSzTx/>
                <a:buFontTx/>
                <a:buNone/>
                <a:tabLst/>
                <a:defRPr/>
              </a:pPr>
              <a:t>25</a:t>
            </a:fld>
            <a:endParaRPr kumimoji="0" lang="en-US" sz="1200" b="0" i="0" u="none" strike="noStrike" kern="1200" cap="none" spc="0" normalizeH="0" baseline="0" noProof="0" dirty="0">
              <a:ln>
                <a:noFill/>
              </a:ln>
              <a:solidFill>
                <a:srgbClr val="A6B727">
                  <a:lumMod val="40000"/>
                  <a:lumOff val="60000"/>
                </a:srgbClr>
              </a:solidFill>
              <a:effectLst/>
              <a:uLnTx/>
              <a:uFillTx/>
              <a:latin typeface="Corbel" panose="020B0503020204020204"/>
              <a:ea typeface="+mn-ea"/>
              <a:cs typeface="+mn-cs"/>
            </a:endParaRPr>
          </a:p>
        </p:txBody>
      </p:sp>
    </p:spTree>
    <p:extLst>
      <p:ext uri="{BB962C8B-B14F-4D97-AF65-F5344CB8AC3E}">
        <p14:creationId xmlns:p14="http://schemas.microsoft.com/office/powerpoint/2010/main" val="1737146993"/>
      </p:ext>
    </p:extLst>
  </p:cSld>
  <p:clrMapOvr>
    <a:overrideClrMapping bg1="dk1" tx1="lt1" bg2="dk2" tx2="lt2" accent1="accent1" accent2="accent2" accent3="accent3" accent4="accent4" accent5="accent5" accent6="accent6" hlink="hlink" folHlink="folHlink"/>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9BD6B2-AB0D-4B17-BAAF-C04AB7B7DBB7}"/>
              </a:ext>
            </a:extLst>
          </p:cNvPr>
          <p:cNvSpPr>
            <a:spLocks noGrp="1"/>
          </p:cNvSpPr>
          <p:nvPr>
            <p:ph type="title"/>
          </p:nvPr>
        </p:nvSpPr>
        <p:spPr/>
        <p:txBody>
          <a:bodyPr>
            <a:normAutofit/>
          </a:bodyPr>
          <a:lstStyle/>
          <a:p>
            <a:r>
              <a:rPr lang="en-US" sz="4000" dirty="0">
                <a:solidFill>
                  <a:schemeClr val="tx1">
                    <a:lumMod val="65000"/>
                    <a:lumOff val="35000"/>
                  </a:schemeClr>
                </a:solidFill>
              </a:rPr>
              <a:t>PG&amp;E Solicitations</a:t>
            </a:r>
          </a:p>
        </p:txBody>
      </p:sp>
      <p:sp>
        <p:nvSpPr>
          <p:cNvPr id="4" name="Footer Placeholder 3">
            <a:extLst>
              <a:ext uri="{FF2B5EF4-FFF2-40B4-BE49-F238E27FC236}">
                <a16:creationId xmlns:a16="http://schemas.microsoft.com/office/drawing/2014/main" id="{C12F676A-2112-4E58-A9A6-F27D3CB83DAE}"/>
              </a:ext>
            </a:extLst>
          </p:cNvPr>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rPr>
              <a:t>IE Semi-Annual Report: July 28, 2021 Stakeholder Meeting</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5" name="Slide Number Placeholder 4">
            <a:extLst>
              <a:ext uri="{FF2B5EF4-FFF2-40B4-BE49-F238E27FC236}">
                <a16:creationId xmlns:a16="http://schemas.microsoft.com/office/drawing/2014/main" id="{5A0CF043-10C0-42A8-B9BC-58808B394850}"/>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51FD3E-87FA-4BB9-8479-893262DE1709}" type="slidenum">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graphicFrame>
        <p:nvGraphicFramePr>
          <p:cNvPr id="3" name="Table 2">
            <a:extLst>
              <a:ext uri="{FF2B5EF4-FFF2-40B4-BE49-F238E27FC236}">
                <a16:creationId xmlns:a16="http://schemas.microsoft.com/office/drawing/2014/main" id="{79AE8403-BDCC-F94A-BE6E-EB239326FD7F}"/>
              </a:ext>
            </a:extLst>
          </p:cNvPr>
          <p:cNvGraphicFramePr>
            <a:graphicFrameLocks noGrp="1"/>
          </p:cNvGraphicFramePr>
          <p:nvPr/>
        </p:nvGraphicFramePr>
        <p:xfrm>
          <a:off x="1392865" y="1628615"/>
          <a:ext cx="9135092" cy="4114800"/>
        </p:xfrm>
        <a:graphic>
          <a:graphicData uri="http://schemas.openxmlformats.org/drawingml/2006/table">
            <a:tbl>
              <a:tblPr firstRow="1" bandRow="1">
                <a:tableStyleId>{00A15C55-8517-42AA-B614-E9B94910E393}</a:tableStyleId>
              </a:tblPr>
              <a:tblGrid>
                <a:gridCol w="2936764">
                  <a:extLst>
                    <a:ext uri="{9D8B030D-6E8A-4147-A177-3AD203B41FA5}">
                      <a16:colId xmlns:a16="http://schemas.microsoft.com/office/drawing/2014/main" val="3780580121"/>
                    </a:ext>
                  </a:extLst>
                </a:gridCol>
                <a:gridCol w="2126255">
                  <a:extLst>
                    <a:ext uri="{9D8B030D-6E8A-4147-A177-3AD203B41FA5}">
                      <a16:colId xmlns:a16="http://schemas.microsoft.com/office/drawing/2014/main" val="2542242836"/>
                    </a:ext>
                  </a:extLst>
                </a:gridCol>
                <a:gridCol w="2573221">
                  <a:extLst>
                    <a:ext uri="{9D8B030D-6E8A-4147-A177-3AD203B41FA5}">
                      <a16:colId xmlns:a16="http://schemas.microsoft.com/office/drawing/2014/main" val="804009275"/>
                    </a:ext>
                  </a:extLst>
                </a:gridCol>
                <a:gridCol w="1498852">
                  <a:extLst>
                    <a:ext uri="{9D8B030D-6E8A-4147-A177-3AD203B41FA5}">
                      <a16:colId xmlns:a16="http://schemas.microsoft.com/office/drawing/2014/main" val="1626711691"/>
                    </a:ext>
                  </a:extLst>
                </a:gridCol>
              </a:tblGrid>
              <a:tr h="269567">
                <a:tc gridSpan="2">
                  <a:txBody>
                    <a:bodyPr/>
                    <a:lstStyle/>
                    <a:p>
                      <a:pPr marL="0" marR="0" algn="ctr">
                        <a:spcBef>
                          <a:spcPts val="0"/>
                        </a:spcBef>
                        <a:spcAft>
                          <a:spcPts val="0"/>
                        </a:spcAft>
                      </a:pPr>
                      <a:r>
                        <a:rPr lang="en-US" sz="1800" dirty="0">
                          <a:effectLst/>
                        </a:rPr>
                        <a:t>Solicitation</a:t>
                      </a:r>
                      <a:endParaRPr lang="en-US" sz="1800" dirty="0">
                        <a:effectLst/>
                        <a:latin typeface="Calibri" panose="020F0502020204030204" pitchFamily="34" charset="0"/>
                        <a:ea typeface="Arial" panose="020B0604020202020204" pitchFamily="34" charset="0"/>
                        <a:cs typeface="Arial" panose="020B0604020202020204" pitchFamily="34" charset="0"/>
                      </a:endParaRPr>
                    </a:p>
                  </a:txBody>
                  <a:tcPr marL="63544" marR="63544" marT="0" marB="0"/>
                </a:tc>
                <a:tc hMerge="1">
                  <a:txBody>
                    <a:bodyPr/>
                    <a:lstStyle/>
                    <a:p>
                      <a:endParaRPr lang="en-US"/>
                    </a:p>
                  </a:txBody>
                  <a:tcPr/>
                </a:tc>
                <a:tc rowSpan="2">
                  <a:txBody>
                    <a:bodyPr/>
                    <a:lstStyle/>
                    <a:p>
                      <a:pPr marL="0" marR="0" algn="ctr">
                        <a:spcBef>
                          <a:spcPts val="0"/>
                        </a:spcBef>
                        <a:spcAft>
                          <a:spcPts val="0"/>
                        </a:spcAft>
                      </a:pPr>
                      <a:r>
                        <a:rPr lang="en-US" sz="1800" dirty="0">
                          <a:effectLst/>
                        </a:rPr>
                        <a:t>Assigned IE</a:t>
                      </a:r>
                      <a:endParaRPr lang="en-US" sz="1800" dirty="0">
                        <a:effectLst/>
                        <a:latin typeface="Calibri" panose="020F0502020204030204" pitchFamily="34" charset="0"/>
                        <a:ea typeface="Arial" panose="020B0604020202020204" pitchFamily="34" charset="0"/>
                        <a:cs typeface="Arial" panose="020B0604020202020204" pitchFamily="34" charset="0"/>
                      </a:endParaRPr>
                    </a:p>
                  </a:txBody>
                  <a:tcPr marL="63544" marR="63544" marT="0" marB="0" anchor="ctr"/>
                </a:tc>
                <a:tc rowSpan="2">
                  <a:txBody>
                    <a:bodyPr/>
                    <a:lstStyle/>
                    <a:p>
                      <a:pPr marL="0" marR="0" algn="ctr">
                        <a:spcBef>
                          <a:spcPts val="0"/>
                        </a:spcBef>
                        <a:spcAft>
                          <a:spcPts val="0"/>
                        </a:spcAft>
                      </a:pPr>
                      <a:r>
                        <a:rPr lang="en-US" sz="1800" dirty="0">
                          <a:effectLst/>
                        </a:rPr>
                        <a:t>Solicitation Status</a:t>
                      </a:r>
                      <a:endParaRPr lang="en-US" sz="1800" dirty="0">
                        <a:effectLst/>
                        <a:latin typeface="Calibri" panose="020F0502020204030204" pitchFamily="34" charset="0"/>
                        <a:ea typeface="Arial" panose="020B0604020202020204" pitchFamily="34" charset="0"/>
                        <a:cs typeface="Arial" panose="020B0604020202020204" pitchFamily="34" charset="0"/>
                      </a:endParaRPr>
                    </a:p>
                  </a:txBody>
                  <a:tcPr marL="63544" marR="63544" marT="0" marB="0"/>
                </a:tc>
                <a:extLst>
                  <a:ext uri="{0D108BD9-81ED-4DB2-BD59-A6C34878D82A}">
                    <a16:rowId xmlns:a16="http://schemas.microsoft.com/office/drawing/2014/main" val="2554690499"/>
                  </a:ext>
                </a:extLst>
              </a:tr>
              <a:tr h="269567">
                <a:tc>
                  <a:txBody>
                    <a:bodyPr/>
                    <a:lstStyle/>
                    <a:p>
                      <a:pPr marL="0" marR="0" algn="ctr">
                        <a:spcBef>
                          <a:spcPts val="0"/>
                        </a:spcBef>
                        <a:spcAft>
                          <a:spcPts val="0"/>
                        </a:spcAft>
                      </a:pPr>
                      <a:r>
                        <a:rPr lang="en-US" sz="1800" dirty="0">
                          <a:solidFill>
                            <a:schemeClr val="bg1"/>
                          </a:solidFill>
                          <a:effectLst/>
                        </a:rPr>
                        <a:t>Initial</a:t>
                      </a:r>
                      <a:endParaRPr lang="en-US" sz="1800" dirty="0">
                        <a:solidFill>
                          <a:schemeClr val="bg1"/>
                        </a:solidFill>
                        <a:effectLst/>
                        <a:latin typeface="Calibri" panose="020F0502020204030204" pitchFamily="34" charset="0"/>
                        <a:ea typeface="Arial" panose="020B0604020202020204" pitchFamily="34" charset="0"/>
                        <a:cs typeface="Arial" panose="020B0604020202020204" pitchFamily="34" charset="0"/>
                      </a:endParaRPr>
                    </a:p>
                  </a:txBody>
                  <a:tcPr marL="63544" marR="63544" marT="0" marB="0">
                    <a:solidFill>
                      <a:schemeClr val="accent4"/>
                    </a:solidFill>
                  </a:tcPr>
                </a:tc>
                <a:tc>
                  <a:txBody>
                    <a:bodyPr/>
                    <a:lstStyle/>
                    <a:p>
                      <a:pPr marL="0" marR="0" algn="ctr">
                        <a:spcBef>
                          <a:spcPts val="0"/>
                        </a:spcBef>
                        <a:spcAft>
                          <a:spcPts val="0"/>
                        </a:spcAft>
                      </a:pPr>
                      <a:r>
                        <a:rPr lang="en-US" sz="1800" dirty="0">
                          <a:solidFill>
                            <a:schemeClr val="bg1"/>
                          </a:solidFill>
                          <a:effectLst/>
                        </a:rPr>
                        <a:t>Revised</a:t>
                      </a:r>
                      <a:endParaRPr lang="en-US" sz="1800" dirty="0">
                        <a:solidFill>
                          <a:schemeClr val="bg1"/>
                        </a:solidFill>
                        <a:effectLst/>
                        <a:latin typeface="Calibri" panose="020F0502020204030204" pitchFamily="34" charset="0"/>
                        <a:ea typeface="Arial" panose="020B0604020202020204" pitchFamily="34" charset="0"/>
                        <a:cs typeface="Arial" panose="020B0604020202020204" pitchFamily="34" charset="0"/>
                      </a:endParaRPr>
                    </a:p>
                  </a:txBody>
                  <a:tcPr marL="63544" marR="63544" marT="0" marB="0">
                    <a:solidFill>
                      <a:schemeClr val="accent4"/>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869331267"/>
                  </a:ext>
                </a:extLst>
              </a:tr>
              <a:tr h="269567">
                <a:tc>
                  <a:txBody>
                    <a:bodyPr/>
                    <a:lstStyle/>
                    <a:p>
                      <a:pPr marL="0" marR="0">
                        <a:spcBef>
                          <a:spcPts val="0"/>
                        </a:spcBef>
                        <a:spcAft>
                          <a:spcPts val="0"/>
                        </a:spcAft>
                      </a:pPr>
                      <a:r>
                        <a:rPr lang="en-US" sz="1800" dirty="0">
                          <a:solidFill>
                            <a:schemeClr val="tx1">
                              <a:lumMod val="65000"/>
                              <a:lumOff val="35000"/>
                            </a:schemeClr>
                          </a:solidFill>
                          <a:effectLst/>
                        </a:rPr>
                        <a:t>Local Residential</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tc>
                <a:tc rowSpan="5">
                  <a:txBody>
                    <a:bodyPr/>
                    <a:lstStyle/>
                    <a:p>
                      <a:pPr marL="0" marR="0">
                        <a:spcBef>
                          <a:spcPts val="0"/>
                        </a:spcBef>
                        <a:spcAft>
                          <a:spcPts val="0"/>
                        </a:spcAft>
                      </a:pPr>
                      <a:r>
                        <a:rPr lang="en-US" sz="1800" b="0" dirty="0">
                          <a:solidFill>
                            <a:schemeClr val="tx1">
                              <a:lumMod val="65000"/>
                              <a:lumOff val="35000"/>
                            </a:schemeClr>
                          </a:solidFill>
                          <a:effectLst/>
                        </a:rPr>
                        <a:t>Local Multi-Sector</a:t>
                      </a:r>
                      <a:endParaRPr lang="en-US" sz="1800" b="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nchor="ctr"/>
                </a:tc>
                <a:tc>
                  <a:txBody>
                    <a:bodyPr/>
                    <a:lstStyle/>
                    <a:p>
                      <a:pPr marL="0" marR="0">
                        <a:spcBef>
                          <a:spcPts val="0"/>
                        </a:spcBef>
                        <a:spcAft>
                          <a:spcPts val="0"/>
                        </a:spcAft>
                      </a:pPr>
                      <a:r>
                        <a:rPr lang="en-US" sz="1800" dirty="0">
                          <a:solidFill>
                            <a:schemeClr val="tx1">
                              <a:lumMod val="65000"/>
                              <a:lumOff val="35000"/>
                            </a:schemeClr>
                          </a:solidFill>
                          <a:effectLst/>
                        </a:rPr>
                        <a:t>The Mendota Group</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tc>
                <a:tc rowSpan="5">
                  <a:txBody>
                    <a:bodyPr/>
                    <a:lstStyle/>
                    <a:p>
                      <a:pPr marL="0" marR="0" algn="ctr">
                        <a:spcBef>
                          <a:spcPts val="0"/>
                        </a:spcBef>
                        <a:spcAft>
                          <a:spcPts val="0"/>
                        </a:spcAft>
                      </a:pPr>
                      <a:r>
                        <a:rPr lang="en-US" sz="1800" dirty="0">
                          <a:solidFill>
                            <a:schemeClr val="tx1">
                              <a:lumMod val="65000"/>
                              <a:lumOff val="35000"/>
                            </a:schemeClr>
                          </a:solidFill>
                          <a:effectLst/>
                        </a:rPr>
                        <a:t>Contracted/ Contracting</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nchor="ctr"/>
                </a:tc>
                <a:extLst>
                  <a:ext uri="{0D108BD9-81ED-4DB2-BD59-A6C34878D82A}">
                    <a16:rowId xmlns:a16="http://schemas.microsoft.com/office/drawing/2014/main" val="2388822141"/>
                  </a:ext>
                </a:extLst>
              </a:tr>
              <a:tr h="269567">
                <a:tc>
                  <a:txBody>
                    <a:bodyPr/>
                    <a:lstStyle/>
                    <a:p>
                      <a:pPr marL="0" marR="0">
                        <a:spcBef>
                          <a:spcPts val="0"/>
                        </a:spcBef>
                        <a:spcAft>
                          <a:spcPts val="0"/>
                        </a:spcAft>
                      </a:pPr>
                      <a:r>
                        <a:rPr lang="en-US" sz="1800" dirty="0">
                          <a:solidFill>
                            <a:schemeClr val="tx1">
                              <a:lumMod val="65000"/>
                              <a:lumOff val="35000"/>
                            </a:schemeClr>
                          </a:solidFill>
                          <a:effectLst/>
                        </a:rPr>
                        <a:t>Local Commercial</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tc>
                <a:tc vMerge="1">
                  <a:txBody>
                    <a:bodyPr/>
                    <a:lstStyle/>
                    <a:p>
                      <a:endParaRPr lang="en-US"/>
                    </a:p>
                  </a:txBody>
                  <a:tcPr/>
                </a:tc>
                <a:tc>
                  <a:txBody>
                    <a:bodyPr/>
                    <a:lstStyle/>
                    <a:p>
                      <a:pPr marL="0" marR="0">
                        <a:spcBef>
                          <a:spcPts val="0"/>
                        </a:spcBef>
                        <a:spcAft>
                          <a:spcPts val="0"/>
                        </a:spcAft>
                      </a:pPr>
                      <a:r>
                        <a:rPr lang="en-US" sz="1800" dirty="0">
                          <a:solidFill>
                            <a:schemeClr val="tx1">
                              <a:lumMod val="65000"/>
                              <a:lumOff val="35000"/>
                            </a:schemeClr>
                          </a:solidFill>
                          <a:effectLst/>
                        </a:rPr>
                        <a:t>EAJ Energy Advisors</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tc>
                <a:tc vMerge="1">
                  <a:txBody>
                    <a:bodyPr/>
                    <a:lstStyle/>
                    <a:p>
                      <a:endParaRPr lang="en-US"/>
                    </a:p>
                  </a:txBody>
                  <a:tcPr/>
                </a:tc>
                <a:extLst>
                  <a:ext uri="{0D108BD9-81ED-4DB2-BD59-A6C34878D82A}">
                    <a16:rowId xmlns:a16="http://schemas.microsoft.com/office/drawing/2014/main" val="1110855045"/>
                  </a:ext>
                </a:extLst>
              </a:tr>
              <a:tr h="269567">
                <a:tc>
                  <a:txBody>
                    <a:bodyPr/>
                    <a:lstStyle/>
                    <a:p>
                      <a:pPr marL="0" marR="0">
                        <a:spcBef>
                          <a:spcPts val="0"/>
                        </a:spcBef>
                        <a:spcAft>
                          <a:spcPts val="0"/>
                        </a:spcAft>
                      </a:pPr>
                      <a:r>
                        <a:rPr lang="en-US" sz="1800" dirty="0">
                          <a:solidFill>
                            <a:schemeClr val="tx1">
                              <a:lumMod val="65000"/>
                              <a:lumOff val="35000"/>
                            </a:schemeClr>
                          </a:solidFill>
                          <a:effectLst/>
                        </a:rPr>
                        <a:t>Local Industrial</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tc>
                <a:tc vMerge="1">
                  <a:txBody>
                    <a:bodyPr/>
                    <a:lstStyle/>
                    <a:p>
                      <a:endParaRPr lang="en-US"/>
                    </a:p>
                  </a:txBody>
                  <a:tcPr/>
                </a:tc>
                <a:tc>
                  <a:txBody>
                    <a:bodyPr/>
                    <a:lstStyle/>
                    <a:p>
                      <a:pPr marL="0" marR="0">
                        <a:spcBef>
                          <a:spcPts val="0"/>
                        </a:spcBef>
                        <a:spcAft>
                          <a:spcPts val="0"/>
                        </a:spcAft>
                      </a:pPr>
                      <a:r>
                        <a:rPr lang="en-US" sz="1800" dirty="0">
                          <a:solidFill>
                            <a:schemeClr val="tx1">
                              <a:lumMod val="65000"/>
                              <a:lumOff val="35000"/>
                            </a:schemeClr>
                          </a:solidFill>
                          <a:effectLst/>
                        </a:rPr>
                        <a:t>Great Work Energy</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tc>
                <a:tc vMerge="1">
                  <a:txBody>
                    <a:bodyPr/>
                    <a:lstStyle/>
                    <a:p>
                      <a:endParaRPr lang="en-US"/>
                    </a:p>
                  </a:txBody>
                  <a:tcPr/>
                </a:tc>
                <a:extLst>
                  <a:ext uri="{0D108BD9-81ED-4DB2-BD59-A6C34878D82A}">
                    <a16:rowId xmlns:a16="http://schemas.microsoft.com/office/drawing/2014/main" val="2497970204"/>
                  </a:ext>
                </a:extLst>
              </a:tr>
              <a:tr h="269567">
                <a:tc>
                  <a:txBody>
                    <a:bodyPr/>
                    <a:lstStyle/>
                    <a:p>
                      <a:pPr marL="0" marR="0">
                        <a:spcBef>
                          <a:spcPts val="0"/>
                        </a:spcBef>
                        <a:spcAft>
                          <a:spcPts val="0"/>
                        </a:spcAft>
                      </a:pPr>
                      <a:r>
                        <a:rPr lang="en-US" sz="1800" dirty="0">
                          <a:solidFill>
                            <a:schemeClr val="tx1">
                              <a:lumMod val="65000"/>
                              <a:lumOff val="35000"/>
                            </a:schemeClr>
                          </a:solidFill>
                          <a:effectLst/>
                        </a:rPr>
                        <a:t>Local Agricultural</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tc>
                <a:tc vMerge="1">
                  <a:txBody>
                    <a:bodyPr/>
                    <a:lstStyle/>
                    <a:p>
                      <a:endParaRPr lang="en-US"/>
                    </a:p>
                  </a:txBody>
                  <a:tcPr/>
                </a:tc>
                <a:tc>
                  <a:txBody>
                    <a:bodyPr/>
                    <a:lstStyle/>
                    <a:p>
                      <a:pPr marL="0" marR="0">
                        <a:spcBef>
                          <a:spcPts val="0"/>
                        </a:spcBef>
                        <a:spcAft>
                          <a:spcPts val="0"/>
                        </a:spcAft>
                      </a:pPr>
                      <a:r>
                        <a:rPr lang="en-US" sz="1800" dirty="0">
                          <a:solidFill>
                            <a:schemeClr val="tx1">
                              <a:lumMod val="65000"/>
                              <a:lumOff val="35000"/>
                            </a:schemeClr>
                          </a:solidFill>
                          <a:effectLst/>
                        </a:rPr>
                        <a:t>Barakat Consulting</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tc>
                <a:tc vMerge="1">
                  <a:txBody>
                    <a:bodyPr/>
                    <a:lstStyle/>
                    <a:p>
                      <a:endParaRPr lang="en-US"/>
                    </a:p>
                  </a:txBody>
                  <a:tcPr/>
                </a:tc>
                <a:extLst>
                  <a:ext uri="{0D108BD9-81ED-4DB2-BD59-A6C34878D82A}">
                    <a16:rowId xmlns:a16="http://schemas.microsoft.com/office/drawing/2014/main" val="236672259"/>
                  </a:ext>
                </a:extLst>
              </a:tr>
              <a:tr h="269567">
                <a:tc>
                  <a:txBody>
                    <a:bodyPr/>
                    <a:lstStyle/>
                    <a:p>
                      <a:pPr marL="0" marR="0">
                        <a:spcBef>
                          <a:spcPts val="0"/>
                        </a:spcBef>
                        <a:spcAft>
                          <a:spcPts val="0"/>
                        </a:spcAft>
                      </a:pPr>
                      <a:r>
                        <a:rPr lang="en-US" sz="1800" dirty="0">
                          <a:solidFill>
                            <a:schemeClr val="tx1">
                              <a:lumMod val="65000"/>
                              <a:lumOff val="35000"/>
                            </a:schemeClr>
                          </a:solidFill>
                          <a:effectLst/>
                        </a:rPr>
                        <a:t>Local Public</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tc>
                <a:tc vMerge="1">
                  <a:txBody>
                    <a:bodyPr/>
                    <a:lstStyle/>
                    <a:p>
                      <a:endParaRPr lang="en-US"/>
                    </a:p>
                  </a:txBody>
                  <a:tcPr/>
                </a:tc>
                <a:tc>
                  <a:txBody>
                    <a:bodyPr/>
                    <a:lstStyle/>
                    <a:p>
                      <a:pPr marL="0" marR="0">
                        <a:spcBef>
                          <a:spcPts val="0"/>
                        </a:spcBef>
                        <a:spcAft>
                          <a:spcPts val="0"/>
                        </a:spcAft>
                      </a:pPr>
                      <a:r>
                        <a:rPr lang="en-US" sz="1800" dirty="0">
                          <a:solidFill>
                            <a:schemeClr val="tx1">
                              <a:lumMod val="65000"/>
                              <a:lumOff val="35000"/>
                            </a:schemeClr>
                          </a:solidFill>
                          <a:effectLst/>
                        </a:rPr>
                        <a:t>Don Arambula Consulting</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tc>
                <a:tc vMerge="1">
                  <a:txBody>
                    <a:bodyPr/>
                    <a:lstStyle/>
                    <a:p>
                      <a:endParaRPr lang="en-US"/>
                    </a:p>
                  </a:txBody>
                  <a:tcPr/>
                </a:tc>
                <a:extLst>
                  <a:ext uri="{0D108BD9-81ED-4DB2-BD59-A6C34878D82A}">
                    <a16:rowId xmlns:a16="http://schemas.microsoft.com/office/drawing/2014/main" val="2091132186"/>
                  </a:ext>
                </a:extLst>
              </a:tr>
              <a:tr h="539133">
                <a:tc>
                  <a:txBody>
                    <a:bodyPr/>
                    <a:lstStyle/>
                    <a:p>
                      <a:pPr marL="0" marR="0">
                        <a:spcBef>
                          <a:spcPts val="0"/>
                        </a:spcBef>
                        <a:spcAft>
                          <a:spcPts val="0"/>
                        </a:spcAft>
                      </a:pPr>
                      <a:r>
                        <a:rPr lang="en-US" sz="1800" dirty="0">
                          <a:solidFill>
                            <a:schemeClr val="tx1">
                              <a:lumMod val="65000"/>
                              <a:lumOff val="35000"/>
                            </a:schemeClr>
                          </a:solidFill>
                          <a:effectLst/>
                        </a:rPr>
                        <a:t>Statewide Residential New Construction</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tc>
                <a:tc rowSpan="3">
                  <a:txBody>
                    <a:bodyPr/>
                    <a:lstStyle/>
                    <a:p>
                      <a:pPr marL="0" marR="0">
                        <a:spcBef>
                          <a:spcPts val="0"/>
                        </a:spcBef>
                        <a:spcAft>
                          <a:spcPts val="0"/>
                        </a:spcAft>
                      </a:pPr>
                      <a:r>
                        <a:rPr lang="en-US" sz="1800" b="0" dirty="0">
                          <a:solidFill>
                            <a:schemeClr val="tx1">
                              <a:lumMod val="65000"/>
                              <a:lumOff val="35000"/>
                            </a:schemeClr>
                          </a:solidFill>
                          <a:effectLst/>
                        </a:rPr>
                        <a:t>Statewide New Construction</a:t>
                      </a:r>
                      <a:endParaRPr lang="en-US" sz="1800" b="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nchor="ctr"/>
                </a:tc>
                <a:tc>
                  <a:txBody>
                    <a:bodyPr/>
                    <a:lstStyle/>
                    <a:p>
                      <a:pPr marL="0" marR="0">
                        <a:spcBef>
                          <a:spcPts val="0"/>
                        </a:spcBef>
                        <a:spcAft>
                          <a:spcPts val="0"/>
                        </a:spcAft>
                      </a:pPr>
                      <a:endParaRPr lang="en-US" sz="1800" dirty="0">
                        <a:solidFill>
                          <a:schemeClr val="tx1">
                            <a:lumMod val="65000"/>
                            <a:lumOff val="35000"/>
                          </a:schemeClr>
                        </a:solidFill>
                        <a:effectLst/>
                      </a:endParaRPr>
                    </a:p>
                    <a:p>
                      <a:pPr marL="0" marR="0">
                        <a:spcBef>
                          <a:spcPts val="0"/>
                        </a:spcBef>
                        <a:spcAft>
                          <a:spcPts val="0"/>
                        </a:spcAft>
                      </a:pPr>
                      <a:r>
                        <a:rPr lang="en-US" sz="1800" dirty="0">
                          <a:solidFill>
                            <a:schemeClr val="tx1">
                              <a:lumMod val="65000"/>
                              <a:lumOff val="35000"/>
                            </a:schemeClr>
                          </a:solidFill>
                          <a:effectLst/>
                        </a:rPr>
                        <a:t>The Mendota Group</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dirty="0">
                        <a:solidFill>
                          <a:schemeClr val="tx1">
                            <a:lumMod val="65000"/>
                            <a:lumOff val="35000"/>
                          </a:schemeClr>
                        </a:solidFill>
                        <a:effectLs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tx1">
                              <a:lumMod val="65000"/>
                              <a:lumOff val="35000"/>
                            </a:schemeClr>
                          </a:solidFill>
                          <a:effectLst/>
                          <a:latin typeface="+mn-lt"/>
                          <a:ea typeface="+mn-ea"/>
                          <a:cs typeface="+mn-cs"/>
                        </a:rPr>
                        <a:t>Contracted/ Contracting</a:t>
                      </a:r>
                    </a:p>
                    <a:p>
                      <a:pPr marL="0" marR="0" algn="ctr">
                        <a:spcBef>
                          <a:spcPts val="0"/>
                        </a:spcBef>
                        <a:spcAft>
                          <a:spcPts val="0"/>
                        </a:spcAft>
                      </a:pP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nchor="ctr"/>
                </a:tc>
                <a:extLst>
                  <a:ext uri="{0D108BD9-81ED-4DB2-BD59-A6C34878D82A}">
                    <a16:rowId xmlns:a16="http://schemas.microsoft.com/office/drawing/2014/main" val="1223630663"/>
                  </a:ext>
                </a:extLst>
              </a:tr>
              <a:tr h="269567">
                <a:tc rowSpan="2">
                  <a:txBody>
                    <a:bodyPr/>
                    <a:lstStyle/>
                    <a:p>
                      <a:pPr marL="0" marR="0">
                        <a:spcBef>
                          <a:spcPts val="0"/>
                        </a:spcBef>
                        <a:spcAft>
                          <a:spcPts val="0"/>
                        </a:spcAft>
                      </a:pPr>
                      <a:r>
                        <a:rPr lang="en-US" sz="1800" dirty="0">
                          <a:solidFill>
                            <a:schemeClr val="tx1">
                              <a:lumMod val="65000"/>
                              <a:lumOff val="35000"/>
                            </a:schemeClr>
                          </a:solidFill>
                          <a:effectLst/>
                        </a:rPr>
                        <a:t>Statewide Nonresidential New Construction</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tc>
                <a:tc vMerge="1">
                  <a:txBody>
                    <a:bodyPr/>
                    <a:lstStyle/>
                    <a:p>
                      <a:endParaRPr lang="en-US"/>
                    </a:p>
                  </a:txBody>
                  <a:tcPr/>
                </a:tc>
                <a:tc>
                  <a:txBody>
                    <a:bodyPr/>
                    <a:lstStyle/>
                    <a:p>
                      <a:pPr marL="0" marR="0">
                        <a:spcBef>
                          <a:spcPts val="0"/>
                        </a:spcBef>
                        <a:spcAft>
                          <a:spcPts val="0"/>
                        </a:spcAft>
                      </a:pPr>
                      <a:r>
                        <a:rPr lang="en-US" sz="1800" dirty="0">
                          <a:solidFill>
                            <a:schemeClr val="tx1">
                              <a:lumMod val="65000"/>
                              <a:lumOff val="35000"/>
                            </a:schemeClr>
                          </a:solidFill>
                          <a:effectLst/>
                        </a:rPr>
                        <a:t>EAJ Energy Advisors</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tc>
                <a:tc vMerge="1">
                  <a:txBody>
                    <a:bodyPr/>
                    <a:lstStyle/>
                    <a:p>
                      <a:endParaRPr lang="en-US"/>
                    </a:p>
                  </a:txBody>
                  <a:tcPr/>
                </a:tc>
                <a:extLst>
                  <a:ext uri="{0D108BD9-81ED-4DB2-BD59-A6C34878D82A}">
                    <a16:rowId xmlns:a16="http://schemas.microsoft.com/office/drawing/2014/main" val="2370442210"/>
                  </a:ext>
                </a:extLst>
              </a:tr>
              <a:tr h="269567">
                <a:tc vMerge="1">
                  <a:txBody>
                    <a:bodyPr/>
                    <a:lstStyle/>
                    <a:p>
                      <a:endParaRPr lang="en-US"/>
                    </a:p>
                  </a:txBody>
                  <a:tcPr/>
                </a:tc>
                <a:tc vMerge="1">
                  <a:txBody>
                    <a:bodyPr/>
                    <a:lstStyle/>
                    <a:p>
                      <a:endParaRPr lang="en-US"/>
                    </a:p>
                  </a:txBody>
                  <a:tcPr/>
                </a:tc>
                <a:tc>
                  <a:txBody>
                    <a:bodyPr/>
                    <a:lstStyle/>
                    <a:p>
                      <a:pPr marL="0" marR="0">
                        <a:spcBef>
                          <a:spcPts val="0"/>
                        </a:spcBef>
                        <a:spcAft>
                          <a:spcPts val="0"/>
                        </a:spcAft>
                      </a:pPr>
                      <a:r>
                        <a:rPr lang="en-US" sz="1800" dirty="0">
                          <a:solidFill>
                            <a:schemeClr val="tx1">
                              <a:lumMod val="65000"/>
                              <a:lumOff val="35000"/>
                            </a:schemeClr>
                          </a:solidFill>
                          <a:effectLst/>
                        </a:rPr>
                        <a:t>Barakat Consulting</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tc>
                <a:tc vMerge="1">
                  <a:txBody>
                    <a:bodyPr/>
                    <a:lstStyle/>
                    <a:p>
                      <a:endParaRPr lang="en-US"/>
                    </a:p>
                  </a:txBody>
                  <a:tcPr/>
                </a:tc>
                <a:extLst>
                  <a:ext uri="{0D108BD9-81ED-4DB2-BD59-A6C34878D82A}">
                    <a16:rowId xmlns:a16="http://schemas.microsoft.com/office/drawing/2014/main" val="2141563086"/>
                  </a:ext>
                </a:extLst>
              </a:tr>
              <a:tr h="539133">
                <a:tc>
                  <a:txBody>
                    <a:bodyPr/>
                    <a:lstStyle/>
                    <a:p>
                      <a:pPr marL="0" marR="0">
                        <a:spcBef>
                          <a:spcPts val="0"/>
                        </a:spcBef>
                        <a:spcAft>
                          <a:spcPts val="0"/>
                        </a:spcAft>
                      </a:pPr>
                      <a:r>
                        <a:rPr lang="en-US" sz="1800" dirty="0">
                          <a:solidFill>
                            <a:schemeClr val="tx1">
                              <a:lumMod val="65000"/>
                              <a:lumOff val="35000"/>
                            </a:schemeClr>
                          </a:solidFill>
                          <a:effectLst/>
                        </a:rPr>
                        <a:t>Originally Not Proposed</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tc>
                <a:tc>
                  <a:txBody>
                    <a:bodyPr/>
                    <a:lstStyle/>
                    <a:p>
                      <a:pPr marL="0" marR="0">
                        <a:spcBef>
                          <a:spcPts val="0"/>
                        </a:spcBef>
                        <a:spcAft>
                          <a:spcPts val="0"/>
                        </a:spcAft>
                      </a:pPr>
                      <a:r>
                        <a:rPr lang="en-US" sz="1800" b="0" dirty="0">
                          <a:solidFill>
                            <a:schemeClr val="tx1">
                              <a:lumMod val="65000"/>
                              <a:lumOff val="35000"/>
                            </a:schemeClr>
                          </a:solidFill>
                          <a:effectLst/>
                        </a:rPr>
                        <a:t>Local Government Partnerships</a:t>
                      </a:r>
                      <a:endParaRPr lang="en-US" sz="1800" b="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nchor="ctr"/>
                </a:tc>
                <a:tc>
                  <a:txBody>
                    <a:bodyPr/>
                    <a:lstStyle/>
                    <a:p>
                      <a:pPr marL="0" marR="0">
                        <a:spcBef>
                          <a:spcPts val="0"/>
                        </a:spcBef>
                        <a:spcAft>
                          <a:spcPts val="0"/>
                        </a:spcAft>
                      </a:pPr>
                      <a:r>
                        <a:rPr lang="en-US" sz="1800" dirty="0">
                          <a:solidFill>
                            <a:schemeClr val="tx1">
                              <a:lumMod val="65000"/>
                              <a:lumOff val="35000"/>
                            </a:schemeClr>
                          </a:solidFill>
                          <a:effectLst/>
                        </a:rPr>
                        <a:t>Don Arambula Consulting</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tc>
                <a:tc>
                  <a:txBody>
                    <a:bodyPr/>
                    <a:lstStyle/>
                    <a:p>
                      <a:pPr marL="0" marR="0" algn="ctr">
                        <a:spcBef>
                          <a:spcPts val="0"/>
                        </a:spcBef>
                        <a:spcAft>
                          <a:spcPts val="0"/>
                        </a:spcAft>
                      </a:pPr>
                      <a:r>
                        <a:rPr lang="en-US" sz="1800" dirty="0">
                          <a:solidFill>
                            <a:schemeClr val="tx1">
                              <a:lumMod val="65000"/>
                              <a:lumOff val="35000"/>
                            </a:schemeClr>
                          </a:solidFill>
                          <a:effectLst/>
                        </a:rPr>
                        <a:t>Contracted</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nchor="ctr"/>
                </a:tc>
                <a:extLst>
                  <a:ext uri="{0D108BD9-81ED-4DB2-BD59-A6C34878D82A}">
                    <a16:rowId xmlns:a16="http://schemas.microsoft.com/office/drawing/2014/main" val="263338033"/>
                  </a:ext>
                </a:extLst>
              </a:tr>
              <a:tr h="539133">
                <a:tc>
                  <a:txBody>
                    <a:bodyPr/>
                    <a:lstStyle/>
                    <a:p>
                      <a:pPr marL="0" marR="0">
                        <a:spcBef>
                          <a:spcPts val="0"/>
                        </a:spcBef>
                        <a:spcAft>
                          <a:spcPts val="0"/>
                        </a:spcAft>
                      </a:pPr>
                      <a:r>
                        <a:rPr lang="en-US" sz="1800" dirty="0">
                          <a:solidFill>
                            <a:schemeClr val="tx1">
                              <a:lumMod val="65000"/>
                              <a:lumOff val="35000"/>
                            </a:schemeClr>
                          </a:solidFill>
                          <a:effectLst/>
                        </a:rPr>
                        <a:t>Statewide Codes &amp; Standards</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tc>
                <a:tc>
                  <a:txBody>
                    <a:bodyPr/>
                    <a:lstStyle/>
                    <a:p>
                      <a:pPr marL="0" marR="0">
                        <a:spcBef>
                          <a:spcPts val="0"/>
                        </a:spcBef>
                        <a:spcAft>
                          <a:spcPts val="0"/>
                        </a:spcAft>
                      </a:pPr>
                      <a:r>
                        <a:rPr lang="en-US" sz="1800" b="0" dirty="0">
                          <a:solidFill>
                            <a:schemeClr val="tx1">
                              <a:lumMod val="65000"/>
                              <a:lumOff val="35000"/>
                            </a:schemeClr>
                          </a:solidFill>
                          <a:effectLst/>
                        </a:rPr>
                        <a:t>Statewide Codes &amp; Standards</a:t>
                      </a:r>
                      <a:endParaRPr lang="en-US" sz="1800" b="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nchor="ctr"/>
                </a:tc>
                <a:tc>
                  <a:txBody>
                    <a:bodyPr/>
                    <a:lstStyle/>
                    <a:p>
                      <a:pPr marL="0" marR="0">
                        <a:spcBef>
                          <a:spcPts val="0"/>
                        </a:spcBef>
                        <a:spcAft>
                          <a:spcPts val="0"/>
                        </a:spcAft>
                      </a:pPr>
                      <a:r>
                        <a:rPr lang="en-US" sz="1800" dirty="0">
                          <a:solidFill>
                            <a:schemeClr val="tx1">
                              <a:lumMod val="65000"/>
                              <a:lumOff val="35000"/>
                            </a:schemeClr>
                          </a:solidFill>
                          <a:effectLst/>
                        </a:rPr>
                        <a:t>Barakat Consulting</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tc>
                <a:tc>
                  <a:txBody>
                    <a:bodyPr/>
                    <a:lstStyle/>
                    <a:p>
                      <a:pPr marL="0" marR="0" algn="ctr">
                        <a:spcBef>
                          <a:spcPts val="0"/>
                        </a:spcBef>
                        <a:spcAft>
                          <a:spcPts val="0"/>
                        </a:spcAft>
                      </a:pPr>
                      <a:r>
                        <a:rPr lang="en-US" sz="1800" dirty="0">
                          <a:solidFill>
                            <a:schemeClr val="tx1">
                              <a:lumMod val="65000"/>
                              <a:lumOff val="35000"/>
                            </a:schemeClr>
                          </a:solidFill>
                          <a:effectLst/>
                        </a:rPr>
                        <a:t>Contracted</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nchor="ctr"/>
                </a:tc>
                <a:extLst>
                  <a:ext uri="{0D108BD9-81ED-4DB2-BD59-A6C34878D82A}">
                    <a16:rowId xmlns:a16="http://schemas.microsoft.com/office/drawing/2014/main" val="1715684208"/>
                  </a:ext>
                </a:extLst>
              </a:tr>
            </a:tbl>
          </a:graphicData>
        </a:graphic>
      </p:graphicFrame>
    </p:spTree>
    <p:extLst>
      <p:ext uri="{BB962C8B-B14F-4D97-AF65-F5344CB8AC3E}">
        <p14:creationId xmlns:p14="http://schemas.microsoft.com/office/powerpoint/2010/main" val="2407414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9BD6B2-AB0D-4B17-BAAF-C04AB7B7DBB7}"/>
              </a:ext>
            </a:extLst>
          </p:cNvPr>
          <p:cNvSpPr>
            <a:spLocks noGrp="1"/>
          </p:cNvSpPr>
          <p:nvPr>
            <p:ph type="title"/>
          </p:nvPr>
        </p:nvSpPr>
        <p:spPr/>
        <p:txBody>
          <a:bodyPr>
            <a:normAutofit/>
          </a:bodyPr>
          <a:lstStyle/>
          <a:p>
            <a:r>
              <a:rPr lang="en-US" sz="4000" dirty="0"/>
              <a:t>PG&amp;E Solicitations (Continued)</a:t>
            </a:r>
          </a:p>
        </p:txBody>
      </p:sp>
      <p:sp>
        <p:nvSpPr>
          <p:cNvPr id="4" name="Footer Placeholder 3">
            <a:extLst>
              <a:ext uri="{FF2B5EF4-FFF2-40B4-BE49-F238E27FC236}">
                <a16:creationId xmlns:a16="http://schemas.microsoft.com/office/drawing/2014/main" id="{C12F676A-2112-4E58-A9A6-F27D3CB83DAE}"/>
              </a:ext>
            </a:extLst>
          </p:cNvPr>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rPr>
              <a:t>IE Semi-Annual Report: July 28, 2021 Stakeholder Meeting</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5" name="Slide Number Placeholder 4">
            <a:extLst>
              <a:ext uri="{FF2B5EF4-FFF2-40B4-BE49-F238E27FC236}">
                <a16:creationId xmlns:a16="http://schemas.microsoft.com/office/drawing/2014/main" id="{5A0CF043-10C0-42A8-B9BC-58808B394850}"/>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51FD3E-87FA-4BB9-8479-893262DE1709}" type="slidenum">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graphicFrame>
        <p:nvGraphicFramePr>
          <p:cNvPr id="3" name="Table 2">
            <a:extLst>
              <a:ext uri="{FF2B5EF4-FFF2-40B4-BE49-F238E27FC236}">
                <a16:creationId xmlns:a16="http://schemas.microsoft.com/office/drawing/2014/main" id="{79AE8403-BDCC-F94A-BE6E-EB239326FD7F}"/>
              </a:ext>
            </a:extLst>
          </p:cNvPr>
          <p:cNvGraphicFramePr>
            <a:graphicFrameLocks noGrp="1"/>
          </p:cNvGraphicFramePr>
          <p:nvPr/>
        </p:nvGraphicFramePr>
        <p:xfrm>
          <a:off x="1392865" y="1628615"/>
          <a:ext cx="9135092" cy="4053008"/>
        </p:xfrm>
        <a:graphic>
          <a:graphicData uri="http://schemas.openxmlformats.org/drawingml/2006/table">
            <a:tbl>
              <a:tblPr firstRow="1" bandRow="1">
                <a:tableStyleId>{00A15C55-8517-42AA-B614-E9B94910E393}</a:tableStyleId>
              </a:tblPr>
              <a:tblGrid>
                <a:gridCol w="3551275">
                  <a:extLst>
                    <a:ext uri="{9D8B030D-6E8A-4147-A177-3AD203B41FA5}">
                      <a16:colId xmlns:a16="http://schemas.microsoft.com/office/drawing/2014/main" val="3780580121"/>
                    </a:ext>
                  </a:extLst>
                </a:gridCol>
                <a:gridCol w="1239631">
                  <a:extLst>
                    <a:ext uri="{9D8B030D-6E8A-4147-A177-3AD203B41FA5}">
                      <a16:colId xmlns:a16="http://schemas.microsoft.com/office/drawing/2014/main" val="2542242836"/>
                    </a:ext>
                  </a:extLst>
                </a:gridCol>
                <a:gridCol w="2845334">
                  <a:extLst>
                    <a:ext uri="{9D8B030D-6E8A-4147-A177-3AD203B41FA5}">
                      <a16:colId xmlns:a16="http://schemas.microsoft.com/office/drawing/2014/main" val="804009275"/>
                    </a:ext>
                  </a:extLst>
                </a:gridCol>
                <a:gridCol w="1498852">
                  <a:extLst>
                    <a:ext uri="{9D8B030D-6E8A-4147-A177-3AD203B41FA5}">
                      <a16:colId xmlns:a16="http://schemas.microsoft.com/office/drawing/2014/main" val="1626711691"/>
                    </a:ext>
                  </a:extLst>
                </a:gridCol>
              </a:tblGrid>
              <a:tr h="269567">
                <a:tc gridSpan="2">
                  <a:txBody>
                    <a:bodyPr/>
                    <a:lstStyle/>
                    <a:p>
                      <a:pPr marL="0" marR="0" algn="ctr">
                        <a:spcBef>
                          <a:spcPts val="0"/>
                        </a:spcBef>
                        <a:spcAft>
                          <a:spcPts val="0"/>
                        </a:spcAft>
                      </a:pPr>
                      <a:r>
                        <a:rPr lang="en-US" sz="1800" dirty="0">
                          <a:effectLst/>
                        </a:rPr>
                        <a:t>Solicitation</a:t>
                      </a:r>
                      <a:endParaRPr lang="en-US" sz="1800" dirty="0">
                        <a:effectLst/>
                        <a:latin typeface="Calibri" panose="020F0502020204030204" pitchFamily="34" charset="0"/>
                        <a:ea typeface="Arial" panose="020B0604020202020204" pitchFamily="34" charset="0"/>
                        <a:cs typeface="Arial" panose="020B0604020202020204" pitchFamily="34" charset="0"/>
                      </a:endParaRPr>
                    </a:p>
                  </a:txBody>
                  <a:tcPr marL="63544" marR="63544" marT="0" marB="0"/>
                </a:tc>
                <a:tc hMerge="1">
                  <a:txBody>
                    <a:bodyPr/>
                    <a:lstStyle/>
                    <a:p>
                      <a:endParaRPr lang="en-US"/>
                    </a:p>
                  </a:txBody>
                  <a:tcPr/>
                </a:tc>
                <a:tc rowSpan="2">
                  <a:txBody>
                    <a:bodyPr/>
                    <a:lstStyle/>
                    <a:p>
                      <a:pPr marL="0" marR="0" algn="ctr">
                        <a:spcBef>
                          <a:spcPts val="0"/>
                        </a:spcBef>
                        <a:spcAft>
                          <a:spcPts val="0"/>
                        </a:spcAft>
                      </a:pPr>
                      <a:r>
                        <a:rPr lang="en-US" sz="1800" dirty="0">
                          <a:effectLst/>
                        </a:rPr>
                        <a:t>Assigned IE</a:t>
                      </a:r>
                      <a:endParaRPr lang="en-US" sz="1800" dirty="0">
                        <a:effectLst/>
                        <a:latin typeface="Calibri" panose="020F0502020204030204" pitchFamily="34" charset="0"/>
                        <a:ea typeface="Arial" panose="020B0604020202020204" pitchFamily="34" charset="0"/>
                        <a:cs typeface="Arial" panose="020B0604020202020204" pitchFamily="34" charset="0"/>
                      </a:endParaRPr>
                    </a:p>
                  </a:txBody>
                  <a:tcPr marL="63544" marR="63544" marT="0" marB="0" anchor="ctr"/>
                </a:tc>
                <a:tc rowSpan="2">
                  <a:txBody>
                    <a:bodyPr/>
                    <a:lstStyle/>
                    <a:p>
                      <a:pPr marL="0" marR="0" algn="ctr">
                        <a:spcBef>
                          <a:spcPts val="0"/>
                        </a:spcBef>
                        <a:spcAft>
                          <a:spcPts val="0"/>
                        </a:spcAft>
                      </a:pPr>
                      <a:r>
                        <a:rPr lang="en-US" sz="1800" dirty="0">
                          <a:effectLst/>
                        </a:rPr>
                        <a:t>Solicitation Status</a:t>
                      </a:r>
                      <a:endParaRPr lang="en-US" sz="1800" strike="sngStrike" dirty="0">
                        <a:effectLst/>
                        <a:latin typeface="Calibri" panose="020F0502020204030204" pitchFamily="34" charset="0"/>
                        <a:ea typeface="Arial" panose="020B0604020202020204" pitchFamily="34" charset="0"/>
                        <a:cs typeface="Arial" panose="020B0604020202020204" pitchFamily="34" charset="0"/>
                      </a:endParaRPr>
                    </a:p>
                  </a:txBody>
                  <a:tcPr marL="63544" marR="63544" marT="0" marB="0"/>
                </a:tc>
                <a:extLst>
                  <a:ext uri="{0D108BD9-81ED-4DB2-BD59-A6C34878D82A}">
                    <a16:rowId xmlns:a16="http://schemas.microsoft.com/office/drawing/2014/main" val="2554690499"/>
                  </a:ext>
                </a:extLst>
              </a:tr>
              <a:tr h="269567">
                <a:tc>
                  <a:txBody>
                    <a:bodyPr/>
                    <a:lstStyle/>
                    <a:p>
                      <a:pPr marL="0" marR="0" algn="ctr">
                        <a:spcBef>
                          <a:spcPts val="0"/>
                        </a:spcBef>
                        <a:spcAft>
                          <a:spcPts val="0"/>
                        </a:spcAft>
                      </a:pPr>
                      <a:r>
                        <a:rPr lang="en-US" sz="1800" dirty="0">
                          <a:solidFill>
                            <a:schemeClr val="bg1"/>
                          </a:solidFill>
                          <a:effectLst/>
                        </a:rPr>
                        <a:t>Initial</a:t>
                      </a:r>
                      <a:endParaRPr lang="en-US" sz="1800" dirty="0">
                        <a:solidFill>
                          <a:schemeClr val="bg1"/>
                        </a:solidFill>
                        <a:effectLst/>
                        <a:latin typeface="Calibri" panose="020F0502020204030204" pitchFamily="34" charset="0"/>
                        <a:ea typeface="Arial" panose="020B0604020202020204" pitchFamily="34" charset="0"/>
                        <a:cs typeface="Arial" panose="020B0604020202020204" pitchFamily="34" charset="0"/>
                      </a:endParaRPr>
                    </a:p>
                  </a:txBody>
                  <a:tcPr marL="63544" marR="63544" marT="0" marB="0">
                    <a:solidFill>
                      <a:schemeClr val="accent4"/>
                    </a:solidFill>
                  </a:tcPr>
                </a:tc>
                <a:tc>
                  <a:txBody>
                    <a:bodyPr/>
                    <a:lstStyle/>
                    <a:p>
                      <a:pPr marL="0" marR="0" algn="ctr">
                        <a:spcBef>
                          <a:spcPts val="0"/>
                        </a:spcBef>
                        <a:spcAft>
                          <a:spcPts val="0"/>
                        </a:spcAft>
                      </a:pPr>
                      <a:r>
                        <a:rPr lang="en-US" sz="1800" dirty="0">
                          <a:solidFill>
                            <a:schemeClr val="bg1"/>
                          </a:solidFill>
                          <a:effectLst/>
                        </a:rPr>
                        <a:t>Revised</a:t>
                      </a:r>
                      <a:endParaRPr lang="en-US" sz="1800" dirty="0">
                        <a:solidFill>
                          <a:schemeClr val="bg1"/>
                        </a:solidFill>
                        <a:effectLst/>
                        <a:latin typeface="Calibri" panose="020F0502020204030204" pitchFamily="34" charset="0"/>
                        <a:ea typeface="Arial" panose="020B0604020202020204" pitchFamily="34" charset="0"/>
                        <a:cs typeface="Arial" panose="020B0604020202020204" pitchFamily="34" charset="0"/>
                      </a:endParaRPr>
                    </a:p>
                  </a:txBody>
                  <a:tcPr marL="63544" marR="63544" marT="0" marB="0">
                    <a:solidFill>
                      <a:schemeClr val="accent4"/>
                    </a:solidFill>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869331267"/>
                  </a:ext>
                </a:extLst>
              </a:tr>
              <a:tr h="1347835">
                <a:tc>
                  <a:txBody>
                    <a:bodyPr/>
                    <a:lstStyle/>
                    <a:p>
                      <a:pPr marL="0" marR="0">
                        <a:spcBef>
                          <a:spcPts val="0"/>
                        </a:spcBef>
                        <a:spcAft>
                          <a:spcPts val="0"/>
                        </a:spcAft>
                      </a:pPr>
                      <a:r>
                        <a:rPr lang="en-US" sz="1800" dirty="0">
                          <a:solidFill>
                            <a:schemeClr val="tx1">
                              <a:lumMod val="65000"/>
                              <a:lumOff val="35000"/>
                            </a:schemeClr>
                          </a:solidFill>
                          <a:effectLst/>
                        </a:rPr>
                        <a:t>Statewide Workforce Education &amp;Training (WE&amp;T):  Career Connections K-12</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tc>
                <a:tc>
                  <a:txBody>
                    <a:bodyPr/>
                    <a:lstStyle/>
                    <a:p>
                      <a:pPr marL="0" marR="0">
                        <a:spcBef>
                          <a:spcPts val="0"/>
                        </a:spcBef>
                        <a:spcAft>
                          <a:spcPts val="0"/>
                        </a:spcAft>
                      </a:pPr>
                      <a:endParaRPr lang="en-US" sz="1800" b="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nchor="ctr"/>
                </a:tc>
                <a:tc>
                  <a:txBody>
                    <a:bodyPr/>
                    <a:lstStyle/>
                    <a:p>
                      <a:pPr marL="0" marR="0" algn="l">
                        <a:spcBef>
                          <a:spcPts val="0"/>
                        </a:spcBef>
                        <a:spcAft>
                          <a:spcPts val="0"/>
                        </a:spcAft>
                      </a:pPr>
                      <a:r>
                        <a:rPr lang="en-US" sz="1800" dirty="0">
                          <a:solidFill>
                            <a:schemeClr val="tx1">
                              <a:lumMod val="65000"/>
                              <a:lumOff val="35000"/>
                            </a:schemeClr>
                          </a:solidFill>
                          <a:effectLst/>
                        </a:rPr>
                        <a:t>Great Work Energy</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nchor="ctr"/>
                </a:tc>
                <a:tc>
                  <a:txBody>
                    <a:bodyPr/>
                    <a:lstStyle/>
                    <a:p>
                      <a:pPr marL="0" marR="0" algn="ctr">
                        <a:spcBef>
                          <a:spcPts val="0"/>
                        </a:spcBef>
                        <a:spcAft>
                          <a:spcPts val="0"/>
                        </a:spcAft>
                      </a:pPr>
                      <a:r>
                        <a:rPr lang="en-US" sz="1800" dirty="0">
                          <a:solidFill>
                            <a:schemeClr val="tx1">
                              <a:lumMod val="65000"/>
                              <a:lumOff val="35000"/>
                            </a:schemeClr>
                          </a:solidFill>
                          <a:effectLst/>
                          <a:latin typeface="+mn-lt"/>
                          <a:ea typeface="Arial" panose="020B0604020202020204" pitchFamily="34" charset="0"/>
                          <a:cs typeface="Arial" panose="020B0604020202020204" pitchFamily="34" charset="0"/>
                        </a:rPr>
                        <a:t>Contracting</a:t>
                      </a:r>
                    </a:p>
                  </a:txBody>
                  <a:tcPr marL="63544" marR="63544" marT="0" marB="0" anchor="ctr"/>
                </a:tc>
                <a:extLst>
                  <a:ext uri="{0D108BD9-81ED-4DB2-BD59-A6C34878D82A}">
                    <a16:rowId xmlns:a16="http://schemas.microsoft.com/office/drawing/2014/main" val="2388822141"/>
                  </a:ext>
                </a:extLst>
              </a:tr>
              <a:tr h="1078267">
                <a:tc>
                  <a:txBody>
                    <a:bodyPr/>
                    <a:lstStyle/>
                    <a:p>
                      <a:pPr marL="0" marR="0">
                        <a:spcBef>
                          <a:spcPts val="0"/>
                        </a:spcBef>
                        <a:spcAft>
                          <a:spcPts val="0"/>
                        </a:spcAft>
                      </a:pPr>
                      <a:r>
                        <a:rPr lang="en-US" sz="1800" dirty="0">
                          <a:solidFill>
                            <a:schemeClr val="tx1">
                              <a:lumMod val="65000"/>
                              <a:lumOff val="35000"/>
                            </a:schemeClr>
                          </a:solidFill>
                          <a:effectLst/>
                        </a:rPr>
                        <a:t>Statewide WE&amp;T:  Career and Workforce Readiness (CWR)</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tc>
                <a:tc>
                  <a:txBody>
                    <a:bodyPr/>
                    <a:lstStyle/>
                    <a:p>
                      <a:pPr marL="0" marR="0">
                        <a:spcBef>
                          <a:spcPts val="0"/>
                        </a:spcBef>
                        <a:spcAft>
                          <a:spcPts val="0"/>
                        </a:spcAft>
                      </a:pPr>
                      <a:endParaRPr lang="en-US" sz="1800" b="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nchor="ctr"/>
                </a:tc>
                <a:tc>
                  <a:txBody>
                    <a:bodyPr/>
                    <a:lstStyle/>
                    <a:p>
                      <a:pPr marL="0" marR="0">
                        <a:spcBef>
                          <a:spcPts val="0"/>
                        </a:spcBef>
                        <a:spcAft>
                          <a:spcPts val="0"/>
                        </a:spcAft>
                      </a:pPr>
                      <a:r>
                        <a:rPr lang="en-US" sz="1800" dirty="0">
                          <a:solidFill>
                            <a:schemeClr val="tx1">
                              <a:lumMod val="65000"/>
                              <a:lumOff val="35000"/>
                            </a:schemeClr>
                          </a:solidFill>
                          <a:effectLst/>
                        </a:rPr>
                        <a:t>Great Work Energy</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nchor="ctr"/>
                </a:tc>
                <a:tc>
                  <a:txBody>
                    <a:bodyPr/>
                    <a:lstStyle/>
                    <a:p>
                      <a:pPr marL="0" marR="0" algn="ctr">
                        <a:spcBef>
                          <a:spcPts val="0"/>
                        </a:spcBef>
                        <a:spcAft>
                          <a:spcPts val="0"/>
                        </a:spcAft>
                      </a:pPr>
                      <a:r>
                        <a:rPr lang="en-US" sz="1800" dirty="0">
                          <a:solidFill>
                            <a:schemeClr val="tx1">
                              <a:lumMod val="65000"/>
                              <a:lumOff val="35000"/>
                            </a:schemeClr>
                          </a:solidFill>
                          <a:effectLst/>
                          <a:latin typeface="+mn-lt"/>
                          <a:ea typeface="Arial" panose="020B0604020202020204" pitchFamily="34" charset="0"/>
                          <a:cs typeface="Arial" panose="020B0604020202020204" pitchFamily="34" charset="0"/>
                        </a:rPr>
                        <a:t>Contracting</a:t>
                      </a:r>
                    </a:p>
                  </a:txBody>
                  <a:tcPr marL="63544" marR="63544" marT="0" marB="0" anchor="ctr"/>
                </a:tc>
                <a:extLst>
                  <a:ext uri="{0D108BD9-81ED-4DB2-BD59-A6C34878D82A}">
                    <a16:rowId xmlns:a16="http://schemas.microsoft.com/office/drawing/2014/main" val="1223630663"/>
                  </a:ext>
                </a:extLst>
              </a:tr>
              <a:tr h="1078266">
                <a:tc>
                  <a:txBody>
                    <a:bodyPr/>
                    <a:lstStyle/>
                    <a:p>
                      <a:pPr marL="0" marR="0">
                        <a:spcBef>
                          <a:spcPts val="0"/>
                        </a:spcBef>
                        <a:spcAft>
                          <a:spcPts val="0"/>
                        </a:spcAft>
                      </a:pPr>
                      <a:r>
                        <a:rPr lang="en-US" sz="1800" dirty="0">
                          <a:solidFill>
                            <a:schemeClr val="tx1">
                              <a:lumMod val="65000"/>
                              <a:lumOff val="35000"/>
                            </a:schemeClr>
                          </a:solidFill>
                          <a:effectLst/>
                        </a:rPr>
                        <a:t>Originally proposed as Institutional-State of California and Department of Corrections DGS/CDCR </a:t>
                      </a:r>
                      <a:endParaRPr lang="en-US" sz="1800" strike="sngStrike"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tc>
                <a:tc>
                  <a:txBody>
                    <a:bodyPr/>
                    <a:lstStyle/>
                    <a:p>
                      <a:pPr marL="0" marR="0">
                        <a:spcBef>
                          <a:spcPts val="0"/>
                        </a:spcBef>
                        <a:spcAft>
                          <a:spcPts val="0"/>
                        </a:spcAft>
                      </a:pPr>
                      <a:r>
                        <a:rPr lang="en-US" sz="1800" b="0" dirty="0">
                          <a:solidFill>
                            <a:schemeClr val="tx1">
                              <a:lumMod val="65000"/>
                              <a:lumOff val="35000"/>
                            </a:schemeClr>
                          </a:solidFill>
                          <a:effectLst/>
                        </a:rPr>
                        <a:t>State of California</a:t>
                      </a:r>
                      <a:endParaRPr lang="en-US" sz="1800" b="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nchor="ctr"/>
                </a:tc>
                <a:tc>
                  <a:txBody>
                    <a:bodyPr/>
                    <a:lstStyle/>
                    <a:p>
                      <a:pPr marL="0" marR="0">
                        <a:spcBef>
                          <a:spcPts val="0"/>
                        </a:spcBef>
                        <a:spcAft>
                          <a:spcPts val="0"/>
                        </a:spcAft>
                      </a:pPr>
                      <a:r>
                        <a:rPr lang="en-US" sz="1800" dirty="0">
                          <a:solidFill>
                            <a:schemeClr val="tx1">
                              <a:lumMod val="65000"/>
                              <a:lumOff val="35000"/>
                            </a:schemeClr>
                          </a:solidFill>
                          <a:effectLst/>
                        </a:rPr>
                        <a:t>Don Arambula Consulting</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nchor="ctr"/>
                </a:tc>
                <a:tc>
                  <a:txBody>
                    <a:bodyPr/>
                    <a:lstStyle/>
                    <a:p>
                      <a:pPr marL="0" marR="0" algn="ctr">
                        <a:spcBef>
                          <a:spcPts val="0"/>
                        </a:spcBef>
                        <a:spcAft>
                          <a:spcPts val="0"/>
                        </a:spcAft>
                      </a:pPr>
                      <a:r>
                        <a:rPr lang="en-US" sz="1800" dirty="0">
                          <a:solidFill>
                            <a:schemeClr val="tx1">
                              <a:lumMod val="65000"/>
                              <a:lumOff val="35000"/>
                            </a:schemeClr>
                          </a:solidFill>
                          <a:effectLst/>
                          <a:latin typeface="+mn-lt"/>
                          <a:ea typeface="Arial" panose="020B0604020202020204" pitchFamily="34" charset="0"/>
                          <a:cs typeface="Arial" panose="020B0604020202020204" pitchFamily="34" charset="0"/>
                        </a:rPr>
                        <a:t>Contracting</a:t>
                      </a:r>
                    </a:p>
                  </a:txBody>
                  <a:tcPr marL="63544" marR="63544" marT="0" marB="0" anchor="ctr"/>
                </a:tc>
                <a:extLst>
                  <a:ext uri="{0D108BD9-81ED-4DB2-BD59-A6C34878D82A}">
                    <a16:rowId xmlns:a16="http://schemas.microsoft.com/office/drawing/2014/main" val="263338033"/>
                  </a:ext>
                </a:extLst>
              </a:tr>
            </a:tbl>
          </a:graphicData>
        </a:graphic>
      </p:graphicFrame>
    </p:spTree>
    <p:extLst>
      <p:ext uri="{BB962C8B-B14F-4D97-AF65-F5344CB8AC3E}">
        <p14:creationId xmlns:p14="http://schemas.microsoft.com/office/powerpoint/2010/main" val="20726950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CFAEE-6D5A-4E5A-984D-76329D6A1854}"/>
              </a:ext>
            </a:extLst>
          </p:cNvPr>
          <p:cNvSpPr>
            <a:spLocks noGrp="1"/>
          </p:cNvSpPr>
          <p:nvPr>
            <p:ph type="title"/>
          </p:nvPr>
        </p:nvSpPr>
        <p:spPr>
          <a:xfrm>
            <a:off x="1143000" y="609600"/>
            <a:ext cx="9875520" cy="1356360"/>
          </a:xfrm>
        </p:spPr>
        <p:txBody>
          <a:bodyPr>
            <a:normAutofit/>
          </a:bodyPr>
          <a:lstStyle/>
          <a:p>
            <a:r>
              <a:rPr lang="en-US" dirty="0">
                <a:solidFill>
                  <a:schemeClr val="tx1">
                    <a:lumMod val="65000"/>
                    <a:lumOff val="35000"/>
                  </a:schemeClr>
                </a:solidFill>
              </a:rPr>
              <a:t>PG&amp;E – IE Observations</a:t>
            </a:r>
            <a:endParaRPr lang="en-US" strike="sngStrike" dirty="0">
              <a:solidFill>
                <a:schemeClr val="tx1">
                  <a:lumMod val="65000"/>
                  <a:lumOff val="35000"/>
                </a:schemeClr>
              </a:solidFill>
            </a:endParaRPr>
          </a:p>
        </p:txBody>
      </p:sp>
      <p:sp>
        <p:nvSpPr>
          <p:cNvPr id="4" name="Footer Placeholder 3">
            <a:extLst>
              <a:ext uri="{FF2B5EF4-FFF2-40B4-BE49-F238E27FC236}">
                <a16:creationId xmlns:a16="http://schemas.microsoft.com/office/drawing/2014/main" id="{184CFF9D-B864-4AAF-B33A-E020B9C84BDA}"/>
              </a:ext>
            </a:extLst>
          </p:cNvPr>
          <p:cNvSpPr>
            <a:spLocks noGrp="1"/>
          </p:cNvSpPr>
          <p:nvPr>
            <p:ph type="ftr" sz="quarter" idx="11"/>
          </p:nvPr>
        </p:nvSpPr>
        <p:spPr>
          <a:xfrm>
            <a:off x="3949148" y="6223828"/>
            <a:ext cx="4717774" cy="365125"/>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rPr>
              <a:t>IE Semi-Annual Report: July 28, 2021 Stakeholder Meeting</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5" name="Slide Number Placeholder 4">
            <a:extLst>
              <a:ext uri="{FF2B5EF4-FFF2-40B4-BE49-F238E27FC236}">
                <a16:creationId xmlns:a16="http://schemas.microsoft.com/office/drawing/2014/main" id="{B6FAA57D-BF74-4A68-A4E3-F12CAC39530B}"/>
              </a:ext>
            </a:extLst>
          </p:cNvPr>
          <p:cNvSpPr>
            <a:spLocks noGrp="1"/>
          </p:cNvSpPr>
          <p:nvPr>
            <p:ph type="sldNum" sz="quarter" idx="12"/>
          </p:nvPr>
        </p:nvSpPr>
        <p:spPr>
          <a:xfrm>
            <a:off x="9329530" y="6223828"/>
            <a:ext cx="1706217"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AB73BC-B049-4115-A692-8D63A059BFB8}" type="slidenum">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8" name="Freeform 37">
            <a:extLst>
              <a:ext uri="{FF2B5EF4-FFF2-40B4-BE49-F238E27FC236}">
                <a16:creationId xmlns:a16="http://schemas.microsoft.com/office/drawing/2014/main" id="{DFD6BBF1-9FDA-4063-875C-61356A8F51A7}"/>
              </a:ext>
            </a:extLst>
          </p:cNvPr>
          <p:cNvSpPr/>
          <p:nvPr/>
        </p:nvSpPr>
        <p:spPr>
          <a:xfrm>
            <a:off x="764885" y="3211413"/>
            <a:ext cx="7865724" cy="1344684"/>
          </a:xfrm>
          <a:custGeom>
            <a:avLst/>
            <a:gdLst>
              <a:gd name="connsiteX0" fmla="*/ 3770835 w 8740200"/>
              <a:gd name="connsiteY0" fmla="*/ 0 h 1487756"/>
              <a:gd name="connsiteX1" fmla="*/ 3770835 w 8740200"/>
              <a:gd name="connsiteY1" fmla="*/ 13302 h 1487756"/>
              <a:gd name="connsiteX2" fmla="*/ 3822471 w 8740200"/>
              <a:gd name="connsiteY2" fmla="*/ 7877 h 1487756"/>
              <a:gd name="connsiteX3" fmla="*/ 7223515 w 8740200"/>
              <a:gd name="connsiteY3" fmla="*/ 7877 h 1487756"/>
              <a:gd name="connsiteX4" fmla="*/ 7804931 w 8740200"/>
              <a:gd name="connsiteY4" fmla="*/ 30 h 1487756"/>
              <a:gd name="connsiteX5" fmla="*/ 8249001 w 8740200"/>
              <a:gd name="connsiteY5" fmla="*/ 12362 h 1487756"/>
              <a:gd name="connsiteX6" fmla="*/ 8740200 w 8740200"/>
              <a:gd name="connsiteY6" fmla="*/ 402512 h 1487756"/>
              <a:gd name="connsiteX7" fmla="*/ 8740200 w 8740200"/>
              <a:gd name="connsiteY7" fmla="*/ 1487756 h 1487756"/>
              <a:gd name="connsiteX8" fmla="*/ 8068033 w 8740200"/>
              <a:gd name="connsiteY8" fmla="*/ 1070699 h 1487756"/>
              <a:gd name="connsiteX9" fmla="*/ 7474669 w 8740200"/>
              <a:gd name="connsiteY9" fmla="*/ 1064972 h 1487756"/>
              <a:gd name="connsiteX10" fmla="*/ 7254131 w 8740200"/>
              <a:gd name="connsiteY10" fmla="*/ 1063602 h 1487756"/>
              <a:gd name="connsiteX11" fmla="*/ 7229253 w 8740200"/>
              <a:gd name="connsiteY11" fmla="*/ 1066215 h 1487756"/>
              <a:gd name="connsiteX12" fmla="*/ 6370428 w 8740200"/>
              <a:gd name="connsiteY12" fmla="*/ 1066215 h 1487756"/>
              <a:gd name="connsiteX13" fmla="*/ 6357821 w 8740200"/>
              <a:gd name="connsiteY13" fmla="*/ 1066362 h 1487756"/>
              <a:gd name="connsiteX14" fmla="*/ 6086001 w 8740200"/>
              <a:gd name="connsiteY14" fmla="*/ 1070699 h 1487756"/>
              <a:gd name="connsiteX15" fmla="*/ 6092773 w 8740200"/>
              <a:gd name="connsiteY15" fmla="*/ 1066215 h 1487756"/>
              <a:gd name="connsiteX16" fmla="*/ 3822471 w 8740200"/>
              <a:gd name="connsiteY16" fmla="*/ 1066215 h 1487756"/>
              <a:gd name="connsiteX17" fmla="*/ 3749162 w 8740200"/>
              <a:gd name="connsiteY17" fmla="*/ 1058513 h 1487756"/>
              <a:gd name="connsiteX18" fmla="*/ 3745746 w 8740200"/>
              <a:gd name="connsiteY18" fmla="*/ 1058872 h 1487756"/>
              <a:gd name="connsiteX19" fmla="*/ 2886922 w 8740200"/>
              <a:gd name="connsiteY19" fmla="*/ 1058872 h 1487756"/>
              <a:gd name="connsiteX20" fmla="*/ 2874314 w 8740200"/>
              <a:gd name="connsiteY20" fmla="*/ 1059019 h 1487756"/>
              <a:gd name="connsiteX21" fmla="*/ 2602495 w 8740200"/>
              <a:gd name="connsiteY21" fmla="*/ 1063356 h 1487756"/>
              <a:gd name="connsiteX22" fmla="*/ 2609266 w 8740200"/>
              <a:gd name="connsiteY22" fmla="*/ 1058872 h 1487756"/>
              <a:gd name="connsiteX23" fmla="*/ 338964 w 8740200"/>
              <a:gd name="connsiteY23" fmla="*/ 1058872 h 1487756"/>
              <a:gd name="connsiteX24" fmla="*/ 0 w 8740200"/>
              <a:gd name="connsiteY24" fmla="*/ 882479 h 1487756"/>
              <a:gd name="connsiteX25" fmla="*/ 0 w 8740200"/>
              <a:gd name="connsiteY25" fmla="*/ 176927 h 1487756"/>
              <a:gd name="connsiteX26" fmla="*/ 338964 w 8740200"/>
              <a:gd name="connsiteY26" fmla="*/ 534 h 1487756"/>
              <a:gd name="connsiteX27" fmla="*/ 3740008 w 8740200"/>
              <a:gd name="connsiteY27" fmla="*/ 534 h 1487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0200" h="1487756">
                <a:moveTo>
                  <a:pt x="3770835" y="0"/>
                </a:moveTo>
                <a:lnTo>
                  <a:pt x="3770835" y="13302"/>
                </a:lnTo>
                <a:lnTo>
                  <a:pt x="3822471" y="7877"/>
                </a:lnTo>
                <a:lnTo>
                  <a:pt x="7223515" y="7877"/>
                </a:lnTo>
                <a:cubicBezTo>
                  <a:pt x="7424951" y="4140"/>
                  <a:pt x="7626386" y="403"/>
                  <a:pt x="7804931" y="30"/>
                </a:cubicBezTo>
                <a:cubicBezTo>
                  <a:pt x="7983475" y="-345"/>
                  <a:pt x="8139128" y="2646"/>
                  <a:pt x="8249001" y="12362"/>
                </a:cubicBezTo>
                <a:cubicBezTo>
                  <a:pt x="8501781" y="78135"/>
                  <a:pt x="8658335" y="156612"/>
                  <a:pt x="8740200" y="402512"/>
                </a:cubicBezTo>
                <a:lnTo>
                  <a:pt x="8740200" y="1487756"/>
                </a:lnTo>
                <a:cubicBezTo>
                  <a:pt x="8531224" y="1148431"/>
                  <a:pt x="8484545" y="1093120"/>
                  <a:pt x="8068033" y="1070699"/>
                </a:cubicBezTo>
                <a:cubicBezTo>
                  <a:pt x="7834643" y="1068458"/>
                  <a:pt x="7643038" y="1066472"/>
                  <a:pt x="7474669" y="1064972"/>
                </a:cubicBezTo>
                <a:lnTo>
                  <a:pt x="7254131" y="1063602"/>
                </a:lnTo>
                <a:lnTo>
                  <a:pt x="7229253" y="1066215"/>
                </a:lnTo>
                <a:lnTo>
                  <a:pt x="6370428" y="1066215"/>
                </a:lnTo>
                <a:lnTo>
                  <a:pt x="6357821" y="1066362"/>
                </a:lnTo>
                <a:cubicBezTo>
                  <a:pt x="6273768" y="1067534"/>
                  <a:pt x="6183937" y="1068971"/>
                  <a:pt x="6086001" y="1070699"/>
                </a:cubicBezTo>
                <a:lnTo>
                  <a:pt x="6092773" y="1066215"/>
                </a:lnTo>
                <a:lnTo>
                  <a:pt x="3822471" y="1066215"/>
                </a:lnTo>
                <a:lnTo>
                  <a:pt x="3749162" y="1058513"/>
                </a:lnTo>
                <a:lnTo>
                  <a:pt x="3745746" y="1058872"/>
                </a:lnTo>
                <a:lnTo>
                  <a:pt x="2886922" y="1058872"/>
                </a:lnTo>
                <a:lnTo>
                  <a:pt x="2874314" y="1059019"/>
                </a:lnTo>
                <a:cubicBezTo>
                  <a:pt x="2790261" y="1060191"/>
                  <a:pt x="2700431" y="1061627"/>
                  <a:pt x="2602495" y="1063356"/>
                </a:cubicBezTo>
                <a:lnTo>
                  <a:pt x="2609266" y="1058872"/>
                </a:lnTo>
                <a:lnTo>
                  <a:pt x="338964" y="1058872"/>
                </a:lnTo>
                <a:cubicBezTo>
                  <a:pt x="151758" y="1058872"/>
                  <a:pt x="0" y="979898"/>
                  <a:pt x="0" y="882479"/>
                </a:cubicBezTo>
                <a:lnTo>
                  <a:pt x="0" y="176927"/>
                </a:lnTo>
                <a:cubicBezTo>
                  <a:pt x="0" y="79507"/>
                  <a:pt x="151758" y="534"/>
                  <a:pt x="338964" y="534"/>
                </a:cubicBezTo>
                <a:lnTo>
                  <a:pt x="3740008" y="534"/>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1440" rIns="91440" bIns="457200" rtlCol="0" anchor="t" anchorCtr="0">
            <a:noAutofit/>
          </a:bodyPr>
          <a:lstStyle/>
          <a:p>
            <a:pPr marL="0" marR="0" lvl="1" indent="0" algn="l" defTabSz="4572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DDDDDD">
                    <a:lumMod val="50000"/>
                  </a:srgbClr>
                </a:solidFill>
                <a:effectLst/>
                <a:uLnTx/>
                <a:uFillTx/>
                <a:latin typeface="Corbel" panose="020B0503020204020204"/>
                <a:ea typeface="+mn-ea"/>
                <a:cs typeface="+mn-cs"/>
              </a:rPr>
              <a:t>PG&amp;E has generally improved communications, but the IEs are still  unclear about the overall schedule, e.g., when solicitation materials will be available for review. PG&amp;E has instituted a monthly check-in meeting</a:t>
            </a:r>
            <a:r>
              <a:rPr kumimoji="0" lang="en-US" sz="2000" b="0" i="0" u="none" strike="noStrike" kern="1200" cap="none" spc="0" normalizeH="0" baseline="0" noProof="0" dirty="0">
                <a:ln>
                  <a:noFill/>
                </a:ln>
                <a:solidFill>
                  <a:srgbClr val="DDDDDD">
                    <a:lumMod val="50000"/>
                  </a:srgbClr>
                </a:solidFill>
                <a:effectLst/>
                <a:uLnTx/>
                <a:uFillTx/>
                <a:latin typeface="Corbel" panose="020B0503020204020204"/>
                <a:ea typeface="+mn-ea"/>
                <a:cs typeface="+mn-cs"/>
              </a:rPr>
              <a:t>. </a:t>
            </a:r>
          </a:p>
        </p:txBody>
      </p:sp>
      <p:sp>
        <p:nvSpPr>
          <p:cNvPr id="9" name="Freeform 13">
            <a:extLst>
              <a:ext uri="{FF2B5EF4-FFF2-40B4-BE49-F238E27FC236}">
                <a16:creationId xmlns:a16="http://schemas.microsoft.com/office/drawing/2014/main" id="{A5E6CD95-4D00-4C6F-A6D9-1E6D401E74FC}"/>
              </a:ext>
            </a:extLst>
          </p:cNvPr>
          <p:cNvSpPr/>
          <p:nvPr/>
        </p:nvSpPr>
        <p:spPr>
          <a:xfrm>
            <a:off x="8648032" y="3240610"/>
            <a:ext cx="3264408" cy="1197864"/>
          </a:xfrm>
          <a:custGeom>
            <a:avLst/>
            <a:gdLst>
              <a:gd name="connsiteX0" fmla="*/ 263525 w 958848"/>
              <a:gd name="connsiteY0" fmla="*/ 0 h 1051808"/>
              <a:gd name="connsiteX1" fmla="*/ 263525 w 958848"/>
              <a:gd name="connsiteY1" fmla="*/ 4058 h 1051808"/>
              <a:gd name="connsiteX2" fmla="*/ 833962 w 958848"/>
              <a:gd name="connsiteY2" fmla="*/ 4058 h 1051808"/>
              <a:gd name="connsiteX3" fmla="*/ 958848 w 958848"/>
              <a:gd name="connsiteY3" fmla="*/ 128944 h 1051808"/>
              <a:gd name="connsiteX4" fmla="*/ 958848 w 958848"/>
              <a:gd name="connsiteY4" fmla="*/ 628472 h 1051808"/>
              <a:gd name="connsiteX5" fmla="*/ 833962 w 958848"/>
              <a:gd name="connsiteY5" fmla="*/ 753358 h 1051808"/>
              <a:gd name="connsiteX6" fmla="*/ 263525 w 958848"/>
              <a:gd name="connsiteY6" fmla="*/ 753358 h 1051808"/>
              <a:gd name="connsiteX7" fmla="*/ 263525 w 958848"/>
              <a:gd name="connsiteY7" fmla="*/ 756235 h 1051808"/>
              <a:gd name="connsiteX8" fmla="*/ 247650 w 958848"/>
              <a:gd name="connsiteY8" fmla="*/ 756533 h 1051808"/>
              <a:gd name="connsiteX9" fmla="*/ 0 w 958848"/>
              <a:gd name="connsiteY9" fmla="*/ 1051808 h 1051808"/>
              <a:gd name="connsiteX10" fmla="*/ 0 w 958848"/>
              <a:gd name="connsiteY10" fmla="*/ 283458 h 1051808"/>
              <a:gd name="connsiteX11" fmla="*/ 117649 w 958848"/>
              <a:gd name="connsiteY11" fmla="*/ 45556 h 1051808"/>
              <a:gd name="connsiteX12" fmla="*/ 153826 w 958848"/>
              <a:gd name="connsiteY12" fmla="*/ 23663 h 1051808"/>
              <a:gd name="connsiteX13" fmla="*/ 168348 w 958848"/>
              <a:gd name="connsiteY13" fmla="*/ 13872 h 1051808"/>
              <a:gd name="connsiteX14" fmla="*/ 170834 w 958848"/>
              <a:gd name="connsiteY14" fmla="*/ 13370 h 1051808"/>
              <a:gd name="connsiteX15" fmla="*/ 180975 w 958848"/>
              <a:gd name="connsiteY15" fmla="*/ 7233 h 1051808"/>
              <a:gd name="connsiteX16" fmla="*/ 253293 w 958848"/>
              <a:gd name="connsiteY16" fmla="*/ 189 h 1051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8848" h="1051808">
                <a:moveTo>
                  <a:pt x="263525" y="0"/>
                </a:moveTo>
                <a:lnTo>
                  <a:pt x="263525" y="4058"/>
                </a:lnTo>
                <a:lnTo>
                  <a:pt x="833962" y="4058"/>
                </a:lnTo>
                <a:cubicBezTo>
                  <a:pt x="902935" y="4058"/>
                  <a:pt x="958848" y="59971"/>
                  <a:pt x="958848" y="128944"/>
                </a:cubicBezTo>
                <a:lnTo>
                  <a:pt x="958848" y="628472"/>
                </a:lnTo>
                <a:cubicBezTo>
                  <a:pt x="958848" y="697445"/>
                  <a:pt x="902935" y="753358"/>
                  <a:pt x="833962" y="753358"/>
                </a:cubicBezTo>
                <a:lnTo>
                  <a:pt x="263525" y="753358"/>
                </a:lnTo>
                <a:lnTo>
                  <a:pt x="263525" y="756235"/>
                </a:lnTo>
                <a:lnTo>
                  <a:pt x="247650" y="756533"/>
                </a:lnTo>
                <a:cubicBezTo>
                  <a:pt x="94192" y="772407"/>
                  <a:pt x="76994" y="811567"/>
                  <a:pt x="0" y="1051808"/>
                </a:cubicBezTo>
                <a:lnTo>
                  <a:pt x="0" y="283458"/>
                </a:lnTo>
                <a:cubicBezTo>
                  <a:pt x="22621" y="152886"/>
                  <a:pt x="60722" y="88989"/>
                  <a:pt x="117649" y="45556"/>
                </a:cubicBezTo>
                <a:lnTo>
                  <a:pt x="153826" y="23663"/>
                </a:lnTo>
                <a:lnTo>
                  <a:pt x="168348" y="13872"/>
                </a:lnTo>
                <a:lnTo>
                  <a:pt x="170834" y="13370"/>
                </a:lnTo>
                <a:lnTo>
                  <a:pt x="180975" y="7233"/>
                </a:lnTo>
                <a:cubicBezTo>
                  <a:pt x="201215" y="3794"/>
                  <a:pt x="225673" y="1545"/>
                  <a:pt x="253293" y="189"/>
                </a:cubicBezTo>
                <a:close/>
              </a:path>
            </a:pathLst>
          </a:cu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white">
                    <a:lumMod val="95000"/>
                  </a:prstClr>
                </a:solidFill>
                <a:effectLst/>
                <a:uLnTx/>
                <a:uFillTx/>
                <a:latin typeface="Corbel" panose="020B0503020204020204"/>
                <a:ea typeface="+mn-ea"/>
                <a:cs typeface="+mn-cs"/>
              </a:rPr>
              <a:t>Better Schedules and Preparation</a:t>
            </a:r>
          </a:p>
        </p:txBody>
      </p:sp>
      <p:sp>
        <p:nvSpPr>
          <p:cNvPr id="12" name="Freeform 38">
            <a:extLst>
              <a:ext uri="{FF2B5EF4-FFF2-40B4-BE49-F238E27FC236}">
                <a16:creationId xmlns:a16="http://schemas.microsoft.com/office/drawing/2014/main" id="{1C687167-AD0B-D24A-A7DF-3F814C57B8AB}"/>
              </a:ext>
            </a:extLst>
          </p:cNvPr>
          <p:cNvSpPr/>
          <p:nvPr/>
        </p:nvSpPr>
        <p:spPr>
          <a:xfrm>
            <a:off x="814385" y="4464547"/>
            <a:ext cx="7865724" cy="1219583"/>
          </a:xfrm>
          <a:custGeom>
            <a:avLst/>
            <a:gdLst>
              <a:gd name="connsiteX0" fmla="*/ 3770835 w 8740200"/>
              <a:gd name="connsiteY0" fmla="*/ 0 h 1487756"/>
              <a:gd name="connsiteX1" fmla="*/ 3770835 w 8740200"/>
              <a:gd name="connsiteY1" fmla="*/ 13302 h 1487756"/>
              <a:gd name="connsiteX2" fmla="*/ 3822471 w 8740200"/>
              <a:gd name="connsiteY2" fmla="*/ 7877 h 1487756"/>
              <a:gd name="connsiteX3" fmla="*/ 7223515 w 8740200"/>
              <a:gd name="connsiteY3" fmla="*/ 7877 h 1487756"/>
              <a:gd name="connsiteX4" fmla="*/ 7804931 w 8740200"/>
              <a:gd name="connsiteY4" fmla="*/ 30 h 1487756"/>
              <a:gd name="connsiteX5" fmla="*/ 8249001 w 8740200"/>
              <a:gd name="connsiteY5" fmla="*/ 12362 h 1487756"/>
              <a:gd name="connsiteX6" fmla="*/ 8740200 w 8740200"/>
              <a:gd name="connsiteY6" fmla="*/ 402512 h 1487756"/>
              <a:gd name="connsiteX7" fmla="*/ 8740200 w 8740200"/>
              <a:gd name="connsiteY7" fmla="*/ 1487756 h 1487756"/>
              <a:gd name="connsiteX8" fmla="*/ 8068033 w 8740200"/>
              <a:gd name="connsiteY8" fmla="*/ 1070699 h 1487756"/>
              <a:gd name="connsiteX9" fmla="*/ 7474669 w 8740200"/>
              <a:gd name="connsiteY9" fmla="*/ 1064972 h 1487756"/>
              <a:gd name="connsiteX10" fmla="*/ 7254131 w 8740200"/>
              <a:gd name="connsiteY10" fmla="*/ 1063602 h 1487756"/>
              <a:gd name="connsiteX11" fmla="*/ 7229253 w 8740200"/>
              <a:gd name="connsiteY11" fmla="*/ 1066215 h 1487756"/>
              <a:gd name="connsiteX12" fmla="*/ 6370428 w 8740200"/>
              <a:gd name="connsiteY12" fmla="*/ 1066215 h 1487756"/>
              <a:gd name="connsiteX13" fmla="*/ 6357821 w 8740200"/>
              <a:gd name="connsiteY13" fmla="*/ 1066362 h 1487756"/>
              <a:gd name="connsiteX14" fmla="*/ 6086001 w 8740200"/>
              <a:gd name="connsiteY14" fmla="*/ 1070699 h 1487756"/>
              <a:gd name="connsiteX15" fmla="*/ 6092773 w 8740200"/>
              <a:gd name="connsiteY15" fmla="*/ 1066215 h 1487756"/>
              <a:gd name="connsiteX16" fmla="*/ 3822471 w 8740200"/>
              <a:gd name="connsiteY16" fmla="*/ 1066215 h 1487756"/>
              <a:gd name="connsiteX17" fmla="*/ 3749161 w 8740200"/>
              <a:gd name="connsiteY17" fmla="*/ 1058513 h 1487756"/>
              <a:gd name="connsiteX18" fmla="*/ 3745746 w 8740200"/>
              <a:gd name="connsiteY18" fmla="*/ 1058872 h 1487756"/>
              <a:gd name="connsiteX19" fmla="*/ 2886922 w 8740200"/>
              <a:gd name="connsiteY19" fmla="*/ 1058872 h 1487756"/>
              <a:gd name="connsiteX20" fmla="*/ 2874314 w 8740200"/>
              <a:gd name="connsiteY20" fmla="*/ 1059019 h 1487756"/>
              <a:gd name="connsiteX21" fmla="*/ 2602495 w 8740200"/>
              <a:gd name="connsiteY21" fmla="*/ 1063356 h 1487756"/>
              <a:gd name="connsiteX22" fmla="*/ 2609266 w 8740200"/>
              <a:gd name="connsiteY22" fmla="*/ 1058872 h 1487756"/>
              <a:gd name="connsiteX23" fmla="*/ 338964 w 8740200"/>
              <a:gd name="connsiteY23" fmla="*/ 1058872 h 1487756"/>
              <a:gd name="connsiteX24" fmla="*/ 0 w 8740200"/>
              <a:gd name="connsiteY24" fmla="*/ 882479 h 1487756"/>
              <a:gd name="connsiteX25" fmla="*/ 0 w 8740200"/>
              <a:gd name="connsiteY25" fmla="*/ 176927 h 1487756"/>
              <a:gd name="connsiteX26" fmla="*/ 338964 w 8740200"/>
              <a:gd name="connsiteY26" fmla="*/ 534 h 1487756"/>
              <a:gd name="connsiteX27" fmla="*/ 3740008 w 8740200"/>
              <a:gd name="connsiteY27" fmla="*/ 534 h 1487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0200" h="1487756">
                <a:moveTo>
                  <a:pt x="3770835" y="0"/>
                </a:moveTo>
                <a:lnTo>
                  <a:pt x="3770835" y="13302"/>
                </a:lnTo>
                <a:lnTo>
                  <a:pt x="3822471" y="7877"/>
                </a:lnTo>
                <a:lnTo>
                  <a:pt x="7223515" y="7877"/>
                </a:lnTo>
                <a:cubicBezTo>
                  <a:pt x="7424951" y="4140"/>
                  <a:pt x="7626386" y="403"/>
                  <a:pt x="7804931" y="30"/>
                </a:cubicBezTo>
                <a:cubicBezTo>
                  <a:pt x="7983475" y="-345"/>
                  <a:pt x="8139128" y="2646"/>
                  <a:pt x="8249001" y="12362"/>
                </a:cubicBezTo>
                <a:cubicBezTo>
                  <a:pt x="8501781" y="78135"/>
                  <a:pt x="8658335" y="156612"/>
                  <a:pt x="8740200" y="402512"/>
                </a:cubicBezTo>
                <a:lnTo>
                  <a:pt x="8740200" y="1487756"/>
                </a:lnTo>
                <a:cubicBezTo>
                  <a:pt x="8531224" y="1148431"/>
                  <a:pt x="8484545" y="1093120"/>
                  <a:pt x="8068033" y="1070699"/>
                </a:cubicBezTo>
                <a:cubicBezTo>
                  <a:pt x="7834643" y="1068458"/>
                  <a:pt x="7643038" y="1066472"/>
                  <a:pt x="7474669" y="1064972"/>
                </a:cubicBezTo>
                <a:lnTo>
                  <a:pt x="7254131" y="1063602"/>
                </a:lnTo>
                <a:lnTo>
                  <a:pt x="7229253" y="1066215"/>
                </a:lnTo>
                <a:lnTo>
                  <a:pt x="6370428" y="1066215"/>
                </a:lnTo>
                <a:lnTo>
                  <a:pt x="6357821" y="1066362"/>
                </a:lnTo>
                <a:cubicBezTo>
                  <a:pt x="6273768" y="1067534"/>
                  <a:pt x="6183937" y="1068971"/>
                  <a:pt x="6086001" y="1070699"/>
                </a:cubicBezTo>
                <a:lnTo>
                  <a:pt x="6092773" y="1066215"/>
                </a:lnTo>
                <a:lnTo>
                  <a:pt x="3822471" y="1066215"/>
                </a:lnTo>
                <a:lnTo>
                  <a:pt x="3749161" y="1058513"/>
                </a:lnTo>
                <a:lnTo>
                  <a:pt x="3745746" y="1058872"/>
                </a:lnTo>
                <a:lnTo>
                  <a:pt x="2886922" y="1058872"/>
                </a:lnTo>
                <a:lnTo>
                  <a:pt x="2874314" y="1059019"/>
                </a:lnTo>
                <a:cubicBezTo>
                  <a:pt x="2790261" y="1060191"/>
                  <a:pt x="2700431" y="1061627"/>
                  <a:pt x="2602495" y="1063356"/>
                </a:cubicBezTo>
                <a:lnTo>
                  <a:pt x="2609266" y="1058872"/>
                </a:lnTo>
                <a:lnTo>
                  <a:pt x="338964" y="1058872"/>
                </a:lnTo>
                <a:cubicBezTo>
                  <a:pt x="151758" y="1058872"/>
                  <a:pt x="0" y="979899"/>
                  <a:pt x="0" y="882479"/>
                </a:cubicBezTo>
                <a:lnTo>
                  <a:pt x="0" y="176927"/>
                </a:lnTo>
                <a:cubicBezTo>
                  <a:pt x="0" y="79508"/>
                  <a:pt x="151758" y="534"/>
                  <a:pt x="338964" y="534"/>
                </a:cubicBezTo>
                <a:lnTo>
                  <a:pt x="3740008" y="534"/>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1440" rIns="91440" bIns="457200" rtlCol="0" anchor="t" anchorCtr="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DDDDDD">
                    <a:lumMod val="50000"/>
                  </a:srgbClr>
                </a:solidFill>
                <a:effectLst/>
                <a:uLnTx/>
                <a:uFillTx/>
                <a:latin typeface="Corbel" panose="020B0503020204020204"/>
                <a:ea typeface="+mn-ea"/>
                <a:cs typeface="+mn-cs"/>
              </a:rPr>
              <a:t>Given the cost and time impact on bidders, some IEs </a:t>
            </a:r>
            <a:r>
              <a:rPr kumimoji="0" lang="en-US" sz="1800" b="0" i="0" u="none" strike="noStrike" kern="1200" cap="none" spc="0" normalizeH="0" baseline="0" noProof="0" dirty="0">
                <a:ln>
                  <a:noFill/>
                </a:ln>
                <a:solidFill>
                  <a:srgbClr val="000000">
                    <a:lumMod val="65000"/>
                    <a:lumOff val="35000"/>
                  </a:srgbClr>
                </a:solidFill>
                <a:effectLst/>
                <a:uLnTx/>
                <a:uFillTx/>
                <a:latin typeface="Corbel" panose="020B0503020204020204"/>
                <a:ea typeface="+mn-ea"/>
                <a:cs typeface="+mn-cs"/>
              </a:rPr>
              <a:t>recommended only the highest ranked proposal </a:t>
            </a:r>
            <a:r>
              <a:rPr kumimoji="0" lang="en-US" sz="1800" b="0" i="0" u="none" strike="noStrike" kern="1200" cap="none" spc="0" normalizeH="0" baseline="0" noProof="0" dirty="0">
                <a:ln>
                  <a:noFill/>
                </a:ln>
                <a:solidFill>
                  <a:srgbClr val="DDDDDD">
                    <a:lumMod val="50000"/>
                  </a:srgbClr>
                </a:solidFill>
                <a:effectLst/>
                <a:uLnTx/>
                <a:uFillTx/>
                <a:latin typeface="Corbel" panose="020B0503020204020204"/>
                <a:ea typeface="+mn-ea"/>
                <a:cs typeface="+mn-cs"/>
              </a:rPr>
              <a:t>be invited to negotiations. PG&amp;E has reduced the number of bidders invited to contract negotiations during the reporting period. </a:t>
            </a:r>
          </a:p>
        </p:txBody>
      </p:sp>
      <p:sp>
        <p:nvSpPr>
          <p:cNvPr id="13" name="Freeform 15">
            <a:extLst>
              <a:ext uri="{FF2B5EF4-FFF2-40B4-BE49-F238E27FC236}">
                <a16:creationId xmlns:a16="http://schemas.microsoft.com/office/drawing/2014/main" id="{92356E06-080B-3C4E-8ECD-AF15766F3A8B}"/>
              </a:ext>
            </a:extLst>
          </p:cNvPr>
          <p:cNvSpPr/>
          <p:nvPr/>
        </p:nvSpPr>
        <p:spPr>
          <a:xfrm>
            <a:off x="8666922" y="4442383"/>
            <a:ext cx="3264408" cy="1197864"/>
          </a:xfrm>
          <a:custGeom>
            <a:avLst/>
            <a:gdLst>
              <a:gd name="connsiteX0" fmla="*/ 263525 w 958848"/>
              <a:gd name="connsiteY0" fmla="*/ 0 h 1051808"/>
              <a:gd name="connsiteX1" fmla="*/ 263525 w 958848"/>
              <a:gd name="connsiteY1" fmla="*/ 4058 h 1051808"/>
              <a:gd name="connsiteX2" fmla="*/ 833962 w 958848"/>
              <a:gd name="connsiteY2" fmla="*/ 4058 h 1051808"/>
              <a:gd name="connsiteX3" fmla="*/ 958848 w 958848"/>
              <a:gd name="connsiteY3" fmla="*/ 128944 h 1051808"/>
              <a:gd name="connsiteX4" fmla="*/ 958848 w 958848"/>
              <a:gd name="connsiteY4" fmla="*/ 628472 h 1051808"/>
              <a:gd name="connsiteX5" fmla="*/ 833962 w 958848"/>
              <a:gd name="connsiteY5" fmla="*/ 753358 h 1051808"/>
              <a:gd name="connsiteX6" fmla="*/ 263525 w 958848"/>
              <a:gd name="connsiteY6" fmla="*/ 753358 h 1051808"/>
              <a:gd name="connsiteX7" fmla="*/ 263525 w 958848"/>
              <a:gd name="connsiteY7" fmla="*/ 756235 h 1051808"/>
              <a:gd name="connsiteX8" fmla="*/ 247650 w 958848"/>
              <a:gd name="connsiteY8" fmla="*/ 756533 h 1051808"/>
              <a:gd name="connsiteX9" fmla="*/ 0 w 958848"/>
              <a:gd name="connsiteY9" fmla="*/ 1051808 h 1051808"/>
              <a:gd name="connsiteX10" fmla="*/ 0 w 958848"/>
              <a:gd name="connsiteY10" fmla="*/ 283458 h 1051808"/>
              <a:gd name="connsiteX11" fmla="*/ 117649 w 958848"/>
              <a:gd name="connsiteY11" fmla="*/ 45556 h 1051808"/>
              <a:gd name="connsiteX12" fmla="*/ 153826 w 958848"/>
              <a:gd name="connsiteY12" fmla="*/ 23663 h 1051808"/>
              <a:gd name="connsiteX13" fmla="*/ 168348 w 958848"/>
              <a:gd name="connsiteY13" fmla="*/ 13872 h 1051808"/>
              <a:gd name="connsiteX14" fmla="*/ 170834 w 958848"/>
              <a:gd name="connsiteY14" fmla="*/ 13370 h 1051808"/>
              <a:gd name="connsiteX15" fmla="*/ 180975 w 958848"/>
              <a:gd name="connsiteY15" fmla="*/ 7233 h 1051808"/>
              <a:gd name="connsiteX16" fmla="*/ 253293 w 958848"/>
              <a:gd name="connsiteY16" fmla="*/ 189 h 1051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8848" h="1051808">
                <a:moveTo>
                  <a:pt x="263525" y="0"/>
                </a:moveTo>
                <a:lnTo>
                  <a:pt x="263525" y="4058"/>
                </a:lnTo>
                <a:lnTo>
                  <a:pt x="833962" y="4058"/>
                </a:lnTo>
                <a:cubicBezTo>
                  <a:pt x="902935" y="4058"/>
                  <a:pt x="958848" y="59971"/>
                  <a:pt x="958848" y="128944"/>
                </a:cubicBezTo>
                <a:lnTo>
                  <a:pt x="958848" y="628472"/>
                </a:lnTo>
                <a:cubicBezTo>
                  <a:pt x="958848" y="697445"/>
                  <a:pt x="902935" y="753358"/>
                  <a:pt x="833962" y="753358"/>
                </a:cubicBezTo>
                <a:lnTo>
                  <a:pt x="263525" y="753358"/>
                </a:lnTo>
                <a:lnTo>
                  <a:pt x="263525" y="756235"/>
                </a:lnTo>
                <a:lnTo>
                  <a:pt x="247650" y="756533"/>
                </a:lnTo>
                <a:cubicBezTo>
                  <a:pt x="94192" y="772407"/>
                  <a:pt x="76994" y="811567"/>
                  <a:pt x="0" y="1051808"/>
                </a:cubicBezTo>
                <a:lnTo>
                  <a:pt x="0" y="283458"/>
                </a:lnTo>
                <a:cubicBezTo>
                  <a:pt x="22621" y="152886"/>
                  <a:pt x="60722" y="88989"/>
                  <a:pt x="117649" y="45556"/>
                </a:cubicBezTo>
                <a:lnTo>
                  <a:pt x="153826" y="23663"/>
                </a:lnTo>
                <a:lnTo>
                  <a:pt x="168348" y="13872"/>
                </a:lnTo>
                <a:lnTo>
                  <a:pt x="170834" y="13370"/>
                </a:lnTo>
                <a:lnTo>
                  <a:pt x="180975" y="7233"/>
                </a:lnTo>
                <a:cubicBezTo>
                  <a:pt x="201215" y="3794"/>
                  <a:pt x="225673" y="1545"/>
                  <a:pt x="253293" y="189"/>
                </a:cubicBezTo>
                <a:close/>
              </a:path>
            </a:pathLst>
          </a:cu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FFFF">
                    <a:lumMod val="95000"/>
                  </a:srgbClr>
                </a:solidFill>
                <a:effectLst/>
                <a:uLnTx/>
                <a:uFillTx/>
                <a:latin typeface="Corbel" panose="020B0503020204020204"/>
                <a:ea typeface="+mn-ea"/>
                <a:cs typeface="+mn-cs"/>
              </a:rPr>
              <a:t>Bidders Invited to Negotiations</a:t>
            </a:r>
          </a:p>
        </p:txBody>
      </p:sp>
      <p:sp>
        <p:nvSpPr>
          <p:cNvPr id="14" name="Freeform 36">
            <a:extLst>
              <a:ext uri="{FF2B5EF4-FFF2-40B4-BE49-F238E27FC236}">
                <a16:creationId xmlns:a16="http://schemas.microsoft.com/office/drawing/2014/main" id="{E4353425-3900-4EFC-9EA2-75A05FCC2E40}"/>
              </a:ext>
            </a:extLst>
          </p:cNvPr>
          <p:cNvSpPr/>
          <p:nvPr/>
        </p:nvSpPr>
        <p:spPr>
          <a:xfrm>
            <a:off x="785143" y="2030091"/>
            <a:ext cx="7865725" cy="1235670"/>
          </a:xfrm>
          <a:custGeom>
            <a:avLst/>
            <a:gdLst>
              <a:gd name="connsiteX0" fmla="*/ 7804931 w 8740200"/>
              <a:gd name="connsiteY0" fmla="*/ 30 h 1487756"/>
              <a:gd name="connsiteX1" fmla="*/ 8249001 w 8740200"/>
              <a:gd name="connsiteY1" fmla="*/ 12362 h 1487756"/>
              <a:gd name="connsiteX2" fmla="*/ 8740200 w 8740200"/>
              <a:gd name="connsiteY2" fmla="*/ 402512 h 1487756"/>
              <a:gd name="connsiteX3" fmla="*/ 8740200 w 8740200"/>
              <a:gd name="connsiteY3" fmla="*/ 1487756 h 1487756"/>
              <a:gd name="connsiteX4" fmla="*/ 8068033 w 8740200"/>
              <a:gd name="connsiteY4" fmla="*/ 1070699 h 1487756"/>
              <a:gd name="connsiteX5" fmla="*/ 7474669 w 8740200"/>
              <a:gd name="connsiteY5" fmla="*/ 1064972 h 1487756"/>
              <a:gd name="connsiteX6" fmla="*/ 7254131 w 8740200"/>
              <a:gd name="connsiteY6" fmla="*/ 1063602 h 1487756"/>
              <a:gd name="connsiteX7" fmla="*/ 7229253 w 8740200"/>
              <a:gd name="connsiteY7" fmla="*/ 1066215 h 1487756"/>
              <a:gd name="connsiteX8" fmla="*/ 6370428 w 8740200"/>
              <a:gd name="connsiteY8" fmla="*/ 1066215 h 1487756"/>
              <a:gd name="connsiteX9" fmla="*/ 6357821 w 8740200"/>
              <a:gd name="connsiteY9" fmla="*/ 1066362 h 1487756"/>
              <a:gd name="connsiteX10" fmla="*/ 6086001 w 8740200"/>
              <a:gd name="connsiteY10" fmla="*/ 1070699 h 1487756"/>
              <a:gd name="connsiteX11" fmla="*/ 6092773 w 8740200"/>
              <a:gd name="connsiteY11" fmla="*/ 1066215 h 1487756"/>
              <a:gd name="connsiteX12" fmla="*/ 3822471 w 8740200"/>
              <a:gd name="connsiteY12" fmla="*/ 1066215 h 1487756"/>
              <a:gd name="connsiteX13" fmla="*/ 3770835 w 8740200"/>
              <a:gd name="connsiteY13" fmla="*/ 1060790 h 1487756"/>
              <a:gd name="connsiteX14" fmla="*/ 3770835 w 8740200"/>
              <a:gd name="connsiteY14" fmla="*/ 1063603 h 1487756"/>
              <a:gd name="connsiteX15" fmla="*/ 3770624 w 8740200"/>
              <a:gd name="connsiteY15" fmla="*/ 1063602 h 1487756"/>
              <a:gd name="connsiteX16" fmla="*/ 3745746 w 8740200"/>
              <a:gd name="connsiteY16" fmla="*/ 1066215 h 1487756"/>
              <a:gd name="connsiteX17" fmla="*/ 2886922 w 8740200"/>
              <a:gd name="connsiteY17" fmla="*/ 1066215 h 1487756"/>
              <a:gd name="connsiteX18" fmla="*/ 2874314 w 8740200"/>
              <a:gd name="connsiteY18" fmla="*/ 1066362 h 1487756"/>
              <a:gd name="connsiteX19" fmla="*/ 2602495 w 8740200"/>
              <a:gd name="connsiteY19" fmla="*/ 1070699 h 1487756"/>
              <a:gd name="connsiteX20" fmla="*/ 2609266 w 8740200"/>
              <a:gd name="connsiteY20" fmla="*/ 1066215 h 1487756"/>
              <a:gd name="connsiteX21" fmla="*/ 338964 w 8740200"/>
              <a:gd name="connsiteY21" fmla="*/ 1066215 h 1487756"/>
              <a:gd name="connsiteX22" fmla="*/ 0 w 8740200"/>
              <a:gd name="connsiteY22" fmla="*/ 889822 h 1487756"/>
              <a:gd name="connsiteX23" fmla="*/ 0 w 8740200"/>
              <a:gd name="connsiteY23" fmla="*/ 184270 h 1487756"/>
              <a:gd name="connsiteX24" fmla="*/ 338964 w 8740200"/>
              <a:gd name="connsiteY24" fmla="*/ 7877 h 1487756"/>
              <a:gd name="connsiteX25" fmla="*/ 3740008 w 8740200"/>
              <a:gd name="connsiteY25" fmla="*/ 7877 h 1487756"/>
              <a:gd name="connsiteX26" fmla="*/ 3770835 w 8740200"/>
              <a:gd name="connsiteY26" fmla="*/ 7343 h 1487756"/>
              <a:gd name="connsiteX27" fmla="*/ 3770835 w 8740200"/>
              <a:gd name="connsiteY27" fmla="*/ 13302 h 1487756"/>
              <a:gd name="connsiteX28" fmla="*/ 3822471 w 8740200"/>
              <a:gd name="connsiteY28" fmla="*/ 7877 h 1487756"/>
              <a:gd name="connsiteX29" fmla="*/ 7223515 w 8740200"/>
              <a:gd name="connsiteY29" fmla="*/ 7877 h 1487756"/>
              <a:gd name="connsiteX30" fmla="*/ 7804931 w 8740200"/>
              <a:gd name="connsiteY30" fmla="*/ 30 h 1487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740200" h="1487756">
                <a:moveTo>
                  <a:pt x="7804931" y="30"/>
                </a:moveTo>
                <a:cubicBezTo>
                  <a:pt x="7983475" y="-345"/>
                  <a:pt x="8139128" y="2645"/>
                  <a:pt x="8249001" y="12362"/>
                </a:cubicBezTo>
                <a:cubicBezTo>
                  <a:pt x="8501781" y="78135"/>
                  <a:pt x="8658335" y="156612"/>
                  <a:pt x="8740200" y="402512"/>
                </a:cubicBezTo>
                <a:lnTo>
                  <a:pt x="8740200" y="1487756"/>
                </a:lnTo>
                <a:cubicBezTo>
                  <a:pt x="8531224" y="1148431"/>
                  <a:pt x="8484545" y="1093120"/>
                  <a:pt x="8068033" y="1070699"/>
                </a:cubicBezTo>
                <a:cubicBezTo>
                  <a:pt x="7834643" y="1068458"/>
                  <a:pt x="7643038" y="1066472"/>
                  <a:pt x="7474669" y="1064972"/>
                </a:cubicBezTo>
                <a:lnTo>
                  <a:pt x="7254131" y="1063602"/>
                </a:lnTo>
                <a:lnTo>
                  <a:pt x="7229253" y="1066215"/>
                </a:lnTo>
                <a:lnTo>
                  <a:pt x="6370428" y="1066215"/>
                </a:lnTo>
                <a:lnTo>
                  <a:pt x="6357821" y="1066362"/>
                </a:lnTo>
                <a:cubicBezTo>
                  <a:pt x="6273768" y="1067534"/>
                  <a:pt x="6183937" y="1068971"/>
                  <a:pt x="6086001" y="1070699"/>
                </a:cubicBezTo>
                <a:lnTo>
                  <a:pt x="6092773" y="1066215"/>
                </a:lnTo>
                <a:lnTo>
                  <a:pt x="3822471" y="1066215"/>
                </a:lnTo>
                <a:lnTo>
                  <a:pt x="3770835" y="1060790"/>
                </a:lnTo>
                <a:lnTo>
                  <a:pt x="3770835" y="1063603"/>
                </a:lnTo>
                <a:lnTo>
                  <a:pt x="3770624" y="1063602"/>
                </a:lnTo>
                <a:lnTo>
                  <a:pt x="3745746" y="1066215"/>
                </a:lnTo>
                <a:lnTo>
                  <a:pt x="2886922" y="1066215"/>
                </a:lnTo>
                <a:lnTo>
                  <a:pt x="2874314" y="1066362"/>
                </a:lnTo>
                <a:cubicBezTo>
                  <a:pt x="2790261" y="1067534"/>
                  <a:pt x="2700431" y="1068970"/>
                  <a:pt x="2602495" y="1070699"/>
                </a:cubicBezTo>
                <a:lnTo>
                  <a:pt x="2609266" y="1066215"/>
                </a:lnTo>
                <a:lnTo>
                  <a:pt x="338964" y="1066215"/>
                </a:lnTo>
                <a:cubicBezTo>
                  <a:pt x="151758" y="1066215"/>
                  <a:pt x="0" y="987241"/>
                  <a:pt x="0" y="889822"/>
                </a:cubicBezTo>
                <a:lnTo>
                  <a:pt x="0" y="184270"/>
                </a:lnTo>
                <a:cubicBezTo>
                  <a:pt x="0" y="86850"/>
                  <a:pt x="151758" y="7877"/>
                  <a:pt x="338964" y="7877"/>
                </a:cubicBezTo>
                <a:lnTo>
                  <a:pt x="3740008" y="7877"/>
                </a:lnTo>
                <a:lnTo>
                  <a:pt x="3770835" y="7343"/>
                </a:lnTo>
                <a:lnTo>
                  <a:pt x="3770835" y="13302"/>
                </a:lnTo>
                <a:lnTo>
                  <a:pt x="3822471" y="7877"/>
                </a:lnTo>
                <a:lnTo>
                  <a:pt x="7223515" y="7877"/>
                </a:lnTo>
                <a:cubicBezTo>
                  <a:pt x="7424951" y="4140"/>
                  <a:pt x="7626386" y="402"/>
                  <a:pt x="7804931" y="3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1440" rIns="91440" bIns="457200" rtlCol="0" anchor="t" anchorCtr="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DDDDDD">
                    <a:lumMod val="50000"/>
                  </a:srgbClr>
                </a:solidFill>
                <a:effectLst/>
                <a:uLnTx/>
                <a:uFillTx/>
                <a:latin typeface="Corbel" panose="020B0503020204020204"/>
                <a:ea typeface="+mn-ea"/>
                <a:cs typeface="+mn-cs"/>
              </a:rPr>
              <a:t>PG&amp;E should be clear in Statewide solicitations how it expects potential overlaps/conflicts between local and statewide programs to be managed,  and work with other IOUs and ED to clarify methods for coordinating. </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DDDDDD">
                    <a:lumMod val="50000"/>
                  </a:srgbClr>
                </a:solidFill>
                <a:effectLst/>
                <a:uLnTx/>
                <a:uFillTx/>
                <a:latin typeface="Corbel" panose="020B0503020204020204"/>
                <a:ea typeface="+mn-ea"/>
                <a:cs typeface="+mn-cs"/>
              </a:rPr>
              <a:t>   </a:t>
            </a:r>
          </a:p>
        </p:txBody>
      </p:sp>
      <p:sp>
        <p:nvSpPr>
          <p:cNvPr id="15" name="Freeform 10">
            <a:extLst>
              <a:ext uri="{FF2B5EF4-FFF2-40B4-BE49-F238E27FC236}">
                <a16:creationId xmlns:a16="http://schemas.microsoft.com/office/drawing/2014/main" id="{774D478F-08D6-429C-9C5F-A09E1508F9FD}"/>
              </a:ext>
            </a:extLst>
          </p:cNvPr>
          <p:cNvSpPr/>
          <p:nvPr/>
        </p:nvSpPr>
        <p:spPr>
          <a:xfrm>
            <a:off x="8644159" y="2070537"/>
            <a:ext cx="3265985" cy="1195224"/>
          </a:xfrm>
          <a:custGeom>
            <a:avLst/>
            <a:gdLst>
              <a:gd name="connsiteX0" fmla="*/ 263525 w 958848"/>
              <a:gd name="connsiteY0" fmla="*/ 0 h 1051808"/>
              <a:gd name="connsiteX1" fmla="*/ 263525 w 958848"/>
              <a:gd name="connsiteY1" fmla="*/ 4058 h 1051808"/>
              <a:gd name="connsiteX2" fmla="*/ 833962 w 958848"/>
              <a:gd name="connsiteY2" fmla="*/ 4058 h 1051808"/>
              <a:gd name="connsiteX3" fmla="*/ 958848 w 958848"/>
              <a:gd name="connsiteY3" fmla="*/ 128944 h 1051808"/>
              <a:gd name="connsiteX4" fmla="*/ 958848 w 958848"/>
              <a:gd name="connsiteY4" fmla="*/ 628472 h 1051808"/>
              <a:gd name="connsiteX5" fmla="*/ 833962 w 958848"/>
              <a:gd name="connsiteY5" fmla="*/ 753358 h 1051808"/>
              <a:gd name="connsiteX6" fmla="*/ 263525 w 958848"/>
              <a:gd name="connsiteY6" fmla="*/ 753358 h 1051808"/>
              <a:gd name="connsiteX7" fmla="*/ 263525 w 958848"/>
              <a:gd name="connsiteY7" fmla="*/ 756235 h 1051808"/>
              <a:gd name="connsiteX8" fmla="*/ 247650 w 958848"/>
              <a:gd name="connsiteY8" fmla="*/ 756533 h 1051808"/>
              <a:gd name="connsiteX9" fmla="*/ 0 w 958848"/>
              <a:gd name="connsiteY9" fmla="*/ 1051808 h 1051808"/>
              <a:gd name="connsiteX10" fmla="*/ 0 w 958848"/>
              <a:gd name="connsiteY10" fmla="*/ 283458 h 1051808"/>
              <a:gd name="connsiteX11" fmla="*/ 117649 w 958848"/>
              <a:gd name="connsiteY11" fmla="*/ 45556 h 1051808"/>
              <a:gd name="connsiteX12" fmla="*/ 153826 w 958848"/>
              <a:gd name="connsiteY12" fmla="*/ 23663 h 1051808"/>
              <a:gd name="connsiteX13" fmla="*/ 168348 w 958848"/>
              <a:gd name="connsiteY13" fmla="*/ 13872 h 1051808"/>
              <a:gd name="connsiteX14" fmla="*/ 170834 w 958848"/>
              <a:gd name="connsiteY14" fmla="*/ 13370 h 1051808"/>
              <a:gd name="connsiteX15" fmla="*/ 180975 w 958848"/>
              <a:gd name="connsiteY15" fmla="*/ 7233 h 1051808"/>
              <a:gd name="connsiteX16" fmla="*/ 253293 w 958848"/>
              <a:gd name="connsiteY16" fmla="*/ 189 h 1051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8848" h="1051808">
                <a:moveTo>
                  <a:pt x="263525" y="0"/>
                </a:moveTo>
                <a:lnTo>
                  <a:pt x="263525" y="4058"/>
                </a:lnTo>
                <a:lnTo>
                  <a:pt x="833962" y="4058"/>
                </a:lnTo>
                <a:cubicBezTo>
                  <a:pt x="902935" y="4058"/>
                  <a:pt x="958848" y="59971"/>
                  <a:pt x="958848" y="128944"/>
                </a:cubicBezTo>
                <a:lnTo>
                  <a:pt x="958848" y="628472"/>
                </a:lnTo>
                <a:cubicBezTo>
                  <a:pt x="958848" y="697445"/>
                  <a:pt x="902935" y="753358"/>
                  <a:pt x="833962" y="753358"/>
                </a:cubicBezTo>
                <a:lnTo>
                  <a:pt x="263525" y="753358"/>
                </a:lnTo>
                <a:lnTo>
                  <a:pt x="263525" y="756235"/>
                </a:lnTo>
                <a:lnTo>
                  <a:pt x="247650" y="756533"/>
                </a:lnTo>
                <a:cubicBezTo>
                  <a:pt x="94192" y="772407"/>
                  <a:pt x="76994" y="811567"/>
                  <a:pt x="0" y="1051808"/>
                </a:cubicBezTo>
                <a:lnTo>
                  <a:pt x="0" y="283458"/>
                </a:lnTo>
                <a:cubicBezTo>
                  <a:pt x="22621" y="152886"/>
                  <a:pt x="60722" y="88989"/>
                  <a:pt x="117649" y="45556"/>
                </a:cubicBezTo>
                <a:lnTo>
                  <a:pt x="153826" y="23663"/>
                </a:lnTo>
                <a:lnTo>
                  <a:pt x="168348" y="13872"/>
                </a:lnTo>
                <a:lnTo>
                  <a:pt x="170834" y="13370"/>
                </a:lnTo>
                <a:lnTo>
                  <a:pt x="180975" y="7233"/>
                </a:lnTo>
                <a:cubicBezTo>
                  <a:pt x="201215" y="3794"/>
                  <a:pt x="225673" y="1545"/>
                  <a:pt x="253293" y="189"/>
                </a:cubicBezTo>
                <a:close/>
              </a:path>
            </a:pathLst>
          </a:cu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FFFF">
                    <a:lumMod val="95000"/>
                  </a:srgbClr>
                </a:solidFill>
                <a:effectLst/>
                <a:uLnTx/>
                <a:uFillTx/>
                <a:latin typeface="Corbel" panose="020B0503020204020204"/>
                <a:ea typeface="+mn-ea"/>
                <a:cs typeface="+mn-cs"/>
              </a:rPr>
              <a:t>Statewide Program Coordination  </a:t>
            </a:r>
          </a:p>
        </p:txBody>
      </p:sp>
    </p:spTree>
    <p:extLst>
      <p:ext uri="{BB962C8B-B14F-4D97-AF65-F5344CB8AC3E}">
        <p14:creationId xmlns:p14="http://schemas.microsoft.com/office/powerpoint/2010/main" val="15653491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00C4F1C3-3ADD-491F-8C66-57912A24217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31140" y="243840"/>
            <a:ext cx="11724640" cy="6377939"/>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25" name="Rectangle 24">
            <a:extLst>
              <a:ext uri="{FF2B5EF4-FFF2-40B4-BE49-F238E27FC236}">
                <a16:creationId xmlns:a16="http://schemas.microsoft.com/office/drawing/2014/main" id="{0B323FE0-DFB0-4368-A3C2-FC1402A98C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31140" y="243840"/>
            <a:ext cx="11724640" cy="6377939"/>
          </a:xfrm>
          <a:prstGeom prst="rect">
            <a:avLst/>
          </a:prstGeom>
          <a:solidFill>
            <a:schemeClr val="accent1"/>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sp>
      <p:cxnSp>
        <p:nvCxnSpPr>
          <p:cNvPr id="27" name="Straight Connector 26">
            <a:extLst>
              <a:ext uri="{FF2B5EF4-FFF2-40B4-BE49-F238E27FC236}">
                <a16:creationId xmlns:a16="http://schemas.microsoft.com/office/drawing/2014/main" id="{E4BCA77F-6A46-46C1-822E-DF8DB6F08D5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978660" y="3733800"/>
            <a:ext cx="822960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useBgFill="1">
        <p:nvSpPr>
          <p:cNvPr id="29" name="Rectangle 28">
            <a:extLst>
              <a:ext uri="{FF2B5EF4-FFF2-40B4-BE49-F238E27FC236}">
                <a16:creationId xmlns:a16="http://schemas.microsoft.com/office/drawing/2014/main" id="{7C684499-6F30-4C6A-8094-E2E3E91B305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a:noFill/>
          </a:ln>
        </p:spPr>
        <p:style>
          <a:lnRef idx="2">
            <a:schemeClr val="accent1">
              <a:shade val="50000"/>
            </a:schemeClr>
          </a:lnRef>
          <a:fillRef idx="1">
            <a:schemeClr val="accent1"/>
          </a:fillRef>
          <a:effectRef idx="0">
            <a:schemeClr val="accent1"/>
          </a:effectRef>
          <a:fontRef idx="minor">
            <a:schemeClr val="lt1"/>
          </a:fontRef>
        </p:style>
      </p:sp>
      <p:sp>
        <p:nvSpPr>
          <p:cNvPr id="31" name="Rectangle 30">
            <a:extLst>
              <a:ext uri="{FF2B5EF4-FFF2-40B4-BE49-F238E27FC236}">
                <a16:creationId xmlns:a16="http://schemas.microsoft.com/office/drawing/2014/main" id="{D5AECED4-26C2-4E8F-A340-2402369DC2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28600" y="246888"/>
            <a:ext cx="11724640" cy="6377939"/>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CB704BEC-D7D6-4233-8BA1-6046BEA78143}"/>
              </a:ext>
            </a:extLst>
          </p:cNvPr>
          <p:cNvSpPr>
            <a:spLocks noGrp="1"/>
          </p:cNvSpPr>
          <p:nvPr>
            <p:ph type="title"/>
          </p:nvPr>
        </p:nvSpPr>
        <p:spPr>
          <a:xfrm>
            <a:off x="895467" y="863364"/>
            <a:ext cx="6657476" cy="5126124"/>
          </a:xfrm>
        </p:spPr>
        <p:txBody>
          <a:bodyPr vert="horz" lIns="91440" tIns="45720" rIns="91440" bIns="45720" rtlCol="0" anchor="ctr">
            <a:normAutofit/>
          </a:bodyPr>
          <a:lstStyle/>
          <a:p>
            <a:pPr algn="r"/>
            <a:r>
              <a:rPr lang="en-US" sz="6600" b="1" dirty="0">
                <a:solidFill>
                  <a:schemeClr val="tx1"/>
                </a:solidFill>
              </a:rPr>
              <a:t>SDG&amp;E</a:t>
            </a:r>
          </a:p>
        </p:txBody>
      </p:sp>
      <p:cxnSp>
        <p:nvCxnSpPr>
          <p:cNvPr id="33" name="Straight Connector 32">
            <a:extLst>
              <a:ext uri="{FF2B5EF4-FFF2-40B4-BE49-F238E27FC236}">
                <a16:creationId xmlns:a16="http://schemas.microsoft.com/office/drawing/2014/main" id="{C9213D27-7A25-46D8-B1BD-E470E49C6C2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7961243" y="2054826"/>
            <a:ext cx="0" cy="27432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Slide Number Placeholder 4">
            <a:extLst>
              <a:ext uri="{FF2B5EF4-FFF2-40B4-BE49-F238E27FC236}">
                <a16:creationId xmlns:a16="http://schemas.microsoft.com/office/drawing/2014/main" id="{DD8BE81C-9C36-4FFF-9613-DC887B1722D5}"/>
              </a:ext>
            </a:extLst>
          </p:cNvPr>
          <p:cNvSpPr>
            <a:spLocks noGrp="1"/>
          </p:cNvSpPr>
          <p:nvPr>
            <p:ph type="sldNum" sz="quarter" idx="12"/>
          </p:nvPr>
        </p:nvSpPr>
        <p:spPr>
          <a:xfrm>
            <a:off x="10066487" y="6223828"/>
            <a:ext cx="1706217" cy="365125"/>
          </a:xfrm>
        </p:spPr>
        <p:txBody>
          <a:bodyPr vert="horz" lIns="91440" tIns="45720" rIns="91440" bIns="45720" rtlCol="0" anchor="ctr">
            <a:normAutofit/>
          </a:bodyPr>
          <a:lstStyle/>
          <a:p>
            <a:pPr marL="0" marR="0" lvl="0" indent="0" algn="r" defTabSz="457200" rtl="0" eaLnBrk="1" fontAlgn="auto" latinLnBrk="0" hangingPunct="1">
              <a:lnSpc>
                <a:spcPct val="100000"/>
              </a:lnSpc>
              <a:spcBef>
                <a:spcPts val="0"/>
              </a:spcBef>
              <a:spcAft>
                <a:spcPts val="600"/>
              </a:spcAft>
              <a:buClrTx/>
              <a:buSzTx/>
              <a:buFontTx/>
              <a:buNone/>
              <a:tabLst/>
              <a:defRPr/>
            </a:pPr>
            <a:fld id="{BF51FD3E-87FA-4BB9-8479-893262DE1709}" type="slidenum">
              <a:rPr kumimoji="0" lang="en-US" sz="1200" b="0" i="0" u="none" strike="noStrike" kern="1200" cap="none" spc="0" normalizeH="0" baseline="0" noProof="0">
                <a:ln>
                  <a:noFill/>
                </a:ln>
                <a:solidFill>
                  <a:srgbClr val="A6B727">
                    <a:lumMod val="40000"/>
                    <a:lumOff val="60000"/>
                  </a:srgbClr>
                </a:solidFill>
                <a:effectLst/>
                <a:uLnTx/>
                <a:uFillTx/>
                <a:latin typeface="Corbel" panose="020B0503020204020204"/>
                <a:ea typeface="+mn-ea"/>
                <a:cs typeface="+mn-cs"/>
              </a:rPr>
              <a:pPr marL="0" marR="0" lvl="0" indent="0" algn="r" defTabSz="457200" rtl="0" eaLnBrk="1" fontAlgn="auto" latinLnBrk="0" hangingPunct="1">
                <a:lnSpc>
                  <a:spcPct val="100000"/>
                </a:lnSpc>
                <a:spcBef>
                  <a:spcPts val="0"/>
                </a:spcBef>
                <a:spcAft>
                  <a:spcPts val="600"/>
                </a:spcAft>
                <a:buClrTx/>
                <a:buSzTx/>
                <a:buFontTx/>
                <a:buNone/>
                <a:tabLst/>
                <a:defRPr/>
              </a:pPr>
              <a:t>29</a:t>
            </a:fld>
            <a:endParaRPr kumimoji="0" lang="en-US" sz="1200" b="0" i="0" u="none" strike="noStrike" kern="1200" cap="none" spc="0" normalizeH="0" baseline="0" noProof="0" dirty="0">
              <a:ln>
                <a:noFill/>
              </a:ln>
              <a:solidFill>
                <a:srgbClr val="A6B727">
                  <a:lumMod val="40000"/>
                  <a:lumOff val="60000"/>
                </a:srgbClr>
              </a:solidFill>
              <a:effectLst/>
              <a:uLnTx/>
              <a:uFillTx/>
              <a:latin typeface="Corbel" panose="020B0503020204020204"/>
              <a:ea typeface="+mn-ea"/>
              <a:cs typeface="+mn-cs"/>
            </a:endParaRPr>
          </a:p>
        </p:txBody>
      </p:sp>
    </p:spTree>
    <p:extLst>
      <p:ext uri="{BB962C8B-B14F-4D97-AF65-F5344CB8AC3E}">
        <p14:creationId xmlns:p14="http://schemas.microsoft.com/office/powerpoint/2010/main" val="1988993850"/>
      </p:ext>
    </p:extLst>
  </p:cSld>
  <p:clrMapOvr>
    <a:overrideClrMapping bg1="dk1" tx1="lt1" bg2="dk2" tx2="lt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5987796"/>
            <a:ext cx="9685020" cy="525780"/>
            <a:chOff x="0" y="5987796"/>
            <a:chExt cx="9685020" cy="525780"/>
          </a:xfrm>
        </p:grpSpPr>
        <p:sp>
          <p:nvSpPr>
            <p:cNvPr id="3" name="object 3"/>
            <p:cNvSpPr/>
            <p:nvPr/>
          </p:nvSpPr>
          <p:spPr>
            <a:xfrm>
              <a:off x="0" y="6027420"/>
              <a:ext cx="9685020" cy="460375"/>
            </a:xfrm>
            <a:custGeom>
              <a:avLst/>
              <a:gdLst/>
              <a:ahLst/>
              <a:cxnLst/>
              <a:rect l="l" t="t" r="r" b="b"/>
              <a:pathLst>
                <a:path w="9685020" h="460375">
                  <a:moveTo>
                    <a:pt x="9685020" y="0"/>
                  </a:moveTo>
                  <a:lnTo>
                    <a:pt x="0" y="0"/>
                  </a:lnTo>
                  <a:lnTo>
                    <a:pt x="0" y="460247"/>
                  </a:lnTo>
                  <a:lnTo>
                    <a:pt x="9685020" y="460247"/>
                  </a:lnTo>
                  <a:lnTo>
                    <a:pt x="9685020" y="0"/>
                  </a:lnTo>
                  <a:close/>
                </a:path>
              </a:pathLst>
            </a:custGeom>
            <a:solidFill>
              <a:srgbClr val="FFD046"/>
            </a:solidFill>
          </p:spPr>
          <p:txBody>
            <a:bodyPr wrap="square" lIns="0" tIns="0" rIns="0" bIns="0" rtlCol="0"/>
            <a:lstStyle/>
            <a:p>
              <a:endParaRPr dirty="0"/>
            </a:p>
          </p:txBody>
        </p:sp>
        <p:sp>
          <p:nvSpPr>
            <p:cNvPr id="4" name="object 4"/>
            <p:cNvSpPr/>
            <p:nvPr/>
          </p:nvSpPr>
          <p:spPr>
            <a:xfrm>
              <a:off x="9681971" y="5987796"/>
              <a:ext cx="0" cy="525780"/>
            </a:xfrm>
            <a:custGeom>
              <a:avLst/>
              <a:gdLst/>
              <a:ahLst/>
              <a:cxnLst/>
              <a:rect l="l" t="t" r="r" b="b"/>
              <a:pathLst>
                <a:path h="525779">
                  <a:moveTo>
                    <a:pt x="0" y="0"/>
                  </a:moveTo>
                  <a:lnTo>
                    <a:pt x="0" y="525297"/>
                  </a:lnTo>
                </a:path>
              </a:pathLst>
            </a:custGeom>
            <a:ln w="3175">
              <a:solidFill>
                <a:srgbClr val="D0D0D2"/>
              </a:solidFill>
            </a:ln>
          </p:spPr>
          <p:txBody>
            <a:bodyPr wrap="square" lIns="0" tIns="0" rIns="0" bIns="0" rtlCol="0"/>
            <a:lstStyle/>
            <a:p>
              <a:endParaRPr dirty="0"/>
            </a:p>
          </p:txBody>
        </p:sp>
      </p:grpSp>
      <p:sp>
        <p:nvSpPr>
          <p:cNvPr id="5" name="object 5"/>
          <p:cNvSpPr txBox="1">
            <a:spLocks noGrp="1"/>
          </p:cNvSpPr>
          <p:nvPr>
            <p:ph type="title"/>
          </p:nvPr>
        </p:nvSpPr>
        <p:spPr>
          <a:xfrm>
            <a:off x="916939" y="244855"/>
            <a:ext cx="4422775" cy="696595"/>
          </a:xfrm>
          <a:prstGeom prst="rect">
            <a:avLst/>
          </a:prstGeom>
        </p:spPr>
        <p:txBody>
          <a:bodyPr vert="horz" wrap="square" lIns="0" tIns="13335" rIns="0" bIns="0" rtlCol="0">
            <a:spAutoFit/>
          </a:bodyPr>
          <a:lstStyle/>
          <a:p>
            <a:pPr marL="12700">
              <a:lnSpc>
                <a:spcPct val="100000"/>
              </a:lnSpc>
              <a:spcBef>
                <a:spcPts val="105"/>
              </a:spcBef>
            </a:pPr>
            <a:r>
              <a:rPr b="0" spc="-5" dirty="0">
                <a:solidFill>
                  <a:srgbClr val="000000"/>
                </a:solidFill>
                <a:latin typeface="Calibri Light"/>
                <a:cs typeface="Calibri Light"/>
              </a:rPr>
              <a:t>Meeting</a:t>
            </a:r>
            <a:r>
              <a:rPr b="0" spc="-65" dirty="0">
                <a:solidFill>
                  <a:srgbClr val="000000"/>
                </a:solidFill>
                <a:latin typeface="Calibri Light"/>
                <a:cs typeface="Calibri Light"/>
              </a:rPr>
              <a:t> </a:t>
            </a:r>
            <a:r>
              <a:rPr b="0" spc="-20" dirty="0">
                <a:solidFill>
                  <a:srgbClr val="000000"/>
                </a:solidFill>
                <a:latin typeface="Calibri Light"/>
                <a:cs typeface="Calibri Light"/>
              </a:rPr>
              <a:t>Reminders</a:t>
            </a:r>
          </a:p>
        </p:txBody>
      </p:sp>
      <p:sp>
        <p:nvSpPr>
          <p:cNvPr id="6" name="object 6"/>
          <p:cNvSpPr txBox="1"/>
          <p:nvPr/>
        </p:nvSpPr>
        <p:spPr>
          <a:xfrm>
            <a:off x="912928" y="1368479"/>
            <a:ext cx="10156190" cy="3978012"/>
          </a:xfrm>
          <a:prstGeom prst="rect">
            <a:avLst/>
          </a:prstGeom>
        </p:spPr>
        <p:txBody>
          <a:bodyPr vert="horz" wrap="square" lIns="0" tIns="12700" rIns="0" bIns="0" rtlCol="0">
            <a:spAutoFit/>
          </a:bodyPr>
          <a:lstStyle/>
          <a:p>
            <a:pPr marL="12700">
              <a:lnSpc>
                <a:spcPct val="100000"/>
              </a:lnSpc>
              <a:spcBef>
                <a:spcPts val="100"/>
              </a:spcBef>
            </a:pPr>
            <a:r>
              <a:rPr sz="2400" spc="-5" dirty="0">
                <a:cs typeface="Segoe UI"/>
              </a:rPr>
              <a:t>Please</a:t>
            </a:r>
            <a:r>
              <a:rPr sz="2400" spc="-15" dirty="0">
                <a:cs typeface="Segoe UI"/>
              </a:rPr>
              <a:t> </a:t>
            </a:r>
            <a:r>
              <a:rPr sz="2400" spc="-5" dirty="0">
                <a:cs typeface="Segoe UI"/>
              </a:rPr>
              <a:t>remain</a:t>
            </a:r>
            <a:r>
              <a:rPr sz="2400" spc="5" dirty="0">
                <a:cs typeface="Segoe UI"/>
              </a:rPr>
              <a:t> </a:t>
            </a:r>
            <a:r>
              <a:rPr sz="2400" dirty="0">
                <a:cs typeface="Segoe UI"/>
              </a:rPr>
              <a:t>on</a:t>
            </a:r>
            <a:r>
              <a:rPr sz="2400" spc="10" dirty="0">
                <a:cs typeface="Segoe UI"/>
              </a:rPr>
              <a:t> </a:t>
            </a:r>
            <a:r>
              <a:rPr sz="2400" spc="-10" dirty="0">
                <a:cs typeface="Segoe UI"/>
              </a:rPr>
              <a:t>mute</a:t>
            </a:r>
            <a:r>
              <a:rPr sz="2400" dirty="0">
                <a:cs typeface="Segoe UI"/>
              </a:rPr>
              <a:t> until</a:t>
            </a:r>
            <a:r>
              <a:rPr sz="2400" spc="20" dirty="0">
                <a:cs typeface="Segoe UI"/>
              </a:rPr>
              <a:t> </a:t>
            </a:r>
            <a:r>
              <a:rPr sz="2400" spc="-5" dirty="0">
                <a:cs typeface="Segoe UI"/>
              </a:rPr>
              <a:t>you</a:t>
            </a:r>
            <a:r>
              <a:rPr sz="2400" spc="5" dirty="0">
                <a:cs typeface="Segoe UI"/>
              </a:rPr>
              <a:t> </a:t>
            </a:r>
            <a:r>
              <a:rPr sz="2400" spc="-15" dirty="0">
                <a:cs typeface="Segoe UI"/>
              </a:rPr>
              <a:t>are</a:t>
            </a:r>
            <a:r>
              <a:rPr sz="2400" dirty="0">
                <a:cs typeface="Segoe UI"/>
              </a:rPr>
              <a:t> </a:t>
            </a:r>
            <a:r>
              <a:rPr sz="2400" spc="-5" dirty="0">
                <a:cs typeface="Segoe UI"/>
              </a:rPr>
              <a:t>ready </a:t>
            </a:r>
            <a:r>
              <a:rPr sz="2400" spc="-15" dirty="0">
                <a:cs typeface="Segoe UI"/>
              </a:rPr>
              <a:t>to</a:t>
            </a:r>
            <a:r>
              <a:rPr sz="2400" spc="5" dirty="0">
                <a:cs typeface="Segoe UI"/>
              </a:rPr>
              <a:t> </a:t>
            </a:r>
            <a:r>
              <a:rPr sz="2400" spc="10" dirty="0">
                <a:cs typeface="Segoe UI"/>
              </a:rPr>
              <a:t>speak.</a:t>
            </a:r>
            <a:endParaRPr sz="2400" dirty="0">
              <a:cs typeface="Segoe UI"/>
            </a:endParaRPr>
          </a:p>
          <a:p>
            <a:pPr>
              <a:lnSpc>
                <a:spcPct val="100000"/>
              </a:lnSpc>
              <a:spcBef>
                <a:spcPts val="40"/>
              </a:spcBef>
            </a:pPr>
            <a:endParaRPr sz="3450" dirty="0">
              <a:cs typeface="Segoe UI"/>
            </a:endParaRPr>
          </a:p>
          <a:p>
            <a:pPr marL="12700" marR="673735">
              <a:lnSpc>
                <a:spcPts val="2590"/>
              </a:lnSpc>
            </a:pPr>
            <a:r>
              <a:rPr sz="2400" spc="-5" dirty="0">
                <a:cs typeface="Segoe UI"/>
              </a:rPr>
              <a:t>Questions</a:t>
            </a:r>
            <a:r>
              <a:rPr sz="2400" dirty="0">
                <a:cs typeface="Segoe UI"/>
              </a:rPr>
              <a:t> can</a:t>
            </a:r>
            <a:r>
              <a:rPr sz="2400" spc="5" dirty="0">
                <a:cs typeface="Segoe UI"/>
              </a:rPr>
              <a:t> </a:t>
            </a:r>
            <a:r>
              <a:rPr sz="2400" dirty="0">
                <a:cs typeface="Segoe UI"/>
              </a:rPr>
              <a:t>be</a:t>
            </a:r>
            <a:r>
              <a:rPr sz="2400" spc="-5" dirty="0">
                <a:cs typeface="Segoe UI"/>
              </a:rPr>
              <a:t> </a:t>
            </a:r>
            <a:r>
              <a:rPr sz="2400" spc="-10" dirty="0">
                <a:cs typeface="Segoe UI"/>
              </a:rPr>
              <a:t>asked </a:t>
            </a:r>
            <a:r>
              <a:rPr sz="2400" spc="-5" dirty="0">
                <a:cs typeface="Segoe UI"/>
              </a:rPr>
              <a:t>in</a:t>
            </a:r>
            <a:r>
              <a:rPr sz="2400" dirty="0">
                <a:cs typeface="Segoe UI"/>
              </a:rPr>
              <a:t> the</a:t>
            </a:r>
            <a:r>
              <a:rPr sz="2400" spc="5" dirty="0">
                <a:cs typeface="Segoe UI"/>
              </a:rPr>
              <a:t> </a:t>
            </a:r>
            <a:r>
              <a:rPr sz="2400" spc="-5" dirty="0">
                <a:cs typeface="Segoe UI"/>
              </a:rPr>
              <a:t>meeting</a:t>
            </a:r>
            <a:r>
              <a:rPr sz="2400" spc="-20" dirty="0">
                <a:cs typeface="Segoe UI"/>
              </a:rPr>
              <a:t> </a:t>
            </a:r>
            <a:r>
              <a:rPr sz="2400" spc="-5" dirty="0">
                <a:cs typeface="Segoe UI"/>
              </a:rPr>
              <a:t>chat</a:t>
            </a:r>
            <a:r>
              <a:rPr sz="2400" spc="30" dirty="0">
                <a:cs typeface="Segoe UI"/>
              </a:rPr>
              <a:t> </a:t>
            </a:r>
            <a:r>
              <a:rPr sz="2400" dirty="0">
                <a:cs typeface="Segoe UI"/>
              </a:rPr>
              <a:t>or by</a:t>
            </a:r>
            <a:r>
              <a:rPr sz="2400" spc="-5" dirty="0">
                <a:cs typeface="Segoe UI"/>
              </a:rPr>
              <a:t> </a:t>
            </a:r>
            <a:r>
              <a:rPr sz="2400" dirty="0">
                <a:cs typeface="Segoe UI"/>
              </a:rPr>
              <a:t>using</a:t>
            </a:r>
            <a:r>
              <a:rPr sz="2400" spc="20" dirty="0">
                <a:cs typeface="Segoe UI"/>
              </a:rPr>
              <a:t> </a:t>
            </a:r>
            <a:r>
              <a:rPr sz="2400" dirty="0">
                <a:cs typeface="Segoe UI"/>
              </a:rPr>
              <a:t>the raise hand </a:t>
            </a:r>
            <a:r>
              <a:rPr sz="2400" spc="-645" dirty="0">
                <a:cs typeface="Segoe UI"/>
              </a:rPr>
              <a:t> </a:t>
            </a:r>
            <a:r>
              <a:rPr sz="2400" spc="-5" dirty="0">
                <a:cs typeface="Segoe UI"/>
              </a:rPr>
              <a:t>feature </a:t>
            </a:r>
            <a:r>
              <a:rPr sz="2400" spc="-10" dirty="0">
                <a:cs typeface="Segoe UI"/>
              </a:rPr>
              <a:t>in</a:t>
            </a:r>
            <a:r>
              <a:rPr sz="2400" spc="5" dirty="0">
                <a:cs typeface="Segoe UI"/>
              </a:rPr>
              <a:t> </a:t>
            </a:r>
            <a:r>
              <a:rPr sz="2400" dirty="0">
                <a:cs typeface="Segoe UI"/>
              </a:rPr>
              <a:t>MS </a:t>
            </a:r>
            <a:r>
              <a:rPr sz="2400" spc="-50" dirty="0">
                <a:cs typeface="Segoe UI"/>
              </a:rPr>
              <a:t>Teams</a:t>
            </a:r>
            <a:endParaRPr lang="en-US" sz="2400" spc="-50" dirty="0">
              <a:cs typeface="Segoe UI"/>
            </a:endParaRPr>
          </a:p>
          <a:p>
            <a:pPr marL="12700" marR="673735">
              <a:lnSpc>
                <a:spcPts val="2590"/>
              </a:lnSpc>
            </a:pPr>
            <a:endParaRPr sz="2400" dirty="0">
              <a:cs typeface="Segoe UI"/>
            </a:endParaRPr>
          </a:p>
          <a:p>
            <a:pPr marL="12700">
              <a:lnSpc>
                <a:spcPts val="2735"/>
              </a:lnSpc>
            </a:pPr>
            <a:endParaRPr lang="en-US" sz="2400" spc="-5" dirty="0">
              <a:cs typeface="Segoe UI"/>
            </a:endParaRPr>
          </a:p>
          <a:p>
            <a:pPr marL="12700">
              <a:lnSpc>
                <a:spcPts val="2735"/>
              </a:lnSpc>
            </a:pPr>
            <a:endParaRPr lang="en-US" sz="2400" spc="-5" dirty="0">
              <a:cs typeface="Segoe UI"/>
            </a:endParaRPr>
          </a:p>
          <a:p>
            <a:pPr marL="12700">
              <a:lnSpc>
                <a:spcPts val="2735"/>
              </a:lnSpc>
            </a:pPr>
            <a:endParaRPr lang="en-US" sz="2400" spc="-5" dirty="0">
              <a:cs typeface="Segoe UI"/>
            </a:endParaRPr>
          </a:p>
          <a:p>
            <a:pPr marL="12700">
              <a:lnSpc>
                <a:spcPts val="2735"/>
              </a:lnSpc>
            </a:pPr>
            <a:endParaRPr lang="en-US" sz="2400" spc="-5" dirty="0">
              <a:cs typeface="Segoe UI"/>
            </a:endParaRPr>
          </a:p>
          <a:p>
            <a:pPr marL="12700">
              <a:lnSpc>
                <a:spcPts val="2735"/>
              </a:lnSpc>
            </a:pPr>
            <a:r>
              <a:rPr sz="2400" spc="-5" dirty="0">
                <a:cs typeface="Segoe UI"/>
              </a:rPr>
              <a:t>Questions</a:t>
            </a:r>
            <a:r>
              <a:rPr sz="2400" dirty="0">
                <a:cs typeface="Segoe UI"/>
              </a:rPr>
              <a:t> or </a:t>
            </a:r>
            <a:r>
              <a:rPr sz="2400" spc="-5" dirty="0">
                <a:cs typeface="Segoe UI"/>
              </a:rPr>
              <a:t>statements</a:t>
            </a:r>
            <a:r>
              <a:rPr sz="2400" spc="-20" dirty="0">
                <a:cs typeface="Segoe UI"/>
              </a:rPr>
              <a:t> </a:t>
            </a:r>
            <a:r>
              <a:rPr sz="2400" spc="-5" dirty="0">
                <a:cs typeface="Segoe UI"/>
              </a:rPr>
              <a:t>may </a:t>
            </a:r>
            <a:r>
              <a:rPr sz="2400" dirty="0">
                <a:cs typeface="Segoe UI"/>
              </a:rPr>
              <a:t>be</a:t>
            </a:r>
            <a:r>
              <a:rPr sz="2400" spc="-5" dirty="0">
                <a:cs typeface="Segoe UI"/>
              </a:rPr>
              <a:t> made </a:t>
            </a:r>
            <a:r>
              <a:rPr sz="2400" dirty="0">
                <a:cs typeface="Segoe UI"/>
              </a:rPr>
              <a:t>at the </a:t>
            </a:r>
            <a:r>
              <a:rPr sz="2400" spc="-5" dirty="0">
                <a:cs typeface="Segoe UI"/>
              </a:rPr>
              <a:t>conclusion</a:t>
            </a:r>
            <a:r>
              <a:rPr sz="2400" spc="55" dirty="0">
                <a:cs typeface="Segoe UI"/>
              </a:rPr>
              <a:t> </a:t>
            </a:r>
            <a:r>
              <a:rPr sz="2400" spc="-30" dirty="0">
                <a:cs typeface="Segoe UI"/>
              </a:rPr>
              <a:t>of</a:t>
            </a:r>
            <a:r>
              <a:rPr sz="2400" spc="15" dirty="0">
                <a:cs typeface="Segoe UI"/>
              </a:rPr>
              <a:t> </a:t>
            </a:r>
            <a:r>
              <a:rPr sz="2400" dirty="0">
                <a:cs typeface="Segoe UI"/>
              </a:rPr>
              <a:t>each</a:t>
            </a:r>
            <a:r>
              <a:rPr lang="en-US" sz="2400" dirty="0">
                <a:cs typeface="Segoe UI"/>
              </a:rPr>
              <a:t> topic or </a:t>
            </a:r>
            <a:endParaRPr sz="2400" dirty="0">
              <a:cs typeface="Segoe UI"/>
            </a:endParaRPr>
          </a:p>
          <a:p>
            <a:pPr marL="12700">
              <a:lnSpc>
                <a:spcPts val="2595"/>
              </a:lnSpc>
            </a:pPr>
            <a:r>
              <a:rPr sz="2400" spc="-5" dirty="0">
                <a:cs typeface="Segoe UI"/>
              </a:rPr>
              <a:t>during</a:t>
            </a:r>
            <a:r>
              <a:rPr sz="2400" spc="15" dirty="0">
                <a:cs typeface="Segoe UI"/>
              </a:rPr>
              <a:t> </a:t>
            </a:r>
            <a:r>
              <a:rPr sz="2400" dirty="0">
                <a:cs typeface="Segoe UI"/>
              </a:rPr>
              <a:t>the</a:t>
            </a:r>
            <a:r>
              <a:rPr sz="2400" spc="5" dirty="0">
                <a:cs typeface="Segoe UI"/>
              </a:rPr>
              <a:t> </a:t>
            </a:r>
            <a:r>
              <a:rPr lang="en-US" sz="2400" spc="5" dirty="0">
                <a:cs typeface="Segoe UI"/>
              </a:rPr>
              <a:t>designated</a:t>
            </a:r>
            <a:r>
              <a:rPr sz="2400" dirty="0">
                <a:cs typeface="Segoe UI"/>
              </a:rPr>
              <a:t> </a:t>
            </a:r>
            <a:r>
              <a:rPr sz="2400" spc="-10" dirty="0">
                <a:cs typeface="Segoe UI"/>
              </a:rPr>
              <a:t>“</a:t>
            </a:r>
            <a:r>
              <a:rPr lang="en-US" sz="2400" spc="-10" dirty="0">
                <a:cs typeface="Segoe UI"/>
              </a:rPr>
              <a:t>Open Discussion” </a:t>
            </a:r>
            <a:r>
              <a:rPr sz="2400" dirty="0">
                <a:cs typeface="Segoe UI"/>
              </a:rPr>
              <a:t>at</a:t>
            </a:r>
            <a:r>
              <a:rPr sz="2400" spc="5" dirty="0">
                <a:cs typeface="Segoe UI"/>
              </a:rPr>
              <a:t> </a:t>
            </a:r>
            <a:r>
              <a:rPr sz="2400" dirty="0">
                <a:cs typeface="Segoe UI"/>
              </a:rPr>
              <a:t>the</a:t>
            </a:r>
            <a:r>
              <a:rPr sz="2400" spc="5" dirty="0">
                <a:cs typeface="Segoe UI"/>
              </a:rPr>
              <a:t> </a:t>
            </a:r>
            <a:r>
              <a:rPr sz="2400" dirty="0">
                <a:cs typeface="Segoe UI"/>
              </a:rPr>
              <a:t>end</a:t>
            </a:r>
            <a:r>
              <a:rPr lang="en-US" sz="2400" dirty="0">
                <a:cs typeface="Segoe UI"/>
              </a:rPr>
              <a:t> of the meeting</a:t>
            </a:r>
            <a:endParaRPr sz="2400" dirty="0">
              <a:cs typeface="Segoe UI"/>
            </a:endParaRPr>
          </a:p>
        </p:txBody>
      </p:sp>
      <p:pic>
        <p:nvPicPr>
          <p:cNvPr id="9" name="Picture 8">
            <a:extLst>
              <a:ext uri="{FF2B5EF4-FFF2-40B4-BE49-F238E27FC236}">
                <a16:creationId xmlns:a16="http://schemas.microsoft.com/office/drawing/2014/main" id="{64CCBEA9-E6D7-436E-9B4F-D7EB810790F9}"/>
              </a:ext>
            </a:extLst>
          </p:cNvPr>
          <p:cNvPicPr>
            <a:picLocks noChangeAspect="1"/>
          </p:cNvPicPr>
          <p:nvPr/>
        </p:nvPicPr>
        <p:blipFill>
          <a:blip r:embed="rId3"/>
          <a:stretch>
            <a:fillRect/>
          </a:stretch>
        </p:blipFill>
        <p:spPr>
          <a:xfrm>
            <a:off x="1295400" y="3200400"/>
            <a:ext cx="2438095" cy="904762"/>
          </a:xfrm>
          <a:prstGeom prst="rect">
            <a:avLst/>
          </a:prstGeom>
        </p:spPr>
      </p:pic>
      <p:pic>
        <p:nvPicPr>
          <p:cNvPr id="10" name="Picture 9">
            <a:extLst>
              <a:ext uri="{FF2B5EF4-FFF2-40B4-BE49-F238E27FC236}">
                <a16:creationId xmlns:a16="http://schemas.microsoft.com/office/drawing/2014/main" id="{AF47A5D6-8902-423A-8E7E-6037B3686D02}"/>
              </a:ext>
            </a:extLst>
          </p:cNvPr>
          <p:cNvPicPr>
            <a:picLocks noChangeAspect="1"/>
          </p:cNvPicPr>
          <p:nvPr/>
        </p:nvPicPr>
        <p:blipFill>
          <a:blip r:embed="rId4"/>
          <a:stretch>
            <a:fillRect/>
          </a:stretch>
        </p:blipFill>
        <p:spPr>
          <a:xfrm>
            <a:off x="5991023" y="3038495"/>
            <a:ext cx="3038095" cy="1228571"/>
          </a:xfrm>
          <a:prstGeom prst="rect">
            <a:avLst/>
          </a:prstGeom>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9BD6B2-AB0D-4B17-BAAF-C04AB7B7DBB7}"/>
              </a:ext>
            </a:extLst>
          </p:cNvPr>
          <p:cNvSpPr>
            <a:spLocks noGrp="1"/>
          </p:cNvSpPr>
          <p:nvPr>
            <p:ph type="title"/>
          </p:nvPr>
        </p:nvSpPr>
        <p:spPr/>
        <p:txBody>
          <a:bodyPr>
            <a:normAutofit/>
          </a:bodyPr>
          <a:lstStyle/>
          <a:p>
            <a:r>
              <a:rPr lang="en-US" sz="4000" dirty="0">
                <a:solidFill>
                  <a:schemeClr val="tx1">
                    <a:lumMod val="65000"/>
                    <a:lumOff val="35000"/>
                  </a:schemeClr>
                </a:solidFill>
              </a:rPr>
              <a:t>SDG&amp;E Solicitations</a:t>
            </a:r>
          </a:p>
        </p:txBody>
      </p:sp>
      <p:sp>
        <p:nvSpPr>
          <p:cNvPr id="4" name="Footer Placeholder 3">
            <a:extLst>
              <a:ext uri="{FF2B5EF4-FFF2-40B4-BE49-F238E27FC236}">
                <a16:creationId xmlns:a16="http://schemas.microsoft.com/office/drawing/2014/main" id="{C12F676A-2112-4E58-A9A6-F27D3CB83DAE}"/>
              </a:ext>
            </a:extLst>
          </p:cNvPr>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rPr>
              <a:t>IE Semi-Annual Report: July 28, 2021 Stakeholder Meeting</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5" name="Slide Number Placeholder 4">
            <a:extLst>
              <a:ext uri="{FF2B5EF4-FFF2-40B4-BE49-F238E27FC236}">
                <a16:creationId xmlns:a16="http://schemas.microsoft.com/office/drawing/2014/main" id="{5A0CF043-10C0-42A8-B9BC-58808B394850}"/>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51FD3E-87FA-4BB9-8479-893262DE1709}" type="slidenum">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6" name="Rectangle 1">
            <a:extLst>
              <a:ext uri="{FF2B5EF4-FFF2-40B4-BE49-F238E27FC236}">
                <a16:creationId xmlns:a16="http://schemas.microsoft.com/office/drawing/2014/main" id="{A8BD3C93-68E6-5249-A1B9-9BF1F2994427}"/>
              </a:ext>
            </a:extLst>
          </p:cNvPr>
          <p:cNvSpPr>
            <a:spLocks noChangeArrowheads="1"/>
          </p:cNvSpPr>
          <p:nvPr/>
        </p:nvSpPr>
        <p:spPr bwMode="auto">
          <a:xfrm flipV="1">
            <a:off x="1639957" y="3001693"/>
            <a:ext cx="1346193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b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aphicFrame>
        <p:nvGraphicFramePr>
          <p:cNvPr id="8" name="Table 7">
            <a:extLst>
              <a:ext uri="{FF2B5EF4-FFF2-40B4-BE49-F238E27FC236}">
                <a16:creationId xmlns:a16="http://schemas.microsoft.com/office/drawing/2014/main" id="{F98947E1-F28C-C44C-B936-8D86C8F9969B}"/>
              </a:ext>
            </a:extLst>
          </p:cNvPr>
          <p:cNvGraphicFramePr>
            <a:graphicFrameLocks noGrp="1"/>
          </p:cNvGraphicFramePr>
          <p:nvPr/>
        </p:nvGraphicFramePr>
        <p:xfrm>
          <a:off x="1379004" y="1507881"/>
          <a:ext cx="8338202" cy="4450469"/>
        </p:xfrm>
        <a:graphic>
          <a:graphicData uri="http://schemas.openxmlformats.org/drawingml/2006/table">
            <a:tbl>
              <a:tblPr firstRow="1" bandRow="1">
                <a:tableStyleId>{00A15C55-8517-42AA-B614-E9B94910E393}</a:tableStyleId>
              </a:tblPr>
              <a:tblGrid>
                <a:gridCol w="3380723">
                  <a:extLst>
                    <a:ext uri="{9D8B030D-6E8A-4147-A177-3AD203B41FA5}">
                      <a16:colId xmlns:a16="http://schemas.microsoft.com/office/drawing/2014/main" val="3780580121"/>
                    </a:ext>
                  </a:extLst>
                </a:gridCol>
                <a:gridCol w="2665701">
                  <a:extLst>
                    <a:ext uri="{9D8B030D-6E8A-4147-A177-3AD203B41FA5}">
                      <a16:colId xmlns:a16="http://schemas.microsoft.com/office/drawing/2014/main" val="804009275"/>
                    </a:ext>
                  </a:extLst>
                </a:gridCol>
                <a:gridCol w="2291778">
                  <a:extLst>
                    <a:ext uri="{9D8B030D-6E8A-4147-A177-3AD203B41FA5}">
                      <a16:colId xmlns:a16="http://schemas.microsoft.com/office/drawing/2014/main" val="1626711691"/>
                    </a:ext>
                  </a:extLst>
                </a:gridCol>
              </a:tblGrid>
              <a:tr h="296420">
                <a:tc>
                  <a:txBody>
                    <a:bodyPr/>
                    <a:lstStyle/>
                    <a:p>
                      <a:pPr marL="0" marR="0" algn="ctr">
                        <a:spcBef>
                          <a:spcPts val="0"/>
                        </a:spcBef>
                        <a:spcAft>
                          <a:spcPts val="0"/>
                        </a:spcAft>
                      </a:pPr>
                      <a:r>
                        <a:rPr lang="en-US" sz="1800" dirty="0">
                          <a:effectLst/>
                        </a:rPr>
                        <a:t>Solicitation</a:t>
                      </a:r>
                      <a:endParaRPr lang="en-US" sz="1800" dirty="0">
                        <a:effectLst/>
                        <a:latin typeface="Calibri" panose="020F0502020204030204" pitchFamily="34" charset="0"/>
                        <a:ea typeface="Arial" panose="020B0604020202020204" pitchFamily="34" charset="0"/>
                        <a:cs typeface="Arial" panose="020B0604020202020204" pitchFamily="34" charset="0"/>
                      </a:endParaRPr>
                    </a:p>
                  </a:txBody>
                  <a:tcPr marL="63544" marR="63544" marT="0" marB="0" anchor="ctr"/>
                </a:tc>
                <a:tc>
                  <a:txBody>
                    <a:bodyPr/>
                    <a:lstStyle/>
                    <a:p>
                      <a:pPr marL="0" marR="0" algn="ctr">
                        <a:spcBef>
                          <a:spcPts val="0"/>
                        </a:spcBef>
                        <a:spcAft>
                          <a:spcPts val="0"/>
                        </a:spcAft>
                      </a:pPr>
                      <a:r>
                        <a:rPr lang="en-US" sz="1800" dirty="0">
                          <a:effectLst/>
                        </a:rPr>
                        <a:t>Assigned IE</a:t>
                      </a:r>
                      <a:endParaRPr lang="en-US" sz="1800" dirty="0">
                        <a:effectLst/>
                        <a:latin typeface="Calibri" panose="020F0502020204030204" pitchFamily="34" charset="0"/>
                        <a:ea typeface="Arial" panose="020B0604020202020204" pitchFamily="34" charset="0"/>
                        <a:cs typeface="Arial" panose="020B0604020202020204" pitchFamily="34" charset="0"/>
                      </a:endParaRPr>
                    </a:p>
                  </a:txBody>
                  <a:tcPr marL="63544" marR="63544" marT="0" marB="0" anchor="ctr"/>
                </a:tc>
                <a:tc>
                  <a:txBody>
                    <a:bodyPr/>
                    <a:lstStyle/>
                    <a:p>
                      <a:pPr marL="0" marR="0" algn="ctr">
                        <a:spcBef>
                          <a:spcPts val="0"/>
                        </a:spcBef>
                        <a:spcAft>
                          <a:spcPts val="0"/>
                        </a:spcAft>
                      </a:pPr>
                      <a:r>
                        <a:rPr lang="en-US" sz="1800" dirty="0">
                          <a:effectLst/>
                        </a:rPr>
                        <a:t>Solicitation Status</a:t>
                      </a:r>
                      <a:endParaRPr lang="en-US" sz="1800" dirty="0">
                        <a:effectLst/>
                        <a:latin typeface="Calibri" panose="020F0502020204030204" pitchFamily="34" charset="0"/>
                        <a:ea typeface="Arial" panose="020B0604020202020204" pitchFamily="34" charset="0"/>
                        <a:cs typeface="Arial" panose="020B0604020202020204" pitchFamily="34" charset="0"/>
                      </a:endParaRPr>
                    </a:p>
                  </a:txBody>
                  <a:tcPr marL="63544" marR="63544" marT="0" marB="0" anchor="ctr" anchorCtr="1"/>
                </a:tc>
                <a:extLst>
                  <a:ext uri="{0D108BD9-81ED-4DB2-BD59-A6C34878D82A}">
                    <a16:rowId xmlns:a16="http://schemas.microsoft.com/office/drawing/2014/main" val="2554690499"/>
                  </a:ext>
                </a:extLst>
              </a:tr>
              <a:tr h="277070">
                <a:tc>
                  <a:txBody>
                    <a:bodyPr/>
                    <a:lstStyle/>
                    <a:p>
                      <a:pPr marL="0" marR="0">
                        <a:spcBef>
                          <a:spcPts val="0"/>
                        </a:spcBef>
                        <a:spcAft>
                          <a:spcPts val="0"/>
                        </a:spcAft>
                      </a:pPr>
                      <a:r>
                        <a:rPr lang="en-US" sz="1800" dirty="0">
                          <a:solidFill>
                            <a:schemeClr val="tx1">
                              <a:lumMod val="65000"/>
                              <a:lumOff val="35000"/>
                            </a:schemeClr>
                          </a:solidFill>
                          <a:effectLst/>
                        </a:rPr>
                        <a:t>Local Small Commercial</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nchor="ctr"/>
                </a:tc>
                <a:tc>
                  <a:txBody>
                    <a:bodyPr/>
                    <a:lstStyle/>
                    <a:p>
                      <a:pPr marL="0" marR="0">
                        <a:spcBef>
                          <a:spcPts val="0"/>
                        </a:spcBef>
                        <a:spcAft>
                          <a:spcPts val="0"/>
                        </a:spcAft>
                      </a:pPr>
                      <a:r>
                        <a:rPr lang="en-US" sz="1800" dirty="0">
                          <a:solidFill>
                            <a:schemeClr val="tx1">
                              <a:lumMod val="65000"/>
                              <a:lumOff val="35000"/>
                            </a:schemeClr>
                          </a:solidFill>
                          <a:effectLst/>
                        </a:rPr>
                        <a:t>The Mendota Group</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nchor="ctr"/>
                </a:tc>
                <a:tc>
                  <a:txBody>
                    <a:bodyPr/>
                    <a:lstStyle/>
                    <a:p>
                      <a:pPr marL="0" marR="0" algn="ctr">
                        <a:spcBef>
                          <a:spcPts val="300"/>
                        </a:spcBef>
                        <a:spcAft>
                          <a:spcPts val="300"/>
                        </a:spcAft>
                        <a:tabLst>
                          <a:tab pos="742950" algn="l"/>
                        </a:tabLst>
                      </a:pPr>
                      <a:r>
                        <a:rPr lang="en-US" sz="1800" dirty="0">
                          <a:solidFill>
                            <a:schemeClr val="tx1">
                              <a:lumMod val="65000"/>
                              <a:lumOff val="35000"/>
                            </a:schemeClr>
                          </a:solidFill>
                          <a:effectLst/>
                          <a:latin typeface="Corbel" panose="020B0503020204020204" pitchFamily="34" charset="0"/>
                          <a:ea typeface="Times New Roman" panose="02020603050405020304" pitchFamily="18" charset="0"/>
                          <a:cs typeface="Times New Roman" panose="02020603050405020304" pitchFamily="18" charset="0"/>
                        </a:rPr>
                        <a:t>Contracted</a:t>
                      </a:r>
                    </a:p>
                  </a:txBody>
                  <a:tcPr marL="68580" marR="68580" marT="0" marB="0" anchor="ctr" anchorCtr="1"/>
                </a:tc>
                <a:extLst>
                  <a:ext uri="{0D108BD9-81ED-4DB2-BD59-A6C34878D82A}">
                    <a16:rowId xmlns:a16="http://schemas.microsoft.com/office/drawing/2014/main" val="2388822141"/>
                  </a:ext>
                </a:extLst>
              </a:tr>
              <a:tr h="266413">
                <a:tc>
                  <a:txBody>
                    <a:bodyPr/>
                    <a:lstStyle/>
                    <a:p>
                      <a:pPr marL="0" marR="0">
                        <a:spcBef>
                          <a:spcPts val="0"/>
                        </a:spcBef>
                        <a:spcAft>
                          <a:spcPts val="0"/>
                        </a:spcAft>
                      </a:pPr>
                      <a:r>
                        <a:rPr lang="en-US" sz="1800" dirty="0">
                          <a:solidFill>
                            <a:schemeClr val="tx1">
                              <a:lumMod val="65000"/>
                              <a:lumOff val="35000"/>
                            </a:schemeClr>
                          </a:solidFill>
                          <a:effectLst/>
                        </a:rPr>
                        <a:t>Local Large Commercial</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nchor="ctr"/>
                </a:tc>
                <a:tc>
                  <a:txBody>
                    <a:bodyPr/>
                    <a:lstStyle/>
                    <a:p>
                      <a:pPr marL="0" marR="0">
                        <a:spcBef>
                          <a:spcPts val="0"/>
                        </a:spcBef>
                        <a:spcAft>
                          <a:spcPts val="0"/>
                        </a:spcAft>
                      </a:pPr>
                      <a:r>
                        <a:rPr lang="en-US" sz="1800" dirty="0">
                          <a:solidFill>
                            <a:schemeClr val="tx1">
                              <a:lumMod val="65000"/>
                              <a:lumOff val="35000"/>
                            </a:schemeClr>
                          </a:solidFill>
                          <a:effectLst/>
                        </a:rPr>
                        <a:t>The Mendota Group</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nchor="ctr"/>
                </a:tc>
                <a:tc>
                  <a:txBody>
                    <a:bodyPr/>
                    <a:lstStyle/>
                    <a:p>
                      <a:pPr marL="0" marR="0" algn="ctr">
                        <a:spcBef>
                          <a:spcPts val="300"/>
                        </a:spcBef>
                        <a:spcAft>
                          <a:spcPts val="300"/>
                        </a:spcAft>
                        <a:tabLst>
                          <a:tab pos="742950" algn="l"/>
                        </a:tabLst>
                      </a:pPr>
                      <a:r>
                        <a:rPr lang="en-US" sz="1800" dirty="0">
                          <a:solidFill>
                            <a:schemeClr val="tx1">
                              <a:lumMod val="65000"/>
                              <a:lumOff val="35000"/>
                            </a:schemeClr>
                          </a:solidFill>
                          <a:effectLst/>
                          <a:latin typeface="Corbel" panose="020B0503020204020204" pitchFamily="34" charset="0"/>
                          <a:ea typeface="Times New Roman" panose="02020603050405020304" pitchFamily="18" charset="0"/>
                          <a:cs typeface="Times New Roman" panose="02020603050405020304" pitchFamily="18" charset="0"/>
                        </a:rPr>
                        <a:t>Contracted </a:t>
                      </a:r>
                    </a:p>
                  </a:txBody>
                  <a:tcPr marL="68580" marR="68580" marT="0" marB="0" anchor="ctr" anchorCtr="1"/>
                </a:tc>
                <a:extLst>
                  <a:ext uri="{0D108BD9-81ED-4DB2-BD59-A6C34878D82A}">
                    <a16:rowId xmlns:a16="http://schemas.microsoft.com/office/drawing/2014/main" val="1110855045"/>
                  </a:ext>
                </a:extLst>
              </a:tr>
              <a:tr h="277069">
                <a:tc>
                  <a:txBody>
                    <a:bodyPr/>
                    <a:lstStyle/>
                    <a:p>
                      <a:pPr marL="0" marR="0">
                        <a:spcBef>
                          <a:spcPts val="0"/>
                        </a:spcBef>
                        <a:spcAft>
                          <a:spcPts val="0"/>
                        </a:spcAft>
                      </a:pPr>
                      <a:r>
                        <a:rPr lang="en-US" sz="1800" dirty="0">
                          <a:solidFill>
                            <a:schemeClr val="tx1">
                              <a:lumMod val="65000"/>
                              <a:lumOff val="35000"/>
                            </a:schemeClr>
                          </a:solidFill>
                          <a:effectLst/>
                        </a:rPr>
                        <a:t>Local Multi-Family Residential</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nchor="ctr"/>
                </a:tc>
                <a:tc>
                  <a:txBody>
                    <a:bodyPr/>
                    <a:lstStyle/>
                    <a:p>
                      <a:pPr marL="0" marR="0">
                        <a:spcBef>
                          <a:spcPts val="0"/>
                        </a:spcBef>
                        <a:spcAft>
                          <a:spcPts val="0"/>
                        </a:spcAft>
                      </a:pPr>
                      <a:r>
                        <a:rPr lang="en-US" sz="1800" dirty="0">
                          <a:solidFill>
                            <a:schemeClr val="tx1">
                              <a:lumMod val="65000"/>
                              <a:lumOff val="35000"/>
                            </a:schemeClr>
                          </a:solidFill>
                          <a:effectLst/>
                        </a:rPr>
                        <a:t>MCR Corporate Services</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nchor="ctr"/>
                </a:tc>
                <a:tc>
                  <a:txBody>
                    <a:bodyPr/>
                    <a:lstStyle/>
                    <a:p>
                      <a:pPr marL="0" marR="0" algn="ctr">
                        <a:spcBef>
                          <a:spcPts val="300"/>
                        </a:spcBef>
                        <a:spcAft>
                          <a:spcPts val="300"/>
                        </a:spcAft>
                        <a:tabLst>
                          <a:tab pos="742950" algn="l"/>
                        </a:tabLst>
                      </a:pPr>
                      <a:r>
                        <a:rPr lang="en-US" sz="1800" dirty="0">
                          <a:solidFill>
                            <a:schemeClr val="tx1">
                              <a:lumMod val="65000"/>
                              <a:lumOff val="35000"/>
                            </a:schemeClr>
                          </a:solidFill>
                          <a:effectLst/>
                          <a:latin typeface="Corbel" panose="020B0503020204020204" pitchFamily="34" charset="0"/>
                          <a:ea typeface="Times New Roman" panose="02020603050405020304" pitchFamily="18" charset="0"/>
                          <a:cs typeface="Times New Roman" panose="02020603050405020304" pitchFamily="18" charset="0"/>
                        </a:rPr>
                        <a:t>Contracted </a:t>
                      </a:r>
                    </a:p>
                  </a:txBody>
                  <a:tcPr marL="68580" marR="68580" marT="0" marB="0" anchor="ctr" anchorCtr="1"/>
                </a:tc>
                <a:extLst>
                  <a:ext uri="{0D108BD9-81ED-4DB2-BD59-A6C34878D82A}">
                    <a16:rowId xmlns:a16="http://schemas.microsoft.com/office/drawing/2014/main" val="2497970204"/>
                  </a:ext>
                </a:extLst>
              </a:tr>
              <a:tr h="512044">
                <a:tc>
                  <a:txBody>
                    <a:bodyPr/>
                    <a:lstStyle/>
                    <a:p>
                      <a:pPr marL="0" marR="0">
                        <a:spcBef>
                          <a:spcPts val="0"/>
                        </a:spcBef>
                        <a:spcAft>
                          <a:spcPts val="0"/>
                        </a:spcAft>
                      </a:pPr>
                      <a:r>
                        <a:rPr lang="en-US" sz="1800" dirty="0">
                          <a:solidFill>
                            <a:schemeClr val="tx1">
                              <a:lumMod val="65000"/>
                              <a:lumOff val="35000"/>
                            </a:schemeClr>
                          </a:solidFill>
                          <a:effectLst/>
                        </a:rPr>
                        <a:t>Statewide Plug Load and Appliance</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nchor="ctr"/>
                </a:tc>
                <a:tc>
                  <a:txBody>
                    <a:bodyPr/>
                    <a:lstStyle/>
                    <a:p>
                      <a:pPr marL="0" marR="0">
                        <a:spcBef>
                          <a:spcPts val="0"/>
                        </a:spcBef>
                        <a:spcAft>
                          <a:spcPts val="0"/>
                        </a:spcAft>
                      </a:pPr>
                      <a:r>
                        <a:rPr lang="en-US" sz="1800" dirty="0">
                          <a:solidFill>
                            <a:schemeClr val="tx1">
                              <a:lumMod val="65000"/>
                              <a:lumOff val="35000"/>
                            </a:schemeClr>
                          </a:solidFill>
                          <a:effectLst/>
                        </a:rPr>
                        <a:t>Don Arambula Consulting</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nchor="ctr"/>
                </a:tc>
                <a:tc>
                  <a:txBody>
                    <a:bodyPr/>
                    <a:lstStyle/>
                    <a:p>
                      <a:pPr marL="0" marR="0" algn="ctr">
                        <a:spcBef>
                          <a:spcPts val="300"/>
                        </a:spcBef>
                        <a:spcAft>
                          <a:spcPts val="300"/>
                        </a:spcAft>
                        <a:tabLst>
                          <a:tab pos="742950" algn="l"/>
                        </a:tabLst>
                      </a:pPr>
                      <a:r>
                        <a:rPr lang="en-US" sz="1800" dirty="0">
                          <a:solidFill>
                            <a:schemeClr val="tx1">
                              <a:lumMod val="65000"/>
                              <a:lumOff val="35000"/>
                            </a:schemeClr>
                          </a:solidFill>
                          <a:effectLst/>
                          <a:latin typeface="Corbel" panose="020B0503020204020204" pitchFamily="34" charset="0"/>
                          <a:ea typeface="Times New Roman" panose="02020603050405020304" pitchFamily="18" charset="0"/>
                          <a:cs typeface="Times New Roman" panose="02020603050405020304" pitchFamily="18" charset="0"/>
                        </a:rPr>
                        <a:t>Contracting</a:t>
                      </a:r>
                    </a:p>
                  </a:txBody>
                  <a:tcPr marL="68580" marR="68580" marT="0" marB="0" anchor="ctr" anchorCtr="1"/>
                </a:tc>
                <a:extLst>
                  <a:ext uri="{0D108BD9-81ED-4DB2-BD59-A6C34878D82A}">
                    <a16:rowId xmlns:a16="http://schemas.microsoft.com/office/drawing/2014/main" val="236672259"/>
                  </a:ext>
                </a:extLst>
              </a:tr>
              <a:tr h="512044">
                <a:tc>
                  <a:txBody>
                    <a:bodyPr/>
                    <a:lstStyle/>
                    <a:p>
                      <a:pPr marL="0" marR="0">
                        <a:spcBef>
                          <a:spcPts val="0"/>
                        </a:spcBef>
                        <a:spcAft>
                          <a:spcPts val="0"/>
                        </a:spcAft>
                      </a:pPr>
                      <a:r>
                        <a:rPr lang="en-US" sz="1800" dirty="0">
                          <a:solidFill>
                            <a:schemeClr val="tx1">
                              <a:lumMod val="65000"/>
                              <a:lumOff val="35000"/>
                            </a:schemeClr>
                          </a:solidFill>
                          <a:effectLst/>
                        </a:rPr>
                        <a:t>Statewide Upstream/Midstream HVAC</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nchor="ctr"/>
                </a:tc>
                <a:tc>
                  <a:txBody>
                    <a:bodyPr/>
                    <a:lstStyle/>
                    <a:p>
                      <a:pPr marL="0" marR="0">
                        <a:spcBef>
                          <a:spcPts val="0"/>
                        </a:spcBef>
                        <a:spcAft>
                          <a:spcPts val="0"/>
                        </a:spcAft>
                      </a:pPr>
                      <a:r>
                        <a:rPr lang="en-US" sz="1800" dirty="0">
                          <a:solidFill>
                            <a:schemeClr val="tx1">
                              <a:lumMod val="65000"/>
                              <a:lumOff val="35000"/>
                            </a:schemeClr>
                          </a:solidFill>
                          <a:effectLst/>
                        </a:rPr>
                        <a:t>The Mendota Group</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nchor="ctr"/>
                </a:tc>
                <a:tc>
                  <a:txBody>
                    <a:bodyPr/>
                    <a:lstStyle/>
                    <a:p>
                      <a:pPr marL="0" marR="0" algn="ctr">
                        <a:spcBef>
                          <a:spcPts val="300"/>
                        </a:spcBef>
                        <a:spcAft>
                          <a:spcPts val="300"/>
                        </a:spcAft>
                        <a:tabLst>
                          <a:tab pos="742950" algn="l"/>
                        </a:tabLst>
                      </a:pPr>
                      <a:r>
                        <a:rPr lang="en-US" sz="1800" dirty="0">
                          <a:solidFill>
                            <a:schemeClr val="tx1">
                              <a:lumMod val="65000"/>
                              <a:lumOff val="35000"/>
                            </a:schemeClr>
                          </a:solidFill>
                          <a:effectLst/>
                          <a:latin typeface="Corbel" panose="020B0503020204020204" pitchFamily="34" charset="0"/>
                          <a:ea typeface="Times New Roman" panose="02020603050405020304" pitchFamily="18" charset="0"/>
                          <a:cs typeface="Times New Roman" panose="02020603050405020304" pitchFamily="18" charset="0"/>
                        </a:rPr>
                        <a:t>Contracted</a:t>
                      </a:r>
                    </a:p>
                  </a:txBody>
                  <a:tcPr marL="68580" marR="68580" marT="0" marB="0" anchor="ctr" anchorCtr="1"/>
                </a:tc>
                <a:extLst>
                  <a:ext uri="{0D108BD9-81ED-4DB2-BD59-A6C34878D82A}">
                    <a16:rowId xmlns:a16="http://schemas.microsoft.com/office/drawing/2014/main" val="2091132186"/>
                  </a:ext>
                </a:extLst>
              </a:tr>
              <a:tr h="464951">
                <a:tc>
                  <a:txBody>
                    <a:bodyPr/>
                    <a:lstStyle/>
                    <a:p>
                      <a:pPr marL="0" marR="0">
                        <a:spcBef>
                          <a:spcPts val="0"/>
                        </a:spcBef>
                        <a:spcAft>
                          <a:spcPts val="0"/>
                        </a:spcAft>
                      </a:pPr>
                      <a:r>
                        <a:rPr lang="en-US" sz="1800" dirty="0">
                          <a:solidFill>
                            <a:schemeClr val="tx1">
                              <a:lumMod val="65000"/>
                              <a:lumOff val="35000"/>
                            </a:schemeClr>
                          </a:solidFill>
                          <a:effectLst/>
                        </a:rPr>
                        <a:t>Local Public K-12</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nchor="ctr"/>
                </a:tc>
                <a:tc>
                  <a:txBody>
                    <a:bodyPr/>
                    <a:lstStyle/>
                    <a:p>
                      <a:pPr marL="0" marR="0">
                        <a:spcBef>
                          <a:spcPts val="0"/>
                        </a:spcBef>
                        <a:spcAft>
                          <a:spcPts val="0"/>
                        </a:spcAft>
                      </a:pPr>
                      <a:r>
                        <a:rPr lang="en-US" sz="1800" dirty="0">
                          <a:solidFill>
                            <a:schemeClr val="tx1">
                              <a:lumMod val="65000"/>
                              <a:lumOff val="35000"/>
                            </a:schemeClr>
                          </a:solidFill>
                          <a:effectLst/>
                        </a:rPr>
                        <a:t>MCR Corporate Services</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nchor="ctr"/>
                </a:tc>
                <a:tc>
                  <a:txBody>
                    <a:bodyPr/>
                    <a:lstStyle/>
                    <a:p>
                      <a:pPr marL="0" marR="0" algn="ctr">
                        <a:spcBef>
                          <a:spcPts val="300"/>
                        </a:spcBef>
                        <a:spcAft>
                          <a:spcPts val="300"/>
                        </a:spcAft>
                        <a:tabLst>
                          <a:tab pos="742950" algn="l"/>
                        </a:tabLst>
                      </a:pPr>
                      <a:r>
                        <a:rPr lang="en-US" sz="1800" dirty="0">
                          <a:solidFill>
                            <a:schemeClr val="tx1">
                              <a:lumMod val="65000"/>
                              <a:lumOff val="35000"/>
                            </a:schemeClr>
                          </a:solidFill>
                          <a:effectLst/>
                          <a:latin typeface="Corbel" panose="020B0503020204020204" pitchFamily="34" charset="0"/>
                          <a:ea typeface="Times New Roman" panose="02020603050405020304" pitchFamily="18" charset="0"/>
                          <a:cs typeface="Times New Roman" panose="02020603050405020304" pitchFamily="18" charset="0"/>
                        </a:rPr>
                        <a:t>Contracting</a:t>
                      </a:r>
                    </a:p>
                  </a:txBody>
                  <a:tcPr marL="68580" marR="68580" marT="0" marB="0" anchor="ctr" anchorCtr="1"/>
                </a:tc>
                <a:extLst>
                  <a:ext uri="{0D108BD9-81ED-4DB2-BD59-A6C34878D82A}">
                    <a16:rowId xmlns:a16="http://schemas.microsoft.com/office/drawing/2014/main" val="1223630663"/>
                  </a:ext>
                </a:extLst>
              </a:tr>
              <a:tr h="256022">
                <a:tc>
                  <a:txBody>
                    <a:bodyPr/>
                    <a:lstStyle/>
                    <a:p>
                      <a:pPr marL="0" marR="0">
                        <a:spcBef>
                          <a:spcPts val="0"/>
                        </a:spcBef>
                        <a:spcAft>
                          <a:spcPts val="0"/>
                        </a:spcAft>
                      </a:pPr>
                      <a:r>
                        <a:rPr lang="en-US" sz="1800" dirty="0">
                          <a:solidFill>
                            <a:schemeClr val="tx1">
                              <a:lumMod val="65000"/>
                              <a:lumOff val="35000"/>
                            </a:schemeClr>
                          </a:solidFill>
                          <a:effectLst/>
                        </a:rPr>
                        <a:t>Local Public Sector Federal</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nchor="ctr"/>
                </a:tc>
                <a:tc>
                  <a:txBody>
                    <a:bodyPr/>
                    <a:lstStyle/>
                    <a:p>
                      <a:pPr marL="0" marR="0">
                        <a:spcBef>
                          <a:spcPts val="0"/>
                        </a:spcBef>
                        <a:spcAft>
                          <a:spcPts val="0"/>
                        </a:spcAft>
                      </a:pPr>
                      <a:r>
                        <a:rPr lang="en-US" sz="1800" dirty="0">
                          <a:solidFill>
                            <a:schemeClr val="tx1">
                              <a:lumMod val="65000"/>
                              <a:lumOff val="35000"/>
                            </a:schemeClr>
                          </a:solidFill>
                          <a:effectLst/>
                        </a:rPr>
                        <a:t>MCR Corporate Services</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nchor="ctr"/>
                </a:tc>
                <a:tc>
                  <a:txBody>
                    <a:bodyPr/>
                    <a:lstStyle/>
                    <a:p>
                      <a:pPr marL="0" marR="0" algn="ctr">
                        <a:spcBef>
                          <a:spcPts val="300"/>
                        </a:spcBef>
                        <a:spcAft>
                          <a:spcPts val="300"/>
                        </a:spcAft>
                        <a:tabLst>
                          <a:tab pos="742950" algn="l"/>
                        </a:tabLst>
                      </a:pPr>
                      <a:r>
                        <a:rPr lang="en-US" sz="1800" dirty="0">
                          <a:solidFill>
                            <a:schemeClr val="tx1">
                              <a:lumMod val="65000"/>
                              <a:lumOff val="35000"/>
                            </a:schemeClr>
                          </a:solidFill>
                          <a:effectLst/>
                          <a:latin typeface="Corbel" panose="020B0503020204020204" pitchFamily="34" charset="0"/>
                          <a:ea typeface="Times New Roman" panose="02020603050405020304" pitchFamily="18" charset="0"/>
                          <a:cs typeface="Times New Roman" panose="02020603050405020304" pitchFamily="18" charset="0"/>
                        </a:rPr>
                        <a:t>RFP</a:t>
                      </a:r>
                    </a:p>
                  </a:txBody>
                  <a:tcPr marL="68580" marR="68580" marT="0" marB="0" anchor="ctr" anchorCtr="1"/>
                </a:tc>
                <a:extLst>
                  <a:ext uri="{0D108BD9-81ED-4DB2-BD59-A6C34878D82A}">
                    <a16:rowId xmlns:a16="http://schemas.microsoft.com/office/drawing/2014/main" val="2370442210"/>
                  </a:ext>
                </a:extLst>
              </a:tr>
              <a:tr h="512044">
                <a:tc>
                  <a:txBody>
                    <a:bodyPr/>
                    <a:lstStyle/>
                    <a:p>
                      <a:pPr marL="0" marR="0">
                        <a:spcBef>
                          <a:spcPts val="0"/>
                        </a:spcBef>
                        <a:spcAft>
                          <a:spcPts val="0"/>
                        </a:spcAft>
                      </a:pPr>
                      <a:r>
                        <a:rPr lang="en-US" sz="1800" dirty="0">
                          <a:solidFill>
                            <a:schemeClr val="tx1">
                              <a:lumMod val="65000"/>
                              <a:lumOff val="35000"/>
                            </a:schemeClr>
                          </a:solidFill>
                          <a:effectLst/>
                        </a:rPr>
                        <a:t>Local Residential Single Family 1.0</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nchor="ctr"/>
                </a:tc>
                <a:tc>
                  <a:txBody>
                    <a:bodyPr/>
                    <a:lstStyle/>
                    <a:p>
                      <a:pPr marL="0" marR="0">
                        <a:spcBef>
                          <a:spcPts val="0"/>
                        </a:spcBef>
                        <a:spcAft>
                          <a:spcPts val="0"/>
                        </a:spcAft>
                      </a:pPr>
                      <a:r>
                        <a:rPr lang="en-US" sz="1800" dirty="0">
                          <a:solidFill>
                            <a:schemeClr val="tx1">
                              <a:lumMod val="65000"/>
                              <a:lumOff val="35000"/>
                            </a:schemeClr>
                          </a:solidFill>
                          <a:effectLst/>
                        </a:rPr>
                        <a:t>Don Arambula Consulting</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nchor="ctr"/>
                </a:tc>
                <a:tc>
                  <a:txBody>
                    <a:bodyPr/>
                    <a:lstStyle/>
                    <a:p>
                      <a:pPr marL="0" marR="0" algn="ctr">
                        <a:spcBef>
                          <a:spcPts val="300"/>
                        </a:spcBef>
                        <a:spcAft>
                          <a:spcPts val="300"/>
                        </a:spcAft>
                        <a:tabLst>
                          <a:tab pos="742950" algn="l"/>
                        </a:tabLst>
                      </a:pPr>
                      <a:r>
                        <a:rPr lang="en-US" sz="1800" dirty="0">
                          <a:solidFill>
                            <a:schemeClr val="tx1">
                              <a:lumMod val="65000"/>
                              <a:lumOff val="35000"/>
                            </a:schemeClr>
                          </a:solidFill>
                          <a:effectLst/>
                          <a:latin typeface="Corbel" panose="020B0503020204020204" pitchFamily="34" charset="0"/>
                          <a:ea typeface="Times New Roman" panose="02020603050405020304" pitchFamily="18" charset="0"/>
                          <a:cs typeface="Times New Roman" panose="02020603050405020304" pitchFamily="18" charset="0"/>
                        </a:rPr>
                        <a:t>Cancelled</a:t>
                      </a:r>
                    </a:p>
                  </a:txBody>
                  <a:tcPr marL="68580" marR="68580" marT="0" marB="0" anchor="ctr" anchorCtr="1"/>
                </a:tc>
                <a:extLst>
                  <a:ext uri="{0D108BD9-81ED-4DB2-BD59-A6C34878D82A}">
                    <a16:rowId xmlns:a16="http://schemas.microsoft.com/office/drawing/2014/main" val="263338033"/>
                  </a:ext>
                </a:extLst>
              </a:tr>
              <a:tr h="512044">
                <a:tc>
                  <a:txBody>
                    <a:bodyPr/>
                    <a:lstStyle/>
                    <a:p>
                      <a:pPr marL="0" marR="0">
                        <a:spcBef>
                          <a:spcPts val="0"/>
                        </a:spcBef>
                        <a:spcAft>
                          <a:spcPts val="0"/>
                        </a:spcAft>
                      </a:pPr>
                      <a:r>
                        <a:rPr lang="en-US" sz="1800" dirty="0">
                          <a:solidFill>
                            <a:schemeClr val="tx1">
                              <a:lumMod val="65000"/>
                              <a:lumOff val="35000"/>
                            </a:schemeClr>
                          </a:solidFill>
                          <a:effectLst/>
                        </a:rPr>
                        <a:t>Local Residential Single Family 2.0</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nchor="ctr"/>
                </a:tc>
                <a:tc>
                  <a:txBody>
                    <a:bodyPr/>
                    <a:lstStyle/>
                    <a:p>
                      <a:pPr marL="0" marR="0">
                        <a:spcBef>
                          <a:spcPts val="0"/>
                        </a:spcBef>
                        <a:spcAft>
                          <a:spcPts val="0"/>
                        </a:spcAft>
                      </a:pPr>
                      <a:r>
                        <a:rPr lang="en-US" sz="1800" dirty="0">
                          <a:solidFill>
                            <a:schemeClr val="tx1">
                              <a:lumMod val="65000"/>
                              <a:lumOff val="35000"/>
                            </a:schemeClr>
                          </a:solidFill>
                          <a:effectLst/>
                        </a:rPr>
                        <a:t>Don Arambula Consulting</a:t>
                      </a:r>
                      <a:endParaRPr lang="en-US" sz="1800" dirty="0">
                        <a:solidFill>
                          <a:schemeClr val="tx1">
                            <a:lumMod val="65000"/>
                            <a:lumOff val="35000"/>
                          </a:schemeClr>
                        </a:solidFill>
                        <a:effectLst/>
                        <a:latin typeface="Garamond" panose="02020404030301010803" pitchFamily="18" charset="0"/>
                        <a:ea typeface="Arial" panose="020B0604020202020204" pitchFamily="34" charset="0"/>
                        <a:cs typeface="Arial" panose="020B0604020202020204" pitchFamily="34" charset="0"/>
                      </a:endParaRPr>
                    </a:p>
                  </a:txBody>
                  <a:tcPr marL="63544" marR="63544" marT="0" marB="0" anchor="ctr"/>
                </a:tc>
                <a:tc>
                  <a:txBody>
                    <a:bodyPr/>
                    <a:lstStyle/>
                    <a:p>
                      <a:pPr marL="0" marR="0" algn="ctr">
                        <a:spcBef>
                          <a:spcPts val="300"/>
                        </a:spcBef>
                        <a:spcAft>
                          <a:spcPts val="300"/>
                        </a:spcAft>
                        <a:tabLst>
                          <a:tab pos="742950" algn="l"/>
                        </a:tabLst>
                      </a:pPr>
                      <a:r>
                        <a:rPr lang="en-US" sz="1800" dirty="0">
                          <a:solidFill>
                            <a:schemeClr val="tx1">
                              <a:lumMod val="65000"/>
                              <a:lumOff val="35000"/>
                            </a:schemeClr>
                          </a:solidFill>
                          <a:effectLst/>
                          <a:latin typeface="Corbel" panose="020B0503020204020204" pitchFamily="34" charset="0"/>
                          <a:ea typeface="Times New Roman" panose="02020603050405020304" pitchFamily="18" charset="0"/>
                          <a:cs typeface="Times New Roman" panose="02020603050405020304" pitchFamily="18" charset="0"/>
                        </a:rPr>
                        <a:t>Contracting</a:t>
                      </a:r>
                    </a:p>
                  </a:txBody>
                  <a:tcPr marL="68580" marR="68580" marT="0" marB="0" anchor="ctr" anchorCtr="1"/>
                </a:tc>
                <a:extLst>
                  <a:ext uri="{0D108BD9-81ED-4DB2-BD59-A6C34878D82A}">
                    <a16:rowId xmlns:a16="http://schemas.microsoft.com/office/drawing/2014/main" val="2772006382"/>
                  </a:ext>
                </a:extLst>
              </a:tr>
              <a:tr h="464951">
                <a:tc>
                  <a:txBody>
                    <a:bodyPr/>
                    <a:lstStyle/>
                    <a:p>
                      <a:pPr marL="0" marR="0">
                        <a:spcBef>
                          <a:spcPts val="300"/>
                        </a:spcBef>
                        <a:spcAft>
                          <a:spcPts val="300"/>
                        </a:spcAft>
                      </a:pPr>
                      <a:r>
                        <a:rPr lang="en-US" sz="1800" dirty="0">
                          <a:solidFill>
                            <a:schemeClr val="tx1">
                              <a:lumMod val="65000"/>
                              <a:lumOff val="35000"/>
                            </a:schemeClr>
                          </a:solidFill>
                          <a:effectLst/>
                          <a:uFill>
                            <a:solidFill>
                              <a:srgbClr val="000000"/>
                            </a:solidFill>
                          </a:uFill>
                          <a:latin typeface="+mn-lt"/>
                          <a:ea typeface="Arial" panose="020B0604020202020204" pitchFamily="34" charset="0"/>
                          <a:cs typeface="Times New Roman" panose="02020603050405020304" pitchFamily="18" charset="0"/>
                        </a:rPr>
                        <a:t>Local Government</a:t>
                      </a:r>
                    </a:p>
                  </a:txBody>
                  <a:tcPr marL="68580" marR="68580" marT="0" marB="0"/>
                </a:tc>
                <a:tc>
                  <a:txBody>
                    <a:bodyPr/>
                    <a:lstStyle/>
                    <a:p>
                      <a:pPr marL="0" marR="0" algn="ctr">
                        <a:spcBef>
                          <a:spcPts val="300"/>
                        </a:spcBef>
                        <a:spcAft>
                          <a:spcPts val="300"/>
                        </a:spcAft>
                        <a:tabLst>
                          <a:tab pos="742950" algn="l"/>
                        </a:tabLst>
                      </a:pPr>
                      <a:r>
                        <a:rPr lang="en-US" sz="1800" dirty="0">
                          <a:solidFill>
                            <a:schemeClr val="tx1">
                              <a:lumMod val="65000"/>
                              <a:lumOff val="35000"/>
                            </a:schemeClr>
                          </a:solidFill>
                          <a:effectLst/>
                          <a:uFill>
                            <a:solidFill>
                              <a:srgbClr val="000000"/>
                            </a:solidFill>
                          </a:uFill>
                          <a:latin typeface="+mn-lt"/>
                          <a:ea typeface="Arial" panose="020B0604020202020204" pitchFamily="34" charset="0"/>
                          <a:cs typeface="Arial" panose="020B0604020202020204" pitchFamily="34" charset="0"/>
                        </a:rPr>
                        <a:t>Don Arambula Consulting</a:t>
                      </a:r>
                    </a:p>
                  </a:txBody>
                  <a:tcPr marL="68580" marR="68580" marT="0" marB="0"/>
                </a:tc>
                <a:tc>
                  <a:txBody>
                    <a:bodyPr/>
                    <a:lstStyle/>
                    <a:p>
                      <a:pPr marL="0" marR="0" algn="ctr">
                        <a:spcBef>
                          <a:spcPts val="300"/>
                        </a:spcBef>
                        <a:spcAft>
                          <a:spcPts val="300"/>
                        </a:spcAft>
                        <a:tabLst>
                          <a:tab pos="742950" algn="l"/>
                        </a:tabLst>
                      </a:pPr>
                      <a:r>
                        <a:rPr lang="en-US" sz="1800" dirty="0">
                          <a:solidFill>
                            <a:schemeClr val="tx1">
                              <a:lumMod val="65000"/>
                              <a:lumOff val="35000"/>
                            </a:schemeClr>
                          </a:solidFill>
                          <a:effectLst/>
                          <a:uFill>
                            <a:solidFill>
                              <a:srgbClr val="000000"/>
                            </a:solidFill>
                          </a:uFill>
                          <a:latin typeface="+mn-lt"/>
                          <a:ea typeface="Arial" panose="020B0604020202020204" pitchFamily="34" charset="0"/>
                          <a:cs typeface="Arial" panose="020B0604020202020204" pitchFamily="34" charset="0"/>
                        </a:rPr>
                        <a:t>RFA</a:t>
                      </a:r>
                    </a:p>
                  </a:txBody>
                  <a:tcPr marL="68580" marR="68580" marT="0" marB="0"/>
                </a:tc>
                <a:extLst>
                  <a:ext uri="{0D108BD9-81ED-4DB2-BD59-A6C34878D82A}">
                    <a16:rowId xmlns:a16="http://schemas.microsoft.com/office/drawing/2014/main" val="3623139440"/>
                  </a:ext>
                </a:extLst>
              </a:tr>
            </a:tbl>
          </a:graphicData>
        </a:graphic>
      </p:graphicFrame>
    </p:spTree>
    <p:extLst>
      <p:ext uri="{BB962C8B-B14F-4D97-AF65-F5344CB8AC3E}">
        <p14:creationId xmlns:p14="http://schemas.microsoft.com/office/powerpoint/2010/main" val="2751905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CFAEE-6D5A-4E5A-984D-76329D6A1854}"/>
              </a:ext>
            </a:extLst>
          </p:cNvPr>
          <p:cNvSpPr>
            <a:spLocks noGrp="1"/>
          </p:cNvSpPr>
          <p:nvPr>
            <p:ph type="title"/>
          </p:nvPr>
        </p:nvSpPr>
        <p:spPr/>
        <p:txBody>
          <a:bodyPr>
            <a:normAutofit/>
          </a:bodyPr>
          <a:lstStyle/>
          <a:p>
            <a:r>
              <a:rPr lang="en-US" dirty="0">
                <a:solidFill>
                  <a:schemeClr val="tx1">
                    <a:lumMod val="65000"/>
                    <a:lumOff val="35000"/>
                  </a:schemeClr>
                </a:solidFill>
              </a:rPr>
              <a:t>SDG&amp;E – IE Observations</a:t>
            </a:r>
          </a:p>
        </p:txBody>
      </p:sp>
      <p:sp>
        <p:nvSpPr>
          <p:cNvPr id="4" name="Footer Placeholder 3">
            <a:extLst>
              <a:ext uri="{FF2B5EF4-FFF2-40B4-BE49-F238E27FC236}">
                <a16:creationId xmlns:a16="http://schemas.microsoft.com/office/drawing/2014/main" id="{184CFF9D-B864-4AAF-B33A-E020B9C84BDA}"/>
              </a:ext>
            </a:extLst>
          </p:cNvPr>
          <p:cNvSpPr>
            <a:spLocks noGrp="1"/>
          </p:cNvSpPr>
          <p:nvPr>
            <p:ph type="ftr" sz="quarter" idx="11"/>
          </p:nvPr>
        </p:nvSpPr>
        <p:spPr>
          <a:xfrm>
            <a:off x="3848564" y="6211673"/>
            <a:ext cx="4717774" cy="365125"/>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rPr>
              <a:t>IE Semi-Annual Report: July 28, 2021 Stakeholder Meeting</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5" name="Slide Number Placeholder 4">
            <a:extLst>
              <a:ext uri="{FF2B5EF4-FFF2-40B4-BE49-F238E27FC236}">
                <a16:creationId xmlns:a16="http://schemas.microsoft.com/office/drawing/2014/main" id="{B6FAA57D-BF74-4A68-A4E3-F12CAC39530B}"/>
              </a:ext>
            </a:extLst>
          </p:cNvPr>
          <p:cNvSpPr>
            <a:spLocks noGrp="1"/>
          </p:cNvSpPr>
          <p:nvPr>
            <p:ph type="sldNum" sz="quarter" idx="12"/>
          </p:nvPr>
        </p:nvSpPr>
        <p:spPr>
          <a:xfrm>
            <a:off x="9329530" y="6193684"/>
            <a:ext cx="1706217"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AB73BC-B049-4115-A692-8D63A059BFB8}" type="slidenum">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6" name="Freeform 36">
            <a:extLst>
              <a:ext uri="{FF2B5EF4-FFF2-40B4-BE49-F238E27FC236}">
                <a16:creationId xmlns:a16="http://schemas.microsoft.com/office/drawing/2014/main" id="{83013507-E27C-47B6-AB3B-C51FA4D339DF}"/>
              </a:ext>
            </a:extLst>
          </p:cNvPr>
          <p:cNvSpPr/>
          <p:nvPr/>
        </p:nvSpPr>
        <p:spPr>
          <a:xfrm>
            <a:off x="442289" y="2025570"/>
            <a:ext cx="8229600" cy="1197864"/>
          </a:xfrm>
          <a:custGeom>
            <a:avLst/>
            <a:gdLst>
              <a:gd name="connsiteX0" fmla="*/ 7804931 w 8740200"/>
              <a:gd name="connsiteY0" fmla="*/ 30 h 1487756"/>
              <a:gd name="connsiteX1" fmla="*/ 8249001 w 8740200"/>
              <a:gd name="connsiteY1" fmla="*/ 12362 h 1487756"/>
              <a:gd name="connsiteX2" fmla="*/ 8740200 w 8740200"/>
              <a:gd name="connsiteY2" fmla="*/ 402512 h 1487756"/>
              <a:gd name="connsiteX3" fmla="*/ 8740200 w 8740200"/>
              <a:gd name="connsiteY3" fmla="*/ 1487756 h 1487756"/>
              <a:gd name="connsiteX4" fmla="*/ 8068033 w 8740200"/>
              <a:gd name="connsiteY4" fmla="*/ 1070699 h 1487756"/>
              <a:gd name="connsiteX5" fmla="*/ 7474669 w 8740200"/>
              <a:gd name="connsiteY5" fmla="*/ 1064972 h 1487756"/>
              <a:gd name="connsiteX6" fmla="*/ 7254131 w 8740200"/>
              <a:gd name="connsiteY6" fmla="*/ 1063602 h 1487756"/>
              <a:gd name="connsiteX7" fmla="*/ 7229253 w 8740200"/>
              <a:gd name="connsiteY7" fmla="*/ 1066215 h 1487756"/>
              <a:gd name="connsiteX8" fmla="*/ 6370428 w 8740200"/>
              <a:gd name="connsiteY8" fmla="*/ 1066215 h 1487756"/>
              <a:gd name="connsiteX9" fmla="*/ 6357821 w 8740200"/>
              <a:gd name="connsiteY9" fmla="*/ 1066362 h 1487756"/>
              <a:gd name="connsiteX10" fmla="*/ 6086001 w 8740200"/>
              <a:gd name="connsiteY10" fmla="*/ 1070699 h 1487756"/>
              <a:gd name="connsiteX11" fmla="*/ 6092773 w 8740200"/>
              <a:gd name="connsiteY11" fmla="*/ 1066215 h 1487756"/>
              <a:gd name="connsiteX12" fmla="*/ 3822471 w 8740200"/>
              <a:gd name="connsiteY12" fmla="*/ 1066215 h 1487756"/>
              <a:gd name="connsiteX13" fmla="*/ 3770835 w 8740200"/>
              <a:gd name="connsiteY13" fmla="*/ 1060790 h 1487756"/>
              <a:gd name="connsiteX14" fmla="*/ 3770835 w 8740200"/>
              <a:gd name="connsiteY14" fmla="*/ 1063603 h 1487756"/>
              <a:gd name="connsiteX15" fmla="*/ 3770624 w 8740200"/>
              <a:gd name="connsiteY15" fmla="*/ 1063602 h 1487756"/>
              <a:gd name="connsiteX16" fmla="*/ 3745746 w 8740200"/>
              <a:gd name="connsiteY16" fmla="*/ 1066215 h 1487756"/>
              <a:gd name="connsiteX17" fmla="*/ 2886922 w 8740200"/>
              <a:gd name="connsiteY17" fmla="*/ 1066215 h 1487756"/>
              <a:gd name="connsiteX18" fmla="*/ 2874314 w 8740200"/>
              <a:gd name="connsiteY18" fmla="*/ 1066362 h 1487756"/>
              <a:gd name="connsiteX19" fmla="*/ 2602495 w 8740200"/>
              <a:gd name="connsiteY19" fmla="*/ 1070699 h 1487756"/>
              <a:gd name="connsiteX20" fmla="*/ 2609266 w 8740200"/>
              <a:gd name="connsiteY20" fmla="*/ 1066215 h 1487756"/>
              <a:gd name="connsiteX21" fmla="*/ 338964 w 8740200"/>
              <a:gd name="connsiteY21" fmla="*/ 1066215 h 1487756"/>
              <a:gd name="connsiteX22" fmla="*/ 0 w 8740200"/>
              <a:gd name="connsiteY22" fmla="*/ 889822 h 1487756"/>
              <a:gd name="connsiteX23" fmla="*/ 0 w 8740200"/>
              <a:gd name="connsiteY23" fmla="*/ 184270 h 1487756"/>
              <a:gd name="connsiteX24" fmla="*/ 338964 w 8740200"/>
              <a:gd name="connsiteY24" fmla="*/ 7877 h 1487756"/>
              <a:gd name="connsiteX25" fmla="*/ 3740008 w 8740200"/>
              <a:gd name="connsiteY25" fmla="*/ 7877 h 1487756"/>
              <a:gd name="connsiteX26" fmla="*/ 3770835 w 8740200"/>
              <a:gd name="connsiteY26" fmla="*/ 7343 h 1487756"/>
              <a:gd name="connsiteX27" fmla="*/ 3770835 w 8740200"/>
              <a:gd name="connsiteY27" fmla="*/ 13302 h 1487756"/>
              <a:gd name="connsiteX28" fmla="*/ 3822471 w 8740200"/>
              <a:gd name="connsiteY28" fmla="*/ 7877 h 1487756"/>
              <a:gd name="connsiteX29" fmla="*/ 7223515 w 8740200"/>
              <a:gd name="connsiteY29" fmla="*/ 7877 h 1487756"/>
              <a:gd name="connsiteX30" fmla="*/ 7804931 w 8740200"/>
              <a:gd name="connsiteY30" fmla="*/ 30 h 1487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740200" h="1487756">
                <a:moveTo>
                  <a:pt x="7804931" y="30"/>
                </a:moveTo>
                <a:cubicBezTo>
                  <a:pt x="7983475" y="-345"/>
                  <a:pt x="8139128" y="2645"/>
                  <a:pt x="8249001" y="12362"/>
                </a:cubicBezTo>
                <a:cubicBezTo>
                  <a:pt x="8501781" y="78135"/>
                  <a:pt x="8658335" y="156612"/>
                  <a:pt x="8740200" y="402512"/>
                </a:cubicBezTo>
                <a:lnTo>
                  <a:pt x="8740200" y="1487756"/>
                </a:lnTo>
                <a:cubicBezTo>
                  <a:pt x="8531224" y="1148431"/>
                  <a:pt x="8484545" y="1093120"/>
                  <a:pt x="8068033" y="1070699"/>
                </a:cubicBezTo>
                <a:cubicBezTo>
                  <a:pt x="7834643" y="1068458"/>
                  <a:pt x="7643038" y="1066472"/>
                  <a:pt x="7474669" y="1064972"/>
                </a:cubicBezTo>
                <a:lnTo>
                  <a:pt x="7254131" y="1063602"/>
                </a:lnTo>
                <a:lnTo>
                  <a:pt x="7229253" y="1066215"/>
                </a:lnTo>
                <a:lnTo>
                  <a:pt x="6370428" y="1066215"/>
                </a:lnTo>
                <a:lnTo>
                  <a:pt x="6357821" y="1066362"/>
                </a:lnTo>
                <a:cubicBezTo>
                  <a:pt x="6273768" y="1067534"/>
                  <a:pt x="6183937" y="1068971"/>
                  <a:pt x="6086001" y="1070699"/>
                </a:cubicBezTo>
                <a:lnTo>
                  <a:pt x="6092773" y="1066215"/>
                </a:lnTo>
                <a:lnTo>
                  <a:pt x="3822471" y="1066215"/>
                </a:lnTo>
                <a:lnTo>
                  <a:pt x="3770835" y="1060790"/>
                </a:lnTo>
                <a:lnTo>
                  <a:pt x="3770835" y="1063603"/>
                </a:lnTo>
                <a:lnTo>
                  <a:pt x="3770624" y="1063602"/>
                </a:lnTo>
                <a:lnTo>
                  <a:pt x="3745746" y="1066215"/>
                </a:lnTo>
                <a:lnTo>
                  <a:pt x="2886922" y="1066215"/>
                </a:lnTo>
                <a:lnTo>
                  <a:pt x="2874314" y="1066362"/>
                </a:lnTo>
                <a:cubicBezTo>
                  <a:pt x="2790261" y="1067534"/>
                  <a:pt x="2700431" y="1068970"/>
                  <a:pt x="2602495" y="1070699"/>
                </a:cubicBezTo>
                <a:lnTo>
                  <a:pt x="2609266" y="1066215"/>
                </a:lnTo>
                <a:lnTo>
                  <a:pt x="338964" y="1066215"/>
                </a:lnTo>
                <a:cubicBezTo>
                  <a:pt x="151758" y="1066215"/>
                  <a:pt x="0" y="987241"/>
                  <a:pt x="0" y="889822"/>
                </a:cubicBezTo>
                <a:lnTo>
                  <a:pt x="0" y="184270"/>
                </a:lnTo>
                <a:cubicBezTo>
                  <a:pt x="0" y="86850"/>
                  <a:pt x="151758" y="7877"/>
                  <a:pt x="338964" y="7877"/>
                </a:cubicBezTo>
                <a:lnTo>
                  <a:pt x="3740008" y="7877"/>
                </a:lnTo>
                <a:lnTo>
                  <a:pt x="3770835" y="7343"/>
                </a:lnTo>
                <a:lnTo>
                  <a:pt x="3770835" y="13302"/>
                </a:lnTo>
                <a:lnTo>
                  <a:pt x="3822471" y="7877"/>
                </a:lnTo>
                <a:lnTo>
                  <a:pt x="7223515" y="7877"/>
                </a:lnTo>
                <a:cubicBezTo>
                  <a:pt x="7424951" y="4140"/>
                  <a:pt x="7626386" y="402"/>
                  <a:pt x="7804931" y="3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1440" rIns="91440" bIns="457200" rtlCol="0" anchor="ctr" anchorCtr="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Corbel" panose="020B0503020204020204"/>
                <a:ea typeface="+mn-ea"/>
                <a:cs typeface="+mn-cs"/>
              </a:rPr>
              <a:t>Although SDG&amp;E has worked to reduce timelines overall, there have been other factors in some solicitations that have resulted in delays. </a:t>
            </a:r>
          </a:p>
        </p:txBody>
      </p:sp>
      <p:sp>
        <p:nvSpPr>
          <p:cNvPr id="7" name="Freeform 10">
            <a:extLst>
              <a:ext uri="{FF2B5EF4-FFF2-40B4-BE49-F238E27FC236}">
                <a16:creationId xmlns:a16="http://schemas.microsoft.com/office/drawing/2014/main" id="{93894447-B03B-4EE1-941B-4AA9415603AE}"/>
              </a:ext>
            </a:extLst>
          </p:cNvPr>
          <p:cNvSpPr/>
          <p:nvPr/>
        </p:nvSpPr>
        <p:spPr>
          <a:xfrm>
            <a:off x="8644601" y="2062457"/>
            <a:ext cx="3264408" cy="1127559"/>
          </a:xfrm>
          <a:custGeom>
            <a:avLst/>
            <a:gdLst>
              <a:gd name="connsiteX0" fmla="*/ 263525 w 958848"/>
              <a:gd name="connsiteY0" fmla="*/ 0 h 1051808"/>
              <a:gd name="connsiteX1" fmla="*/ 263525 w 958848"/>
              <a:gd name="connsiteY1" fmla="*/ 4058 h 1051808"/>
              <a:gd name="connsiteX2" fmla="*/ 833962 w 958848"/>
              <a:gd name="connsiteY2" fmla="*/ 4058 h 1051808"/>
              <a:gd name="connsiteX3" fmla="*/ 958848 w 958848"/>
              <a:gd name="connsiteY3" fmla="*/ 128944 h 1051808"/>
              <a:gd name="connsiteX4" fmla="*/ 958848 w 958848"/>
              <a:gd name="connsiteY4" fmla="*/ 628472 h 1051808"/>
              <a:gd name="connsiteX5" fmla="*/ 833962 w 958848"/>
              <a:gd name="connsiteY5" fmla="*/ 753358 h 1051808"/>
              <a:gd name="connsiteX6" fmla="*/ 263525 w 958848"/>
              <a:gd name="connsiteY6" fmla="*/ 753358 h 1051808"/>
              <a:gd name="connsiteX7" fmla="*/ 263525 w 958848"/>
              <a:gd name="connsiteY7" fmla="*/ 756235 h 1051808"/>
              <a:gd name="connsiteX8" fmla="*/ 247650 w 958848"/>
              <a:gd name="connsiteY8" fmla="*/ 756533 h 1051808"/>
              <a:gd name="connsiteX9" fmla="*/ 0 w 958848"/>
              <a:gd name="connsiteY9" fmla="*/ 1051808 h 1051808"/>
              <a:gd name="connsiteX10" fmla="*/ 0 w 958848"/>
              <a:gd name="connsiteY10" fmla="*/ 283458 h 1051808"/>
              <a:gd name="connsiteX11" fmla="*/ 117649 w 958848"/>
              <a:gd name="connsiteY11" fmla="*/ 45556 h 1051808"/>
              <a:gd name="connsiteX12" fmla="*/ 153826 w 958848"/>
              <a:gd name="connsiteY12" fmla="*/ 23663 h 1051808"/>
              <a:gd name="connsiteX13" fmla="*/ 168348 w 958848"/>
              <a:gd name="connsiteY13" fmla="*/ 13872 h 1051808"/>
              <a:gd name="connsiteX14" fmla="*/ 170834 w 958848"/>
              <a:gd name="connsiteY14" fmla="*/ 13370 h 1051808"/>
              <a:gd name="connsiteX15" fmla="*/ 180975 w 958848"/>
              <a:gd name="connsiteY15" fmla="*/ 7233 h 1051808"/>
              <a:gd name="connsiteX16" fmla="*/ 253293 w 958848"/>
              <a:gd name="connsiteY16" fmla="*/ 189 h 1051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8848" h="1051808">
                <a:moveTo>
                  <a:pt x="263525" y="0"/>
                </a:moveTo>
                <a:lnTo>
                  <a:pt x="263525" y="4058"/>
                </a:lnTo>
                <a:lnTo>
                  <a:pt x="833962" y="4058"/>
                </a:lnTo>
                <a:cubicBezTo>
                  <a:pt x="902935" y="4058"/>
                  <a:pt x="958848" y="59971"/>
                  <a:pt x="958848" y="128944"/>
                </a:cubicBezTo>
                <a:lnTo>
                  <a:pt x="958848" y="628472"/>
                </a:lnTo>
                <a:cubicBezTo>
                  <a:pt x="958848" y="697445"/>
                  <a:pt x="902935" y="753358"/>
                  <a:pt x="833962" y="753358"/>
                </a:cubicBezTo>
                <a:lnTo>
                  <a:pt x="263525" y="753358"/>
                </a:lnTo>
                <a:lnTo>
                  <a:pt x="263525" y="756235"/>
                </a:lnTo>
                <a:lnTo>
                  <a:pt x="247650" y="756533"/>
                </a:lnTo>
                <a:cubicBezTo>
                  <a:pt x="94192" y="772407"/>
                  <a:pt x="76994" y="811567"/>
                  <a:pt x="0" y="1051808"/>
                </a:cubicBezTo>
                <a:lnTo>
                  <a:pt x="0" y="283458"/>
                </a:lnTo>
                <a:cubicBezTo>
                  <a:pt x="22621" y="152886"/>
                  <a:pt x="60722" y="88989"/>
                  <a:pt x="117649" y="45556"/>
                </a:cubicBezTo>
                <a:lnTo>
                  <a:pt x="153826" y="23663"/>
                </a:lnTo>
                <a:lnTo>
                  <a:pt x="168348" y="13872"/>
                </a:lnTo>
                <a:lnTo>
                  <a:pt x="170834" y="13370"/>
                </a:lnTo>
                <a:lnTo>
                  <a:pt x="180975" y="7233"/>
                </a:lnTo>
                <a:cubicBezTo>
                  <a:pt x="201215" y="3794"/>
                  <a:pt x="225673" y="1545"/>
                  <a:pt x="253293" y="189"/>
                </a:cubicBezTo>
                <a:close/>
              </a:path>
            </a:pathLst>
          </a:cu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FFFF">
                    <a:lumMod val="95000"/>
                  </a:srgbClr>
                </a:solidFill>
                <a:effectLst/>
                <a:uLnTx/>
                <a:uFillTx/>
                <a:latin typeface="Corbel" panose="020B0503020204020204"/>
                <a:ea typeface="+mn-ea"/>
                <a:cs typeface="+mn-cs"/>
              </a:rPr>
              <a:t>Shorten Solicitation Schedules</a:t>
            </a:r>
          </a:p>
        </p:txBody>
      </p:sp>
      <p:sp>
        <p:nvSpPr>
          <p:cNvPr id="8" name="Freeform 37">
            <a:extLst>
              <a:ext uri="{FF2B5EF4-FFF2-40B4-BE49-F238E27FC236}">
                <a16:creationId xmlns:a16="http://schemas.microsoft.com/office/drawing/2014/main" id="{DFD6BBF1-9FDA-4063-875C-61356A8F51A7}"/>
              </a:ext>
            </a:extLst>
          </p:cNvPr>
          <p:cNvSpPr/>
          <p:nvPr/>
        </p:nvSpPr>
        <p:spPr>
          <a:xfrm>
            <a:off x="417575" y="3161440"/>
            <a:ext cx="8229600" cy="1197864"/>
          </a:xfrm>
          <a:custGeom>
            <a:avLst/>
            <a:gdLst>
              <a:gd name="connsiteX0" fmla="*/ 3770835 w 8740200"/>
              <a:gd name="connsiteY0" fmla="*/ 0 h 1487756"/>
              <a:gd name="connsiteX1" fmla="*/ 3770835 w 8740200"/>
              <a:gd name="connsiteY1" fmla="*/ 13302 h 1487756"/>
              <a:gd name="connsiteX2" fmla="*/ 3822471 w 8740200"/>
              <a:gd name="connsiteY2" fmla="*/ 7877 h 1487756"/>
              <a:gd name="connsiteX3" fmla="*/ 7223515 w 8740200"/>
              <a:gd name="connsiteY3" fmla="*/ 7877 h 1487756"/>
              <a:gd name="connsiteX4" fmla="*/ 7804931 w 8740200"/>
              <a:gd name="connsiteY4" fmla="*/ 30 h 1487756"/>
              <a:gd name="connsiteX5" fmla="*/ 8249001 w 8740200"/>
              <a:gd name="connsiteY5" fmla="*/ 12362 h 1487756"/>
              <a:gd name="connsiteX6" fmla="*/ 8740200 w 8740200"/>
              <a:gd name="connsiteY6" fmla="*/ 402512 h 1487756"/>
              <a:gd name="connsiteX7" fmla="*/ 8740200 w 8740200"/>
              <a:gd name="connsiteY7" fmla="*/ 1487756 h 1487756"/>
              <a:gd name="connsiteX8" fmla="*/ 8068033 w 8740200"/>
              <a:gd name="connsiteY8" fmla="*/ 1070699 h 1487756"/>
              <a:gd name="connsiteX9" fmla="*/ 7474669 w 8740200"/>
              <a:gd name="connsiteY9" fmla="*/ 1064972 h 1487756"/>
              <a:gd name="connsiteX10" fmla="*/ 7254131 w 8740200"/>
              <a:gd name="connsiteY10" fmla="*/ 1063602 h 1487756"/>
              <a:gd name="connsiteX11" fmla="*/ 7229253 w 8740200"/>
              <a:gd name="connsiteY11" fmla="*/ 1066215 h 1487756"/>
              <a:gd name="connsiteX12" fmla="*/ 6370428 w 8740200"/>
              <a:gd name="connsiteY12" fmla="*/ 1066215 h 1487756"/>
              <a:gd name="connsiteX13" fmla="*/ 6357821 w 8740200"/>
              <a:gd name="connsiteY13" fmla="*/ 1066362 h 1487756"/>
              <a:gd name="connsiteX14" fmla="*/ 6086001 w 8740200"/>
              <a:gd name="connsiteY14" fmla="*/ 1070699 h 1487756"/>
              <a:gd name="connsiteX15" fmla="*/ 6092773 w 8740200"/>
              <a:gd name="connsiteY15" fmla="*/ 1066215 h 1487756"/>
              <a:gd name="connsiteX16" fmla="*/ 3822471 w 8740200"/>
              <a:gd name="connsiteY16" fmla="*/ 1066215 h 1487756"/>
              <a:gd name="connsiteX17" fmla="*/ 3749162 w 8740200"/>
              <a:gd name="connsiteY17" fmla="*/ 1058513 h 1487756"/>
              <a:gd name="connsiteX18" fmla="*/ 3745746 w 8740200"/>
              <a:gd name="connsiteY18" fmla="*/ 1058872 h 1487756"/>
              <a:gd name="connsiteX19" fmla="*/ 2886922 w 8740200"/>
              <a:gd name="connsiteY19" fmla="*/ 1058872 h 1487756"/>
              <a:gd name="connsiteX20" fmla="*/ 2874314 w 8740200"/>
              <a:gd name="connsiteY20" fmla="*/ 1059019 h 1487756"/>
              <a:gd name="connsiteX21" fmla="*/ 2602495 w 8740200"/>
              <a:gd name="connsiteY21" fmla="*/ 1063356 h 1487756"/>
              <a:gd name="connsiteX22" fmla="*/ 2609266 w 8740200"/>
              <a:gd name="connsiteY22" fmla="*/ 1058872 h 1487756"/>
              <a:gd name="connsiteX23" fmla="*/ 338964 w 8740200"/>
              <a:gd name="connsiteY23" fmla="*/ 1058872 h 1487756"/>
              <a:gd name="connsiteX24" fmla="*/ 0 w 8740200"/>
              <a:gd name="connsiteY24" fmla="*/ 882479 h 1487756"/>
              <a:gd name="connsiteX25" fmla="*/ 0 w 8740200"/>
              <a:gd name="connsiteY25" fmla="*/ 176927 h 1487756"/>
              <a:gd name="connsiteX26" fmla="*/ 338964 w 8740200"/>
              <a:gd name="connsiteY26" fmla="*/ 534 h 1487756"/>
              <a:gd name="connsiteX27" fmla="*/ 3740008 w 8740200"/>
              <a:gd name="connsiteY27" fmla="*/ 534 h 1487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0200" h="1487756">
                <a:moveTo>
                  <a:pt x="3770835" y="0"/>
                </a:moveTo>
                <a:lnTo>
                  <a:pt x="3770835" y="13302"/>
                </a:lnTo>
                <a:lnTo>
                  <a:pt x="3822471" y="7877"/>
                </a:lnTo>
                <a:lnTo>
                  <a:pt x="7223515" y="7877"/>
                </a:lnTo>
                <a:cubicBezTo>
                  <a:pt x="7424951" y="4140"/>
                  <a:pt x="7626386" y="403"/>
                  <a:pt x="7804931" y="30"/>
                </a:cubicBezTo>
                <a:cubicBezTo>
                  <a:pt x="7983475" y="-345"/>
                  <a:pt x="8139128" y="2646"/>
                  <a:pt x="8249001" y="12362"/>
                </a:cubicBezTo>
                <a:cubicBezTo>
                  <a:pt x="8501781" y="78135"/>
                  <a:pt x="8658335" y="156612"/>
                  <a:pt x="8740200" y="402512"/>
                </a:cubicBezTo>
                <a:lnTo>
                  <a:pt x="8740200" y="1487756"/>
                </a:lnTo>
                <a:cubicBezTo>
                  <a:pt x="8531224" y="1148431"/>
                  <a:pt x="8484545" y="1093120"/>
                  <a:pt x="8068033" y="1070699"/>
                </a:cubicBezTo>
                <a:cubicBezTo>
                  <a:pt x="7834643" y="1068458"/>
                  <a:pt x="7643038" y="1066472"/>
                  <a:pt x="7474669" y="1064972"/>
                </a:cubicBezTo>
                <a:lnTo>
                  <a:pt x="7254131" y="1063602"/>
                </a:lnTo>
                <a:lnTo>
                  <a:pt x="7229253" y="1066215"/>
                </a:lnTo>
                <a:lnTo>
                  <a:pt x="6370428" y="1066215"/>
                </a:lnTo>
                <a:lnTo>
                  <a:pt x="6357821" y="1066362"/>
                </a:lnTo>
                <a:cubicBezTo>
                  <a:pt x="6273768" y="1067534"/>
                  <a:pt x="6183937" y="1068971"/>
                  <a:pt x="6086001" y="1070699"/>
                </a:cubicBezTo>
                <a:lnTo>
                  <a:pt x="6092773" y="1066215"/>
                </a:lnTo>
                <a:lnTo>
                  <a:pt x="3822471" y="1066215"/>
                </a:lnTo>
                <a:lnTo>
                  <a:pt x="3749162" y="1058513"/>
                </a:lnTo>
                <a:lnTo>
                  <a:pt x="3745746" y="1058872"/>
                </a:lnTo>
                <a:lnTo>
                  <a:pt x="2886922" y="1058872"/>
                </a:lnTo>
                <a:lnTo>
                  <a:pt x="2874314" y="1059019"/>
                </a:lnTo>
                <a:cubicBezTo>
                  <a:pt x="2790261" y="1060191"/>
                  <a:pt x="2700431" y="1061627"/>
                  <a:pt x="2602495" y="1063356"/>
                </a:cubicBezTo>
                <a:lnTo>
                  <a:pt x="2609266" y="1058872"/>
                </a:lnTo>
                <a:lnTo>
                  <a:pt x="338964" y="1058872"/>
                </a:lnTo>
                <a:cubicBezTo>
                  <a:pt x="151758" y="1058872"/>
                  <a:pt x="0" y="979898"/>
                  <a:pt x="0" y="882479"/>
                </a:cubicBezTo>
                <a:lnTo>
                  <a:pt x="0" y="176927"/>
                </a:lnTo>
                <a:cubicBezTo>
                  <a:pt x="0" y="79507"/>
                  <a:pt x="151758" y="534"/>
                  <a:pt x="338964" y="534"/>
                </a:cubicBezTo>
                <a:lnTo>
                  <a:pt x="3740008" y="534"/>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1440" rIns="91440" bIns="457200" rtlCol="0" anchor="ctr" anchorCtr="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Corbel" panose="020B0503020204020204"/>
                <a:ea typeface="+mn-ea"/>
                <a:cs typeface="+mn-cs"/>
              </a:rPr>
              <a:t>The IEs have recommended simplifying the RFA/RFP documents and using a Word document to capture the narrative response and Excel to capture the numerical data.  SDG&amp;E adopted this approach in recent solicitations at the RFA stage while retaining the Excel format for the RFP stage.</a:t>
            </a:r>
          </a:p>
        </p:txBody>
      </p:sp>
      <p:sp>
        <p:nvSpPr>
          <p:cNvPr id="9" name="Freeform 13">
            <a:extLst>
              <a:ext uri="{FF2B5EF4-FFF2-40B4-BE49-F238E27FC236}">
                <a16:creationId xmlns:a16="http://schemas.microsoft.com/office/drawing/2014/main" id="{A5E6CD95-4D00-4C6F-A6D9-1E6D401E74FC}"/>
              </a:ext>
            </a:extLst>
          </p:cNvPr>
          <p:cNvSpPr/>
          <p:nvPr/>
        </p:nvSpPr>
        <p:spPr>
          <a:xfrm>
            <a:off x="8634176" y="3174734"/>
            <a:ext cx="3264408" cy="1124712"/>
          </a:xfrm>
          <a:custGeom>
            <a:avLst/>
            <a:gdLst>
              <a:gd name="connsiteX0" fmla="*/ 263525 w 958848"/>
              <a:gd name="connsiteY0" fmla="*/ 0 h 1051808"/>
              <a:gd name="connsiteX1" fmla="*/ 263525 w 958848"/>
              <a:gd name="connsiteY1" fmla="*/ 4058 h 1051808"/>
              <a:gd name="connsiteX2" fmla="*/ 833962 w 958848"/>
              <a:gd name="connsiteY2" fmla="*/ 4058 h 1051808"/>
              <a:gd name="connsiteX3" fmla="*/ 958848 w 958848"/>
              <a:gd name="connsiteY3" fmla="*/ 128944 h 1051808"/>
              <a:gd name="connsiteX4" fmla="*/ 958848 w 958848"/>
              <a:gd name="connsiteY4" fmla="*/ 628472 h 1051808"/>
              <a:gd name="connsiteX5" fmla="*/ 833962 w 958848"/>
              <a:gd name="connsiteY5" fmla="*/ 753358 h 1051808"/>
              <a:gd name="connsiteX6" fmla="*/ 263525 w 958848"/>
              <a:gd name="connsiteY6" fmla="*/ 753358 h 1051808"/>
              <a:gd name="connsiteX7" fmla="*/ 263525 w 958848"/>
              <a:gd name="connsiteY7" fmla="*/ 756235 h 1051808"/>
              <a:gd name="connsiteX8" fmla="*/ 247650 w 958848"/>
              <a:gd name="connsiteY8" fmla="*/ 756533 h 1051808"/>
              <a:gd name="connsiteX9" fmla="*/ 0 w 958848"/>
              <a:gd name="connsiteY9" fmla="*/ 1051808 h 1051808"/>
              <a:gd name="connsiteX10" fmla="*/ 0 w 958848"/>
              <a:gd name="connsiteY10" fmla="*/ 283458 h 1051808"/>
              <a:gd name="connsiteX11" fmla="*/ 117649 w 958848"/>
              <a:gd name="connsiteY11" fmla="*/ 45556 h 1051808"/>
              <a:gd name="connsiteX12" fmla="*/ 153826 w 958848"/>
              <a:gd name="connsiteY12" fmla="*/ 23663 h 1051808"/>
              <a:gd name="connsiteX13" fmla="*/ 168348 w 958848"/>
              <a:gd name="connsiteY13" fmla="*/ 13872 h 1051808"/>
              <a:gd name="connsiteX14" fmla="*/ 170834 w 958848"/>
              <a:gd name="connsiteY14" fmla="*/ 13370 h 1051808"/>
              <a:gd name="connsiteX15" fmla="*/ 180975 w 958848"/>
              <a:gd name="connsiteY15" fmla="*/ 7233 h 1051808"/>
              <a:gd name="connsiteX16" fmla="*/ 253293 w 958848"/>
              <a:gd name="connsiteY16" fmla="*/ 189 h 1051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8848" h="1051808">
                <a:moveTo>
                  <a:pt x="263525" y="0"/>
                </a:moveTo>
                <a:lnTo>
                  <a:pt x="263525" y="4058"/>
                </a:lnTo>
                <a:lnTo>
                  <a:pt x="833962" y="4058"/>
                </a:lnTo>
                <a:cubicBezTo>
                  <a:pt x="902935" y="4058"/>
                  <a:pt x="958848" y="59971"/>
                  <a:pt x="958848" y="128944"/>
                </a:cubicBezTo>
                <a:lnTo>
                  <a:pt x="958848" y="628472"/>
                </a:lnTo>
                <a:cubicBezTo>
                  <a:pt x="958848" y="697445"/>
                  <a:pt x="902935" y="753358"/>
                  <a:pt x="833962" y="753358"/>
                </a:cubicBezTo>
                <a:lnTo>
                  <a:pt x="263525" y="753358"/>
                </a:lnTo>
                <a:lnTo>
                  <a:pt x="263525" y="756235"/>
                </a:lnTo>
                <a:lnTo>
                  <a:pt x="247650" y="756533"/>
                </a:lnTo>
                <a:cubicBezTo>
                  <a:pt x="94192" y="772407"/>
                  <a:pt x="76994" y="811567"/>
                  <a:pt x="0" y="1051808"/>
                </a:cubicBezTo>
                <a:lnTo>
                  <a:pt x="0" y="283458"/>
                </a:lnTo>
                <a:cubicBezTo>
                  <a:pt x="22621" y="152886"/>
                  <a:pt x="60722" y="88989"/>
                  <a:pt x="117649" y="45556"/>
                </a:cubicBezTo>
                <a:lnTo>
                  <a:pt x="153826" y="23663"/>
                </a:lnTo>
                <a:lnTo>
                  <a:pt x="168348" y="13872"/>
                </a:lnTo>
                <a:lnTo>
                  <a:pt x="170834" y="13370"/>
                </a:lnTo>
                <a:lnTo>
                  <a:pt x="180975" y="7233"/>
                </a:lnTo>
                <a:cubicBezTo>
                  <a:pt x="201215" y="3794"/>
                  <a:pt x="225673" y="1545"/>
                  <a:pt x="253293" y="189"/>
                </a:cubicBezTo>
                <a:close/>
              </a:path>
            </a:pathLst>
          </a:cu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FFFF">
                    <a:lumMod val="95000"/>
                  </a:srgbClr>
                </a:solidFill>
                <a:effectLst/>
                <a:uLnTx/>
                <a:uFillTx/>
                <a:latin typeface="Corbel" panose="020B0503020204020204"/>
                <a:ea typeface="+mn-ea"/>
                <a:cs typeface="+mn-cs"/>
              </a:rPr>
              <a:t>Better Formats for Responses</a:t>
            </a:r>
          </a:p>
        </p:txBody>
      </p:sp>
      <p:sp>
        <p:nvSpPr>
          <p:cNvPr id="14" name="Freeform 38">
            <a:extLst>
              <a:ext uri="{FF2B5EF4-FFF2-40B4-BE49-F238E27FC236}">
                <a16:creationId xmlns:a16="http://schemas.microsoft.com/office/drawing/2014/main" id="{4C879F16-D471-48F3-9788-7D743E0ABFE1}"/>
              </a:ext>
            </a:extLst>
          </p:cNvPr>
          <p:cNvSpPr/>
          <p:nvPr/>
        </p:nvSpPr>
        <p:spPr>
          <a:xfrm>
            <a:off x="415001" y="4364549"/>
            <a:ext cx="8229600" cy="1197864"/>
          </a:xfrm>
          <a:custGeom>
            <a:avLst/>
            <a:gdLst>
              <a:gd name="connsiteX0" fmla="*/ 3770835 w 8740200"/>
              <a:gd name="connsiteY0" fmla="*/ 0 h 1487756"/>
              <a:gd name="connsiteX1" fmla="*/ 3770835 w 8740200"/>
              <a:gd name="connsiteY1" fmla="*/ 13302 h 1487756"/>
              <a:gd name="connsiteX2" fmla="*/ 3822471 w 8740200"/>
              <a:gd name="connsiteY2" fmla="*/ 7877 h 1487756"/>
              <a:gd name="connsiteX3" fmla="*/ 7223515 w 8740200"/>
              <a:gd name="connsiteY3" fmla="*/ 7877 h 1487756"/>
              <a:gd name="connsiteX4" fmla="*/ 7804931 w 8740200"/>
              <a:gd name="connsiteY4" fmla="*/ 30 h 1487756"/>
              <a:gd name="connsiteX5" fmla="*/ 8249001 w 8740200"/>
              <a:gd name="connsiteY5" fmla="*/ 12362 h 1487756"/>
              <a:gd name="connsiteX6" fmla="*/ 8740200 w 8740200"/>
              <a:gd name="connsiteY6" fmla="*/ 402512 h 1487756"/>
              <a:gd name="connsiteX7" fmla="*/ 8740200 w 8740200"/>
              <a:gd name="connsiteY7" fmla="*/ 1487756 h 1487756"/>
              <a:gd name="connsiteX8" fmla="*/ 8068033 w 8740200"/>
              <a:gd name="connsiteY8" fmla="*/ 1070699 h 1487756"/>
              <a:gd name="connsiteX9" fmla="*/ 7474669 w 8740200"/>
              <a:gd name="connsiteY9" fmla="*/ 1064972 h 1487756"/>
              <a:gd name="connsiteX10" fmla="*/ 7254131 w 8740200"/>
              <a:gd name="connsiteY10" fmla="*/ 1063602 h 1487756"/>
              <a:gd name="connsiteX11" fmla="*/ 7229253 w 8740200"/>
              <a:gd name="connsiteY11" fmla="*/ 1066215 h 1487756"/>
              <a:gd name="connsiteX12" fmla="*/ 6370428 w 8740200"/>
              <a:gd name="connsiteY12" fmla="*/ 1066215 h 1487756"/>
              <a:gd name="connsiteX13" fmla="*/ 6357821 w 8740200"/>
              <a:gd name="connsiteY13" fmla="*/ 1066362 h 1487756"/>
              <a:gd name="connsiteX14" fmla="*/ 6086001 w 8740200"/>
              <a:gd name="connsiteY14" fmla="*/ 1070699 h 1487756"/>
              <a:gd name="connsiteX15" fmla="*/ 6092773 w 8740200"/>
              <a:gd name="connsiteY15" fmla="*/ 1066215 h 1487756"/>
              <a:gd name="connsiteX16" fmla="*/ 3822471 w 8740200"/>
              <a:gd name="connsiteY16" fmla="*/ 1066215 h 1487756"/>
              <a:gd name="connsiteX17" fmla="*/ 3749161 w 8740200"/>
              <a:gd name="connsiteY17" fmla="*/ 1058513 h 1487756"/>
              <a:gd name="connsiteX18" fmla="*/ 3745746 w 8740200"/>
              <a:gd name="connsiteY18" fmla="*/ 1058872 h 1487756"/>
              <a:gd name="connsiteX19" fmla="*/ 2886922 w 8740200"/>
              <a:gd name="connsiteY19" fmla="*/ 1058872 h 1487756"/>
              <a:gd name="connsiteX20" fmla="*/ 2874314 w 8740200"/>
              <a:gd name="connsiteY20" fmla="*/ 1059019 h 1487756"/>
              <a:gd name="connsiteX21" fmla="*/ 2602495 w 8740200"/>
              <a:gd name="connsiteY21" fmla="*/ 1063356 h 1487756"/>
              <a:gd name="connsiteX22" fmla="*/ 2609266 w 8740200"/>
              <a:gd name="connsiteY22" fmla="*/ 1058872 h 1487756"/>
              <a:gd name="connsiteX23" fmla="*/ 338964 w 8740200"/>
              <a:gd name="connsiteY23" fmla="*/ 1058872 h 1487756"/>
              <a:gd name="connsiteX24" fmla="*/ 0 w 8740200"/>
              <a:gd name="connsiteY24" fmla="*/ 882479 h 1487756"/>
              <a:gd name="connsiteX25" fmla="*/ 0 w 8740200"/>
              <a:gd name="connsiteY25" fmla="*/ 176927 h 1487756"/>
              <a:gd name="connsiteX26" fmla="*/ 338964 w 8740200"/>
              <a:gd name="connsiteY26" fmla="*/ 534 h 1487756"/>
              <a:gd name="connsiteX27" fmla="*/ 3740008 w 8740200"/>
              <a:gd name="connsiteY27" fmla="*/ 534 h 1487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0200" h="1487756">
                <a:moveTo>
                  <a:pt x="3770835" y="0"/>
                </a:moveTo>
                <a:lnTo>
                  <a:pt x="3770835" y="13302"/>
                </a:lnTo>
                <a:lnTo>
                  <a:pt x="3822471" y="7877"/>
                </a:lnTo>
                <a:lnTo>
                  <a:pt x="7223515" y="7877"/>
                </a:lnTo>
                <a:cubicBezTo>
                  <a:pt x="7424951" y="4140"/>
                  <a:pt x="7626386" y="403"/>
                  <a:pt x="7804931" y="30"/>
                </a:cubicBezTo>
                <a:cubicBezTo>
                  <a:pt x="7983475" y="-345"/>
                  <a:pt x="8139128" y="2646"/>
                  <a:pt x="8249001" y="12362"/>
                </a:cubicBezTo>
                <a:cubicBezTo>
                  <a:pt x="8501781" y="78135"/>
                  <a:pt x="8658335" y="156612"/>
                  <a:pt x="8740200" y="402512"/>
                </a:cubicBezTo>
                <a:lnTo>
                  <a:pt x="8740200" y="1487756"/>
                </a:lnTo>
                <a:cubicBezTo>
                  <a:pt x="8531224" y="1148431"/>
                  <a:pt x="8484545" y="1093120"/>
                  <a:pt x="8068033" y="1070699"/>
                </a:cubicBezTo>
                <a:cubicBezTo>
                  <a:pt x="7834643" y="1068458"/>
                  <a:pt x="7643038" y="1066472"/>
                  <a:pt x="7474669" y="1064972"/>
                </a:cubicBezTo>
                <a:lnTo>
                  <a:pt x="7254131" y="1063602"/>
                </a:lnTo>
                <a:lnTo>
                  <a:pt x="7229253" y="1066215"/>
                </a:lnTo>
                <a:lnTo>
                  <a:pt x="6370428" y="1066215"/>
                </a:lnTo>
                <a:lnTo>
                  <a:pt x="6357821" y="1066362"/>
                </a:lnTo>
                <a:cubicBezTo>
                  <a:pt x="6273768" y="1067534"/>
                  <a:pt x="6183937" y="1068971"/>
                  <a:pt x="6086001" y="1070699"/>
                </a:cubicBezTo>
                <a:lnTo>
                  <a:pt x="6092773" y="1066215"/>
                </a:lnTo>
                <a:lnTo>
                  <a:pt x="3822471" y="1066215"/>
                </a:lnTo>
                <a:lnTo>
                  <a:pt x="3749161" y="1058513"/>
                </a:lnTo>
                <a:lnTo>
                  <a:pt x="3745746" y="1058872"/>
                </a:lnTo>
                <a:lnTo>
                  <a:pt x="2886922" y="1058872"/>
                </a:lnTo>
                <a:lnTo>
                  <a:pt x="2874314" y="1059019"/>
                </a:lnTo>
                <a:cubicBezTo>
                  <a:pt x="2790261" y="1060191"/>
                  <a:pt x="2700431" y="1061627"/>
                  <a:pt x="2602495" y="1063356"/>
                </a:cubicBezTo>
                <a:lnTo>
                  <a:pt x="2609266" y="1058872"/>
                </a:lnTo>
                <a:lnTo>
                  <a:pt x="338964" y="1058872"/>
                </a:lnTo>
                <a:cubicBezTo>
                  <a:pt x="151758" y="1058872"/>
                  <a:pt x="0" y="979899"/>
                  <a:pt x="0" y="882479"/>
                </a:cubicBezTo>
                <a:lnTo>
                  <a:pt x="0" y="176927"/>
                </a:lnTo>
                <a:cubicBezTo>
                  <a:pt x="0" y="79508"/>
                  <a:pt x="151758" y="534"/>
                  <a:pt x="338964" y="534"/>
                </a:cubicBezTo>
                <a:lnTo>
                  <a:pt x="3740008" y="534"/>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1440" rIns="91440" bIns="457200" rtlCol="0" anchor="ctr" anchorCtr="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Corbel" panose="020B0503020204020204"/>
                <a:ea typeface="+mn-ea"/>
                <a:cs typeface="+mn-cs"/>
              </a:rPr>
              <a:t>Although SDG&amp;E has a process to consider IE recommendations from the SARs, to date, SDG&amp;E has not adopted a continuous improvement process that involves feedback from evaluators and IEs after the RFA and RFP stages</a:t>
            </a:r>
          </a:p>
        </p:txBody>
      </p:sp>
      <p:sp>
        <p:nvSpPr>
          <p:cNvPr id="15" name="Freeform 15">
            <a:extLst>
              <a:ext uri="{FF2B5EF4-FFF2-40B4-BE49-F238E27FC236}">
                <a16:creationId xmlns:a16="http://schemas.microsoft.com/office/drawing/2014/main" id="{B61AB103-EB05-4A7C-A40F-753EA04A751D}"/>
              </a:ext>
            </a:extLst>
          </p:cNvPr>
          <p:cNvSpPr/>
          <p:nvPr/>
        </p:nvSpPr>
        <p:spPr>
          <a:xfrm>
            <a:off x="8668655" y="4375052"/>
            <a:ext cx="3264408" cy="1124712"/>
          </a:xfrm>
          <a:custGeom>
            <a:avLst/>
            <a:gdLst>
              <a:gd name="connsiteX0" fmla="*/ 263525 w 958848"/>
              <a:gd name="connsiteY0" fmla="*/ 0 h 1051808"/>
              <a:gd name="connsiteX1" fmla="*/ 263525 w 958848"/>
              <a:gd name="connsiteY1" fmla="*/ 4058 h 1051808"/>
              <a:gd name="connsiteX2" fmla="*/ 833962 w 958848"/>
              <a:gd name="connsiteY2" fmla="*/ 4058 h 1051808"/>
              <a:gd name="connsiteX3" fmla="*/ 958848 w 958848"/>
              <a:gd name="connsiteY3" fmla="*/ 128944 h 1051808"/>
              <a:gd name="connsiteX4" fmla="*/ 958848 w 958848"/>
              <a:gd name="connsiteY4" fmla="*/ 628472 h 1051808"/>
              <a:gd name="connsiteX5" fmla="*/ 833962 w 958848"/>
              <a:gd name="connsiteY5" fmla="*/ 753358 h 1051808"/>
              <a:gd name="connsiteX6" fmla="*/ 263525 w 958848"/>
              <a:gd name="connsiteY6" fmla="*/ 753358 h 1051808"/>
              <a:gd name="connsiteX7" fmla="*/ 263525 w 958848"/>
              <a:gd name="connsiteY7" fmla="*/ 756235 h 1051808"/>
              <a:gd name="connsiteX8" fmla="*/ 247650 w 958848"/>
              <a:gd name="connsiteY8" fmla="*/ 756533 h 1051808"/>
              <a:gd name="connsiteX9" fmla="*/ 0 w 958848"/>
              <a:gd name="connsiteY9" fmla="*/ 1051808 h 1051808"/>
              <a:gd name="connsiteX10" fmla="*/ 0 w 958848"/>
              <a:gd name="connsiteY10" fmla="*/ 283458 h 1051808"/>
              <a:gd name="connsiteX11" fmla="*/ 117649 w 958848"/>
              <a:gd name="connsiteY11" fmla="*/ 45556 h 1051808"/>
              <a:gd name="connsiteX12" fmla="*/ 153826 w 958848"/>
              <a:gd name="connsiteY12" fmla="*/ 23663 h 1051808"/>
              <a:gd name="connsiteX13" fmla="*/ 168348 w 958848"/>
              <a:gd name="connsiteY13" fmla="*/ 13872 h 1051808"/>
              <a:gd name="connsiteX14" fmla="*/ 170834 w 958848"/>
              <a:gd name="connsiteY14" fmla="*/ 13370 h 1051808"/>
              <a:gd name="connsiteX15" fmla="*/ 180975 w 958848"/>
              <a:gd name="connsiteY15" fmla="*/ 7233 h 1051808"/>
              <a:gd name="connsiteX16" fmla="*/ 253293 w 958848"/>
              <a:gd name="connsiteY16" fmla="*/ 189 h 1051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8848" h="1051808">
                <a:moveTo>
                  <a:pt x="263525" y="0"/>
                </a:moveTo>
                <a:lnTo>
                  <a:pt x="263525" y="4058"/>
                </a:lnTo>
                <a:lnTo>
                  <a:pt x="833962" y="4058"/>
                </a:lnTo>
                <a:cubicBezTo>
                  <a:pt x="902935" y="4058"/>
                  <a:pt x="958848" y="59971"/>
                  <a:pt x="958848" y="128944"/>
                </a:cubicBezTo>
                <a:lnTo>
                  <a:pt x="958848" y="628472"/>
                </a:lnTo>
                <a:cubicBezTo>
                  <a:pt x="958848" y="697445"/>
                  <a:pt x="902935" y="753358"/>
                  <a:pt x="833962" y="753358"/>
                </a:cubicBezTo>
                <a:lnTo>
                  <a:pt x="263525" y="753358"/>
                </a:lnTo>
                <a:lnTo>
                  <a:pt x="263525" y="756235"/>
                </a:lnTo>
                <a:lnTo>
                  <a:pt x="247650" y="756533"/>
                </a:lnTo>
                <a:cubicBezTo>
                  <a:pt x="94192" y="772407"/>
                  <a:pt x="76994" y="811567"/>
                  <a:pt x="0" y="1051808"/>
                </a:cubicBezTo>
                <a:lnTo>
                  <a:pt x="0" y="283458"/>
                </a:lnTo>
                <a:cubicBezTo>
                  <a:pt x="22621" y="152886"/>
                  <a:pt x="60722" y="88989"/>
                  <a:pt x="117649" y="45556"/>
                </a:cubicBezTo>
                <a:lnTo>
                  <a:pt x="153826" y="23663"/>
                </a:lnTo>
                <a:lnTo>
                  <a:pt x="168348" y="13872"/>
                </a:lnTo>
                <a:lnTo>
                  <a:pt x="170834" y="13370"/>
                </a:lnTo>
                <a:lnTo>
                  <a:pt x="180975" y="7233"/>
                </a:lnTo>
                <a:cubicBezTo>
                  <a:pt x="201215" y="3794"/>
                  <a:pt x="225673" y="1545"/>
                  <a:pt x="253293" y="189"/>
                </a:cubicBezTo>
                <a:close/>
              </a:path>
            </a:pathLst>
          </a:cu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marL="457200" marR="0" lvl="1" indent="0" algn="ctr"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white">
                    <a:lumMod val="95000"/>
                  </a:prstClr>
                </a:solidFill>
                <a:effectLst/>
                <a:uLnTx/>
                <a:uFillTx/>
                <a:latin typeface="Corbel" panose="020B0503020204020204"/>
                <a:ea typeface="+mn-ea"/>
                <a:cs typeface="+mn-cs"/>
              </a:rPr>
              <a:t>Continuous Improvement</a:t>
            </a:r>
          </a:p>
        </p:txBody>
      </p:sp>
    </p:spTree>
    <p:extLst>
      <p:ext uri="{BB962C8B-B14F-4D97-AF65-F5344CB8AC3E}">
        <p14:creationId xmlns:p14="http://schemas.microsoft.com/office/powerpoint/2010/main" val="24965082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00C4F1C3-3ADD-491F-8C66-57912A24217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31140" y="243840"/>
            <a:ext cx="11724640" cy="6377939"/>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25" name="Rectangle 24">
            <a:extLst>
              <a:ext uri="{FF2B5EF4-FFF2-40B4-BE49-F238E27FC236}">
                <a16:creationId xmlns:a16="http://schemas.microsoft.com/office/drawing/2014/main" id="{0B323FE0-DFB0-4368-A3C2-FC1402A98C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31140" y="243840"/>
            <a:ext cx="11724640" cy="6377939"/>
          </a:xfrm>
          <a:prstGeom prst="rect">
            <a:avLst/>
          </a:prstGeom>
          <a:solidFill>
            <a:schemeClr val="accent1"/>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sp>
      <p:cxnSp>
        <p:nvCxnSpPr>
          <p:cNvPr id="27" name="Straight Connector 26">
            <a:extLst>
              <a:ext uri="{FF2B5EF4-FFF2-40B4-BE49-F238E27FC236}">
                <a16:creationId xmlns:a16="http://schemas.microsoft.com/office/drawing/2014/main" id="{E4BCA77F-6A46-46C1-822E-DF8DB6F08D5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978660" y="3733800"/>
            <a:ext cx="822960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useBgFill="1">
        <p:nvSpPr>
          <p:cNvPr id="29" name="Rectangle 28">
            <a:extLst>
              <a:ext uri="{FF2B5EF4-FFF2-40B4-BE49-F238E27FC236}">
                <a16:creationId xmlns:a16="http://schemas.microsoft.com/office/drawing/2014/main" id="{7C684499-6F30-4C6A-8094-E2E3E91B305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a:noFill/>
          </a:ln>
        </p:spPr>
        <p:style>
          <a:lnRef idx="2">
            <a:schemeClr val="accent1">
              <a:shade val="50000"/>
            </a:schemeClr>
          </a:lnRef>
          <a:fillRef idx="1">
            <a:schemeClr val="accent1"/>
          </a:fillRef>
          <a:effectRef idx="0">
            <a:schemeClr val="accent1"/>
          </a:effectRef>
          <a:fontRef idx="minor">
            <a:schemeClr val="lt1"/>
          </a:fontRef>
        </p:style>
      </p:sp>
      <p:sp>
        <p:nvSpPr>
          <p:cNvPr id="31" name="Rectangle 30">
            <a:extLst>
              <a:ext uri="{FF2B5EF4-FFF2-40B4-BE49-F238E27FC236}">
                <a16:creationId xmlns:a16="http://schemas.microsoft.com/office/drawing/2014/main" id="{D5AECED4-26C2-4E8F-A340-2402369DC2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28600" y="246888"/>
            <a:ext cx="11724640" cy="6377939"/>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CB704BEC-D7D6-4233-8BA1-6046BEA78143}"/>
              </a:ext>
            </a:extLst>
          </p:cNvPr>
          <p:cNvSpPr>
            <a:spLocks noGrp="1"/>
          </p:cNvSpPr>
          <p:nvPr>
            <p:ph type="title"/>
          </p:nvPr>
        </p:nvSpPr>
        <p:spPr>
          <a:xfrm>
            <a:off x="895467" y="863364"/>
            <a:ext cx="6657476" cy="5126124"/>
          </a:xfrm>
        </p:spPr>
        <p:txBody>
          <a:bodyPr vert="horz" lIns="91440" tIns="45720" rIns="91440" bIns="45720" rtlCol="0" anchor="ctr">
            <a:normAutofit/>
          </a:bodyPr>
          <a:lstStyle/>
          <a:p>
            <a:pPr algn="r"/>
            <a:r>
              <a:rPr lang="en-US" sz="6600" b="1" dirty="0">
                <a:solidFill>
                  <a:schemeClr val="tx1"/>
                </a:solidFill>
              </a:rPr>
              <a:t>SCE</a:t>
            </a:r>
          </a:p>
        </p:txBody>
      </p:sp>
      <p:cxnSp>
        <p:nvCxnSpPr>
          <p:cNvPr id="33" name="Straight Connector 32">
            <a:extLst>
              <a:ext uri="{FF2B5EF4-FFF2-40B4-BE49-F238E27FC236}">
                <a16:creationId xmlns:a16="http://schemas.microsoft.com/office/drawing/2014/main" id="{C9213D27-7A25-46D8-B1BD-E470E49C6C2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7961243" y="2054826"/>
            <a:ext cx="0" cy="27432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Slide Number Placeholder 4">
            <a:extLst>
              <a:ext uri="{FF2B5EF4-FFF2-40B4-BE49-F238E27FC236}">
                <a16:creationId xmlns:a16="http://schemas.microsoft.com/office/drawing/2014/main" id="{DD8BE81C-9C36-4FFF-9613-DC887B1722D5}"/>
              </a:ext>
            </a:extLst>
          </p:cNvPr>
          <p:cNvSpPr>
            <a:spLocks noGrp="1"/>
          </p:cNvSpPr>
          <p:nvPr>
            <p:ph type="sldNum" sz="quarter" idx="12"/>
          </p:nvPr>
        </p:nvSpPr>
        <p:spPr>
          <a:xfrm>
            <a:off x="10066487" y="6223828"/>
            <a:ext cx="1706217" cy="365125"/>
          </a:xfrm>
        </p:spPr>
        <p:txBody>
          <a:bodyPr vert="horz" lIns="91440" tIns="45720" rIns="91440" bIns="45720" rtlCol="0" anchor="ctr">
            <a:normAutofit/>
          </a:bodyPr>
          <a:lstStyle/>
          <a:p>
            <a:pPr marL="0" marR="0" lvl="0" indent="0" algn="r" defTabSz="457200" rtl="0" eaLnBrk="1" fontAlgn="auto" latinLnBrk="0" hangingPunct="1">
              <a:lnSpc>
                <a:spcPct val="100000"/>
              </a:lnSpc>
              <a:spcBef>
                <a:spcPts val="0"/>
              </a:spcBef>
              <a:spcAft>
                <a:spcPts val="600"/>
              </a:spcAft>
              <a:buClrTx/>
              <a:buSzTx/>
              <a:buFontTx/>
              <a:buNone/>
              <a:tabLst/>
              <a:defRPr/>
            </a:pPr>
            <a:fld id="{BF51FD3E-87FA-4BB9-8479-893262DE1709}" type="slidenum">
              <a:rPr kumimoji="0" lang="en-US" sz="1200" b="0" i="0" u="none" strike="noStrike" kern="1200" cap="none" spc="0" normalizeH="0" baseline="0" noProof="0">
                <a:ln>
                  <a:noFill/>
                </a:ln>
                <a:solidFill>
                  <a:srgbClr val="A6B727">
                    <a:lumMod val="40000"/>
                    <a:lumOff val="60000"/>
                  </a:srgbClr>
                </a:solidFill>
                <a:effectLst/>
                <a:uLnTx/>
                <a:uFillTx/>
                <a:latin typeface="Corbel" panose="020B0503020204020204"/>
                <a:ea typeface="+mn-ea"/>
                <a:cs typeface="+mn-cs"/>
              </a:rPr>
              <a:pPr marL="0" marR="0" lvl="0" indent="0" algn="r" defTabSz="457200" rtl="0" eaLnBrk="1" fontAlgn="auto" latinLnBrk="0" hangingPunct="1">
                <a:lnSpc>
                  <a:spcPct val="100000"/>
                </a:lnSpc>
                <a:spcBef>
                  <a:spcPts val="0"/>
                </a:spcBef>
                <a:spcAft>
                  <a:spcPts val="600"/>
                </a:spcAft>
                <a:buClrTx/>
                <a:buSzTx/>
                <a:buFontTx/>
                <a:buNone/>
                <a:tabLst/>
                <a:defRPr/>
              </a:pPr>
              <a:t>32</a:t>
            </a:fld>
            <a:endParaRPr kumimoji="0" lang="en-US" sz="1200" b="0" i="0" u="none" strike="noStrike" kern="1200" cap="none" spc="0" normalizeH="0" baseline="0" noProof="0" dirty="0">
              <a:ln>
                <a:noFill/>
              </a:ln>
              <a:solidFill>
                <a:srgbClr val="A6B727">
                  <a:lumMod val="40000"/>
                  <a:lumOff val="60000"/>
                </a:srgbClr>
              </a:solidFill>
              <a:effectLst/>
              <a:uLnTx/>
              <a:uFillTx/>
              <a:latin typeface="Corbel" panose="020B0503020204020204"/>
              <a:ea typeface="+mn-ea"/>
              <a:cs typeface="+mn-cs"/>
            </a:endParaRPr>
          </a:p>
        </p:txBody>
      </p:sp>
    </p:spTree>
    <p:extLst>
      <p:ext uri="{BB962C8B-B14F-4D97-AF65-F5344CB8AC3E}">
        <p14:creationId xmlns:p14="http://schemas.microsoft.com/office/powerpoint/2010/main" val="100910542"/>
      </p:ext>
    </p:extLst>
  </p:cSld>
  <p:clrMapOvr>
    <a:overrideClrMapping bg1="dk1" tx1="lt1" bg2="dk2" tx2="lt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9BD6B2-AB0D-4B17-BAAF-C04AB7B7DBB7}"/>
              </a:ext>
            </a:extLst>
          </p:cNvPr>
          <p:cNvSpPr>
            <a:spLocks noGrp="1"/>
          </p:cNvSpPr>
          <p:nvPr>
            <p:ph type="title"/>
          </p:nvPr>
        </p:nvSpPr>
        <p:spPr/>
        <p:txBody>
          <a:bodyPr>
            <a:normAutofit/>
          </a:bodyPr>
          <a:lstStyle/>
          <a:p>
            <a:r>
              <a:rPr lang="en-US" dirty="0">
                <a:solidFill>
                  <a:schemeClr val="tx1">
                    <a:lumMod val="65000"/>
                    <a:lumOff val="35000"/>
                  </a:schemeClr>
                </a:solidFill>
              </a:rPr>
              <a:t>SCE Solicitations</a:t>
            </a:r>
          </a:p>
        </p:txBody>
      </p:sp>
      <p:sp>
        <p:nvSpPr>
          <p:cNvPr id="4" name="Footer Placeholder 3">
            <a:extLst>
              <a:ext uri="{FF2B5EF4-FFF2-40B4-BE49-F238E27FC236}">
                <a16:creationId xmlns:a16="http://schemas.microsoft.com/office/drawing/2014/main" id="{C12F676A-2112-4E58-A9A6-F27D3CB83DAE}"/>
              </a:ext>
            </a:extLst>
          </p:cNvPr>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rPr>
              <a:t>IE Semi-Annual Report: July 28, 2021 Stakeholder Meeting</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5" name="Slide Number Placeholder 4">
            <a:extLst>
              <a:ext uri="{FF2B5EF4-FFF2-40B4-BE49-F238E27FC236}">
                <a16:creationId xmlns:a16="http://schemas.microsoft.com/office/drawing/2014/main" id="{5A0CF043-10C0-42A8-B9BC-58808B394850}"/>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51FD3E-87FA-4BB9-8479-893262DE1709}" type="slidenum">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6" name="Rectangle 1">
            <a:extLst>
              <a:ext uri="{FF2B5EF4-FFF2-40B4-BE49-F238E27FC236}">
                <a16:creationId xmlns:a16="http://schemas.microsoft.com/office/drawing/2014/main" id="{A8BD3C93-68E6-5249-A1B9-9BF1F2994427}"/>
              </a:ext>
            </a:extLst>
          </p:cNvPr>
          <p:cNvSpPr>
            <a:spLocks noChangeArrowheads="1"/>
          </p:cNvSpPr>
          <p:nvPr/>
        </p:nvSpPr>
        <p:spPr bwMode="auto">
          <a:xfrm flipV="1">
            <a:off x="1639957" y="3001693"/>
            <a:ext cx="1346193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b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9" name="Rectangle 1">
            <a:extLst>
              <a:ext uri="{FF2B5EF4-FFF2-40B4-BE49-F238E27FC236}">
                <a16:creationId xmlns:a16="http://schemas.microsoft.com/office/drawing/2014/main" id="{EC1F3767-4F02-A44E-BE65-3C045D7AB267}"/>
              </a:ext>
            </a:extLst>
          </p:cNvPr>
          <p:cNvSpPr>
            <a:spLocks noChangeArrowheads="1"/>
          </p:cNvSpPr>
          <p:nvPr/>
        </p:nvSpPr>
        <p:spPr bwMode="auto">
          <a:xfrm>
            <a:off x="2200275" y="297338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b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aphicFrame>
        <p:nvGraphicFramePr>
          <p:cNvPr id="3" name="Table 2">
            <a:extLst>
              <a:ext uri="{FF2B5EF4-FFF2-40B4-BE49-F238E27FC236}">
                <a16:creationId xmlns:a16="http://schemas.microsoft.com/office/drawing/2014/main" id="{12888CF3-223D-F349-B651-1327E524D85E}"/>
              </a:ext>
            </a:extLst>
          </p:cNvPr>
          <p:cNvGraphicFramePr>
            <a:graphicFrameLocks noGrp="1"/>
          </p:cNvGraphicFramePr>
          <p:nvPr/>
        </p:nvGraphicFramePr>
        <p:xfrm>
          <a:off x="1143000" y="1965959"/>
          <a:ext cx="9409044" cy="4520592"/>
        </p:xfrm>
        <a:graphic>
          <a:graphicData uri="http://schemas.openxmlformats.org/drawingml/2006/table">
            <a:tbl>
              <a:tblPr firstRow="1" bandRow="1">
                <a:tableStyleId>{00A15C55-8517-42AA-B614-E9B94910E393}</a:tableStyleId>
              </a:tblPr>
              <a:tblGrid>
                <a:gridCol w="4536503">
                  <a:extLst>
                    <a:ext uri="{9D8B030D-6E8A-4147-A177-3AD203B41FA5}">
                      <a16:colId xmlns:a16="http://schemas.microsoft.com/office/drawing/2014/main" val="4088371768"/>
                    </a:ext>
                  </a:extLst>
                </a:gridCol>
                <a:gridCol w="2352261">
                  <a:extLst>
                    <a:ext uri="{9D8B030D-6E8A-4147-A177-3AD203B41FA5}">
                      <a16:colId xmlns:a16="http://schemas.microsoft.com/office/drawing/2014/main" val="49753808"/>
                    </a:ext>
                  </a:extLst>
                </a:gridCol>
                <a:gridCol w="2520280">
                  <a:extLst>
                    <a:ext uri="{9D8B030D-6E8A-4147-A177-3AD203B41FA5}">
                      <a16:colId xmlns:a16="http://schemas.microsoft.com/office/drawing/2014/main" val="982615368"/>
                    </a:ext>
                  </a:extLst>
                </a:gridCol>
              </a:tblGrid>
              <a:tr h="570552">
                <a:tc>
                  <a:txBody>
                    <a:bodyPr/>
                    <a:lstStyle/>
                    <a:p>
                      <a:pPr marL="0" marR="0" algn="ctr">
                        <a:spcBef>
                          <a:spcPts val="0"/>
                        </a:spcBef>
                        <a:spcAft>
                          <a:spcPts val="0"/>
                        </a:spcAft>
                      </a:pPr>
                      <a:r>
                        <a:rPr lang="en-US" sz="1800" dirty="0">
                          <a:effectLst/>
                        </a:rPr>
                        <a:t>Solicitation</a:t>
                      </a:r>
                      <a:endParaRPr lang="en-US" sz="1800" b="1" dirty="0">
                        <a:solidFill>
                          <a:srgbClr val="FFFFFF"/>
                        </a:solidFill>
                        <a:effectLst/>
                        <a:latin typeface="Century Gothic" panose="020B0502020202020204" pitchFamily="34" charset="0"/>
                        <a:ea typeface="Times New Roman" panose="02020603050405020304" pitchFamily="18" charset="0"/>
                        <a:cs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800" dirty="0">
                          <a:effectLst/>
                        </a:rPr>
                        <a:t>Assigned IE</a:t>
                      </a:r>
                      <a:endParaRPr lang="en-US" sz="1800" b="1" dirty="0">
                        <a:solidFill>
                          <a:srgbClr val="FFFFFF"/>
                        </a:solidFill>
                        <a:effectLst/>
                        <a:latin typeface="Century Gothic" panose="020B0502020202020204" pitchFamily="34" charset="0"/>
                        <a:ea typeface="Times New Roman" panose="02020603050405020304" pitchFamily="18" charset="0"/>
                        <a:cs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800" dirty="0">
                          <a:effectLst/>
                        </a:rPr>
                        <a:t>Solicitation</a:t>
                      </a:r>
                    </a:p>
                    <a:p>
                      <a:pPr marL="0" marR="0" algn="ctr">
                        <a:spcBef>
                          <a:spcPts val="0"/>
                        </a:spcBef>
                        <a:spcAft>
                          <a:spcPts val="0"/>
                        </a:spcAft>
                      </a:pPr>
                      <a:r>
                        <a:rPr lang="en-US" sz="1800" dirty="0">
                          <a:effectLst/>
                        </a:rPr>
                        <a:t>Status</a:t>
                      </a:r>
                      <a:endParaRPr lang="en-US" sz="1800" b="1" dirty="0">
                        <a:solidFill>
                          <a:srgbClr val="FFFFFF"/>
                        </a:solidFill>
                        <a:effectLst/>
                        <a:latin typeface="Century Gothic" panose="020B0502020202020204" pitchFamily="34" charset="0"/>
                        <a:ea typeface="Times New Roman" panose="02020603050405020304" pitchFamily="18" charset="0"/>
                        <a:cs typeface="Calibri" panose="020F0502020204030204" pitchFamily="34" charset="0"/>
                      </a:endParaRPr>
                    </a:p>
                  </a:txBody>
                  <a:tcPr marL="68580" marR="68580" marT="0" marB="0" anchor="ctr"/>
                </a:tc>
                <a:extLst>
                  <a:ext uri="{0D108BD9-81ED-4DB2-BD59-A6C34878D82A}">
                    <a16:rowId xmlns:a16="http://schemas.microsoft.com/office/drawing/2014/main" val="2649860246"/>
                  </a:ext>
                </a:extLst>
              </a:tr>
              <a:tr h="570552">
                <a:tc>
                  <a:txBody>
                    <a:bodyPr/>
                    <a:lstStyle/>
                    <a:p>
                      <a:pPr marL="0" marR="0">
                        <a:spcBef>
                          <a:spcPts val="600"/>
                        </a:spcBef>
                        <a:spcAft>
                          <a:spcPts val="0"/>
                        </a:spcAft>
                      </a:pPr>
                      <a:r>
                        <a:rPr lang="en-US" sz="1800" dirty="0">
                          <a:solidFill>
                            <a:schemeClr val="tx1">
                              <a:lumMod val="65000"/>
                              <a:lumOff val="35000"/>
                            </a:schemeClr>
                          </a:solidFill>
                          <a:effectLst/>
                        </a:rPr>
                        <a:t>Local Residential, Commercial, Industrial (RCI)</a:t>
                      </a:r>
                      <a:endParaRPr lang="en-US" sz="1800" dirty="0">
                        <a:solidFill>
                          <a:schemeClr val="tx1">
                            <a:lumMod val="65000"/>
                            <a:lumOff val="35000"/>
                          </a:schemeClr>
                        </a:solidFill>
                        <a:effectLst/>
                        <a:latin typeface="Garamond" panose="02020404030301010803" pitchFamily="18" charset="0"/>
                        <a:ea typeface="Times New Roman" panose="02020603050405020304" pitchFamily="18" charset="0"/>
                        <a:cs typeface="Calibri" panose="020F0502020204030204" pitchFamily="34" charset="0"/>
                      </a:endParaRPr>
                    </a:p>
                  </a:txBody>
                  <a:tcPr marL="68580" marR="68580" marT="0" marB="0" anchor="ctr"/>
                </a:tc>
                <a:tc>
                  <a:txBody>
                    <a:bodyPr/>
                    <a:lstStyle/>
                    <a:p>
                      <a:pPr marL="0" marR="0">
                        <a:spcBef>
                          <a:spcPts val="600"/>
                        </a:spcBef>
                        <a:spcAft>
                          <a:spcPts val="0"/>
                        </a:spcAft>
                      </a:pPr>
                      <a:r>
                        <a:rPr lang="en-US" sz="1800" dirty="0">
                          <a:solidFill>
                            <a:schemeClr val="tx1">
                              <a:lumMod val="65000"/>
                              <a:lumOff val="35000"/>
                            </a:schemeClr>
                          </a:solidFill>
                          <a:effectLst/>
                        </a:rPr>
                        <a:t>MCR Corporate Services</a:t>
                      </a:r>
                      <a:endParaRPr lang="en-US" sz="1800" dirty="0">
                        <a:solidFill>
                          <a:schemeClr val="tx1">
                            <a:lumMod val="65000"/>
                            <a:lumOff val="35000"/>
                          </a:schemeClr>
                        </a:solidFill>
                        <a:effectLst/>
                        <a:latin typeface="Garamond" panose="02020404030301010803" pitchFamily="18" charset="0"/>
                        <a:ea typeface="Times New Roman" panose="02020603050405020304" pitchFamily="18" charset="0"/>
                        <a:cs typeface="Calibri" panose="020F0502020204030204" pitchFamily="34" charset="0"/>
                      </a:endParaRPr>
                    </a:p>
                  </a:txBody>
                  <a:tcPr marL="68580" marR="68580" marT="0" marB="0" anchor="ctr"/>
                </a:tc>
                <a:tc>
                  <a:txBody>
                    <a:bodyPr/>
                    <a:lstStyle/>
                    <a:p>
                      <a:pPr marL="0" marR="0" algn="ctr">
                        <a:spcBef>
                          <a:spcPts val="600"/>
                        </a:spcBef>
                        <a:spcAft>
                          <a:spcPts val="0"/>
                        </a:spcAft>
                      </a:pPr>
                      <a:r>
                        <a:rPr lang="en-US" sz="1800" dirty="0">
                          <a:solidFill>
                            <a:schemeClr val="tx1">
                              <a:lumMod val="65000"/>
                              <a:lumOff val="35000"/>
                            </a:schemeClr>
                          </a:solidFill>
                          <a:effectLst/>
                          <a:latin typeface="+mn-lt"/>
                          <a:ea typeface="Times New Roman" panose="02020603050405020304" pitchFamily="18" charset="0"/>
                          <a:cs typeface="Calibri" panose="020F0502020204030204" pitchFamily="34" charset="0"/>
                        </a:rPr>
                        <a:t>Contracted</a:t>
                      </a:r>
                    </a:p>
                  </a:txBody>
                  <a:tcPr marL="68580" marR="68580" marT="0" marB="0" anchor="ctr"/>
                </a:tc>
                <a:extLst>
                  <a:ext uri="{0D108BD9-81ED-4DB2-BD59-A6C34878D82A}">
                    <a16:rowId xmlns:a16="http://schemas.microsoft.com/office/drawing/2014/main" val="2994204999"/>
                  </a:ext>
                </a:extLst>
              </a:tr>
              <a:tr h="570552">
                <a:tc>
                  <a:txBody>
                    <a:bodyPr/>
                    <a:lstStyle/>
                    <a:p>
                      <a:pPr marL="0" marR="0">
                        <a:spcBef>
                          <a:spcPts val="600"/>
                        </a:spcBef>
                        <a:spcAft>
                          <a:spcPts val="0"/>
                        </a:spcAft>
                      </a:pPr>
                      <a:r>
                        <a:rPr lang="en-US" sz="1800" dirty="0">
                          <a:solidFill>
                            <a:schemeClr val="tx1">
                              <a:lumMod val="65000"/>
                              <a:lumOff val="35000"/>
                            </a:schemeClr>
                          </a:solidFill>
                          <a:effectLst/>
                        </a:rPr>
                        <a:t>Statewide Lighting</a:t>
                      </a:r>
                      <a:endParaRPr lang="en-US" sz="1800" dirty="0">
                        <a:solidFill>
                          <a:schemeClr val="tx1">
                            <a:lumMod val="65000"/>
                            <a:lumOff val="35000"/>
                          </a:schemeClr>
                        </a:solidFill>
                        <a:effectLst/>
                        <a:latin typeface="Garamond" panose="02020404030301010803" pitchFamily="18" charset="0"/>
                        <a:ea typeface="Times New Roman" panose="02020603050405020304" pitchFamily="18" charset="0"/>
                        <a:cs typeface="Calibri" panose="020F0502020204030204" pitchFamily="34" charset="0"/>
                      </a:endParaRPr>
                    </a:p>
                  </a:txBody>
                  <a:tcPr marL="68580" marR="68580" marT="0" marB="0" anchor="ctr"/>
                </a:tc>
                <a:tc>
                  <a:txBody>
                    <a:bodyPr/>
                    <a:lstStyle/>
                    <a:p>
                      <a:pPr marL="0" marR="0">
                        <a:spcBef>
                          <a:spcPts val="600"/>
                        </a:spcBef>
                        <a:spcAft>
                          <a:spcPts val="0"/>
                        </a:spcAft>
                      </a:pPr>
                      <a:r>
                        <a:rPr lang="en-US" sz="1800" dirty="0">
                          <a:solidFill>
                            <a:schemeClr val="tx1">
                              <a:lumMod val="65000"/>
                              <a:lumOff val="35000"/>
                            </a:schemeClr>
                          </a:solidFill>
                          <a:effectLst/>
                        </a:rPr>
                        <a:t>Barakat Consulting, Inc.</a:t>
                      </a:r>
                      <a:endParaRPr lang="en-US" sz="1800" dirty="0">
                        <a:solidFill>
                          <a:schemeClr val="tx1">
                            <a:lumMod val="65000"/>
                            <a:lumOff val="35000"/>
                          </a:schemeClr>
                        </a:solidFill>
                        <a:effectLst/>
                        <a:latin typeface="Garamond" panose="02020404030301010803" pitchFamily="18" charset="0"/>
                        <a:ea typeface="Times New Roman" panose="02020603050405020304" pitchFamily="18" charset="0"/>
                        <a:cs typeface="Calibri" panose="020F0502020204030204" pitchFamily="34" charset="0"/>
                      </a:endParaRPr>
                    </a:p>
                  </a:txBody>
                  <a:tcPr marL="68580" marR="68580" marT="0" marB="0" anchor="ctr"/>
                </a:tc>
                <a:tc>
                  <a:txBody>
                    <a:bodyPr/>
                    <a:lstStyle/>
                    <a:p>
                      <a:pPr marL="0" marR="0" algn="ctr">
                        <a:spcBef>
                          <a:spcPts val="600"/>
                        </a:spcBef>
                        <a:spcAft>
                          <a:spcPts val="0"/>
                        </a:spcAft>
                      </a:pPr>
                      <a:r>
                        <a:rPr lang="en-US" sz="1800" dirty="0">
                          <a:solidFill>
                            <a:schemeClr val="tx1">
                              <a:lumMod val="65000"/>
                              <a:lumOff val="35000"/>
                            </a:schemeClr>
                          </a:solidFill>
                          <a:effectLst/>
                          <a:latin typeface="Corbel" panose="020B0503020204020204" pitchFamily="34" charset="0"/>
                          <a:ea typeface="Times New Roman" panose="02020603050405020304" pitchFamily="18" charset="0"/>
                          <a:cs typeface="Calibri" panose="020F0502020204030204" pitchFamily="34" charset="0"/>
                        </a:rPr>
                        <a:t>Contracted</a:t>
                      </a:r>
                    </a:p>
                  </a:txBody>
                  <a:tcPr marL="68580" marR="68580" marT="0" marB="0" anchor="ctr"/>
                </a:tc>
                <a:extLst>
                  <a:ext uri="{0D108BD9-81ED-4DB2-BD59-A6C34878D82A}">
                    <a16:rowId xmlns:a16="http://schemas.microsoft.com/office/drawing/2014/main" val="2947877557"/>
                  </a:ext>
                </a:extLst>
              </a:tr>
              <a:tr h="570552">
                <a:tc>
                  <a:txBody>
                    <a:bodyPr/>
                    <a:lstStyle/>
                    <a:p>
                      <a:pPr marL="0" marR="0">
                        <a:spcBef>
                          <a:spcPts val="600"/>
                        </a:spcBef>
                        <a:spcAft>
                          <a:spcPts val="0"/>
                        </a:spcAft>
                      </a:pPr>
                      <a:r>
                        <a:rPr lang="en-US" sz="1800" dirty="0">
                          <a:solidFill>
                            <a:schemeClr val="tx1">
                              <a:lumMod val="65000"/>
                              <a:lumOff val="35000"/>
                            </a:schemeClr>
                          </a:solidFill>
                          <a:effectLst/>
                        </a:rPr>
                        <a:t>Statewide Emerging Technologies (Electric)</a:t>
                      </a:r>
                      <a:endParaRPr lang="en-US" sz="1800" dirty="0">
                        <a:solidFill>
                          <a:schemeClr val="tx1">
                            <a:lumMod val="65000"/>
                            <a:lumOff val="35000"/>
                          </a:schemeClr>
                        </a:solidFill>
                        <a:effectLst/>
                        <a:latin typeface="Garamond" panose="02020404030301010803" pitchFamily="18" charset="0"/>
                        <a:ea typeface="Times New Roman" panose="02020603050405020304" pitchFamily="18" charset="0"/>
                        <a:cs typeface="Calibri" panose="020F0502020204030204" pitchFamily="34" charset="0"/>
                      </a:endParaRPr>
                    </a:p>
                  </a:txBody>
                  <a:tcPr marL="68580" marR="68580" marT="0" marB="0" anchor="ctr"/>
                </a:tc>
                <a:tc>
                  <a:txBody>
                    <a:bodyPr/>
                    <a:lstStyle/>
                    <a:p>
                      <a:pPr marL="0" marR="0">
                        <a:spcBef>
                          <a:spcPts val="600"/>
                        </a:spcBef>
                        <a:spcAft>
                          <a:spcPts val="0"/>
                        </a:spcAft>
                      </a:pPr>
                      <a:r>
                        <a:rPr lang="en-US" sz="1800" dirty="0">
                          <a:solidFill>
                            <a:schemeClr val="tx1">
                              <a:lumMod val="65000"/>
                              <a:lumOff val="35000"/>
                            </a:schemeClr>
                          </a:solidFill>
                          <a:effectLst/>
                        </a:rPr>
                        <a:t>Barakat Consulting, Inc.</a:t>
                      </a:r>
                      <a:endParaRPr lang="en-US" sz="1800" dirty="0">
                        <a:solidFill>
                          <a:schemeClr val="tx1">
                            <a:lumMod val="65000"/>
                            <a:lumOff val="35000"/>
                          </a:schemeClr>
                        </a:solidFill>
                        <a:effectLst/>
                        <a:latin typeface="Garamond" panose="02020404030301010803" pitchFamily="18" charset="0"/>
                        <a:ea typeface="Times New Roman" panose="02020603050405020304" pitchFamily="18" charset="0"/>
                        <a:cs typeface="Calibri" panose="020F0502020204030204" pitchFamily="34" charset="0"/>
                      </a:endParaRPr>
                    </a:p>
                  </a:txBody>
                  <a:tcPr marL="68580" marR="68580" marT="0" marB="0" anchor="ctr"/>
                </a:tc>
                <a:tc>
                  <a:txBody>
                    <a:bodyPr/>
                    <a:lstStyle/>
                    <a:p>
                      <a:pPr marL="0" marR="0" algn="ctr">
                        <a:spcBef>
                          <a:spcPts val="600"/>
                        </a:spcBef>
                        <a:spcAft>
                          <a:spcPts val="0"/>
                        </a:spcAft>
                      </a:pPr>
                      <a:r>
                        <a:rPr lang="en-US" sz="1800" dirty="0">
                          <a:solidFill>
                            <a:schemeClr val="tx1">
                              <a:lumMod val="65000"/>
                              <a:lumOff val="35000"/>
                            </a:schemeClr>
                          </a:solidFill>
                          <a:effectLst/>
                        </a:rPr>
                        <a:t>RFP</a:t>
                      </a:r>
                      <a:endParaRPr lang="en-US" sz="1800" dirty="0">
                        <a:solidFill>
                          <a:schemeClr val="tx1">
                            <a:lumMod val="65000"/>
                            <a:lumOff val="35000"/>
                          </a:schemeClr>
                        </a:solidFill>
                        <a:effectLst/>
                        <a:latin typeface="Garamond" panose="02020404030301010803" pitchFamily="18" charset="0"/>
                        <a:ea typeface="Times New Roman" panose="02020603050405020304" pitchFamily="18" charset="0"/>
                        <a:cs typeface="Calibri" panose="020F0502020204030204" pitchFamily="34" charset="0"/>
                      </a:endParaRPr>
                    </a:p>
                  </a:txBody>
                  <a:tcPr marL="68580" marR="68580" marT="0" marB="0" anchor="ctr"/>
                </a:tc>
                <a:extLst>
                  <a:ext uri="{0D108BD9-81ED-4DB2-BD59-A6C34878D82A}">
                    <a16:rowId xmlns:a16="http://schemas.microsoft.com/office/drawing/2014/main" val="2612465252"/>
                  </a:ext>
                </a:extLst>
              </a:tr>
              <a:tr h="570552">
                <a:tc>
                  <a:txBody>
                    <a:bodyPr/>
                    <a:lstStyle/>
                    <a:p>
                      <a:pPr marL="0" marR="0">
                        <a:spcBef>
                          <a:spcPts val="600"/>
                        </a:spcBef>
                        <a:spcAft>
                          <a:spcPts val="0"/>
                        </a:spcAft>
                      </a:pPr>
                      <a:r>
                        <a:rPr lang="en-US" sz="1800" dirty="0">
                          <a:solidFill>
                            <a:schemeClr val="tx1">
                              <a:lumMod val="65000"/>
                              <a:lumOff val="35000"/>
                            </a:schemeClr>
                          </a:solidFill>
                          <a:effectLst/>
                        </a:rPr>
                        <a:t>Local Public</a:t>
                      </a:r>
                      <a:endParaRPr lang="en-US" sz="1800" dirty="0">
                        <a:solidFill>
                          <a:schemeClr val="tx1">
                            <a:lumMod val="65000"/>
                            <a:lumOff val="35000"/>
                          </a:schemeClr>
                        </a:solidFill>
                        <a:effectLst/>
                        <a:latin typeface="Garamond" panose="02020404030301010803" pitchFamily="18" charset="0"/>
                        <a:ea typeface="Times New Roman" panose="02020603050405020304" pitchFamily="18" charset="0"/>
                        <a:cs typeface="Calibri" panose="020F0502020204030204" pitchFamily="34" charset="0"/>
                      </a:endParaRPr>
                    </a:p>
                  </a:txBody>
                  <a:tcPr marL="68580" marR="68580" marT="0" marB="0" anchor="ctr"/>
                </a:tc>
                <a:tc>
                  <a:txBody>
                    <a:bodyPr/>
                    <a:lstStyle/>
                    <a:p>
                      <a:pPr marL="0" marR="0">
                        <a:spcBef>
                          <a:spcPts val="600"/>
                        </a:spcBef>
                        <a:spcAft>
                          <a:spcPts val="0"/>
                        </a:spcAft>
                      </a:pPr>
                      <a:r>
                        <a:rPr lang="en-US" sz="1800" dirty="0">
                          <a:solidFill>
                            <a:schemeClr val="tx1">
                              <a:lumMod val="65000"/>
                              <a:lumOff val="35000"/>
                            </a:schemeClr>
                          </a:solidFill>
                          <a:effectLst/>
                        </a:rPr>
                        <a:t>Don Arambula Consulting</a:t>
                      </a:r>
                      <a:endParaRPr lang="en-US" sz="1800" dirty="0">
                        <a:solidFill>
                          <a:schemeClr val="tx1">
                            <a:lumMod val="65000"/>
                            <a:lumOff val="35000"/>
                          </a:schemeClr>
                        </a:solidFill>
                        <a:effectLst/>
                        <a:latin typeface="Garamond" panose="02020404030301010803" pitchFamily="18" charset="0"/>
                        <a:ea typeface="Times New Roman" panose="02020603050405020304" pitchFamily="18" charset="0"/>
                        <a:cs typeface="Calibri" panose="020F0502020204030204" pitchFamily="34" charset="0"/>
                      </a:endParaRPr>
                    </a:p>
                  </a:txBody>
                  <a:tcPr marL="68580" marR="68580" marT="0" marB="0" anchor="ctr"/>
                </a:tc>
                <a:tc>
                  <a:txBody>
                    <a:bodyPr/>
                    <a:lstStyle/>
                    <a:p>
                      <a:pPr marL="0" marR="0" algn="ctr">
                        <a:spcBef>
                          <a:spcPts val="600"/>
                        </a:spcBef>
                        <a:spcAft>
                          <a:spcPts val="0"/>
                        </a:spcAft>
                      </a:pPr>
                      <a:r>
                        <a:rPr kumimoji="0" lang="en-US" sz="1800" b="0" i="0" u="none" strike="noStrike" kern="1200" cap="none" spc="0" normalizeH="0" baseline="0" noProof="0" dirty="0">
                          <a:ln>
                            <a:noFill/>
                          </a:ln>
                          <a:solidFill>
                            <a:srgbClr val="000000">
                              <a:lumMod val="65000"/>
                              <a:lumOff val="35000"/>
                            </a:srgbClr>
                          </a:solidFill>
                          <a:effectLst/>
                          <a:uLnTx/>
                          <a:uFillTx/>
                          <a:latin typeface="Corbel" panose="020B0503020204020204"/>
                          <a:ea typeface="+mn-ea"/>
                          <a:cs typeface="+mn-cs"/>
                        </a:rPr>
                        <a:t>RFA</a:t>
                      </a:r>
                      <a:endParaRPr lang="en-US" sz="1800" dirty="0">
                        <a:solidFill>
                          <a:schemeClr val="tx1">
                            <a:lumMod val="65000"/>
                            <a:lumOff val="35000"/>
                          </a:schemeClr>
                        </a:solidFill>
                        <a:effectLst/>
                        <a:latin typeface="Garamond" panose="02020404030301010803" pitchFamily="18" charset="0"/>
                        <a:ea typeface="Times New Roman" panose="02020603050405020304" pitchFamily="18" charset="0"/>
                        <a:cs typeface="Calibri" panose="020F0502020204030204" pitchFamily="34" charset="0"/>
                      </a:endParaRPr>
                    </a:p>
                  </a:txBody>
                  <a:tcPr marL="68580" marR="68580" marT="0" marB="0" anchor="ctr"/>
                </a:tc>
                <a:extLst>
                  <a:ext uri="{0D108BD9-81ED-4DB2-BD59-A6C34878D82A}">
                    <a16:rowId xmlns:a16="http://schemas.microsoft.com/office/drawing/2014/main" val="1735615474"/>
                  </a:ext>
                </a:extLst>
              </a:tr>
              <a:tr h="570552">
                <a:tc>
                  <a:txBody>
                    <a:bodyPr/>
                    <a:lstStyle/>
                    <a:p>
                      <a:pPr marL="0" marR="0">
                        <a:spcBef>
                          <a:spcPts val="600"/>
                        </a:spcBef>
                        <a:spcAft>
                          <a:spcPts val="0"/>
                        </a:spcAft>
                      </a:pPr>
                      <a:r>
                        <a:rPr lang="en-US" sz="1800" dirty="0">
                          <a:solidFill>
                            <a:schemeClr val="tx1">
                              <a:lumMod val="65000"/>
                              <a:lumOff val="35000"/>
                            </a:schemeClr>
                          </a:solidFill>
                          <a:effectLst/>
                        </a:rPr>
                        <a:t>Local Agricultural</a:t>
                      </a:r>
                      <a:endParaRPr lang="en-US" sz="1800" dirty="0">
                        <a:solidFill>
                          <a:schemeClr val="tx1">
                            <a:lumMod val="65000"/>
                            <a:lumOff val="35000"/>
                          </a:schemeClr>
                        </a:solidFill>
                        <a:effectLst/>
                        <a:latin typeface="Garamond" panose="02020404030301010803" pitchFamily="18" charset="0"/>
                        <a:ea typeface="Times New Roman" panose="02020603050405020304" pitchFamily="18" charset="0"/>
                        <a:cs typeface="Calibri" panose="020F0502020204030204" pitchFamily="34" charset="0"/>
                      </a:endParaRPr>
                    </a:p>
                  </a:txBody>
                  <a:tcPr marL="68580" marR="68580" marT="0" marB="0" anchor="ctr"/>
                </a:tc>
                <a:tc>
                  <a:txBody>
                    <a:bodyPr/>
                    <a:lstStyle/>
                    <a:p>
                      <a:pPr marL="0" marR="0">
                        <a:spcBef>
                          <a:spcPts val="600"/>
                        </a:spcBef>
                        <a:spcAft>
                          <a:spcPts val="0"/>
                        </a:spcAft>
                      </a:pPr>
                      <a:r>
                        <a:rPr lang="en-US" sz="1800" dirty="0">
                          <a:solidFill>
                            <a:schemeClr val="tx1">
                              <a:lumMod val="65000"/>
                              <a:lumOff val="35000"/>
                            </a:schemeClr>
                          </a:solidFill>
                          <a:effectLst/>
                        </a:rPr>
                        <a:t>Don Arambula Consulting</a:t>
                      </a:r>
                      <a:endParaRPr lang="en-US" sz="1800" dirty="0">
                        <a:solidFill>
                          <a:schemeClr val="tx1">
                            <a:lumMod val="65000"/>
                            <a:lumOff val="35000"/>
                          </a:schemeClr>
                        </a:solidFill>
                        <a:effectLst/>
                        <a:latin typeface="Garamond" panose="02020404030301010803" pitchFamily="18" charset="0"/>
                        <a:ea typeface="Times New Roman" panose="02020603050405020304" pitchFamily="18" charset="0"/>
                        <a:cs typeface="Calibri" panose="020F0502020204030204" pitchFamily="34" charset="0"/>
                      </a:endParaRPr>
                    </a:p>
                  </a:txBody>
                  <a:tcPr marL="68580" marR="68580" marT="0" marB="0" anchor="ctr"/>
                </a:tc>
                <a:tc>
                  <a:txBody>
                    <a:bodyPr/>
                    <a:lstStyle/>
                    <a:p>
                      <a:pPr marL="0" marR="0" algn="ctr">
                        <a:spcBef>
                          <a:spcPts val="600"/>
                        </a:spcBef>
                        <a:spcAft>
                          <a:spcPts val="0"/>
                        </a:spcAft>
                      </a:pPr>
                      <a:r>
                        <a:rPr kumimoji="0" lang="en-US" sz="1800" b="0" i="0" u="none" strike="noStrike" kern="1200" cap="none" spc="0" normalizeH="0" baseline="0" noProof="0" dirty="0">
                          <a:ln>
                            <a:noFill/>
                          </a:ln>
                          <a:solidFill>
                            <a:srgbClr val="000000">
                              <a:lumMod val="65000"/>
                              <a:lumOff val="35000"/>
                            </a:srgbClr>
                          </a:solidFill>
                          <a:effectLst/>
                          <a:uLnTx/>
                          <a:uFillTx/>
                          <a:latin typeface="Corbel" panose="020B0503020204020204"/>
                          <a:ea typeface="+mn-ea"/>
                          <a:cs typeface="+mn-cs"/>
                        </a:rPr>
                        <a:t>RFA</a:t>
                      </a:r>
                      <a:endParaRPr lang="en-US" sz="1800" dirty="0">
                        <a:solidFill>
                          <a:schemeClr val="tx1">
                            <a:lumMod val="65000"/>
                            <a:lumOff val="35000"/>
                          </a:schemeClr>
                        </a:solidFill>
                        <a:effectLst/>
                        <a:latin typeface="Garamond" panose="02020404030301010803" pitchFamily="18" charset="0"/>
                        <a:ea typeface="Times New Roman" panose="02020603050405020304" pitchFamily="18" charset="0"/>
                        <a:cs typeface="Calibri" panose="020F0502020204030204" pitchFamily="34" charset="0"/>
                      </a:endParaRPr>
                    </a:p>
                  </a:txBody>
                  <a:tcPr marL="68580" marR="68580" marT="0" marB="0" anchor="ctr"/>
                </a:tc>
                <a:extLst>
                  <a:ext uri="{0D108BD9-81ED-4DB2-BD59-A6C34878D82A}">
                    <a16:rowId xmlns:a16="http://schemas.microsoft.com/office/drawing/2014/main" val="2232620150"/>
                  </a:ext>
                </a:extLst>
              </a:tr>
              <a:tr h="399028">
                <a:tc>
                  <a:txBody>
                    <a:bodyPr/>
                    <a:lstStyle/>
                    <a:p>
                      <a:pPr marL="0" marR="0">
                        <a:spcBef>
                          <a:spcPts val="300"/>
                        </a:spcBef>
                        <a:spcAft>
                          <a:spcPts val="300"/>
                        </a:spcAft>
                      </a:pPr>
                      <a:r>
                        <a:rPr lang="en-US" sz="1800" b="0" dirty="0">
                          <a:solidFill>
                            <a:schemeClr val="tx1">
                              <a:lumMod val="65000"/>
                              <a:lumOff val="35000"/>
                            </a:schemeClr>
                          </a:solidFill>
                          <a:effectLst/>
                          <a:latin typeface="Corbel" panose="020B0503020204020204" pitchFamily="34" charset="0"/>
                          <a:ea typeface="Arial" panose="020B0604020202020204" pitchFamily="34" charset="0"/>
                          <a:cs typeface="Times New Roman" panose="02020603050405020304" pitchFamily="18" charset="0"/>
                        </a:rPr>
                        <a:t>Statewide Higher Education</a:t>
                      </a:r>
                    </a:p>
                  </a:txBody>
                  <a:tcPr marL="68580" marR="68580" marT="0" marB="0"/>
                </a:tc>
                <a:tc>
                  <a:txBody>
                    <a:bodyPr/>
                    <a:lstStyle/>
                    <a:p>
                      <a:pPr marL="0" marR="0">
                        <a:spcBef>
                          <a:spcPts val="600"/>
                        </a:spcBef>
                        <a:spcAft>
                          <a:spcPts val="0"/>
                        </a:spcAft>
                      </a:pPr>
                      <a:r>
                        <a:rPr lang="en-US" sz="1800" dirty="0">
                          <a:solidFill>
                            <a:schemeClr val="tx1">
                              <a:lumMod val="65000"/>
                              <a:lumOff val="35000"/>
                            </a:schemeClr>
                          </a:solidFill>
                          <a:effectLst/>
                          <a:latin typeface="Corbel" panose="020B0503020204020204" pitchFamily="34" charset="0"/>
                          <a:ea typeface="Times New Roman" panose="02020603050405020304" pitchFamily="18" charset="0"/>
                          <a:cs typeface="Calibri" panose="020F0502020204030204" pitchFamily="34" charset="0"/>
                        </a:rPr>
                        <a:t>MCR Corporate Services</a:t>
                      </a:r>
                    </a:p>
                  </a:txBody>
                  <a:tcPr marL="68580" marR="68580" marT="0" marB="0" anchor="ctr"/>
                </a:tc>
                <a:tc>
                  <a:txBody>
                    <a:bodyPr/>
                    <a:lstStyle/>
                    <a:p>
                      <a:pPr marL="0" marR="0" algn="ctr">
                        <a:spcBef>
                          <a:spcPts val="600"/>
                        </a:spcBef>
                        <a:spcAft>
                          <a:spcPts val="0"/>
                        </a:spcAft>
                      </a:pPr>
                      <a:r>
                        <a:rPr kumimoji="0" lang="en-US" sz="1800" b="0" i="0" u="none" strike="noStrike" kern="1200" cap="none" spc="0" normalizeH="0" baseline="0" noProof="0" dirty="0">
                          <a:ln>
                            <a:noFill/>
                          </a:ln>
                          <a:solidFill>
                            <a:srgbClr val="000000">
                              <a:lumMod val="65000"/>
                              <a:lumOff val="35000"/>
                            </a:srgbClr>
                          </a:solidFill>
                          <a:effectLst/>
                          <a:uLnTx/>
                          <a:uFillTx/>
                          <a:latin typeface="Corbel" panose="020B0503020204020204"/>
                          <a:ea typeface="+mn-ea"/>
                          <a:cs typeface="+mn-cs"/>
                        </a:rPr>
                        <a:t>RFA</a:t>
                      </a:r>
                      <a:endParaRPr lang="en-US" sz="1800" dirty="0">
                        <a:solidFill>
                          <a:schemeClr val="tx1">
                            <a:lumMod val="65000"/>
                            <a:lumOff val="35000"/>
                          </a:schemeClr>
                        </a:solidFill>
                        <a:effectLst/>
                        <a:latin typeface="Garamond" panose="02020404030301010803" pitchFamily="18" charset="0"/>
                        <a:ea typeface="Times New Roman" panose="02020603050405020304" pitchFamily="18" charset="0"/>
                        <a:cs typeface="Calibri" panose="020F0502020204030204" pitchFamily="34" charset="0"/>
                      </a:endParaRPr>
                    </a:p>
                  </a:txBody>
                  <a:tcPr marL="68580" marR="68580" marT="0" marB="0" anchor="ctr"/>
                </a:tc>
                <a:extLst>
                  <a:ext uri="{0D108BD9-81ED-4DB2-BD59-A6C34878D82A}">
                    <a16:rowId xmlns:a16="http://schemas.microsoft.com/office/drawing/2014/main" val="1237758504"/>
                  </a:ext>
                </a:extLst>
              </a:tr>
              <a:tr h="285276">
                <a:tc>
                  <a:txBody>
                    <a:bodyPr/>
                    <a:lstStyle/>
                    <a:p>
                      <a:pPr marL="0" marR="0">
                        <a:spcBef>
                          <a:spcPts val="300"/>
                        </a:spcBef>
                        <a:spcAft>
                          <a:spcPts val="300"/>
                        </a:spcAft>
                      </a:pPr>
                      <a:r>
                        <a:rPr lang="en-US" sz="1800" b="0" dirty="0">
                          <a:solidFill>
                            <a:schemeClr val="tx1">
                              <a:lumMod val="65000"/>
                              <a:lumOff val="35000"/>
                            </a:schemeClr>
                          </a:solidFill>
                          <a:effectLst/>
                          <a:latin typeface="Corbel" panose="020B0503020204020204" pitchFamily="34" charset="0"/>
                          <a:ea typeface="Arial" panose="020B0604020202020204" pitchFamily="34" charset="0"/>
                          <a:cs typeface="Times New Roman" panose="02020603050405020304" pitchFamily="18" charset="0"/>
                        </a:rPr>
                        <a:t>Statewide Water and Wastewater Pumping</a:t>
                      </a:r>
                    </a:p>
                  </a:txBody>
                  <a:tcPr marL="68580" marR="68580" marT="0" marB="0"/>
                </a:tc>
                <a:tc>
                  <a:txBody>
                    <a:bodyPr/>
                    <a:lstStyle/>
                    <a:p>
                      <a:pPr marL="0" marR="0">
                        <a:spcBef>
                          <a:spcPts val="600"/>
                        </a:spcBef>
                        <a:spcAft>
                          <a:spcPts val="0"/>
                        </a:spcAft>
                      </a:pPr>
                      <a:r>
                        <a:rPr lang="en-US" sz="1800" dirty="0">
                          <a:solidFill>
                            <a:schemeClr val="tx1">
                              <a:lumMod val="65000"/>
                              <a:lumOff val="35000"/>
                            </a:schemeClr>
                          </a:solidFill>
                          <a:effectLst/>
                          <a:latin typeface="Corbel" panose="020B0503020204020204" pitchFamily="34" charset="0"/>
                          <a:ea typeface="Times New Roman" panose="02020603050405020304" pitchFamily="18" charset="0"/>
                          <a:cs typeface="Calibri" panose="020F0502020204030204" pitchFamily="34" charset="0"/>
                        </a:rPr>
                        <a:t>MCR Corporate Services</a:t>
                      </a:r>
                    </a:p>
                  </a:txBody>
                  <a:tcPr marL="68580" marR="68580" marT="0" marB="0" anchor="ctr"/>
                </a:tc>
                <a:tc>
                  <a:txBody>
                    <a:bodyPr/>
                    <a:lstStyle/>
                    <a:p>
                      <a:pPr marL="0" marR="0" algn="ctr">
                        <a:spcBef>
                          <a:spcPts val="600"/>
                        </a:spcBef>
                        <a:spcAft>
                          <a:spcPts val="0"/>
                        </a:spcAft>
                      </a:pPr>
                      <a:r>
                        <a:rPr kumimoji="0" lang="en-US" sz="1800" b="0" i="0" u="none" strike="noStrike" kern="1200" cap="none" spc="0" normalizeH="0" baseline="0" noProof="0" dirty="0">
                          <a:ln>
                            <a:noFill/>
                          </a:ln>
                          <a:solidFill>
                            <a:srgbClr val="000000">
                              <a:lumMod val="65000"/>
                              <a:lumOff val="35000"/>
                            </a:srgbClr>
                          </a:solidFill>
                          <a:effectLst/>
                          <a:uLnTx/>
                          <a:uFillTx/>
                          <a:latin typeface="Corbel" panose="020B0503020204020204"/>
                          <a:ea typeface="+mn-ea"/>
                          <a:cs typeface="+mn-cs"/>
                        </a:rPr>
                        <a:t>RFA</a:t>
                      </a:r>
                      <a:endParaRPr lang="en-US" sz="1800" dirty="0">
                        <a:solidFill>
                          <a:schemeClr val="tx1">
                            <a:lumMod val="65000"/>
                            <a:lumOff val="35000"/>
                          </a:schemeClr>
                        </a:solidFill>
                        <a:effectLst/>
                        <a:latin typeface="Garamond" panose="02020404030301010803" pitchFamily="18" charset="0"/>
                        <a:ea typeface="Times New Roman" panose="02020603050405020304" pitchFamily="18" charset="0"/>
                        <a:cs typeface="Calibri" panose="020F0502020204030204" pitchFamily="34" charset="0"/>
                      </a:endParaRPr>
                    </a:p>
                  </a:txBody>
                  <a:tcPr marL="68580" marR="68580" marT="0" marB="0" anchor="ctr"/>
                </a:tc>
                <a:extLst>
                  <a:ext uri="{0D108BD9-81ED-4DB2-BD59-A6C34878D82A}">
                    <a16:rowId xmlns:a16="http://schemas.microsoft.com/office/drawing/2014/main" val="2443289737"/>
                  </a:ext>
                </a:extLst>
              </a:tr>
            </a:tbl>
          </a:graphicData>
        </a:graphic>
      </p:graphicFrame>
    </p:spTree>
    <p:extLst>
      <p:ext uri="{BB962C8B-B14F-4D97-AF65-F5344CB8AC3E}">
        <p14:creationId xmlns:p14="http://schemas.microsoft.com/office/powerpoint/2010/main" val="7788000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CFAEE-6D5A-4E5A-984D-76329D6A1854}"/>
              </a:ext>
            </a:extLst>
          </p:cNvPr>
          <p:cNvSpPr>
            <a:spLocks noGrp="1"/>
          </p:cNvSpPr>
          <p:nvPr>
            <p:ph type="title"/>
          </p:nvPr>
        </p:nvSpPr>
        <p:spPr>
          <a:xfrm>
            <a:off x="1158240" y="403541"/>
            <a:ext cx="9875520" cy="1356360"/>
          </a:xfrm>
        </p:spPr>
        <p:txBody>
          <a:bodyPr>
            <a:normAutofit/>
          </a:bodyPr>
          <a:lstStyle/>
          <a:p>
            <a:r>
              <a:rPr lang="en-US" dirty="0">
                <a:solidFill>
                  <a:schemeClr val="tx1">
                    <a:lumMod val="65000"/>
                    <a:lumOff val="35000"/>
                  </a:schemeClr>
                </a:solidFill>
              </a:rPr>
              <a:t>SCE – IE Observations</a:t>
            </a:r>
          </a:p>
        </p:txBody>
      </p:sp>
      <p:sp>
        <p:nvSpPr>
          <p:cNvPr id="4" name="Footer Placeholder 3">
            <a:extLst>
              <a:ext uri="{FF2B5EF4-FFF2-40B4-BE49-F238E27FC236}">
                <a16:creationId xmlns:a16="http://schemas.microsoft.com/office/drawing/2014/main" id="{184CFF9D-B864-4AAF-B33A-E020B9C84BDA}"/>
              </a:ext>
            </a:extLst>
          </p:cNvPr>
          <p:cNvSpPr>
            <a:spLocks noGrp="1"/>
          </p:cNvSpPr>
          <p:nvPr>
            <p:ph type="ftr" sz="quarter" idx="11"/>
          </p:nvPr>
        </p:nvSpPr>
        <p:spPr>
          <a:xfrm>
            <a:off x="3848564" y="6271961"/>
            <a:ext cx="4717774" cy="365125"/>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rPr>
              <a:t>IE Semi-Annual Report: July 28, 2021 Stakeholder Meeting</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5" name="Slide Number Placeholder 4">
            <a:extLst>
              <a:ext uri="{FF2B5EF4-FFF2-40B4-BE49-F238E27FC236}">
                <a16:creationId xmlns:a16="http://schemas.microsoft.com/office/drawing/2014/main" id="{B6FAA57D-BF74-4A68-A4E3-F12CAC39530B}"/>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AB73BC-B049-4115-A692-8D63A059BFB8}" type="slidenum">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10" name="Freeform 36">
            <a:extLst>
              <a:ext uri="{FF2B5EF4-FFF2-40B4-BE49-F238E27FC236}">
                <a16:creationId xmlns:a16="http://schemas.microsoft.com/office/drawing/2014/main" id="{244DEDAC-56CE-408F-8B1F-39EE78A84D5E}"/>
              </a:ext>
            </a:extLst>
          </p:cNvPr>
          <p:cNvSpPr/>
          <p:nvPr/>
        </p:nvSpPr>
        <p:spPr>
          <a:xfrm>
            <a:off x="336738" y="1783080"/>
            <a:ext cx="8229600" cy="1645920"/>
          </a:xfrm>
          <a:custGeom>
            <a:avLst/>
            <a:gdLst>
              <a:gd name="connsiteX0" fmla="*/ 7804931 w 8740200"/>
              <a:gd name="connsiteY0" fmla="*/ 30 h 1487756"/>
              <a:gd name="connsiteX1" fmla="*/ 8249001 w 8740200"/>
              <a:gd name="connsiteY1" fmla="*/ 12362 h 1487756"/>
              <a:gd name="connsiteX2" fmla="*/ 8740200 w 8740200"/>
              <a:gd name="connsiteY2" fmla="*/ 402512 h 1487756"/>
              <a:gd name="connsiteX3" fmla="*/ 8740200 w 8740200"/>
              <a:gd name="connsiteY3" fmla="*/ 1487756 h 1487756"/>
              <a:gd name="connsiteX4" fmla="*/ 8068033 w 8740200"/>
              <a:gd name="connsiteY4" fmla="*/ 1070699 h 1487756"/>
              <a:gd name="connsiteX5" fmla="*/ 7474669 w 8740200"/>
              <a:gd name="connsiteY5" fmla="*/ 1064972 h 1487756"/>
              <a:gd name="connsiteX6" fmla="*/ 7254131 w 8740200"/>
              <a:gd name="connsiteY6" fmla="*/ 1063602 h 1487756"/>
              <a:gd name="connsiteX7" fmla="*/ 7229253 w 8740200"/>
              <a:gd name="connsiteY7" fmla="*/ 1066215 h 1487756"/>
              <a:gd name="connsiteX8" fmla="*/ 6370428 w 8740200"/>
              <a:gd name="connsiteY8" fmla="*/ 1066215 h 1487756"/>
              <a:gd name="connsiteX9" fmla="*/ 6357821 w 8740200"/>
              <a:gd name="connsiteY9" fmla="*/ 1066362 h 1487756"/>
              <a:gd name="connsiteX10" fmla="*/ 6086001 w 8740200"/>
              <a:gd name="connsiteY10" fmla="*/ 1070699 h 1487756"/>
              <a:gd name="connsiteX11" fmla="*/ 6092773 w 8740200"/>
              <a:gd name="connsiteY11" fmla="*/ 1066215 h 1487756"/>
              <a:gd name="connsiteX12" fmla="*/ 3822471 w 8740200"/>
              <a:gd name="connsiteY12" fmla="*/ 1066215 h 1487756"/>
              <a:gd name="connsiteX13" fmla="*/ 3770835 w 8740200"/>
              <a:gd name="connsiteY13" fmla="*/ 1060790 h 1487756"/>
              <a:gd name="connsiteX14" fmla="*/ 3770835 w 8740200"/>
              <a:gd name="connsiteY14" fmla="*/ 1063603 h 1487756"/>
              <a:gd name="connsiteX15" fmla="*/ 3770624 w 8740200"/>
              <a:gd name="connsiteY15" fmla="*/ 1063602 h 1487756"/>
              <a:gd name="connsiteX16" fmla="*/ 3745746 w 8740200"/>
              <a:gd name="connsiteY16" fmla="*/ 1066215 h 1487756"/>
              <a:gd name="connsiteX17" fmla="*/ 2886922 w 8740200"/>
              <a:gd name="connsiteY17" fmla="*/ 1066215 h 1487756"/>
              <a:gd name="connsiteX18" fmla="*/ 2874314 w 8740200"/>
              <a:gd name="connsiteY18" fmla="*/ 1066362 h 1487756"/>
              <a:gd name="connsiteX19" fmla="*/ 2602495 w 8740200"/>
              <a:gd name="connsiteY19" fmla="*/ 1070699 h 1487756"/>
              <a:gd name="connsiteX20" fmla="*/ 2609266 w 8740200"/>
              <a:gd name="connsiteY20" fmla="*/ 1066215 h 1487756"/>
              <a:gd name="connsiteX21" fmla="*/ 338964 w 8740200"/>
              <a:gd name="connsiteY21" fmla="*/ 1066215 h 1487756"/>
              <a:gd name="connsiteX22" fmla="*/ 0 w 8740200"/>
              <a:gd name="connsiteY22" fmla="*/ 889822 h 1487756"/>
              <a:gd name="connsiteX23" fmla="*/ 0 w 8740200"/>
              <a:gd name="connsiteY23" fmla="*/ 184270 h 1487756"/>
              <a:gd name="connsiteX24" fmla="*/ 338964 w 8740200"/>
              <a:gd name="connsiteY24" fmla="*/ 7877 h 1487756"/>
              <a:gd name="connsiteX25" fmla="*/ 3740008 w 8740200"/>
              <a:gd name="connsiteY25" fmla="*/ 7877 h 1487756"/>
              <a:gd name="connsiteX26" fmla="*/ 3770835 w 8740200"/>
              <a:gd name="connsiteY26" fmla="*/ 7343 h 1487756"/>
              <a:gd name="connsiteX27" fmla="*/ 3770835 w 8740200"/>
              <a:gd name="connsiteY27" fmla="*/ 13302 h 1487756"/>
              <a:gd name="connsiteX28" fmla="*/ 3822471 w 8740200"/>
              <a:gd name="connsiteY28" fmla="*/ 7877 h 1487756"/>
              <a:gd name="connsiteX29" fmla="*/ 7223515 w 8740200"/>
              <a:gd name="connsiteY29" fmla="*/ 7877 h 1487756"/>
              <a:gd name="connsiteX30" fmla="*/ 7804931 w 8740200"/>
              <a:gd name="connsiteY30" fmla="*/ 30 h 1487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740200" h="1487756">
                <a:moveTo>
                  <a:pt x="7804931" y="30"/>
                </a:moveTo>
                <a:cubicBezTo>
                  <a:pt x="7983475" y="-345"/>
                  <a:pt x="8139128" y="2645"/>
                  <a:pt x="8249001" y="12362"/>
                </a:cubicBezTo>
                <a:cubicBezTo>
                  <a:pt x="8501781" y="78135"/>
                  <a:pt x="8658335" y="156612"/>
                  <a:pt x="8740200" y="402512"/>
                </a:cubicBezTo>
                <a:lnTo>
                  <a:pt x="8740200" y="1487756"/>
                </a:lnTo>
                <a:cubicBezTo>
                  <a:pt x="8531224" y="1148431"/>
                  <a:pt x="8484545" y="1093120"/>
                  <a:pt x="8068033" y="1070699"/>
                </a:cubicBezTo>
                <a:cubicBezTo>
                  <a:pt x="7834643" y="1068458"/>
                  <a:pt x="7643038" y="1066472"/>
                  <a:pt x="7474669" y="1064972"/>
                </a:cubicBezTo>
                <a:lnTo>
                  <a:pt x="7254131" y="1063602"/>
                </a:lnTo>
                <a:lnTo>
                  <a:pt x="7229253" y="1066215"/>
                </a:lnTo>
                <a:lnTo>
                  <a:pt x="6370428" y="1066215"/>
                </a:lnTo>
                <a:lnTo>
                  <a:pt x="6357821" y="1066362"/>
                </a:lnTo>
                <a:cubicBezTo>
                  <a:pt x="6273768" y="1067534"/>
                  <a:pt x="6183937" y="1068971"/>
                  <a:pt x="6086001" y="1070699"/>
                </a:cubicBezTo>
                <a:lnTo>
                  <a:pt x="6092773" y="1066215"/>
                </a:lnTo>
                <a:lnTo>
                  <a:pt x="3822471" y="1066215"/>
                </a:lnTo>
                <a:lnTo>
                  <a:pt x="3770835" y="1060790"/>
                </a:lnTo>
                <a:lnTo>
                  <a:pt x="3770835" y="1063603"/>
                </a:lnTo>
                <a:lnTo>
                  <a:pt x="3770624" y="1063602"/>
                </a:lnTo>
                <a:lnTo>
                  <a:pt x="3745746" y="1066215"/>
                </a:lnTo>
                <a:lnTo>
                  <a:pt x="2886922" y="1066215"/>
                </a:lnTo>
                <a:lnTo>
                  <a:pt x="2874314" y="1066362"/>
                </a:lnTo>
                <a:cubicBezTo>
                  <a:pt x="2790261" y="1067534"/>
                  <a:pt x="2700431" y="1068970"/>
                  <a:pt x="2602495" y="1070699"/>
                </a:cubicBezTo>
                <a:lnTo>
                  <a:pt x="2609266" y="1066215"/>
                </a:lnTo>
                <a:lnTo>
                  <a:pt x="338964" y="1066215"/>
                </a:lnTo>
                <a:cubicBezTo>
                  <a:pt x="151758" y="1066215"/>
                  <a:pt x="0" y="987241"/>
                  <a:pt x="0" y="889822"/>
                </a:cubicBezTo>
                <a:lnTo>
                  <a:pt x="0" y="184270"/>
                </a:lnTo>
                <a:cubicBezTo>
                  <a:pt x="0" y="86850"/>
                  <a:pt x="151758" y="7877"/>
                  <a:pt x="338964" y="7877"/>
                </a:cubicBezTo>
                <a:lnTo>
                  <a:pt x="3740008" y="7877"/>
                </a:lnTo>
                <a:lnTo>
                  <a:pt x="3770835" y="7343"/>
                </a:lnTo>
                <a:lnTo>
                  <a:pt x="3770835" y="13302"/>
                </a:lnTo>
                <a:lnTo>
                  <a:pt x="3822471" y="7877"/>
                </a:lnTo>
                <a:lnTo>
                  <a:pt x="7223515" y="7877"/>
                </a:lnTo>
                <a:cubicBezTo>
                  <a:pt x="7424951" y="4140"/>
                  <a:pt x="7626386" y="402"/>
                  <a:pt x="7804931" y="3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1440" rIns="91440" bIns="457200" rtlCol="0" anchor="ctr" anchorCtr="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Corbel" panose="020B0503020204020204"/>
                <a:ea typeface="+mn-ea"/>
                <a:cs typeface="+mn-cs"/>
              </a:rPr>
              <a:t>The format for narratives responses has not been user-friendly for bidders or scorers.  SCE adopted the IE recommendations to use a Word format for RFA and RFP in the Statewide Electric Emerging Technologies solicitation.</a:t>
            </a:r>
          </a:p>
        </p:txBody>
      </p:sp>
      <p:sp>
        <p:nvSpPr>
          <p:cNvPr id="11" name="Freeform 10">
            <a:extLst>
              <a:ext uri="{FF2B5EF4-FFF2-40B4-BE49-F238E27FC236}">
                <a16:creationId xmlns:a16="http://schemas.microsoft.com/office/drawing/2014/main" id="{44EF7F35-8BB8-48F5-B8BC-9A47204142A0}"/>
              </a:ext>
            </a:extLst>
          </p:cNvPr>
          <p:cNvSpPr/>
          <p:nvPr/>
        </p:nvSpPr>
        <p:spPr>
          <a:xfrm>
            <a:off x="8550434" y="2089687"/>
            <a:ext cx="3264408" cy="1287968"/>
          </a:xfrm>
          <a:custGeom>
            <a:avLst/>
            <a:gdLst>
              <a:gd name="connsiteX0" fmla="*/ 263525 w 958848"/>
              <a:gd name="connsiteY0" fmla="*/ 0 h 1051808"/>
              <a:gd name="connsiteX1" fmla="*/ 263525 w 958848"/>
              <a:gd name="connsiteY1" fmla="*/ 4058 h 1051808"/>
              <a:gd name="connsiteX2" fmla="*/ 833962 w 958848"/>
              <a:gd name="connsiteY2" fmla="*/ 4058 h 1051808"/>
              <a:gd name="connsiteX3" fmla="*/ 958848 w 958848"/>
              <a:gd name="connsiteY3" fmla="*/ 128944 h 1051808"/>
              <a:gd name="connsiteX4" fmla="*/ 958848 w 958848"/>
              <a:gd name="connsiteY4" fmla="*/ 628472 h 1051808"/>
              <a:gd name="connsiteX5" fmla="*/ 833962 w 958848"/>
              <a:gd name="connsiteY5" fmla="*/ 753358 h 1051808"/>
              <a:gd name="connsiteX6" fmla="*/ 263525 w 958848"/>
              <a:gd name="connsiteY6" fmla="*/ 753358 h 1051808"/>
              <a:gd name="connsiteX7" fmla="*/ 263525 w 958848"/>
              <a:gd name="connsiteY7" fmla="*/ 756235 h 1051808"/>
              <a:gd name="connsiteX8" fmla="*/ 247650 w 958848"/>
              <a:gd name="connsiteY8" fmla="*/ 756533 h 1051808"/>
              <a:gd name="connsiteX9" fmla="*/ 0 w 958848"/>
              <a:gd name="connsiteY9" fmla="*/ 1051808 h 1051808"/>
              <a:gd name="connsiteX10" fmla="*/ 0 w 958848"/>
              <a:gd name="connsiteY10" fmla="*/ 283458 h 1051808"/>
              <a:gd name="connsiteX11" fmla="*/ 117649 w 958848"/>
              <a:gd name="connsiteY11" fmla="*/ 45556 h 1051808"/>
              <a:gd name="connsiteX12" fmla="*/ 153826 w 958848"/>
              <a:gd name="connsiteY12" fmla="*/ 23663 h 1051808"/>
              <a:gd name="connsiteX13" fmla="*/ 168348 w 958848"/>
              <a:gd name="connsiteY13" fmla="*/ 13872 h 1051808"/>
              <a:gd name="connsiteX14" fmla="*/ 170834 w 958848"/>
              <a:gd name="connsiteY14" fmla="*/ 13370 h 1051808"/>
              <a:gd name="connsiteX15" fmla="*/ 180975 w 958848"/>
              <a:gd name="connsiteY15" fmla="*/ 7233 h 1051808"/>
              <a:gd name="connsiteX16" fmla="*/ 253293 w 958848"/>
              <a:gd name="connsiteY16" fmla="*/ 189 h 1051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8848" h="1051808">
                <a:moveTo>
                  <a:pt x="263525" y="0"/>
                </a:moveTo>
                <a:lnTo>
                  <a:pt x="263525" y="4058"/>
                </a:lnTo>
                <a:lnTo>
                  <a:pt x="833962" y="4058"/>
                </a:lnTo>
                <a:cubicBezTo>
                  <a:pt x="902935" y="4058"/>
                  <a:pt x="958848" y="59971"/>
                  <a:pt x="958848" y="128944"/>
                </a:cubicBezTo>
                <a:lnTo>
                  <a:pt x="958848" y="628472"/>
                </a:lnTo>
                <a:cubicBezTo>
                  <a:pt x="958848" y="697445"/>
                  <a:pt x="902935" y="753358"/>
                  <a:pt x="833962" y="753358"/>
                </a:cubicBezTo>
                <a:lnTo>
                  <a:pt x="263525" y="753358"/>
                </a:lnTo>
                <a:lnTo>
                  <a:pt x="263525" y="756235"/>
                </a:lnTo>
                <a:lnTo>
                  <a:pt x="247650" y="756533"/>
                </a:lnTo>
                <a:cubicBezTo>
                  <a:pt x="94192" y="772407"/>
                  <a:pt x="76994" y="811567"/>
                  <a:pt x="0" y="1051808"/>
                </a:cubicBezTo>
                <a:lnTo>
                  <a:pt x="0" y="283458"/>
                </a:lnTo>
                <a:cubicBezTo>
                  <a:pt x="22621" y="152886"/>
                  <a:pt x="60722" y="88989"/>
                  <a:pt x="117649" y="45556"/>
                </a:cubicBezTo>
                <a:lnTo>
                  <a:pt x="153826" y="23663"/>
                </a:lnTo>
                <a:lnTo>
                  <a:pt x="168348" y="13872"/>
                </a:lnTo>
                <a:lnTo>
                  <a:pt x="170834" y="13370"/>
                </a:lnTo>
                <a:lnTo>
                  <a:pt x="180975" y="7233"/>
                </a:lnTo>
                <a:cubicBezTo>
                  <a:pt x="201215" y="3794"/>
                  <a:pt x="225673" y="1545"/>
                  <a:pt x="253293" y="189"/>
                </a:cubicBezTo>
                <a:close/>
              </a:path>
            </a:pathLst>
          </a:cu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FFFF">
                    <a:lumMod val="95000"/>
                  </a:srgbClr>
                </a:solidFill>
                <a:effectLst/>
                <a:uLnTx/>
                <a:uFillTx/>
                <a:latin typeface="Corbel" panose="020B0503020204020204"/>
                <a:ea typeface="+mn-ea"/>
                <a:cs typeface="+mn-cs"/>
              </a:rPr>
              <a:t>Better Formats for Responses</a:t>
            </a:r>
          </a:p>
        </p:txBody>
      </p:sp>
      <p:sp>
        <p:nvSpPr>
          <p:cNvPr id="12" name="Freeform 37">
            <a:extLst>
              <a:ext uri="{FF2B5EF4-FFF2-40B4-BE49-F238E27FC236}">
                <a16:creationId xmlns:a16="http://schemas.microsoft.com/office/drawing/2014/main" id="{C239DC52-AD2D-44D2-860B-F5098E8A4884}"/>
              </a:ext>
            </a:extLst>
          </p:cNvPr>
          <p:cNvSpPr/>
          <p:nvPr/>
        </p:nvSpPr>
        <p:spPr>
          <a:xfrm>
            <a:off x="387388" y="3452179"/>
            <a:ext cx="8229600" cy="1380744"/>
          </a:xfrm>
          <a:custGeom>
            <a:avLst/>
            <a:gdLst>
              <a:gd name="connsiteX0" fmla="*/ 3770835 w 8740200"/>
              <a:gd name="connsiteY0" fmla="*/ 0 h 1487756"/>
              <a:gd name="connsiteX1" fmla="*/ 3770835 w 8740200"/>
              <a:gd name="connsiteY1" fmla="*/ 13302 h 1487756"/>
              <a:gd name="connsiteX2" fmla="*/ 3822471 w 8740200"/>
              <a:gd name="connsiteY2" fmla="*/ 7877 h 1487756"/>
              <a:gd name="connsiteX3" fmla="*/ 7223515 w 8740200"/>
              <a:gd name="connsiteY3" fmla="*/ 7877 h 1487756"/>
              <a:gd name="connsiteX4" fmla="*/ 7804931 w 8740200"/>
              <a:gd name="connsiteY4" fmla="*/ 30 h 1487756"/>
              <a:gd name="connsiteX5" fmla="*/ 8249001 w 8740200"/>
              <a:gd name="connsiteY5" fmla="*/ 12362 h 1487756"/>
              <a:gd name="connsiteX6" fmla="*/ 8740200 w 8740200"/>
              <a:gd name="connsiteY6" fmla="*/ 402512 h 1487756"/>
              <a:gd name="connsiteX7" fmla="*/ 8740200 w 8740200"/>
              <a:gd name="connsiteY7" fmla="*/ 1487756 h 1487756"/>
              <a:gd name="connsiteX8" fmla="*/ 8068033 w 8740200"/>
              <a:gd name="connsiteY8" fmla="*/ 1070699 h 1487756"/>
              <a:gd name="connsiteX9" fmla="*/ 7474669 w 8740200"/>
              <a:gd name="connsiteY9" fmla="*/ 1064972 h 1487756"/>
              <a:gd name="connsiteX10" fmla="*/ 7254131 w 8740200"/>
              <a:gd name="connsiteY10" fmla="*/ 1063602 h 1487756"/>
              <a:gd name="connsiteX11" fmla="*/ 7229253 w 8740200"/>
              <a:gd name="connsiteY11" fmla="*/ 1066215 h 1487756"/>
              <a:gd name="connsiteX12" fmla="*/ 6370428 w 8740200"/>
              <a:gd name="connsiteY12" fmla="*/ 1066215 h 1487756"/>
              <a:gd name="connsiteX13" fmla="*/ 6357821 w 8740200"/>
              <a:gd name="connsiteY13" fmla="*/ 1066362 h 1487756"/>
              <a:gd name="connsiteX14" fmla="*/ 6086001 w 8740200"/>
              <a:gd name="connsiteY14" fmla="*/ 1070699 h 1487756"/>
              <a:gd name="connsiteX15" fmla="*/ 6092773 w 8740200"/>
              <a:gd name="connsiteY15" fmla="*/ 1066215 h 1487756"/>
              <a:gd name="connsiteX16" fmla="*/ 3822471 w 8740200"/>
              <a:gd name="connsiteY16" fmla="*/ 1066215 h 1487756"/>
              <a:gd name="connsiteX17" fmla="*/ 3749162 w 8740200"/>
              <a:gd name="connsiteY17" fmla="*/ 1058513 h 1487756"/>
              <a:gd name="connsiteX18" fmla="*/ 3745746 w 8740200"/>
              <a:gd name="connsiteY18" fmla="*/ 1058872 h 1487756"/>
              <a:gd name="connsiteX19" fmla="*/ 2886922 w 8740200"/>
              <a:gd name="connsiteY19" fmla="*/ 1058872 h 1487756"/>
              <a:gd name="connsiteX20" fmla="*/ 2874314 w 8740200"/>
              <a:gd name="connsiteY20" fmla="*/ 1059019 h 1487756"/>
              <a:gd name="connsiteX21" fmla="*/ 2602495 w 8740200"/>
              <a:gd name="connsiteY21" fmla="*/ 1063356 h 1487756"/>
              <a:gd name="connsiteX22" fmla="*/ 2609266 w 8740200"/>
              <a:gd name="connsiteY22" fmla="*/ 1058872 h 1487756"/>
              <a:gd name="connsiteX23" fmla="*/ 338964 w 8740200"/>
              <a:gd name="connsiteY23" fmla="*/ 1058872 h 1487756"/>
              <a:gd name="connsiteX24" fmla="*/ 0 w 8740200"/>
              <a:gd name="connsiteY24" fmla="*/ 882479 h 1487756"/>
              <a:gd name="connsiteX25" fmla="*/ 0 w 8740200"/>
              <a:gd name="connsiteY25" fmla="*/ 176927 h 1487756"/>
              <a:gd name="connsiteX26" fmla="*/ 338964 w 8740200"/>
              <a:gd name="connsiteY26" fmla="*/ 534 h 1487756"/>
              <a:gd name="connsiteX27" fmla="*/ 3740008 w 8740200"/>
              <a:gd name="connsiteY27" fmla="*/ 534 h 1487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0200" h="1487756">
                <a:moveTo>
                  <a:pt x="3770835" y="0"/>
                </a:moveTo>
                <a:lnTo>
                  <a:pt x="3770835" y="13302"/>
                </a:lnTo>
                <a:lnTo>
                  <a:pt x="3822471" y="7877"/>
                </a:lnTo>
                <a:lnTo>
                  <a:pt x="7223515" y="7877"/>
                </a:lnTo>
                <a:cubicBezTo>
                  <a:pt x="7424951" y="4140"/>
                  <a:pt x="7626386" y="403"/>
                  <a:pt x="7804931" y="30"/>
                </a:cubicBezTo>
                <a:cubicBezTo>
                  <a:pt x="7983475" y="-345"/>
                  <a:pt x="8139128" y="2646"/>
                  <a:pt x="8249001" y="12362"/>
                </a:cubicBezTo>
                <a:cubicBezTo>
                  <a:pt x="8501781" y="78135"/>
                  <a:pt x="8658335" y="156612"/>
                  <a:pt x="8740200" y="402512"/>
                </a:cubicBezTo>
                <a:lnTo>
                  <a:pt x="8740200" y="1487756"/>
                </a:lnTo>
                <a:cubicBezTo>
                  <a:pt x="8531224" y="1148431"/>
                  <a:pt x="8484545" y="1093120"/>
                  <a:pt x="8068033" y="1070699"/>
                </a:cubicBezTo>
                <a:cubicBezTo>
                  <a:pt x="7834643" y="1068458"/>
                  <a:pt x="7643038" y="1066472"/>
                  <a:pt x="7474669" y="1064972"/>
                </a:cubicBezTo>
                <a:lnTo>
                  <a:pt x="7254131" y="1063602"/>
                </a:lnTo>
                <a:lnTo>
                  <a:pt x="7229253" y="1066215"/>
                </a:lnTo>
                <a:lnTo>
                  <a:pt x="6370428" y="1066215"/>
                </a:lnTo>
                <a:lnTo>
                  <a:pt x="6357821" y="1066362"/>
                </a:lnTo>
                <a:cubicBezTo>
                  <a:pt x="6273768" y="1067534"/>
                  <a:pt x="6183937" y="1068971"/>
                  <a:pt x="6086001" y="1070699"/>
                </a:cubicBezTo>
                <a:lnTo>
                  <a:pt x="6092773" y="1066215"/>
                </a:lnTo>
                <a:lnTo>
                  <a:pt x="3822471" y="1066215"/>
                </a:lnTo>
                <a:lnTo>
                  <a:pt x="3749162" y="1058513"/>
                </a:lnTo>
                <a:lnTo>
                  <a:pt x="3745746" y="1058872"/>
                </a:lnTo>
                <a:lnTo>
                  <a:pt x="2886922" y="1058872"/>
                </a:lnTo>
                <a:lnTo>
                  <a:pt x="2874314" y="1059019"/>
                </a:lnTo>
                <a:cubicBezTo>
                  <a:pt x="2790261" y="1060191"/>
                  <a:pt x="2700431" y="1061627"/>
                  <a:pt x="2602495" y="1063356"/>
                </a:cubicBezTo>
                <a:lnTo>
                  <a:pt x="2609266" y="1058872"/>
                </a:lnTo>
                <a:lnTo>
                  <a:pt x="338964" y="1058872"/>
                </a:lnTo>
                <a:cubicBezTo>
                  <a:pt x="151758" y="1058872"/>
                  <a:pt x="0" y="979898"/>
                  <a:pt x="0" y="882479"/>
                </a:cubicBezTo>
                <a:lnTo>
                  <a:pt x="0" y="176927"/>
                </a:lnTo>
                <a:cubicBezTo>
                  <a:pt x="0" y="79507"/>
                  <a:pt x="151758" y="534"/>
                  <a:pt x="338964" y="534"/>
                </a:cubicBezTo>
                <a:lnTo>
                  <a:pt x="3740008" y="534"/>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1440" rIns="91440" bIns="457200" rtlCol="0" anchor="ctr" anchorCtr="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Corbel" panose="020B0503020204020204"/>
                <a:ea typeface="+mn-ea"/>
                <a:cs typeface="+mn-cs"/>
              </a:rPr>
              <a:t>Bidders are asked to identify and price the utility support services in the development of their proposal. It is not reasonable to expect a bidder to know such unique IOU costing. Estimated costs should be provided by the IOU indicating pricing will be finalized in contract negotiations</a:t>
            </a:r>
            <a:r>
              <a:rPr kumimoji="0" lang="en-US" sz="2000" b="0" i="0" u="none" strike="noStrike" kern="1200" cap="none" spc="0" normalizeH="0" baseline="0" noProof="0" dirty="0">
                <a:ln>
                  <a:noFill/>
                </a:ln>
                <a:solidFill>
                  <a:srgbClr val="FFFFFF">
                    <a:lumMod val="50000"/>
                  </a:srgbClr>
                </a:solidFill>
                <a:effectLst/>
                <a:uLnTx/>
                <a:uFillTx/>
                <a:latin typeface="Corbel" panose="020B0503020204020204"/>
                <a:ea typeface="+mn-ea"/>
                <a:cs typeface="+mn-cs"/>
              </a:rPr>
              <a:t>. </a:t>
            </a:r>
          </a:p>
        </p:txBody>
      </p:sp>
      <p:sp>
        <p:nvSpPr>
          <p:cNvPr id="13" name="Freeform 13">
            <a:extLst>
              <a:ext uri="{FF2B5EF4-FFF2-40B4-BE49-F238E27FC236}">
                <a16:creationId xmlns:a16="http://schemas.microsoft.com/office/drawing/2014/main" id="{2C5D033E-C642-41E6-8655-B945E8AF51FB}"/>
              </a:ext>
            </a:extLst>
          </p:cNvPr>
          <p:cNvSpPr/>
          <p:nvPr/>
        </p:nvSpPr>
        <p:spPr>
          <a:xfrm>
            <a:off x="8616988" y="3509368"/>
            <a:ext cx="3264408" cy="1287968"/>
          </a:xfrm>
          <a:custGeom>
            <a:avLst/>
            <a:gdLst>
              <a:gd name="connsiteX0" fmla="*/ 263525 w 958848"/>
              <a:gd name="connsiteY0" fmla="*/ 0 h 1051808"/>
              <a:gd name="connsiteX1" fmla="*/ 263525 w 958848"/>
              <a:gd name="connsiteY1" fmla="*/ 4058 h 1051808"/>
              <a:gd name="connsiteX2" fmla="*/ 833962 w 958848"/>
              <a:gd name="connsiteY2" fmla="*/ 4058 h 1051808"/>
              <a:gd name="connsiteX3" fmla="*/ 958848 w 958848"/>
              <a:gd name="connsiteY3" fmla="*/ 128944 h 1051808"/>
              <a:gd name="connsiteX4" fmla="*/ 958848 w 958848"/>
              <a:gd name="connsiteY4" fmla="*/ 628472 h 1051808"/>
              <a:gd name="connsiteX5" fmla="*/ 833962 w 958848"/>
              <a:gd name="connsiteY5" fmla="*/ 753358 h 1051808"/>
              <a:gd name="connsiteX6" fmla="*/ 263525 w 958848"/>
              <a:gd name="connsiteY6" fmla="*/ 753358 h 1051808"/>
              <a:gd name="connsiteX7" fmla="*/ 263525 w 958848"/>
              <a:gd name="connsiteY7" fmla="*/ 756235 h 1051808"/>
              <a:gd name="connsiteX8" fmla="*/ 247650 w 958848"/>
              <a:gd name="connsiteY8" fmla="*/ 756533 h 1051808"/>
              <a:gd name="connsiteX9" fmla="*/ 0 w 958848"/>
              <a:gd name="connsiteY9" fmla="*/ 1051808 h 1051808"/>
              <a:gd name="connsiteX10" fmla="*/ 0 w 958848"/>
              <a:gd name="connsiteY10" fmla="*/ 283458 h 1051808"/>
              <a:gd name="connsiteX11" fmla="*/ 117649 w 958848"/>
              <a:gd name="connsiteY11" fmla="*/ 45556 h 1051808"/>
              <a:gd name="connsiteX12" fmla="*/ 153826 w 958848"/>
              <a:gd name="connsiteY12" fmla="*/ 23663 h 1051808"/>
              <a:gd name="connsiteX13" fmla="*/ 168348 w 958848"/>
              <a:gd name="connsiteY13" fmla="*/ 13872 h 1051808"/>
              <a:gd name="connsiteX14" fmla="*/ 170834 w 958848"/>
              <a:gd name="connsiteY14" fmla="*/ 13370 h 1051808"/>
              <a:gd name="connsiteX15" fmla="*/ 180975 w 958848"/>
              <a:gd name="connsiteY15" fmla="*/ 7233 h 1051808"/>
              <a:gd name="connsiteX16" fmla="*/ 253293 w 958848"/>
              <a:gd name="connsiteY16" fmla="*/ 189 h 1051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8848" h="1051808">
                <a:moveTo>
                  <a:pt x="263525" y="0"/>
                </a:moveTo>
                <a:lnTo>
                  <a:pt x="263525" y="4058"/>
                </a:lnTo>
                <a:lnTo>
                  <a:pt x="833962" y="4058"/>
                </a:lnTo>
                <a:cubicBezTo>
                  <a:pt x="902935" y="4058"/>
                  <a:pt x="958848" y="59971"/>
                  <a:pt x="958848" y="128944"/>
                </a:cubicBezTo>
                <a:lnTo>
                  <a:pt x="958848" y="628472"/>
                </a:lnTo>
                <a:cubicBezTo>
                  <a:pt x="958848" y="697445"/>
                  <a:pt x="902935" y="753358"/>
                  <a:pt x="833962" y="753358"/>
                </a:cubicBezTo>
                <a:lnTo>
                  <a:pt x="263525" y="753358"/>
                </a:lnTo>
                <a:lnTo>
                  <a:pt x="263525" y="756235"/>
                </a:lnTo>
                <a:lnTo>
                  <a:pt x="247650" y="756533"/>
                </a:lnTo>
                <a:cubicBezTo>
                  <a:pt x="94192" y="772407"/>
                  <a:pt x="76994" y="811567"/>
                  <a:pt x="0" y="1051808"/>
                </a:cubicBezTo>
                <a:lnTo>
                  <a:pt x="0" y="283458"/>
                </a:lnTo>
                <a:cubicBezTo>
                  <a:pt x="22621" y="152886"/>
                  <a:pt x="60722" y="88989"/>
                  <a:pt x="117649" y="45556"/>
                </a:cubicBezTo>
                <a:lnTo>
                  <a:pt x="153826" y="23663"/>
                </a:lnTo>
                <a:lnTo>
                  <a:pt x="168348" y="13872"/>
                </a:lnTo>
                <a:lnTo>
                  <a:pt x="170834" y="13370"/>
                </a:lnTo>
                <a:lnTo>
                  <a:pt x="180975" y="7233"/>
                </a:lnTo>
                <a:cubicBezTo>
                  <a:pt x="201215" y="3794"/>
                  <a:pt x="225673" y="1545"/>
                  <a:pt x="253293" y="189"/>
                </a:cubicBezTo>
                <a:close/>
              </a:path>
            </a:pathLst>
          </a:cu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marL="457200" marR="0" lvl="1" indent="0" algn="ctr"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white">
                    <a:lumMod val="95000"/>
                  </a:prstClr>
                </a:solidFill>
                <a:effectLst/>
                <a:uLnTx/>
                <a:uFillTx/>
                <a:latin typeface="Corbel" panose="020B0503020204020204"/>
                <a:ea typeface="+mn-ea"/>
                <a:cs typeface="+mn-cs"/>
              </a:rPr>
              <a:t>Cost of IOU Services</a:t>
            </a:r>
          </a:p>
        </p:txBody>
      </p:sp>
      <p:sp>
        <p:nvSpPr>
          <p:cNvPr id="9" name="Freeform 37">
            <a:extLst>
              <a:ext uri="{FF2B5EF4-FFF2-40B4-BE49-F238E27FC236}">
                <a16:creationId xmlns:a16="http://schemas.microsoft.com/office/drawing/2014/main" id="{0E8EC437-35FE-4BEF-A5CC-A03D5F888927}"/>
              </a:ext>
            </a:extLst>
          </p:cNvPr>
          <p:cNvSpPr/>
          <p:nvPr/>
        </p:nvSpPr>
        <p:spPr>
          <a:xfrm>
            <a:off x="457200" y="4868038"/>
            <a:ext cx="8093234" cy="1355790"/>
          </a:xfrm>
          <a:custGeom>
            <a:avLst/>
            <a:gdLst>
              <a:gd name="connsiteX0" fmla="*/ 3770835 w 8740200"/>
              <a:gd name="connsiteY0" fmla="*/ 0 h 1487756"/>
              <a:gd name="connsiteX1" fmla="*/ 3770835 w 8740200"/>
              <a:gd name="connsiteY1" fmla="*/ 13302 h 1487756"/>
              <a:gd name="connsiteX2" fmla="*/ 3822471 w 8740200"/>
              <a:gd name="connsiteY2" fmla="*/ 7877 h 1487756"/>
              <a:gd name="connsiteX3" fmla="*/ 7223515 w 8740200"/>
              <a:gd name="connsiteY3" fmla="*/ 7877 h 1487756"/>
              <a:gd name="connsiteX4" fmla="*/ 7804931 w 8740200"/>
              <a:gd name="connsiteY4" fmla="*/ 30 h 1487756"/>
              <a:gd name="connsiteX5" fmla="*/ 8249001 w 8740200"/>
              <a:gd name="connsiteY5" fmla="*/ 12362 h 1487756"/>
              <a:gd name="connsiteX6" fmla="*/ 8740200 w 8740200"/>
              <a:gd name="connsiteY6" fmla="*/ 402512 h 1487756"/>
              <a:gd name="connsiteX7" fmla="*/ 8740200 w 8740200"/>
              <a:gd name="connsiteY7" fmla="*/ 1487756 h 1487756"/>
              <a:gd name="connsiteX8" fmla="*/ 8068033 w 8740200"/>
              <a:gd name="connsiteY8" fmla="*/ 1070699 h 1487756"/>
              <a:gd name="connsiteX9" fmla="*/ 7474669 w 8740200"/>
              <a:gd name="connsiteY9" fmla="*/ 1064972 h 1487756"/>
              <a:gd name="connsiteX10" fmla="*/ 7254131 w 8740200"/>
              <a:gd name="connsiteY10" fmla="*/ 1063602 h 1487756"/>
              <a:gd name="connsiteX11" fmla="*/ 7229253 w 8740200"/>
              <a:gd name="connsiteY11" fmla="*/ 1066215 h 1487756"/>
              <a:gd name="connsiteX12" fmla="*/ 6370428 w 8740200"/>
              <a:gd name="connsiteY12" fmla="*/ 1066215 h 1487756"/>
              <a:gd name="connsiteX13" fmla="*/ 6357821 w 8740200"/>
              <a:gd name="connsiteY13" fmla="*/ 1066362 h 1487756"/>
              <a:gd name="connsiteX14" fmla="*/ 6086001 w 8740200"/>
              <a:gd name="connsiteY14" fmla="*/ 1070699 h 1487756"/>
              <a:gd name="connsiteX15" fmla="*/ 6092773 w 8740200"/>
              <a:gd name="connsiteY15" fmla="*/ 1066215 h 1487756"/>
              <a:gd name="connsiteX16" fmla="*/ 3822471 w 8740200"/>
              <a:gd name="connsiteY16" fmla="*/ 1066215 h 1487756"/>
              <a:gd name="connsiteX17" fmla="*/ 3749162 w 8740200"/>
              <a:gd name="connsiteY17" fmla="*/ 1058513 h 1487756"/>
              <a:gd name="connsiteX18" fmla="*/ 3745746 w 8740200"/>
              <a:gd name="connsiteY18" fmla="*/ 1058872 h 1487756"/>
              <a:gd name="connsiteX19" fmla="*/ 2886922 w 8740200"/>
              <a:gd name="connsiteY19" fmla="*/ 1058872 h 1487756"/>
              <a:gd name="connsiteX20" fmla="*/ 2874314 w 8740200"/>
              <a:gd name="connsiteY20" fmla="*/ 1059019 h 1487756"/>
              <a:gd name="connsiteX21" fmla="*/ 2602495 w 8740200"/>
              <a:gd name="connsiteY21" fmla="*/ 1063356 h 1487756"/>
              <a:gd name="connsiteX22" fmla="*/ 2609266 w 8740200"/>
              <a:gd name="connsiteY22" fmla="*/ 1058872 h 1487756"/>
              <a:gd name="connsiteX23" fmla="*/ 338964 w 8740200"/>
              <a:gd name="connsiteY23" fmla="*/ 1058872 h 1487756"/>
              <a:gd name="connsiteX24" fmla="*/ 0 w 8740200"/>
              <a:gd name="connsiteY24" fmla="*/ 882479 h 1487756"/>
              <a:gd name="connsiteX25" fmla="*/ 0 w 8740200"/>
              <a:gd name="connsiteY25" fmla="*/ 176927 h 1487756"/>
              <a:gd name="connsiteX26" fmla="*/ 338964 w 8740200"/>
              <a:gd name="connsiteY26" fmla="*/ 534 h 1487756"/>
              <a:gd name="connsiteX27" fmla="*/ 3740008 w 8740200"/>
              <a:gd name="connsiteY27" fmla="*/ 534 h 1487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0200" h="1487756">
                <a:moveTo>
                  <a:pt x="3770835" y="0"/>
                </a:moveTo>
                <a:lnTo>
                  <a:pt x="3770835" y="13302"/>
                </a:lnTo>
                <a:lnTo>
                  <a:pt x="3822471" y="7877"/>
                </a:lnTo>
                <a:lnTo>
                  <a:pt x="7223515" y="7877"/>
                </a:lnTo>
                <a:cubicBezTo>
                  <a:pt x="7424951" y="4140"/>
                  <a:pt x="7626386" y="403"/>
                  <a:pt x="7804931" y="30"/>
                </a:cubicBezTo>
                <a:cubicBezTo>
                  <a:pt x="7983475" y="-345"/>
                  <a:pt x="8139128" y="2646"/>
                  <a:pt x="8249001" y="12362"/>
                </a:cubicBezTo>
                <a:cubicBezTo>
                  <a:pt x="8501781" y="78135"/>
                  <a:pt x="8658335" y="156612"/>
                  <a:pt x="8740200" y="402512"/>
                </a:cubicBezTo>
                <a:lnTo>
                  <a:pt x="8740200" y="1487756"/>
                </a:lnTo>
                <a:cubicBezTo>
                  <a:pt x="8531224" y="1148431"/>
                  <a:pt x="8484545" y="1093120"/>
                  <a:pt x="8068033" y="1070699"/>
                </a:cubicBezTo>
                <a:cubicBezTo>
                  <a:pt x="7834643" y="1068458"/>
                  <a:pt x="7643038" y="1066472"/>
                  <a:pt x="7474669" y="1064972"/>
                </a:cubicBezTo>
                <a:lnTo>
                  <a:pt x="7254131" y="1063602"/>
                </a:lnTo>
                <a:lnTo>
                  <a:pt x="7229253" y="1066215"/>
                </a:lnTo>
                <a:lnTo>
                  <a:pt x="6370428" y="1066215"/>
                </a:lnTo>
                <a:lnTo>
                  <a:pt x="6357821" y="1066362"/>
                </a:lnTo>
                <a:cubicBezTo>
                  <a:pt x="6273768" y="1067534"/>
                  <a:pt x="6183937" y="1068971"/>
                  <a:pt x="6086001" y="1070699"/>
                </a:cubicBezTo>
                <a:lnTo>
                  <a:pt x="6092773" y="1066215"/>
                </a:lnTo>
                <a:lnTo>
                  <a:pt x="3822471" y="1066215"/>
                </a:lnTo>
                <a:lnTo>
                  <a:pt x="3749162" y="1058513"/>
                </a:lnTo>
                <a:lnTo>
                  <a:pt x="3745746" y="1058872"/>
                </a:lnTo>
                <a:lnTo>
                  <a:pt x="2886922" y="1058872"/>
                </a:lnTo>
                <a:lnTo>
                  <a:pt x="2874314" y="1059019"/>
                </a:lnTo>
                <a:cubicBezTo>
                  <a:pt x="2790261" y="1060191"/>
                  <a:pt x="2700431" y="1061627"/>
                  <a:pt x="2602495" y="1063356"/>
                </a:cubicBezTo>
                <a:lnTo>
                  <a:pt x="2609266" y="1058872"/>
                </a:lnTo>
                <a:lnTo>
                  <a:pt x="338964" y="1058872"/>
                </a:lnTo>
                <a:cubicBezTo>
                  <a:pt x="151758" y="1058872"/>
                  <a:pt x="0" y="979898"/>
                  <a:pt x="0" y="882479"/>
                </a:cubicBezTo>
                <a:lnTo>
                  <a:pt x="0" y="176927"/>
                </a:lnTo>
                <a:cubicBezTo>
                  <a:pt x="0" y="79507"/>
                  <a:pt x="151758" y="534"/>
                  <a:pt x="338964" y="534"/>
                </a:cubicBezTo>
                <a:lnTo>
                  <a:pt x="3740008" y="534"/>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1440" rIns="91440" bIns="457200" rtlCol="0" anchor="t" anchorCtr="0">
            <a:noAutofit/>
          </a:bodyPr>
          <a:lstStyle/>
          <a:p>
            <a:pPr marL="0" marR="0" lvl="1" indent="0" algn="l" defTabSz="4572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Corbel" panose="020B0503020204020204"/>
                <a:ea typeface="+mn-ea"/>
                <a:cs typeface="+mn-cs"/>
              </a:rPr>
              <a:t>In the RFP stage, SCE requests bidders to provide redlines to the EE Agreement.  The IEs and PRG guidelines recommend that no redlines be requested until negotiations.  </a:t>
            </a:r>
          </a:p>
        </p:txBody>
      </p:sp>
      <p:sp>
        <p:nvSpPr>
          <p:cNvPr id="14" name="Freeform 15">
            <a:extLst>
              <a:ext uri="{FF2B5EF4-FFF2-40B4-BE49-F238E27FC236}">
                <a16:creationId xmlns:a16="http://schemas.microsoft.com/office/drawing/2014/main" id="{DDC826F3-0FE0-4A74-BF91-1E1D0C71D586}"/>
              </a:ext>
            </a:extLst>
          </p:cNvPr>
          <p:cNvSpPr/>
          <p:nvPr/>
        </p:nvSpPr>
        <p:spPr>
          <a:xfrm>
            <a:off x="8566338" y="4838007"/>
            <a:ext cx="3264408" cy="1194152"/>
          </a:xfrm>
          <a:custGeom>
            <a:avLst/>
            <a:gdLst>
              <a:gd name="connsiteX0" fmla="*/ 263525 w 958848"/>
              <a:gd name="connsiteY0" fmla="*/ 0 h 1051808"/>
              <a:gd name="connsiteX1" fmla="*/ 263525 w 958848"/>
              <a:gd name="connsiteY1" fmla="*/ 4058 h 1051808"/>
              <a:gd name="connsiteX2" fmla="*/ 833962 w 958848"/>
              <a:gd name="connsiteY2" fmla="*/ 4058 h 1051808"/>
              <a:gd name="connsiteX3" fmla="*/ 958848 w 958848"/>
              <a:gd name="connsiteY3" fmla="*/ 128944 h 1051808"/>
              <a:gd name="connsiteX4" fmla="*/ 958848 w 958848"/>
              <a:gd name="connsiteY4" fmla="*/ 628472 h 1051808"/>
              <a:gd name="connsiteX5" fmla="*/ 833962 w 958848"/>
              <a:gd name="connsiteY5" fmla="*/ 753358 h 1051808"/>
              <a:gd name="connsiteX6" fmla="*/ 263525 w 958848"/>
              <a:gd name="connsiteY6" fmla="*/ 753358 h 1051808"/>
              <a:gd name="connsiteX7" fmla="*/ 263525 w 958848"/>
              <a:gd name="connsiteY7" fmla="*/ 756235 h 1051808"/>
              <a:gd name="connsiteX8" fmla="*/ 247650 w 958848"/>
              <a:gd name="connsiteY8" fmla="*/ 756533 h 1051808"/>
              <a:gd name="connsiteX9" fmla="*/ 0 w 958848"/>
              <a:gd name="connsiteY9" fmla="*/ 1051808 h 1051808"/>
              <a:gd name="connsiteX10" fmla="*/ 0 w 958848"/>
              <a:gd name="connsiteY10" fmla="*/ 283458 h 1051808"/>
              <a:gd name="connsiteX11" fmla="*/ 117649 w 958848"/>
              <a:gd name="connsiteY11" fmla="*/ 45556 h 1051808"/>
              <a:gd name="connsiteX12" fmla="*/ 153826 w 958848"/>
              <a:gd name="connsiteY12" fmla="*/ 23663 h 1051808"/>
              <a:gd name="connsiteX13" fmla="*/ 168348 w 958848"/>
              <a:gd name="connsiteY13" fmla="*/ 13872 h 1051808"/>
              <a:gd name="connsiteX14" fmla="*/ 170834 w 958848"/>
              <a:gd name="connsiteY14" fmla="*/ 13370 h 1051808"/>
              <a:gd name="connsiteX15" fmla="*/ 180975 w 958848"/>
              <a:gd name="connsiteY15" fmla="*/ 7233 h 1051808"/>
              <a:gd name="connsiteX16" fmla="*/ 253293 w 958848"/>
              <a:gd name="connsiteY16" fmla="*/ 189 h 1051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8848" h="1051808">
                <a:moveTo>
                  <a:pt x="263525" y="0"/>
                </a:moveTo>
                <a:lnTo>
                  <a:pt x="263525" y="4058"/>
                </a:lnTo>
                <a:lnTo>
                  <a:pt x="833962" y="4058"/>
                </a:lnTo>
                <a:cubicBezTo>
                  <a:pt x="902935" y="4058"/>
                  <a:pt x="958848" y="59971"/>
                  <a:pt x="958848" y="128944"/>
                </a:cubicBezTo>
                <a:lnTo>
                  <a:pt x="958848" y="628472"/>
                </a:lnTo>
                <a:cubicBezTo>
                  <a:pt x="958848" y="697445"/>
                  <a:pt x="902935" y="753358"/>
                  <a:pt x="833962" y="753358"/>
                </a:cubicBezTo>
                <a:lnTo>
                  <a:pt x="263525" y="753358"/>
                </a:lnTo>
                <a:lnTo>
                  <a:pt x="263525" y="756235"/>
                </a:lnTo>
                <a:lnTo>
                  <a:pt x="247650" y="756533"/>
                </a:lnTo>
                <a:cubicBezTo>
                  <a:pt x="94192" y="772407"/>
                  <a:pt x="76994" y="811567"/>
                  <a:pt x="0" y="1051808"/>
                </a:cubicBezTo>
                <a:lnTo>
                  <a:pt x="0" y="283458"/>
                </a:lnTo>
                <a:cubicBezTo>
                  <a:pt x="22621" y="152886"/>
                  <a:pt x="60722" y="88989"/>
                  <a:pt x="117649" y="45556"/>
                </a:cubicBezTo>
                <a:lnTo>
                  <a:pt x="153826" y="23663"/>
                </a:lnTo>
                <a:lnTo>
                  <a:pt x="168348" y="13872"/>
                </a:lnTo>
                <a:lnTo>
                  <a:pt x="170834" y="13370"/>
                </a:lnTo>
                <a:lnTo>
                  <a:pt x="180975" y="7233"/>
                </a:lnTo>
                <a:cubicBezTo>
                  <a:pt x="201215" y="3794"/>
                  <a:pt x="225673" y="1545"/>
                  <a:pt x="253293" y="189"/>
                </a:cubicBezTo>
                <a:close/>
              </a:path>
            </a:pathLst>
          </a:cu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marL="457200" marR="0" lvl="1" indent="0" algn="ctr"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white">
                    <a:lumMod val="95000"/>
                  </a:prstClr>
                </a:solidFill>
                <a:effectLst/>
                <a:uLnTx/>
                <a:uFillTx/>
                <a:latin typeface="Corbel" panose="020B0503020204020204"/>
                <a:ea typeface="+mn-ea"/>
                <a:cs typeface="+mn-cs"/>
              </a:rPr>
              <a:t>Redlines to the Pro Forma</a:t>
            </a:r>
          </a:p>
        </p:txBody>
      </p:sp>
    </p:spTree>
    <p:extLst>
      <p:ext uri="{BB962C8B-B14F-4D97-AF65-F5344CB8AC3E}">
        <p14:creationId xmlns:p14="http://schemas.microsoft.com/office/powerpoint/2010/main" val="30861059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00C4F1C3-3ADD-491F-8C66-57912A24217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31140" y="243840"/>
            <a:ext cx="11724640" cy="6377939"/>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25" name="Rectangle 24">
            <a:extLst>
              <a:ext uri="{FF2B5EF4-FFF2-40B4-BE49-F238E27FC236}">
                <a16:creationId xmlns:a16="http://schemas.microsoft.com/office/drawing/2014/main" id="{0B323FE0-DFB0-4368-A3C2-FC1402A98C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31140" y="243840"/>
            <a:ext cx="11724640" cy="6377939"/>
          </a:xfrm>
          <a:prstGeom prst="rect">
            <a:avLst/>
          </a:prstGeom>
          <a:solidFill>
            <a:schemeClr val="accent1"/>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sp>
      <p:cxnSp>
        <p:nvCxnSpPr>
          <p:cNvPr id="27" name="Straight Connector 26">
            <a:extLst>
              <a:ext uri="{FF2B5EF4-FFF2-40B4-BE49-F238E27FC236}">
                <a16:creationId xmlns:a16="http://schemas.microsoft.com/office/drawing/2014/main" id="{E4BCA77F-6A46-46C1-822E-DF8DB6F08D5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978660" y="3733800"/>
            <a:ext cx="822960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useBgFill="1">
        <p:nvSpPr>
          <p:cNvPr id="29" name="Rectangle 28">
            <a:extLst>
              <a:ext uri="{FF2B5EF4-FFF2-40B4-BE49-F238E27FC236}">
                <a16:creationId xmlns:a16="http://schemas.microsoft.com/office/drawing/2014/main" id="{7C684499-6F30-4C6A-8094-E2E3E91B305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a:noFill/>
          </a:ln>
        </p:spPr>
        <p:style>
          <a:lnRef idx="2">
            <a:schemeClr val="accent1">
              <a:shade val="50000"/>
            </a:schemeClr>
          </a:lnRef>
          <a:fillRef idx="1">
            <a:schemeClr val="accent1"/>
          </a:fillRef>
          <a:effectRef idx="0">
            <a:schemeClr val="accent1"/>
          </a:effectRef>
          <a:fontRef idx="minor">
            <a:schemeClr val="lt1"/>
          </a:fontRef>
        </p:style>
      </p:sp>
      <p:sp>
        <p:nvSpPr>
          <p:cNvPr id="31" name="Rectangle 30">
            <a:extLst>
              <a:ext uri="{FF2B5EF4-FFF2-40B4-BE49-F238E27FC236}">
                <a16:creationId xmlns:a16="http://schemas.microsoft.com/office/drawing/2014/main" id="{D5AECED4-26C2-4E8F-A340-2402369DC2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28600" y="246888"/>
            <a:ext cx="11724640" cy="6377939"/>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sp>
      <p:sp>
        <p:nvSpPr>
          <p:cNvPr id="2" name="Title 1">
            <a:extLst>
              <a:ext uri="{FF2B5EF4-FFF2-40B4-BE49-F238E27FC236}">
                <a16:creationId xmlns:a16="http://schemas.microsoft.com/office/drawing/2014/main" id="{CB704BEC-D7D6-4233-8BA1-6046BEA78143}"/>
              </a:ext>
            </a:extLst>
          </p:cNvPr>
          <p:cNvSpPr>
            <a:spLocks noGrp="1"/>
          </p:cNvSpPr>
          <p:nvPr>
            <p:ph type="title"/>
          </p:nvPr>
        </p:nvSpPr>
        <p:spPr>
          <a:xfrm>
            <a:off x="895467" y="863364"/>
            <a:ext cx="6657476" cy="5126124"/>
          </a:xfrm>
        </p:spPr>
        <p:txBody>
          <a:bodyPr vert="horz" lIns="91440" tIns="45720" rIns="91440" bIns="45720" rtlCol="0" anchor="ctr">
            <a:normAutofit/>
          </a:bodyPr>
          <a:lstStyle/>
          <a:p>
            <a:pPr algn="r"/>
            <a:r>
              <a:rPr lang="en-US" sz="6600" b="1" dirty="0">
                <a:solidFill>
                  <a:schemeClr val="tx1"/>
                </a:solidFill>
              </a:rPr>
              <a:t>SoCalGas</a:t>
            </a:r>
          </a:p>
        </p:txBody>
      </p:sp>
      <p:cxnSp>
        <p:nvCxnSpPr>
          <p:cNvPr id="33" name="Straight Connector 32">
            <a:extLst>
              <a:ext uri="{FF2B5EF4-FFF2-40B4-BE49-F238E27FC236}">
                <a16:creationId xmlns:a16="http://schemas.microsoft.com/office/drawing/2014/main" id="{C9213D27-7A25-46D8-B1BD-E470E49C6C2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7961243" y="2054826"/>
            <a:ext cx="0" cy="27432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Slide Number Placeholder 4">
            <a:extLst>
              <a:ext uri="{FF2B5EF4-FFF2-40B4-BE49-F238E27FC236}">
                <a16:creationId xmlns:a16="http://schemas.microsoft.com/office/drawing/2014/main" id="{DD8BE81C-9C36-4FFF-9613-DC887B1722D5}"/>
              </a:ext>
            </a:extLst>
          </p:cNvPr>
          <p:cNvSpPr>
            <a:spLocks noGrp="1"/>
          </p:cNvSpPr>
          <p:nvPr>
            <p:ph type="sldNum" sz="quarter" idx="12"/>
          </p:nvPr>
        </p:nvSpPr>
        <p:spPr>
          <a:xfrm>
            <a:off x="10066487" y="6223828"/>
            <a:ext cx="1706217" cy="365125"/>
          </a:xfrm>
        </p:spPr>
        <p:txBody>
          <a:bodyPr vert="horz" lIns="91440" tIns="45720" rIns="91440" bIns="45720" rtlCol="0" anchor="ctr">
            <a:normAutofit/>
          </a:bodyPr>
          <a:lstStyle/>
          <a:p>
            <a:pPr marL="0" marR="0" lvl="0" indent="0" algn="r" defTabSz="457200" rtl="0" eaLnBrk="1" fontAlgn="auto" latinLnBrk="0" hangingPunct="1">
              <a:lnSpc>
                <a:spcPct val="100000"/>
              </a:lnSpc>
              <a:spcBef>
                <a:spcPts val="0"/>
              </a:spcBef>
              <a:spcAft>
                <a:spcPts val="600"/>
              </a:spcAft>
              <a:buClrTx/>
              <a:buSzTx/>
              <a:buFontTx/>
              <a:buNone/>
              <a:tabLst/>
              <a:defRPr/>
            </a:pPr>
            <a:fld id="{BF51FD3E-87FA-4BB9-8479-893262DE1709}" type="slidenum">
              <a:rPr kumimoji="0" lang="en-US" sz="1200" b="0" i="0" u="none" strike="noStrike" kern="1200" cap="none" spc="0" normalizeH="0" baseline="0" noProof="0">
                <a:ln>
                  <a:noFill/>
                </a:ln>
                <a:solidFill>
                  <a:srgbClr val="A6B727">
                    <a:lumMod val="40000"/>
                    <a:lumOff val="60000"/>
                  </a:srgbClr>
                </a:solidFill>
                <a:effectLst/>
                <a:uLnTx/>
                <a:uFillTx/>
                <a:latin typeface="Corbel" panose="020B0503020204020204"/>
                <a:ea typeface="+mn-ea"/>
                <a:cs typeface="+mn-cs"/>
              </a:rPr>
              <a:pPr marL="0" marR="0" lvl="0" indent="0" algn="r" defTabSz="457200" rtl="0" eaLnBrk="1" fontAlgn="auto" latinLnBrk="0" hangingPunct="1">
                <a:lnSpc>
                  <a:spcPct val="100000"/>
                </a:lnSpc>
                <a:spcBef>
                  <a:spcPts val="0"/>
                </a:spcBef>
                <a:spcAft>
                  <a:spcPts val="600"/>
                </a:spcAft>
                <a:buClrTx/>
                <a:buSzTx/>
                <a:buFontTx/>
                <a:buNone/>
                <a:tabLst/>
                <a:defRPr/>
              </a:pPr>
              <a:t>35</a:t>
            </a:fld>
            <a:endParaRPr kumimoji="0" lang="en-US" sz="1200" b="0" i="0" u="none" strike="noStrike" kern="1200" cap="none" spc="0" normalizeH="0" baseline="0" noProof="0" dirty="0">
              <a:ln>
                <a:noFill/>
              </a:ln>
              <a:solidFill>
                <a:srgbClr val="A6B727">
                  <a:lumMod val="40000"/>
                  <a:lumOff val="60000"/>
                </a:srgbClr>
              </a:solidFill>
              <a:effectLst/>
              <a:uLnTx/>
              <a:uFillTx/>
              <a:latin typeface="Corbel" panose="020B0503020204020204"/>
              <a:ea typeface="+mn-ea"/>
              <a:cs typeface="+mn-cs"/>
            </a:endParaRPr>
          </a:p>
        </p:txBody>
      </p:sp>
    </p:spTree>
    <p:extLst>
      <p:ext uri="{BB962C8B-B14F-4D97-AF65-F5344CB8AC3E}">
        <p14:creationId xmlns:p14="http://schemas.microsoft.com/office/powerpoint/2010/main" val="2124131490"/>
      </p:ext>
    </p:extLst>
  </p:cSld>
  <p:clrMapOvr>
    <a:overrideClrMapping bg1="dk1" tx1="lt1" bg2="dk2" tx2="lt2" accent1="accent1" accent2="accent2" accent3="accent3" accent4="accent4" accent5="accent5" accent6="accent6" hlink="hlink" folHlink="folHlink"/>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9BD6B2-AB0D-4B17-BAAF-C04AB7B7DBB7}"/>
              </a:ext>
            </a:extLst>
          </p:cNvPr>
          <p:cNvSpPr>
            <a:spLocks noGrp="1"/>
          </p:cNvSpPr>
          <p:nvPr>
            <p:ph type="title"/>
          </p:nvPr>
        </p:nvSpPr>
        <p:spPr/>
        <p:txBody>
          <a:bodyPr/>
          <a:lstStyle/>
          <a:p>
            <a:r>
              <a:rPr lang="en-US" dirty="0"/>
              <a:t>SoCalGas Solicitations</a:t>
            </a:r>
          </a:p>
        </p:txBody>
      </p:sp>
      <p:sp>
        <p:nvSpPr>
          <p:cNvPr id="4" name="Footer Placeholder 3">
            <a:extLst>
              <a:ext uri="{FF2B5EF4-FFF2-40B4-BE49-F238E27FC236}">
                <a16:creationId xmlns:a16="http://schemas.microsoft.com/office/drawing/2014/main" id="{C12F676A-2112-4E58-A9A6-F27D3CB83DAE}"/>
              </a:ext>
            </a:extLst>
          </p:cNvPr>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rPr>
              <a:t>IE Semi-Annual Report: July 28, 2021 Stakeholder Meeting</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5" name="Slide Number Placeholder 4">
            <a:extLst>
              <a:ext uri="{FF2B5EF4-FFF2-40B4-BE49-F238E27FC236}">
                <a16:creationId xmlns:a16="http://schemas.microsoft.com/office/drawing/2014/main" id="{5A0CF043-10C0-42A8-B9BC-58808B394850}"/>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51FD3E-87FA-4BB9-8479-893262DE1709}" type="slidenum">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6" name="Rectangle 1">
            <a:extLst>
              <a:ext uri="{FF2B5EF4-FFF2-40B4-BE49-F238E27FC236}">
                <a16:creationId xmlns:a16="http://schemas.microsoft.com/office/drawing/2014/main" id="{C8DD9532-E4D7-AF40-9BE0-EDC04C71DB92}"/>
              </a:ext>
            </a:extLst>
          </p:cNvPr>
          <p:cNvSpPr>
            <a:spLocks noChangeArrowheads="1"/>
          </p:cNvSpPr>
          <p:nvPr/>
        </p:nvSpPr>
        <p:spPr bwMode="auto">
          <a:xfrm>
            <a:off x="2878138" y="223726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br>
              <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br>
            <a:endParaRPr kumimoji="0" lang="en-US" alt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graphicFrame>
        <p:nvGraphicFramePr>
          <p:cNvPr id="9" name="Table 8">
            <a:extLst>
              <a:ext uri="{FF2B5EF4-FFF2-40B4-BE49-F238E27FC236}">
                <a16:creationId xmlns:a16="http://schemas.microsoft.com/office/drawing/2014/main" id="{E492BEB7-E9A1-AB4C-9E80-E19E6372105A}"/>
              </a:ext>
            </a:extLst>
          </p:cNvPr>
          <p:cNvGraphicFramePr>
            <a:graphicFrameLocks noGrp="1"/>
          </p:cNvGraphicFramePr>
          <p:nvPr/>
        </p:nvGraphicFramePr>
        <p:xfrm>
          <a:off x="861237" y="1549674"/>
          <a:ext cx="10187764" cy="3686129"/>
        </p:xfrm>
        <a:graphic>
          <a:graphicData uri="http://schemas.openxmlformats.org/drawingml/2006/table">
            <a:tbl>
              <a:tblPr firstRow="1" firstCol="1" bandRow="1">
                <a:tableStyleId>{00A15C55-8517-42AA-B614-E9B94910E393}</a:tableStyleId>
              </a:tblPr>
              <a:tblGrid>
                <a:gridCol w="4204854">
                  <a:extLst>
                    <a:ext uri="{9D8B030D-6E8A-4147-A177-3AD203B41FA5}">
                      <a16:colId xmlns:a16="http://schemas.microsoft.com/office/drawing/2014/main" val="3306040972"/>
                    </a:ext>
                  </a:extLst>
                </a:gridCol>
                <a:gridCol w="3980566">
                  <a:extLst>
                    <a:ext uri="{9D8B030D-6E8A-4147-A177-3AD203B41FA5}">
                      <a16:colId xmlns:a16="http://schemas.microsoft.com/office/drawing/2014/main" val="767957984"/>
                    </a:ext>
                  </a:extLst>
                </a:gridCol>
                <a:gridCol w="2002344">
                  <a:extLst>
                    <a:ext uri="{9D8B030D-6E8A-4147-A177-3AD203B41FA5}">
                      <a16:colId xmlns:a16="http://schemas.microsoft.com/office/drawing/2014/main" val="302141244"/>
                    </a:ext>
                  </a:extLst>
                </a:gridCol>
              </a:tblGrid>
              <a:tr h="323717">
                <a:tc>
                  <a:txBody>
                    <a:bodyPr/>
                    <a:lstStyle/>
                    <a:p>
                      <a:pPr marL="0" marR="0" algn="ctr">
                        <a:spcBef>
                          <a:spcPts val="0"/>
                        </a:spcBef>
                        <a:spcAft>
                          <a:spcPts val="0"/>
                        </a:spcAft>
                      </a:pPr>
                      <a:r>
                        <a:rPr lang="en-US" sz="1800" dirty="0">
                          <a:effectLst/>
                        </a:rPr>
                        <a:t>Solicitations</a:t>
                      </a:r>
                      <a:endParaRPr lang="en-US" sz="1800" b="1" dirty="0">
                        <a:solidFill>
                          <a:srgbClr val="FFFFFF"/>
                        </a:solidFill>
                        <a:effectLst/>
                        <a:latin typeface="Garamond" panose="02020404030301010803" pitchFamily="18" charset="0"/>
                        <a:ea typeface="Arial" panose="020B0604020202020204" pitchFamily="34" charset="0"/>
                        <a:cs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800" dirty="0">
                          <a:effectLst/>
                        </a:rPr>
                        <a:t>Assigned IEs</a:t>
                      </a:r>
                      <a:endParaRPr lang="en-US" sz="1800" b="1" dirty="0">
                        <a:solidFill>
                          <a:srgbClr val="FFFFFF"/>
                        </a:solidFill>
                        <a:effectLst/>
                        <a:latin typeface="Garamond" panose="02020404030301010803" pitchFamily="18" charset="0"/>
                        <a:ea typeface="Arial" panose="020B0604020202020204" pitchFamily="34" charset="0"/>
                        <a:cs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800" dirty="0">
                          <a:effectLst/>
                        </a:rPr>
                        <a:t>Solicitation Status</a:t>
                      </a:r>
                    </a:p>
                  </a:txBody>
                  <a:tcPr marL="68580" marR="68580" marT="0" marB="0" anchor="ctr"/>
                </a:tc>
                <a:extLst>
                  <a:ext uri="{0D108BD9-81ED-4DB2-BD59-A6C34878D82A}">
                    <a16:rowId xmlns:a16="http://schemas.microsoft.com/office/drawing/2014/main" val="4040951558"/>
                  </a:ext>
                </a:extLst>
              </a:tr>
              <a:tr h="280201">
                <a:tc>
                  <a:txBody>
                    <a:bodyPr/>
                    <a:lstStyle/>
                    <a:p>
                      <a:pPr marL="0" marR="0">
                        <a:spcBef>
                          <a:spcPts val="0"/>
                        </a:spcBef>
                        <a:spcAft>
                          <a:spcPts val="0"/>
                        </a:spcAft>
                      </a:pPr>
                      <a:r>
                        <a:rPr lang="en-US" sz="1800" dirty="0">
                          <a:solidFill>
                            <a:schemeClr val="tx1">
                              <a:lumMod val="65000"/>
                              <a:lumOff val="35000"/>
                            </a:schemeClr>
                          </a:solidFill>
                          <a:effectLst/>
                          <a:latin typeface="+mn-lt"/>
                          <a:cs typeface="Calibri" panose="020F0502020204030204" pitchFamily="34" charset="0"/>
                        </a:rPr>
                        <a:t>Local Residential Single Family</a:t>
                      </a:r>
                      <a:endParaRPr lang="en-US" sz="1800" dirty="0">
                        <a:solidFill>
                          <a:schemeClr val="tx1">
                            <a:lumMod val="65000"/>
                            <a:lumOff val="35000"/>
                          </a:schemeClr>
                        </a:solidFill>
                        <a:effectLst/>
                        <a:latin typeface="+mn-lt"/>
                        <a:ea typeface="Arial" panose="020B0604020202020204" pitchFamily="34" charset="0"/>
                        <a:cs typeface="Calibri" panose="020F0502020204030204" pitchFamily="34" charset="0"/>
                      </a:endParaRPr>
                    </a:p>
                  </a:txBody>
                  <a:tcPr marL="68580" marR="68580" marT="0" marB="0" anchor="ctr">
                    <a:solidFill>
                      <a:srgbClr val="CFDAE5"/>
                    </a:solidFill>
                  </a:tcPr>
                </a:tc>
                <a:tc>
                  <a:txBody>
                    <a:bodyPr/>
                    <a:lstStyle/>
                    <a:p>
                      <a:pPr marL="0" marR="0">
                        <a:spcBef>
                          <a:spcPts val="0"/>
                        </a:spcBef>
                        <a:spcAft>
                          <a:spcPts val="0"/>
                        </a:spcAft>
                      </a:pPr>
                      <a:r>
                        <a:rPr lang="en-US" sz="1800" kern="1200" dirty="0">
                          <a:solidFill>
                            <a:schemeClr val="tx1">
                              <a:lumMod val="65000"/>
                              <a:lumOff val="35000"/>
                            </a:schemeClr>
                          </a:solidFill>
                          <a:effectLst/>
                          <a:latin typeface="+mn-lt"/>
                          <a:ea typeface="+mn-ea"/>
                          <a:cs typeface="Calibri" panose="020F0502020204030204" pitchFamily="34" charset="0"/>
                        </a:rPr>
                        <a:t>The Mendota Group</a:t>
                      </a:r>
                    </a:p>
                  </a:txBody>
                  <a:tcPr marL="68580" marR="68580" marT="0" marB="0" anchor="ctr"/>
                </a:tc>
                <a:tc>
                  <a:txBody>
                    <a:bodyPr/>
                    <a:lstStyle/>
                    <a:p>
                      <a:pPr marL="0" marR="0" algn="ctr">
                        <a:spcBef>
                          <a:spcPts val="0"/>
                        </a:spcBef>
                        <a:spcAft>
                          <a:spcPts val="0"/>
                        </a:spcAft>
                      </a:pPr>
                      <a:r>
                        <a:rPr lang="en-US" sz="1800" kern="1200" dirty="0">
                          <a:solidFill>
                            <a:schemeClr val="tx1">
                              <a:lumMod val="65000"/>
                              <a:lumOff val="35000"/>
                            </a:schemeClr>
                          </a:solidFill>
                          <a:effectLst/>
                          <a:latin typeface="+mn-lt"/>
                          <a:ea typeface="+mn-ea"/>
                          <a:cs typeface="Calibri" panose="020F0502020204030204" pitchFamily="34" charset="0"/>
                        </a:rPr>
                        <a:t>Contracted</a:t>
                      </a:r>
                    </a:p>
                  </a:txBody>
                  <a:tcPr marL="68580" marR="68580" marT="0" marB="0" anchor="ctr"/>
                </a:tc>
                <a:extLst>
                  <a:ext uri="{0D108BD9-81ED-4DB2-BD59-A6C34878D82A}">
                    <a16:rowId xmlns:a16="http://schemas.microsoft.com/office/drawing/2014/main" val="2984922287"/>
                  </a:ext>
                </a:extLst>
              </a:tr>
              <a:tr h="280201">
                <a:tc>
                  <a:txBody>
                    <a:bodyPr/>
                    <a:lstStyle/>
                    <a:p>
                      <a:pPr marL="0" marR="0">
                        <a:spcBef>
                          <a:spcPts val="0"/>
                        </a:spcBef>
                        <a:spcAft>
                          <a:spcPts val="0"/>
                        </a:spcAft>
                      </a:pPr>
                      <a:r>
                        <a:rPr lang="en-US" sz="1800" dirty="0">
                          <a:solidFill>
                            <a:schemeClr val="tx1">
                              <a:lumMod val="65000"/>
                              <a:lumOff val="35000"/>
                            </a:schemeClr>
                          </a:solidFill>
                          <a:effectLst/>
                          <a:latin typeface="+mn-lt"/>
                          <a:cs typeface="Calibri" panose="020F0502020204030204" pitchFamily="34" charset="0"/>
                        </a:rPr>
                        <a:t>Local Residential Multifamily </a:t>
                      </a:r>
                      <a:endParaRPr lang="en-US" sz="1800" dirty="0">
                        <a:solidFill>
                          <a:schemeClr val="tx1">
                            <a:lumMod val="65000"/>
                            <a:lumOff val="35000"/>
                          </a:schemeClr>
                        </a:solidFill>
                        <a:effectLst/>
                        <a:latin typeface="+mn-lt"/>
                        <a:ea typeface="Arial" panose="020B0604020202020204" pitchFamily="34" charset="0"/>
                        <a:cs typeface="Calibri" panose="020F0502020204030204" pitchFamily="34" charset="0"/>
                      </a:endParaRPr>
                    </a:p>
                  </a:txBody>
                  <a:tcPr marL="68580" marR="68580" marT="0" marB="0" anchor="ctr">
                    <a:solidFill>
                      <a:srgbClr val="CFDAE5"/>
                    </a:solidFill>
                  </a:tcPr>
                </a:tc>
                <a:tc>
                  <a:txBody>
                    <a:bodyPr/>
                    <a:lstStyle/>
                    <a:p>
                      <a:pPr marL="0" marR="0">
                        <a:spcBef>
                          <a:spcPts val="0"/>
                        </a:spcBef>
                        <a:spcAft>
                          <a:spcPts val="0"/>
                        </a:spcAft>
                      </a:pPr>
                      <a:r>
                        <a:rPr lang="en-US" sz="1800" dirty="0">
                          <a:solidFill>
                            <a:schemeClr val="tx1">
                              <a:lumMod val="65000"/>
                              <a:lumOff val="35000"/>
                            </a:schemeClr>
                          </a:solidFill>
                          <a:effectLst/>
                          <a:latin typeface="+mn-lt"/>
                          <a:cs typeface="Calibri" panose="020F0502020204030204" pitchFamily="34" charset="0"/>
                        </a:rPr>
                        <a:t>The Mendota Group</a:t>
                      </a:r>
                      <a:endParaRPr lang="en-US" sz="1800" dirty="0">
                        <a:solidFill>
                          <a:schemeClr val="tx1">
                            <a:lumMod val="65000"/>
                            <a:lumOff val="35000"/>
                          </a:schemeClr>
                        </a:solidFill>
                        <a:effectLst/>
                        <a:latin typeface="+mn-lt"/>
                        <a:ea typeface="Arial" panose="020B0604020202020204" pitchFamily="34" charset="0"/>
                        <a:cs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800" dirty="0">
                          <a:solidFill>
                            <a:schemeClr val="tx1">
                              <a:lumMod val="65000"/>
                              <a:lumOff val="35000"/>
                            </a:schemeClr>
                          </a:solidFill>
                          <a:effectLst/>
                          <a:latin typeface="+mn-lt"/>
                          <a:cs typeface="Calibri" panose="020F0502020204030204" pitchFamily="34" charset="0"/>
                        </a:rPr>
                        <a:t>Contracted</a:t>
                      </a:r>
                      <a:endParaRPr lang="en-US" sz="1800" dirty="0">
                        <a:solidFill>
                          <a:schemeClr val="tx1">
                            <a:lumMod val="65000"/>
                            <a:lumOff val="35000"/>
                          </a:schemeClr>
                        </a:solidFill>
                        <a:effectLst/>
                        <a:latin typeface="+mn-lt"/>
                        <a:ea typeface="Arial" panose="020B0604020202020204" pitchFamily="34" charset="0"/>
                        <a:cs typeface="Calibri" panose="020F0502020204030204" pitchFamily="34" charset="0"/>
                      </a:endParaRPr>
                    </a:p>
                  </a:txBody>
                  <a:tcPr marL="68580" marR="68580" marT="0" marB="0" anchor="ctr"/>
                </a:tc>
                <a:extLst>
                  <a:ext uri="{0D108BD9-81ED-4DB2-BD59-A6C34878D82A}">
                    <a16:rowId xmlns:a16="http://schemas.microsoft.com/office/drawing/2014/main" val="592835760"/>
                  </a:ext>
                </a:extLst>
              </a:tr>
              <a:tr h="280201">
                <a:tc>
                  <a:txBody>
                    <a:bodyPr/>
                    <a:lstStyle/>
                    <a:p>
                      <a:pPr marL="0" marR="0">
                        <a:spcBef>
                          <a:spcPts val="0"/>
                        </a:spcBef>
                        <a:spcAft>
                          <a:spcPts val="0"/>
                        </a:spcAft>
                      </a:pPr>
                      <a:r>
                        <a:rPr lang="en-US" sz="1800" dirty="0">
                          <a:solidFill>
                            <a:schemeClr val="tx1">
                              <a:lumMod val="65000"/>
                              <a:lumOff val="35000"/>
                            </a:schemeClr>
                          </a:solidFill>
                          <a:effectLst/>
                          <a:latin typeface="+mn-lt"/>
                          <a:cs typeface="Calibri" panose="020F0502020204030204" pitchFamily="34" charset="0"/>
                        </a:rPr>
                        <a:t>Local Small-Medium Commercial </a:t>
                      </a:r>
                      <a:endParaRPr lang="en-US" sz="1800" dirty="0">
                        <a:solidFill>
                          <a:schemeClr val="tx1">
                            <a:lumMod val="65000"/>
                            <a:lumOff val="35000"/>
                          </a:schemeClr>
                        </a:solidFill>
                        <a:effectLst/>
                        <a:latin typeface="+mn-lt"/>
                        <a:ea typeface="Arial" panose="020B0604020202020204" pitchFamily="34" charset="0"/>
                        <a:cs typeface="Calibri" panose="020F0502020204030204" pitchFamily="34" charset="0"/>
                      </a:endParaRPr>
                    </a:p>
                  </a:txBody>
                  <a:tcPr marL="68580" marR="68580" marT="0" marB="0" anchor="ctr">
                    <a:solidFill>
                      <a:srgbClr val="CFDAE5"/>
                    </a:solidFill>
                  </a:tcPr>
                </a:tc>
                <a:tc>
                  <a:txBody>
                    <a:bodyPr/>
                    <a:lstStyle/>
                    <a:p>
                      <a:pPr marL="0" marR="0">
                        <a:spcBef>
                          <a:spcPts val="0"/>
                        </a:spcBef>
                        <a:spcAft>
                          <a:spcPts val="0"/>
                        </a:spcAft>
                      </a:pPr>
                      <a:r>
                        <a:rPr lang="en-US" sz="1800" dirty="0">
                          <a:solidFill>
                            <a:schemeClr val="tx1">
                              <a:lumMod val="65000"/>
                              <a:lumOff val="35000"/>
                            </a:schemeClr>
                          </a:solidFill>
                          <a:effectLst/>
                          <a:latin typeface="+mn-lt"/>
                          <a:cs typeface="Calibri" panose="020F0502020204030204" pitchFamily="34" charset="0"/>
                        </a:rPr>
                        <a:t>Don Arambula Consulting</a:t>
                      </a:r>
                      <a:endParaRPr lang="en-US" sz="1800" dirty="0">
                        <a:solidFill>
                          <a:schemeClr val="tx1">
                            <a:lumMod val="65000"/>
                            <a:lumOff val="35000"/>
                          </a:schemeClr>
                        </a:solidFill>
                        <a:effectLst/>
                        <a:latin typeface="+mn-lt"/>
                        <a:ea typeface="Arial" panose="020B0604020202020204" pitchFamily="34" charset="0"/>
                        <a:cs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800" dirty="0">
                          <a:solidFill>
                            <a:schemeClr val="tx1">
                              <a:lumMod val="65000"/>
                              <a:lumOff val="35000"/>
                            </a:schemeClr>
                          </a:solidFill>
                          <a:effectLst/>
                          <a:latin typeface="+mn-lt"/>
                          <a:cs typeface="Calibri" panose="020F0502020204030204" pitchFamily="34" charset="0"/>
                        </a:rPr>
                        <a:t>Contracted</a:t>
                      </a:r>
                      <a:endParaRPr lang="en-US" sz="1800" dirty="0">
                        <a:solidFill>
                          <a:schemeClr val="tx1">
                            <a:lumMod val="65000"/>
                            <a:lumOff val="35000"/>
                          </a:schemeClr>
                        </a:solidFill>
                        <a:effectLst/>
                        <a:latin typeface="+mn-lt"/>
                        <a:ea typeface="Arial" panose="020B0604020202020204" pitchFamily="34" charset="0"/>
                        <a:cs typeface="Calibri" panose="020F0502020204030204" pitchFamily="34" charset="0"/>
                      </a:endParaRPr>
                    </a:p>
                  </a:txBody>
                  <a:tcPr marL="68580" marR="68580" marT="0" marB="0" anchor="ctr"/>
                </a:tc>
                <a:extLst>
                  <a:ext uri="{0D108BD9-81ED-4DB2-BD59-A6C34878D82A}">
                    <a16:rowId xmlns:a16="http://schemas.microsoft.com/office/drawing/2014/main" val="1202806751"/>
                  </a:ext>
                </a:extLst>
              </a:tr>
              <a:tr h="280201">
                <a:tc>
                  <a:txBody>
                    <a:bodyPr/>
                    <a:lstStyle/>
                    <a:p>
                      <a:pPr marL="0" marR="0">
                        <a:spcBef>
                          <a:spcPts val="0"/>
                        </a:spcBef>
                        <a:spcAft>
                          <a:spcPts val="0"/>
                        </a:spcAft>
                      </a:pPr>
                      <a:r>
                        <a:rPr lang="en-US" sz="1800" dirty="0">
                          <a:solidFill>
                            <a:schemeClr val="tx1">
                              <a:lumMod val="65000"/>
                              <a:lumOff val="35000"/>
                            </a:schemeClr>
                          </a:solidFill>
                          <a:effectLst/>
                          <a:latin typeface="+mn-lt"/>
                          <a:cs typeface="Calibri" panose="020F0502020204030204" pitchFamily="34" charset="0"/>
                        </a:rPr>
                        <a:t>Local Small-Medium Public </a:t>
                      </a:r>
                      <a:endParaRPr lang="en-US" sz="1800" dirty="0">
                        <a:solidFill>
                          <a:schemeClr val="tx1">
                            <a:lumMod val="65000"/>
                            <a:lumOff val="35000"/>
                          </a:schemeClr>
                        </a:solidFill>
                        <a:effectLst/>
                        <a:latin typeface="+mn-lt"/>
                        <a:ea typeface="Arial" panose="020B0604020202020204" pitchFamily="34" charset="0"/>
                        <a:cs typeface="Calibri" panose="020F0502020204030204" pitchFamily="34" charset="0"/>
                      </a:endParaRPr>
                    </a:p>
                  </a:txBody>
                  <a:tcPr marL="68580" marR="68580" marT="0" marB="0" anchor="ctr">
                    <a:solidFill>
                      <a:srgbClr val="CFDAE5"/>
                    </a:solidFill>
                  </a:tcPr>
                </a:tc>
                <a:tc>
                  <a:txBody>
                    <a:bodyPr/>
                    <a:lstStyle/>
                    <a:p>
                      <a:pPr marL="0" marR="0">
                        <a:spcBef>
                          <a:spcPts val="0"/>
                        </a:spcBef>
                        <a:spcAft>
                          <a:spcPts val="0"/>
                        </a:spcAft>
                      </a:pPr>
                      <a:r>
                        <a:rPr lang="en-US" sz="1800" dirty="0">
                          <a:solidFill>
                            <a:schemeClr val="tx1">
                              <a:lumMod val="65000"/>
                              <a:lumOff val="35000"/>
                            </a:schemeClr>
                          </a:solidFill>
                          <a:effectLst/>
                          <a:latin typeface="+mn-lt"/>
                          <a:cs typeface="Calibri" panose="020F0502020204030204" pitchFamily="34" charset="0"/>
                        </a:rPr>
                        <a:t>Apex Analytics</a:t>
                      </a:r>
                      <a:endParaRPr lang="en-US" sz="1800" dirty="0">
                        <a:solidFill>
                          <a:schemeClr val="tx1">
                            <a:lumMod val="65000"/>
                            <a:lumOff val="35000"/>
                          </a:schemeClr>
                        </a:solidFill>
                        <a:effectLst/>
                        <a:latin typeface="+mn-lt"/>
                        <a:ea typeface="Arial" panose="020B0604020202020204" pitchFamily="34" charset="0"/>
                        <a:cs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800" dirty="0">
                          <a:solidFill>
                            <a:schemeClr val="tx1">
                              <a:lumMod val="65000"/>
                              <a:lumOff val="35000"/>
                            </a:schemeClr>
                          </a:solidFill>
                          <a:effectLst/>
                          <a:latin typeface="+mn-lt"/>
                          <a:cs typeface="Calibri" panose="020F0502020204030204" pitchFamily="34" charset="0"/>
                        </a:rPr>
                        <a:t>Contracted</a:t>
                      </a:r>
                      <a:endParaRPr lang="en-US" sz="1800" dirty="0">
                        <a:solidFill>
                          <a:schemeClr val="tx1">
                            <a:lumMod val="65000"/>
                            <a:lumOff val="35000"/>
                          </a:schemeClr>
                        </a:solidFill>
                        <a:effectLst/>
                        <a:latin typeface="+mn-lt"/>
                        <a:ea typeface="Arial" panose="020B0604020202020204" pitchFamily="34" charset="0"/>
                        <a:cs typeface="Calibri" panose="020F0502020204030204" pitchFamily="34" charset="0"/>
                      </a:endParaRPr>
                    </a:p>
                  </a:txBody>
                  <a:tcPr marL="68580" marR="68580" marT="0" marB="0" anchor="ctr"/>
                </a:tc>
                <a:extLst>
                  <a:ext uri="{0D108BD9-81ED-4DB2-BD59-A6C34878D82A}">
                    <a16:rowId xmlns:a16="http://schemas.microsoft.com/office/drawing/2014/main" val="2815675468"/>
                  </a:ext>
                </a:extLst>
              </a:tr>
              <a:tr h="280201">
                <a:tc>
                  <a:txBody>
                    <a:bodyPr/>
                    <a:lstStyle/>
                    <a:p>
                      <a:pPr marL="0" marR="0">
                        <a:spcBef>
                          <a:spcPts val="0"/>
                        </a:spcBef>
                        <a:spcAft>
                          <a:spcPts val="0"/>
                        </a:spcAft>
                      </a:pPr>
                      <a:r>
                        <a:rPr lang="en-US" sz="1800" dirty="0">
                          <a:solidFill>
                            <a:schemeClr val="tx1">
                              <a:lumMod val="65000"/>
                              <a:lumOff val="35000"/>
                            </a:schemeClr>
                          </a:solidFill>
                          <a:effectLst/>
                          <a:latin typeface="+mn-lt"/>
                          <a:cs typeface="Calibri" panose="020F0502020204030204" pitchFamily="34" charset="0"/>
                        </a:rPr>
                        <a:t>Statewide Point-of-Sale Food Service </a:t>
                      </a:r>
                      <a:endParaRPr lang="en-US" sz="1800" dirty="0">
                        <a:solidFill>
                          <a:schemeClr val="tx1">
                            <a:lumMod val="65000"/>
                            <a:lumOff val="35000"/>
                          </a:schemeClr>
                        </a:solidFill>
                        <a:effectLst/>
                        <a:latin typeface="+mn-lt"/>
                        <a:ea typeface="Arial" panose="020B0604020202020204" pitchFamily="34" charset="0"/>
                        <a:cs typeface="Calibri" panose="020F0502020204030204" pitchFamily="34" charset="0"/>
                      </a:endParaRPr>
                    </a:p>
                  </a:txBody>
                  <a:tcPr marL="68580" marR="68580" marT="0" marB="0" anchor="ctr">
                    <a:solidFill>
                      <a:srgbClr val="CFDAE5"/>
                    </a:solidFill>
                  </a:tcPr>
                </a:tc>
                <a:tc>
                  <a:txBody>
                    <a:bodyPr/>
                    <a:lstStyle/>
                    <a:p>
                      <a:pPr marL="0" marR="0">
                        <a:spcBef>
                          <a:spcPts val="0"/>
                        </a:spcBef>
                        <a:spcAft>
                          <a:spcPts val="0"/>
                        </a:spcAft>
                      </a:pPr>
                      <a:r>
                        <a:rPr lang="en-US" sz="1800" dirty="0">
                          <a:solidFill>
                            <a:schemeClr val="tx1">
                              <a:lumMod val="65000"/>
                              <a:lumOff val="35000"/>
                            </a:schemeClr>
                          </a:solidFill>
                          <a:effectLst/>
                          <a:latin typeface="+mn-lt"/>
                          <a:cs typeface="Calibri" panose="020F0502020204030204" pitchFamily="34" charset="0"/>
                        </a:rPr>
                        <a:t>MCR Corporate Services</a:t>
                      </a:r>
                      <a:endParaRPr lang="en-US" sz="1800" dirty="0">
                        <a:solidFill>
                          <a:schemeClr val="tx1">
                            <a:lumMod val="65000"/>
                            <a:lumOff val="35000"/>
                          </a:schemeClr>
                        </a:solidFill>
                        <a:effectLst/>
                        <a:latin typeface="+mn-lt"/>
                        <a:ea typeface="Arial" panose="020B0604020202020204" pitchFamily="34" charset="0"/>
                        <a:cs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800" dirty="0">
                          <a:solidFill>
                            <a:schemeClr val="tx1">
                              <a:lumMod val="65000"/>
                              <a:lumOff val="35000"/>
                            </a:schemeClr>
                          </a:solidFill>
                          <a:effectLst/>
                          <a:latin typeface="+mn-lt"/>
                          <a:cs typeface="Calibri" panose="020F0502020204030204" pitchFamily="34" charset="0"/>
                        </a:rPr>
                        <a:t>Contracted</a:t>
                      </a:r>
                      <a:endParaRPr lang="en-US" sz="1800" dirty="0">
                        <a:solidFill>
                          <a:schemeClr val="tx1">
                            <a:lumMod val="65000"/>
                            <a:lumOff val="35000"/>
                          </a:schemeClr>
                        </a:solidFill>
                        <a:effectLst/>
                        <a:latin typeface="+mn-lt"/>
                        <a:ea typeface="Arial" panose="020B0604020202020204" pitchFamily="34" charset="0"/>
                        <a:cs typeface="Calibri" panose="020F0502020204030204" pitchFamily="34" charset="0"/>
                      </a:endParaRPr>
                    </a:p>
                  </a:txBody>
                  <a:tcPr marL="68580" marR="68580" marT="0" marB="0" anchor="ctr"/>
                </a:tc>
                <a:extLst>
                  <a:ext uri="{0D108BD9-81ED-4DB2-BD59-A6C34878D82A}">
                    <a16:rowId xmlns:a16="http://schemas.microsoft.com/office/drawing/2014/main" val="4007875082"/>
                  </a:ext>
                </a:extLst>
              </a:tr>
              <a:tr h="280201">
                <a:tc>
                  <a:txBody>
                    <a:bodyPr/>
                    <a:lstStyle/>
                    <a:p>
                      <a:pPr marL="0" marR="0">
                        <a:spcBef>
                          <a:spcPts val="0"/>
                        </a:spcBef>
                        <a:spcAft>
                          <a:spcPts val="0"/>
                        </a:spcAft>
                      </a:pPr>
                      <a:r>
                        <a:rPr lang="en-US" sz="1800" dirty="0">
                          <a:solidFill>
                            <a:schemeClr val="tx1">
                              <a:lumMod val="65000"/>
                              <a:lumOff val="35000"/>
                            </a:schemeClr>
                          </a:solidFill>
                          <a:effectLst/>
                          <a:latin typeface="+mn-lt"/>
                          <a:cs typeface="Calibri" panose="020F0502020204030204" pitchFamily="34" charset="0"/>
                        </a:rPr>
                        <a:t>Statewide Midstream Water Heater</a:t>
                      </a:r>
                      <a:endParaRPr lang="en-US" sz="1800" dirty="0">
                        <a:solidFill>
                          <a:schemeClr val="tx1">
                            <a:lumMod val="65000"/>
                            <a:lumOff val="35000"/>
                          </a:schemeClr>
                        </a:solidFill>
                        <a:effectLst/>
                        <a:latin typeface="+mn-lt"/>
                        <a:ea typeface="Arial" panose="020B0604020202020204" pitchFamily="34" charset="0"/>
                        <a:cs typeface="Calibri" panose="020F0502020204030204" pitchFamily="34" charset="0"/>
                      </a:endParaRPr>
                    </a:p>
                  </a:txBody>
                  <a:tcPr marL="68580" marR="68580" marT="0" marB="0" anchor="ctr">
                    <a:solidFill>
                      <a:srgbClr val="CFDAE5"/>
                    </a:solidFill>
                  </a:tcPr>
                </a:tc>
                <a:tc>
                  <a:txBody>
                    <a:bodyPr/>
                    <a:lstStyle/>
                    <a:p>
                      <a:pPr marL="0" marR="0">
                        <a:spcBef>
                          <a:spcPts val="0"/>
                        </a:spcBef>
                        <a:spcAft>
                          <a:spcPts val="0"/>
                        </a:spcAft>
                      </a:pPr>
                      <a:r>
                        <a:rPr lang="en-US" sz="1800" dirty="0">
                          <a:solidFill>
                            <a:schemeClr val="tx1">
                              <a:lumMod val="65000"/>
                              <a:lumOff val="35000"/>
                            </a:schemeClr>
                          </a:solidFill>
                          <a:effectLst/>
                          <a:latin typeface="+mn-lt"/>
                          <a:cs typeface="Calibri" panose="020F0502020204030204" pitchFamily="34" charset="0"/>
                        </a:rPr>
                        <a:t>MCR Corporate Services</a:t>
                      </a:r>
                      <a:endParaRPr lang="en-US" sz="1800" dirty="0">
                        <a:solidFill>
                          <a:schemeClr val="tx1">
                            <a:lumMod val="65000"/>
                            <a:lumOff val="35000"/>
                          </a:schemeClr>
                        </a:solidFill>
                        <a:effectLst/>
                        <a:latin typeface="+mn-lt"/>
                        <a:ea typeface="Arial" panose="020B0604020202020204" pitchFamily="34" charset="0"/>
                        <a:cs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800" dirty="0">
                          <a:solidFill>
                            <a:schemeClr val="tx1">
                              <a:lumMod val="65000"/>
                              <a:lumOff val="35000"/>
                            </a:schemeClr>
                          </a:solidFill>
                          <a:effectLst/>
                          <a:latin typeface="+mn-lt"/>
                          <a:ea typeface="Arial" panose="020B0604020202020204" pitchFamily="34" charset="0"/>
                          <a:cs typeface="Calibri" panose="020F0502020204030204" pitchFamily="34" charset="0"/>
                        </a:rPr>
                        <a:t>Contracted</a:t>
                      </a:r>
                    </a:p>
                  </a:txBody>
                  <a:tcPr marL="68580" marR="68580" marT="0" marB="0" anchor="ctr"/>
                </a:tc>
                <a:extLst>
                  <a:ext uri="{0D108BD9-81ED-4DB2-BD59-A6C34878D82A}">
                    <a16:rowId xmlns:a16="http://schemas.microsoft.com/office/drawing/2014/main" val="2782595904"/>
                  </a:ext>
                </a:extLst>
              </a:tr>
              <a:tr h="280201">
                <a:tc>
                  <a:txBody>
                    <a:bodyPr/>
                    <a:lstStyle/>
                    <a:p>
                      <a:pPr marL="0" marR="0">
                        <a:spcBef>
                          <a:spcPts val="0"/>
                        </a:spcBef>
                        <a:spcAft>
                          <a:spcPts val="0"/>
                        </a:spcAft>
                      </a:pPr>
                      <a:r>
                        <a:rPr lang="en-US" sz="1800" dirty="0">
                          <a:solidFill>
                            <a:schemeClr val="tx1">
                              <a:lumMod val="65000"/>
                              <a:lumOff val="35000"/>
                            </a:schemeClr>
                          </a:solidFill>
                          <a:effectLst/>
                          <a:latin typeface="+mn-lt"/>
                          <a:cs typeface="Calibri" panose="020F0502020204030204" pitchFamily="34" charset="0"/>
                        </a:rPr>
                        <a:t>Statewide Gas Emerging Technologies</a:t>
                      </a:r>
                      <a:endParaRPr lang="en-US" sz="1800" dirty="0">
                        <a:solidFill>
                          <a:schemeClr val="tx1">
                            <a:lumMod val="65000"/>
                            <a:lumOff val="35000"/>
                          </a:schemeClr>
                        </a:solidFill>
                        <a:effectLst/>
                        <a:latin typeface="+mn-lt"/>
                        <a:ea typeface="Arial" panose="020B0604020202020204" pitchFamily="34" charset="0"/>
                        <a:cs typeface="Calibri" panose="020F0502020204030204" pitchFamily="34" charset="0"/>
                      </a:endParaRPr>
                    </a:p>
                  </a:txBody>
                  <a:tcPr marL="68580" marR="68580" marT="0" marB="0" anchor="ctr">
                    <a:solidFill>
                      <a:srgbClr val="CFDAE5"/>
                    </a:solidFill>
                  </a:tcPr>
                </a:tc>
                <a:tc>
                  <a:txBody>
                    <a:bodyPr/>
                    <a:lstStyle/>
                    <a:p>
                      <a:pPr marL="0" marR="0">
                        <a:spcBef>
                          <a:spcPts val="0"/>
                        </a:spcBef>
                        <a:spcAft>
                          <a:spcPts val="0"/>
                        </a:spcAft>
                      </a:pPr>
                      <a:r>
                        <a:rPr lang="en-US" sz="1800" dirty="0">
                          <a:solidFill>
                            <a:schemeClr val="tx1">
                              <a:lumMod val="65000"/>
                              <a:lumOff val="35000"/>
                            </a:schemeClr>
                          </a:solidFill>
                          <a:effectLst/>
                          <a:latin typeface="+mn-lt"/>
                          <a:cs typeface="Calibri" panose="020F0502020204030204" pitchFamily="34" charset="0"/>
                        </a:rPr>
                        <a:t>Don Arambula Consulting</a:t>
                      </a:r>
                      <a:endParaRPr lang="en-US" sz="1800" dirty="0">
                        <a:solidFill>
                          <a:schemeClr val="tx1">
                            <a:lumMod val="65000"/>
                            <a:lumOff val="35000"/>
                          </a:schemeClr>
                        </a:solidFill>
                        <a:effectLst/>
                        <a:latin typeface="+mn-lt"/>
                        <a:ea typeface="Arial" panose="020B0604020202020204" pitchFamily="34" charset="0"/>
                        <a:cs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800" dirty="0">
                          <a:solidFill>
                            <a:schemeClr val="tx1">
                              <a:lumMod val="65000"/>
                              <a:lumOff val="35000"/>
                            </a:schemeClr>
                          </a:solidFill>
                          <a:effectLst/>
                          <a:latin typeface="+mn-lt"/>
                          <a:ea typeface="Arial" panose="020B0604020202020204" pitchFamily="34" charset="0"/>
                          <a:cs typeface="Calibri" panose="020F0502020204030204" pitchFamily="34" charset="0"/>
                        </a:rPr>
                        <a:t>Contracting</a:t>
                      </a:r>
                    </a:p>
                  </a:txBody>
                  <a:tcPr marL="68580" marR="68580" marT="0" marB="0" anchor="ctr"/>
                </a:tc>
                <a:extLst>
                  <a:ext uri="{0D108BD9-81ED-4DB2-BD59-A6C34878D82A}">
                    <a16:rowId xmlns:a16="http://schemas.microsoft.com/office/drawing/2014/main" val="3677467931"/>
                  </a:ext>
                </a:extLst>
              </a:tr>
              <a:tr h="280201">
                <a:tc>
                  <a:txBody>
                    <a:bodyPr/>
                    <a:lstStyle/>
                    <a:p>
                      <a:pPr marL="0" marR="0">
                        <a:spcBef>
                          <a:spcPts val="0"/>
                        </a:spcBef>
                        <a:spcAft>
                          <a:spcPts val="0"/>
                        </a:spcAft>
                      </a:pPr>
                      <a:r>
                        <a:rPr lang="en-US" sz="1800" dirty="0">
                          <a:solidFill>
                            <a:schemeClr val="tx1">
                              <a:lumMod val="65000"/>
                              <a:lumOff val="35000"/>
                            </a:schemeClr>
                          </a:solidFill>
                          <a:effectLst/>
                          <a:latin typeface="+mn-lt"/>
                          <a:cs typeface="Calibri" panose="020F0502020204030204" pitchFamily="34" charset="0"/>
                        </a:rPr>
                        <a:t>Local Residential Manufactured Homes</a:t>
                      </a:r>
                      <a:endParaRPr lang="en-US" sz="1800" dirty="0">
                        <a:solidFill>
                          <a:schemeClr val="tx1">
                            <a:lumMod val="65000"/>
                            <a:lumOff val="35000"/>
                          </a:schemeClr>
                        </a:solidFill>
                        <a:effectLst/>
                        <a:latin typeface="+mn-lt"/>
                        <a:ea typeface="Arial" panose="020B0604020202020204" pitchFamily="34" charset="0"/>
                        <a:cs typeface="Calibri" panose="020F0502020204030204" pitchFamily="34" charset="0"/>
                      </a:endParaRPr>
                    </a:p>
                  </a:txBody>
                  <a:tcPr marL="68580" marR="68580" marT="0" marB="0" anchor="ctr">
                    <a:solidFill>
                      <a:srgbClr val="CFDAE5"/>
                    </a:solidFill>
                  </a:tcPr>
                </a:tc>
                <a:tc>
                  <a:txBody>
                    <a:bodyPr/>
                    <a:lstStyle/>
                    <a:p>
                      <a:pPr marL="0" marR="0">
                        <a:spcBef>
                          <a:spcPts val="0"/>
                        </a:spcBef>
                        <a:spcAft>
                          <a:spcPts val="0"/>
                        </a:spcAft>
                      </a:pPr>
                      <a:r>
                        <a:rPr lang="en-US" sz="1800" dirty="0">
                          <a:solidFill>
                            <a:schemeClr val="tx1">
                              <a:lumMod val="65000"/>
                              <a:lumOff val="35000"/>
                            </a:schemeClr>
                          </a:solidFill>
                          <a:effectLst/>
                          <a:latin typeface="+mn-lt"/>
                          <a:cs typeface="Calibri" panose="020F0502020204030204" pitchFamily="34" charset="0"/>
                        </a:rPr>
                        <a:t>Apex Analytics</a:t>
                      </a:r>
                      <a:endParaRPr lang="en-US" sz="1800" dirty="0">
                        <a:solidFill>
                          <a:schemeClr val="tx1">
                            <a:lumMod val="65000"/>
                            <a:lumOff val="35000"/>
                          </a:schemeClr>
                        </a:solidFill>
                        <a:effectLst/>
                        <a:latin typeface="+mn-lt"/>
                        <a:ea typeface="Arial" panose="020B0604020202020204" pitchFamily="34" charset="0"/>
                        <a:cs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800" dirty="0">
                          <a:solidFill>
                            <a:schemeClr val="tx1">
                              <a:lumMod val="65000"/>
                              <a:lumOff val="35000"/>
                            </a:schemeClr>
                          </a:solidFill>
                          <a:effectLst/>
                          <a:latin typeface="+mn-lt"/>
                          <a:cs typeface="Calibri" panose="020F0502020204030204" pitchFamily="34" charset="0"/>
                        </a:rPr>
                        <a:t>Contracted</a:t>
                      </a:r>
                      <a:endParaRPr lang="en-US" sz="1800" dirty="0">
                        <a:solidFill>
                          <a:schemeClr val="tx1">
                            <a:lumMod val="65000"/>
                            <a:lumOff val="35000"/>
                          </a:schemeClr>
                        </a:solidFill>
                        <a:effectLst/>
                        <a:latin typeface="+mn-lt"/>
                        <a:ea typeface="Arial" panose="020B0604020202020204" pitchFamily="34" charset="0"/>
                        <a:cs typeface="Calibri" panose="020F0502020204030204" pitchFamily="34" charset="0"/>
                      </a:endParaRPr>
                    </a:p>
                  </a:txBody>
                  <a:tcPr marL="68580" marR="68580" marT="0" marB="0" anchor="ctr"/>
                </a:tc>
                <a:extLst>
                  <a:ext uri="{0D108BD9-81ED-4DB2-BD59-A6C34878D82A}">
                    <a16:rowId xmlns:a16="http://schemas.microsoft.com/office/drawing/2014/main" val="2357615119"/>
                  </a:ext>
                </a:extLst>
              </a:tr>
              <a:tr h="280201">
                <a:tc>
                  <a:txBody>
                    <a:bodyPr/>
                    <a:lstStyle/>
                    <a:p>
                      <a:pPr marL="0" marR="0">
                        <a:spcBef>
                          <a:spcPts val="0"/>
                        </a:spcBef>
                        <a:spcAft>
                          <a:spcPts val="0"/>
                        </a:spcAft>
                      </a:pPr>
                      <a:r>
                        <a:rPr lang="en-US" sz="1800" dirty="0">
                          <a:solidFill>
                            <a:schemeClr val="tx1">
                              <a:lumMod val="65000"/>
                              <a:lumOff val="35000"/>
                            </a:schemeClr>
                          </a:solidFill>
                          <a:effectLst/>
                          <a:latin typeface="+mn-lt"/>
                          <a:cs typeface="Calibri" panose="020F0502020204030204" pitchFamily="34" charset="0"/>
                        </a:rPr>
                        <a:t>Local Large Commercial </a:t>
                      </a:r>
                      <a:endParaRPr lang="en-US" sz="1800" dirty="0">
                        <a:solidFill>
                          <a:schemeClr val="tx1">
                            <a:lumMod val="65000"/>
                            <a:lumOff val="35000"/>
                          </a:schemeClr>
                        </a:solidFill>
                        <a:effectLst/>
                        <a:latin typeface="+mn-lt"/>
                        <a:ea typeface="Arial" panose="020B0604020202020204" pitchFamily="34" charset="0"/>
                        <a:cs typeface="Calibri" panose="020F0502020204030204" pitchFamily="34" charset="0"/>
                      </a:endParaRPr>
                    </a:p>
                  </a:txBody>
                  <a:tcPr marL="68580" marR="68580" marT="0" marB="0" anchor="ctr">
                    <a:solidFill>
                      <a:srgbClr val="CFDAE5"/>
                    </a:solidFill>
                  </a:tcPr>
                </a:tc>
                <a:tc>
                  <a:txBody>
                    <a:bodyPr/>
                    <a:lstStyle/>
                    <a:p>
                      <a:pPr marL="0" marR="0">
                        <a:spcBef>
                          <a:spcPts val="0"/>
                        </a:spcBef>
                        <a:spcAft>
                          <a:spcPts val="0"/>
                        </a:spcAft>
                      </a:pPr>
                      <a:r>
                        <a:rPr lang="en-US" sz="1800" dirty="0">
                          <a:solidFill>
                            <a:schemeClr val="tx1">
                              <a:lumMod val="65000"/>
                              <a:lumOff val="35000"/>
                            </a:schemeClr>
                          </a:solidFill>
                          <a:effectLst/>
                          <a:latin typeface="+mn-lt"/>
                          <a:cs typeface="Calibri" panose="020F0502020204030204" pitchFamily="34" charset="0"/>
                        </a:rPr>
                        <a:t>Don Arambula Consulting</a:t>
                      </a:r>
                      <a:endParaRPr lang="en-US" sz="1800" dirty="0">
                        <a:solidFill>
                          <a:schemeClr val="tx1">
                            <a:lumMod val="65000"/>
                            <a:lumOff val="35000"/>
                          </a:schemeClr>
                        </a:solidFill>
                        <a:effectLst/>
                        <a:latin typeface="+mn-lt"/>
                        <a:ea typeface="Arial" panose="020B0604020202020204" pitchFamily="34" charset="0"/>
                        <a:cs typeface="Calibri" panose="020F0502020204030204" pitchFamily="34" charset="0"/>
                      </a:endParaRPr>
                    </a:p>
                  </a:txBody>
                  <a:tcPr marL="68580" marR="68580" marT="0" marB="0" anchor="ctr"/>
                </a:tc>
                <a:tc>
                  <a:txBody>
                    <a:bodyPr/>
                    <a:lstStyle/>
                    <a:p>
                      <a:pPr marL="0" marR="0" algn="ctr">
                        <a:spcBef>
                          <a:spcPts val="0"/>
                        </a:spcBef>
                        <a:spcAft>
                          <a:spcPts val="0"/>
                        </a:spcAft>
                      </a:pPr>
                      <a:r>
                        <a:rPr lang="en-US" sz="1800" dirty="0">
                          <a:solidFill>
                            <a:schemeClr val="tx1">
                              <a:lumMod val="65000"/>
                              <a:lumOff val="35000"/>
                            </a:schemeClr>
                          </a:solidFill>
                          <a:effectLst/>
                          <a:latin typeface="+mn-lt"/>
                          <a:ea typeface="Arial" panose="020B0604020202020204" pitchFamily="34" charset="0"/>
                          <a:cs typeface="Calibri" panose="020F0502020204030204" pitchFamily="34" charset="0"/>
                        </a:rPr>
                        <a:t>Contracted</a:t>
                      </a:r>
                    </a:p>
                  </a:txBody>
                  <a:tcPr marL="68580" marR="68580" marT="0" marB="0" anchor="ctr"/>
                </a:tc>
                <a:extLst>
                  <a:ext uri="{0D108BD9-81ED-4DB2-BD59-A6C34878D82A}">
                    <a16:rowId xmlns:a16="http://schemas.microsoft.com/office/drawing/2014/main" val="4106634073"/>
                  </a:ext>
                </a:extLst>
              </a:tr>
              <a:tr h="28020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chemeClr val="tx1">
                              <a:lumMod val="65000"/>
                              <a:lumOff val="35000"/>
                            </a:schemeClr>
                          </a:solidFill>
                          <a:effectLst/>
                          <a:latin typeface="+mn-lt"/>
                          <a:cs typeface="Calibri" panose="020F0502020204030204" pitchFamily="34" charset="0"/>
                        </a:rPr>
                        <a:t>Local Agricultural</a:t>
                      </a:r>
                      <a:endParaRPr lang="en-US" sz="1800" dirty="0">
                        <a:solidFill>
                          <a:schemeClr val="tx1">
                            <a:lumMod val="65000"/>
                            <a:lumOff val="35000"/>
                          </a:schemeClr>
                        </a:solidFill>
                        <a:effectLst/>
                        <a:latin typeface="+mn-lt"/>
                        <a:ea typeface="Arial" panose="020B0604020202020204" pitchFamily="34" charset="0"/>
                        <a:cs typeface="Calibri" panose="020F0502020204030204" pitchFamily="34" charset="0"/>
                      </a:endParaRPr>
                    </a:p>
                  </a:txBody>
                  <a:tcPr marL="68580" marR="68580" marT="0" marB="0" anchor="ctr">
                    <a:solidFill>
                      <a:srgbClr val="CFDAE5"/>
                    </a:solidFill>
                  </a:tcPr>
                </a:tc>
                <a:tc>
                  <a:txBody>
                    <a:bodyPr/>
                    <a:lstStyle/>
                    <a:p>
                      <a:pPr marL="0" marR="0">
                        <a:spcBef>
                          <a:spcPts val="0"/>
                        </a:spcBef>
                        <a:spcAft>
                          <a:spcPts val="0"/>
                        </a:spcAft>
                      </a:pPr>
                      <a:r>
                        <a:rPr lang="en-US" sz="1800" dirty="0">
                          <a:solidFill>
                            <a:schemeClr val="tx1">
                              <a:lumMod val="65000"/>
                              <a:lumOff val="35000"/>
                            </a:schemeClr>
                          </a:solidFill>
                          <a:effectLst/>
                          <a:latin typeface="+mn-lt"/>
                          <a:ea typeface="Arial" panose="020B0604020202020204" pitchFamily="34" charset="0"/>
                          <a:cs typeface="Calibri" panose="020F0502020204030204" pitchFamily="34" charset="0"/>
                        </a:rPr>
                        <a:t>MCR Corporate Services</a:t>
                      </a:r>
                    </a:p>
                  </a:txBody>
                  <a:tcPr marL="68580" marR="68580" marT="0" marB="0" anchor="ctr"/>
                </a:tc>
                <a:tc>
                  <a:txBody>
                    <a:bodyPr/>
                    <a:lstStyle/>
                    <a:p>
                      <a:pPr marL="0" marR="0" algn="ctr">
                        <a:spcBef>
                          <a:spcPts val="0"/>
                        </a:spcBef>
                        <a:spcAft>
                          <a:spcPts val="0"/>
                        </a:spcAft>
                      </a:pPr>
                      <a:r>
                        <a:rPr lang="en-US" sz="1800" dirty="0">
                          <a:solidFill>
                            <a:schemeClr val="tx1">
                              <a:lumMod val="65000"/>
                              <a:lumOff val="35000"/>
                            </a:schemeClr>
                          </a:solidFill>
                          <a:effectLst/>
                          <a:latin typeface="+mn-lt"/>
                          <a:ea typeface="Arial" panose="020B0604020202020204" pitchFamily="34" charset="0"/>
                          <a:cs typeface="Calibri" panose="020F0502020204030204" pitchFamily="34" charset="0"/>
                        </a:rPr>
                        <a:t>Contracted</a:t>
                      </a:r>
                    </a:p>
                  </a:txBody>
                  <a:tcPr marL="68580" marR="68580" marT="0" marB="0" anchor="ctr"/>
                </a:tc>
                <a:extLst>
                  <a:ext uri="{0D108BD9-81ED-4DB2-BD59-A6C34878D82A}">
                    <a16:rowId xmlns:a16="http://schemas.microsoft.com/office/drawing/2014/main" val="3872519696"/>
                  </a:ext>
                </a:extLst>
              </a:tr>
              <a:tr h="28020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chemeClr val="tx1">
                              <a:lumMod val="65000"/>
                              <a:lumOff val="35000"/>
                            </a:schemeClr>
                          </a:solidFill>
                          <a:effectLst/>
                          <a:latin typeface="+mn-lt"/>
                          <a:ea typeface="Arial" panose="020B0604020202020204" pitchFamily="34" charset="0"/>
                          <a:cs typeface="Calibri" panose="020F0502020204030204" pitchFamily="34" charset="0"/>
                        </a:rPr>
                        <a:t>Local Behavioral</a:t>
                      </a:r>
                    </a:p>
                  </a:txBody>
                  <a:tcPr marL="68580" marR="68580" marT="0" marB="0" anchor="ctr">
                    <a:solidFill>
                      <a:srgbClr val="CFDAE5"/>
                    </a:solidFill>
                  </a:tcPr>
                </a:tc>
                <a:tc>
                  <a:txBody>
                    <a:bodyPr/>
                    <a:lstStyle/>
                    <a:p>
                      <a:pPr marL="0" marR="0">
                        <a:spcBef>
                          <a:spcPts val="0"/>
                        </a:spcBef>
                        <a:spcAft>
                          <a:spcPts val="0"/>
                        </a:spcAft>
                      </a:pPr>
                      <a:r>
                        <a:rPr lang="en-US" sz="1800" dirty="0">
                          <a:solidFill>
                            <a:schemeClr val="tx1">
                              <a:lumMod val="65000"/>
                              <a:lumOff val="35000"/>
                            </a:schemeClr>
                          </a:solidFill>
                          <a:effectLst/>
                          <a:latin typeface="+mn-lt"/>
                          <a:ea typeface="Arial" panose="020B0604020202020204" pitchFamily="34" charset="0"/>
                          <a:cs typeface="Calibri" panose="020F0502020204030204" pitchFamily="34" charset="0"/>
                        </a:rPr>
                        <a:t>Apex Analytics</a:t>
                      </a:r>
                    </a:p>
                  </a:txBody>
                  <a:tcPr marL="68580" marR="68580" marT="0" marB="0" anchor="ctr"/>
                </a:tc>
                <a:tc>
                  <a:txBody>
                    <a:bodyPr/>
                    <a:lstStyle/>
                    <a:p>
                      <a:pPr marL="0" marR="0" algn="ctr">
                        <a:spcBef>
                          <a:spcPts val="0"/>
                        </a:spcBef>
                        <a:spcAft>
                          <a:spcPts val="0"/>
                        </a:spcAft>
                      </a:pPr>
                      <a:r>
                        <a:rPr lang="en-US" sz="1800" dirty="0">
                          <a:solidFill>
                            <a:schemeClr val="tx1">
                              <a:lumMod val="65000"/>
                              <a:lumOff val="35000"/>
                            </a:schemeClr>
                          </a:solidFill>
                          <a:effectLst/>
                          <a:latin typeface="+mn-lt"/>
                          <a:ea typeface="Arial" panose="020B0604020202020204" pitchFamily="34" charset="0"/>
                          <a:cs typeface="Calibri" panose="020F0502020204030204" pitchFamily="34" charset="0"/>
                        </a:rPr>
                        <a:t>Contracting</a:t>
                      </a:r>
                    </a:p>
                  </a:txBody>
                  <a:tcPr marL="68580" marR="68580" marT="0" marB="0" anchor="ctr"/>
                </a:tc>
                <a:extLst>
                  <a:ext uri="{0D108BD9-81ED-4DB2-BD59-A6C34878D82A}">
                    <a16:rowId xmlns:a16="http://schemas.microsoft.com/office/drawing/2014/main" val="518542911"/>
                  </a:ext>
                </a:extLst>
              </a:tr>
              <a:tr h="28020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chemeClr val="tx1">
                              <a:lumMod val="65000"/>
                              <a:lumOff val="35000"/>
                            </a:schemeClr>
                          </a:solidFill>
                          <a:effectLst/>
                          <a:latin typeface="+mn-lt"/>
                          <a:ea typeface="Arial" panose="020B0604020202020204" pitchFamily="34" charset="0"/>
                          <a:cs typeface="Calibri" panose="020F0502020204030204" pitchFamily="34" charset="0"/>
                        </a:rPr>
                        <a:t>Local Industrial</a:t>
                      </a:r>
                    </a:p>
                  </a:txBody>
                  <a:tcPr marL="68580" marR="68580" marT="0" marB="0" anchor="ctr">
                    <a:solidFill>
                      <a:srgbClr val="CFDAE5"/>
                    </a:solidFill>
                  </a:tcPr>
                </a:tc>
                <a:tc>
                  <a:txBody>
                    <a:bodyPr/>
                    <a:lstStyle/>
                    <a:p>
                      <a:pPr marL="0" marR="0">
                        <a:spcBef>
                          <a:spcPts val="0"/>
                        </a:spcBef>
                        <a:spcAft>
                          <a:spcPts val="0"/>
                        </a:spcAft>
                      </a:pPr>
                      <a:r>
                        <a:rPr lang="en-US" sz="1800" dirty="0">
                          <a:solidFill>
                            <a:schemeClr val="tx1">
                              <a:lumMod val="65000"/>
                              <a:lumOff val="35000"/>
                            </a:schemeClr>
                          </a:solidFill>
                          <a:effectLst/>
                          <a:latin typeface="+mn-lt"/>
                          <a:ea typeface="Arial" panose="020B0604020202020204" pitchFamily="34" charset="0"/>
                          <a:cs typeface="Calibri" panose="020F0502020204030204" pitchFamily="34" charset="0"/>
                        </a:rPr>
                        <a:t>Don Arambula Consulting</a:t>
                      </a:r>
                    </a:p>
                  </a:txBody>
                  <a:tcPr marL="68580" marR="68580" marT="0" marB="0" anchor="ctr"/>
                </a:tc>
                <a:tc>
                  <a:txBody>
                    <a:bodyPr/>
                    <a:lstStyle/>
                    <a:p>
                      <a:pPr marL="0" marR="0" algn="ctr">
                        <a:spcBef>
                          <a:spcPts val="0"/>
                        </a:spcBef>
                        <a:spcAft>
                          <a:spcPts val="0"/>
                        </a:spcAft>
                      </a:pPr>
                      <a:r>
                        <a:rPr lang="en-US" sz="1800" dirty="0">
                          <a:solidFill>
                            <a:schemeClr val="tx1">
                              <a:lumMod val="65000"/>
                              <a:lumOff val="35000"/>
                            </a:schemeClr>
                          </a:solidFill>
                          <a:effectLst/>
                          <a:latin typeface="+mn-lt"/>
                          <a:ea typeface="Arial" panose="020B0604020202020204" pitchFamily="34" charset="0"/>
                          <a:cs typeface="Calibri" panose="020F0502020204030204" pitchFamily="34" charset="0"/>
                        </a:rPr>
                        <a:t>RFA</a:t>
                      </a:r>
                    </a:p>
                  </a:txBody>
                  <a:tcPr marL="68580" marR="68580" marT="0" marB="0" anchor="ctr"/>
                </a:tc>
                <a:extLst>
                  <a:ext uri="{0D108BD9-81ED-4DB2-BD59-A6C34878D82A}">
                    <a16:rowId xmlns:a16="http://schemas.microsoft.com/office/drawing/2014/main" val="1220497228"/>
                  </a:ext>
                </a:extLst>
              </a:tr>
            </a:tbl>
          </a:graphicData>
        </a:graphic>
      </p:graphicFrame>
    </p:spTree>
    <p:extLst>
      <p:ext uri="{BB962C8B-B14F-4D97-AF65-F5344CB8AC3E}">
        <p14:creationId xmlns:p14="http://schemas.microsoft.com/office/powerpoint/2010/main" val="16445341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CFAEE-6D5A-4E5A-984D-76329D6A1854}"/>
              </a:ext>
            </a:extLst>
          </p:cNvPr>
          <p:cNvSpPr>
            <a:spLocks noGrp="1"/>
          </p:cNvSpPr>
          <p:nvPr>
            <p:ph type="title"/>
          </p:nvPr>
        </p:nvSpPr>
        <p:spPr>
          <a:xfrm>
            <a:off x="1158239" y="403541"/>
            <a:ext cx="10671483" cy="1356360"/>
          </a:xfrm>
        </p:spPr>
        <p:txBody>
          <a:bodyPr>
            <a:normAutofit/>
          </a:bodyPr>
          <a:lstStyle/>
          <a:p>
            <a:r>
              <a:rPr lang="en-US" sz="4000" dirty="0"/>
              <a:t>SoCalGas – IE Observations</a:t>
            </a:r>
          </a:p>
        </p:txBody>
      </p:sp>
      <p:sp>
        <p:nvSpPr>
          <p:cNvPr id="4" name="Footer Placeholder 3">
            <a:extLst>
              <a:ext uri="{FF2B5EF4-FFF2-40B4-BE49-F238E27FC236}">
                <a16:creationId xmlns:a16="http://schemas.microsoft.com/office/drawing/2014/main" id="{184CFF9D-B864-4AAF-B33A-E020B9C84BDA}"/>
              </a:ext>
            </a:extLst>
          </p:cNvPr>
          <p:cNvSpPr>
            <a:spLocks noGrp="1"/>
          </p:cNvSpPr>
          <p:nvPr>
            <p:ph type="ftr" sz="quarter" idx="11"/>
          </p:nvPr>
        </p:nvSpPr>
        <p:spPr>
          <a:xfrm>
            <a:off x="3848564" y="6271961"/>
            <a:ext cx="4717774" cy="365125"/>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rPr>
              <a:t>IE Semi-Annual Report: July 28, 2021 Stakeholder Meeting</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5" name="Slide Number Placeholder 4">
            <a:extLst>
              <a:ext uri="{FF2B5EF4-FFF2-40B4-BE49-F238E27FC236}">
                <a16:creationId xmlns:a16="http://schemas.microsoft.com/office/drawing/2014/main" id="{B6FAA57D-BF74-4A68-A4E3-F12CAC39530B}"/>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AB73BC-B049-4115-A692-8D63A059BFB8}" type="slidenum">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15" name="Title 1">
            <a:extLst>
              <a:ext uri="{FF2B5EF4-FFF2-40B4-BE49-F238E27FC236}">
                <a16:creationId xmlns:a16="http://schemas.microsoft.com/office/drawing/2014/main" id="{7E6E937B-3B2C-4A61-91E2-088A5846FB89}"/>
              </a:ext>
            </a:extLst>
          </p:cNvPr>
          <p:cNvSpPr txBox="1">
            <a:spLocks/>
          </p:cNvSpPr>
          <p:nvPr/>
        </p:nvSpPr>
        <p:spPr>
          <a:xfrm>
            <a:off x="1158239" y="403541"/>
            <a:ext cx="10310949" cy="135636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0" normalizeH="0" baseline="0" noProof="0" dirty="0">
              <a:ln>
                <a:noFill/>
              </a:ln>
              <a:solidFill>
                <a:srgbClr val="565349"/>
              </a:solidFill>
              <a:effectLst/>
              <a:uLnTx/>
              <a:uFillTx/>
              <a:latin typeface="Corbel" panose="020B0503020204020204"/>
              <a:ea typeface="+mj-ea"/>
              <a:cs typeface="+mj-cs"/>
            </a:endParaRPr>
          </a:p>
        </p:txBody>
      </p:sp>
      <p:sp>
        <p:nvSpPr>
          <p:cNvPr id="18" name="Freeform 37">
            <a:extLst>
              <a:ext uri="{FF2B5EF4-FFF2-40B4-BE49-F238E27FC236}">
                <a16:creationId xmlns:a16="http://schemas.microsoft.com/office/drawing/2014/main" id="{9D45FEE3-5B7D-4824-93C4-3C4C045DE7ED}"/>
              </a:ext>
            </a:extLst>
          </p:cNvPr>
          <p:cNvSpPr/>
          <p:nvPr/>
        </p:nvSpPr>
        <p:spPr>
          <a:xfrm>
            <a:off x="397130" y="2338574"/>
            <a:ext cx="8229600" cy="1380744"/>
          </a:xfrm>
          <a:custGeom>
            <a:avLst/>
            <a:gdLst>
              <a:gd name="connsiteX0" fmla="*/ 3770835 w 8740200"/>
              <a:gd name="connsiteY0" fmla="*/ 0 h 1487756"/>
              <a:gd name="connsiteX1" fmla="*/ 3770835 w 8740200"/>
              <a:gd name="connsiteY1" fmla="*/ 13302 h 1487756"/>
              <a:gd name="connsiteX2" fmla="*/ 3822471 w 8740200"/>
              <a:gd name="connsiteY2" fmla="*/ 7877 h 1487756"/>
              <a:gd name="connsiteX3" fmla="*/ 7223515 w 8740200"/>
              <a:gd name="connsiteY3" fmla="*/ 7877 h 1487756"/>
              <a:gd name="connsiteX4" fmla="*/ 7804931 w 8740200"/>
              <a:gd name="connsiteY4" fmla="*/ 30 h 1487756"/>
              <a:gd name="connsiteX5" fmla="*/ 8249001 w 8740200"/>
              <a:gd name="connsiteY5" fmla="*/ 12362 h 1487756"/>
              <a:gd name="connsiteX6" fmla="*/ 8740200 w 8740200"/>
              <a:gd name="connsiteY6" fmla="*/ 402512 h 1487756"/>
              <a:gd name="connsiteX7" fmla="*/ 8740200 w 8740200"/>
              <a:gd name="connsiteY7" fmla="*/ 1487756 h 1487756"/>
              <a:gd name="connsiteX8" fmla="*/ 8068033 w 8740200"/>
              <a:gd name="connsiteY8" fmla="*/ 1070699 h 1487756"/>
              <a:gd name="connsiteX9" fmla="*/ 7474669 w 8740200"/>
              <a:gd name="connsiteY9" fmla="*/ 1064972 h 1487756"/>
              <a:gd name="connsiteX10" fmla="*/ 7254131 w 8740200"/>
              <a:gd name="connsiteY10" fmla="*/ 1063602 h 1487756"/>
              <a:gd name="connsiteX11" fmla="*/ 7229253 w 8740200"/>
              <a:gd name="connsiteY11" fmla="*/ 1066215 h 1487756"/>
              <a:gd name="connsiteX12" fmla="*/ 6370428 w 8740200"/>
              <a:gd name="connsiteY12" fmla="*/ 1066215 h 1487756"/>
              <a:gd name="connsiteX13" fmla="*/ 6357821 w 8740200"/>
              <a:gd name="connsiteY13" fmla="*/ 1066362 h 1487756"/>
              <a:gd name="connsiteX14" fmla="*/ 6086001 w 8740200"/>
              <a:gd name="connsiteY14" fmla="*/ 1070699 h 1487756"/>
              <a:gd name="connsiteX15" fmla="*/ 6092773 w 8740200"/>
              <a:gd name="connsiteY15" fmla="*/ 1066215 h 1487756"/>
              <a:gd name="connsiteX16" fmla="*/ 3822471 w 8740200"/>
              <a:gd name="connsiteY16" fmla="*/ 1066215 h 1487756"/>
              <a:gd name="connsiteX17" fmla="*/ 3749162 w 8740200"/>
              <a:gd name="connsiteY17" fmla="*/ 1058513 h 1487756"/>
              <a:gd name="connsiteX18" fmla="*/ 3745746 w 8740200"/>
              <a:gd name="connsiteY18" fmla="*/ 1058872 h 1487756"/>
              <a:gd name="connsiteX19" fmla="*/ 2886922 w 8740200"/>
              <a:gd name="connsiteY19" fmla="*/ 1058872 h 1487756"/>
              <a:gd name="connsiteX20" fmla="*/ 2874314 w 8740200"/>
              <a:gd name="connsiteY20" fmla="*/ 1059019 h 1487756"/>
              <a:gd name="connsiteX21" fmla="*/ 2602495 w 8740200"/>
              <a:gd name="connsiteY21" fmla="*/ 1063356 h 1487756"/>
              <a:gd name="connsiteX22" fmla="*/ 2609266 w 8740200"/>
              <a:gd name="connsiteY22" fmla="*/ 1058872 h 1487756"/>
              <a:gd name="connsiteX23" fmla="*/ 338964 w 8740200"/>
              <a:gd name="connsiteY23" fmla="*/ 1058872 h 1487756"/>
              <a:gd name="connsiteX24" fmla="*/ 0 w 8740200"/>
              <a:gd name="connsiteY24" fmla="*/ 882479 h 1487756"/>
              <a:gd name="connsiteX25" fmla="*/ 0 w 8740200"/>
              <a:gd name="connsiteY25" fmla="*/ 176927 h 1487756"/>
              <a:gd name="connsiteX26" fmla="*/ 338964 w 8740200"/>
              <a:gd name="connsiteY26" fmla="*/ 534 h 1487756"/>
              <a:gd name="connsiteX27" fmla="*/ 3740008 w 8740200"/>
              <a:gd name="connsiteY27" fmla="*/ 534 h 1487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0200" h="1487756">
                <a:moveTo>
                  <a:pt x="3770835" y="0"/>
                </a:moveTo>
                <a:lnTo>
                  <a:pt x="3770835" y="13302"/>
                </a:lnTo>
                <a:lnTo>
                  <a:pt x="3822471" y="7877"/>
                </a:lnTo>
                <a:lnTo>
                  <a:pt x="7223515" y="7877"/>
                </a:lnTo>
                <a:cubicBezTo>
                  <a:pt x="7424951" y="4140"/>
                  <a:pt x="7626386" y="403"/>
                  <a:pt x="7804931" y="30"/>
                </a:cubicBezTo>
                <a:cubicBezTo>
                  <a:pt x="7983475" y="-345"/>
                  <a:pt x="8139128" y="2646"/>
                  <a:pt x="8249001" y="12362"/>
                </a:cubicBezTo>
                <a:cubicBezTo>
                  <a:pt x="8501781" y="78135"/>
                  <a:pt x="8658335" y="156612"/>
                  <a:pt x="8740200" y="402512"/>
                </a:cubicBezTo>
                <a:lnTo>
                  <a:pt x="8740200" y="1487756"/>
                </a:lnTo>
                <a:cubicBezTo>
                  <a:pt x="8531224" y="1148431"/>
                  <a:pt x="8484545" y="1093120"/>
                  <a:pt x="8068033" y="1070699"/>
                </a:cubicBezTo>
                <a:cubicBezTo>
                  <a:pt x="7834643" y="1068458"/>
                  <a:pt x="7643038" y="1066472"/>
                  <a:pt x="7474669" y="1064972"/>
                </a:cubicBezTo>
                <a:lnTo>
                  <a:pt x="7254131" y="1063602"/>
                </a:lnTo>
                <a:lnTo>
                  <a:pt x="7229253" y="1066215"/>
                </a:lnTo>
                <a:lnTo>
                  <a:pt x="6370428" y="1066215"/>
                </a:lnTo>
                <a:lnTo>
                  <a:pt x="6357821" y="1066362"/>
                </a:lnTo>
                <a:cubicBezTo>
                  <a:pt x="6273768" y="1067534"/>
                  <a:pt x="6183937" y="1068971"/>
                  <a:pt x="6086001" y="1070699"/>
                </a:cubicBezTo>
                <a:lnTo>
                  <a:pt x="6092773" y="1066215"/>
                </a:lnTo>
                <a:lnTo>
                  <a:pt x="3822471" y="1066215"/>
                </a:lnTo>
                <a:lnTo>
                  <a:pt x="3749162" y="1058513"/>
                </a:lnTo>
                <a:lnTo>
                  <a:pt x="3745746" y="1058872"/>
                </a:lnTo>
                <a:lnTo>
                  <a:pt x="2886922" y="1058872"/>
                </a:lnTo>
                <a:lnTo>
                  <a:pt x="2874314" y="1059019"/>
                </a:lnTo>
                <a:cubicBezTo>
                  <a:pt x="2790261" y="1060191"/>
                  <a:pt x="2700431" y="1061627"/>
                  <a:pt x="2602495" y="1063356"/>
                </a:cubicBezTo>
                <a:lnTo>
                  <a:pt x="2609266" y="1058872"/>
                </a:lnTo>
                <a:lnTo>
                  <a:pt x="338964" y="1058872"/>
                </a:lnTo>
                <a:cubicBezTo>
                  <a:pt x="151758" y="1058872"/>
                  <a:pt x="0" y="979898"/>
                  <a:pt x="0" y="882479"/>
                </a:cubicBezTo>
                <a:lnTo>
                  <a:pt x="0" y="176927"/>
                </a:lnTo>
                <a:cubicBezTo>
                  <a:pt x="0" y="79507"/>
                  <a:pt x="151758" y="534"/>
                  <a:pt x="338964" y="534"/>
                </a:cubicBezTo>
                <a:lnTo>
                  <a:pt x="3740008" y="534"/>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1440" rIns="91440" bIns="457200" rtlCol="0" anchor="ctr"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Corbel" panose="020B0503020204020204"/>
                <a:ea typeface="+mn-ea"/>
                <a:cs typeface="+mn-cs"/>
              </a:rPr>
              <a:t>Although SoCalGas has improved the scoring and scoring guidance process, additional improvements could be made to align scorers on the scoring criteria.  SoCalGas has made further refinements to the scoring guidance provided to the evaluators.</a:t>
            </a:r>
          </a:p>
        </p:txBody>
      </p:sp>
      <p:sp>
        <p:nvSpPr>
          <p:cNvPr id="19" name="Freeform 13">
            <a:extLst>
              <a:ext uri="{FF2B5EF4-FFF2-40B4-BE49-F238E27FC236}">
                <a16:creationId xmlns:a16="http://schemas.microsoft.com/office/drawing/2014/main" id="{937FC480-2790-460E-BCD3-2F9C1C896E4D}"/>
              </a:ext>
            </a:extLst>
          </p:cNvPr>
          <p:cNvSpPr/>
          <p:nvPr/>
        </p:nvSpPr>
        <p:spPr>
          <a:xfrm>
            <a:off x="8626730" y="2460661"/>
            <a:ext cx="3264408" cy="1299625"/>
          </a:xfrm>
          <a:custGeom>
            <a:avLst/>
            <a:gdLst>
              <a:gd name="connsiteX0" fmla="*/ 263525 w 958848"/>
              <a:gd name="connsiteY0" fmla="*/ 0 h 1051808"/>
              <a:gd name="connsiteX1" fmla="*/ 263525 w 958848"/>
              <a:gd name="connsiteY1" fmla="*/ 4058 h 1051808"/>
              <a:gd name="connsiteX2" fmla="*/ 833962 w 958848"/>
              <a:gd name="connsiteY2" fmla="*/ 4058 h 1051808"/>
              <a:gd name="connsiteX3" fmla="*/ 958848 w 958848"/>
              <a:gd name="connsiteY3" fmla="*/ 128944 h 1051808"/>
              <a:gd name="connsiteX4" fmla="*/ 958848 w 958848"/>
              <a:gd name="connsiteY4" fmla="*/ 628472 h 1051808"/>
              <a:gd name="connsiteX5" fmla="*/ 833962 w 958848"/>
              <a:gd name="connsiteY5" fmla="*/ 753358 h 1051808"/>
              <a:gd name="connsiteX6" fmla="*/ 263525 w 958848"/>
              <a:gd name="connsiteY6" fmla="*/ 753358 h 1051808"/>
              <a:gd name="connsiteX7" fmla="*/ 263525 w 958848"/>
              <a:gd name="connsiteY7" fmla="*/ 756235 h 1051808"/>
              <a:gd name="connsiteX8" fmla="*/ 247650 w 958848"/>
              <a:gd name="connsiteY8" fmla="*/ 756533 h 1051808"/>
              <a:gd name="connsiteX9" fmla="*/ 0 w 958848"/>
              <a:gd name="connsiteY9" fmla="*/ 1051808 h 1051808"/>
              <a:gd name="connsiteX10" fmla="*/ 0 w 958848"/>
              <a:gd name="connsiteY10" fmla="*/ 283458 h 1051808"/>
              <a:gd name="connsiteX11" fmla="*/ 117649 w 958848"/>
              <a:gd name="connsiteY11" fmla="*/ 45556 h 1051808"/>
              <a:gd name="connsiteX12" fmla="*/ 153826 w 958848"/>
              <a:gd name="connsiteY12" fmla="*/ 23663 h 1051808"/>
              <a:gd name="connsiteX13" fmla="*/ 168348 w 958848"/>
              <a:gd name="connsiteY13" fmla="*/ 13872 h 1051808"/>
              <a:gd name="connsiteX14" fmla="*/ 170834 w 958848"/>
              <a:gd name="connsiteY14" fmla="*/ 13370 h 1051808"/>
              <a:gd name="connsiteX15" fmla="*/ 180975 w 958848"/>
              <a:gd name="connsiteY15" fmla="*/ 7233 h 1051808"/>
              <a:gd name="connsiteX16" fmla="*/ 253293 w 958848"/>
              <a:gd name="connsiteY16" fmla="*/ 189 h 1051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8848" h="1051808">
                <a:moveTo>
                  <a:pt x="263525" y="0"/>
                </a:moveTo>
                <a:lnTo>
                  <a:pt x="263525" y="4058"/>
                </a:lnTo>
                <a:lnTo>
                  <a:pt x="833962" y="4058"/>
                </a:lnTo>
                <a:cubicBezTo>
                  <a:pt x="902935" y="4058"/>
                  <a:pt x="958848" y="59971"/>
                  <a:pt x="958848" y="128944"/>
                </a:cubicBezTo>
                <a:lnTo>
                  <a:pt x="958848" y="628472"/>
                </a:lnTo>
                <a:cubicBezTo>
                  <a:pt x="958848" y="697445"/>
                  <a:pt x="902935" y="753358"/>
                  <a:pt x="833962" y="753358"/>
                </a:cubicBezTo>
                <a:lnTo>
                  <a:pt x="263525" y="753358"/>
                </a:lnTo>
                <a:lnTo>
                  <a:pt x="263525" y="756235"/>
                </a:lnTo>
                <a:lnTo>
                  <a:pt x="247650" y="756533"/>
                </a:lnTo>
                <a:cubicBezTo>
                  <a:pt x="94192" y="772407"/>
                  <a:pt x="76994" y="811567"/>
                  <a:pt x="0" y="1051808"/>
                </a:cubicBezTo>
                <a:lnTo>
                  <a:pt x="0" y="283458"/>
                </a:lnTo>
                <a:cubicBezTo>
                  <a:pt x="22621" y="152886"/>
                  <a:pt x="60722" y="88989"/>
                  <a:pt x="117649" y="45556"/>
                </a:cubicBezTo>
                <a:lnTo>
                  <a:pt x="153826" y="23663"/>
                </a:lnTo>
                <a:lnTo>
                  <a:pt x="168348" y="13872"/>
                </a:lnTo>
                <a:lnTo>
                  <a:pt x="170834" y="13370"/>
                </a:lnTo>
                <a:lnTo>
                  <a:pt x="180975" y="7233"/>
                </a:lnTo>
                <a:cubicBezTo>
                  <a:pt x="201215" y="3794"/>
                  <a:pt x="225673" y="1545"/>
                  <a:pt x="253293" y="189"/>
                </a:cubicBezTo>
                <a:close/>
              </a:path>
            </a:pathLst>
          </a:cu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274320" bIns="9144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white">
                    <a:lumMod val="95000"/>
                  </a:prstClr>
                </a:solidFill>
                <a:effectLst/>
                <a:uLnTx/>
                <a:uFillTx/>
                <a:latin typeface="Corbel" panose="020B0503020204020204"/>
                <a:ea typeface="+mn-ea"/>
                <a:cs typeface="+mn-cs"/>
              </a:rPr>
              <a:t>Alignment of Scoring Guidance</a:t>
            </a:r>
          </a:p>
        </p:txBody>
      </p:sp>
      <p:sp>
        <p:nvSpPr>
          <p:cNvPr id="22" name="Freeform 37">
            <a:extLst>
              <a:ext uri="{FF2B5EF4-FFF2-40B4-BE49-F238E27FC236}">
                <a16:creationId xmlns:a16="http://schemas.microsoft.com/office/drawing/2014/main" id="{D18A4CCB-CE71-4EE6-B7B4-CFC26991277D}"/>
              </a:ext>
            </a:extLst>
          </p:cNvPr>
          <p:cNvSpPr/>
          <p:nvPr/>
        </p:nvSpPr>
        <p:spPr>
          <a:xfrm>
            <a:off x="405309" y="3699495"/>
            <a:ext cx="8229600" cy="1380744"/>
          </a:xfrm>
          <a:custGeom>
            <a:avLst/>
            <a:gdLst>
              <a:gd name="connsiteX0" fmla="*/ 3770835 w 8740200"/>
              <a:gd name="connsiteY0" fmla="*/ 0 h 1487756"/>
              <a:gd name="connsiteX1" fmla="*/ 3770835 w 8740200"/>
              <a:gd name="connsiteY1" fmla="*/ 13302 h 1487756"/>
              <a:gd name="connsiteX2" fmla="*/ 3822471 w 8740200"/>
              <a:gd name="connsiteY2" fmla="*/ 7877 h 1487756"/>
              <a:gd name="connsiteX3" fmla="*/ 7223515 w 8740200"/>
              <a:gd name="connsiteY3" fmla="*/ 7877 h 1487756"/>
              <a:gd name="connsiteX4" fmla="*/ 7804931 w 8740200"/>
              <a:gd name="connsiteY4" fmla="*/ 30 h 1487756"/>
              <a:gd name="connsiteX5" fmla="*/ 8249001 w 8740200"/>
              <a:gd name="connsiteY5" fmla="*/ 12362 h 1487756"/>
              <a:gd name="connsiteX6" fmla="*/ 8740200 w 8740200"/>
              <a:gd name="connsiteY6" fmla="*/ 402512 h 1487756"/>
              <a:gd name="connsiteX7" fmla="*/ 8740200 w 8740200"/>
              <a:gd name="connsiteY7" fmla="*/ 1487756 h 1487756"/>
              <a:gd name="connsiteX8" fmla="*/ 8068033 w 8740200"/>
              <a:gd name="connsiteY8" fmla="*/ 1070699 h 1487756"/>
              <a:gd name="connsiteX9" fmla="*/ 7474669 w 8740200"/>
              <a:gd name="connsiteY9" fmla="*/ 1064972 h 1487756"/>
              <a:gd name="connsiteX10" fmla="*/ 7254131 w 8740200"/>
              <a:gd name="connsiteY10" fmla="*/ 1063602 h 1487756"/>
              <a:gd name="connsiteX11" fmla="*/ 7229253 w 8740200"/>
              <a:gd name="connsiteY11" fmla="*/ 1066215 h 1487756"/>
              <a:gd name="connsiteX12" fmla="*/ 6370428 w 8740200"/>
              <a:gd name="connsiteY12" fmla="*/ 1066215 h 1487756"/>
              <a:gd name="connsiteX13" fmla="*/ 6357821 w 8740200"/>
              <a:gd name="connsiteY13" fmla="*/ 1066362 h 1487756"/>
              <a:gd name="connsiteX14" fmla="*/ 6086001 w 8740200"/>
              <a:gd name="connsiteY14" fmla="*/ 1070699 h 1487756"/>
              <a:gd name="connsiteX15" fmla="*/ 6092773 w 8740200"/>
              <a:gd name="connsiteY15" fmla="*/ 1066215 h 1487756"/>
              <a:gd name="connsiteX16" fmla="*/ 3822471 w 8740200"/>
              <a:gd name="connsiteY16" fmla="*/ 1066215 h 1487756"/>
              <a:gd name="connsiteX17" fmla="*/ 3749162 w 8740200"/>
              <a:gd name="connsiteY17" fmla="*/ 1058513 h 1487756"/>
              <a:gd name="connsiteX18" fmla="*/ 3745746 w 8740200"/>
              <a:gd name="connsiteY18" fmla="*/ 1058872 h 1487756"/>
              <a:gd name="connsiteX19" fmla="*/ 2886922 w 8740200"/>
              <a:gd name="connsiteY19" fmla="*/ 1058872 h 1487756"/>
              <a:gd name="connsiteX20" fmla="*/ 2874314 w 8740200"/>
              <a:gd name="connsiteY20" fmla="*/ 1059019 h 1487756"/>
              <a:gd name="connsiteX21" fmla="*/ 2602495 w 8740200"/>
              <a:gd name="connsiteY21" fmla="*/ 1063356 h 1487756"/>
              <a:gd name="connsiteX22" fmla="*/ 2609266 w 8740200"/>
              <a:gd name="connsiteY22" fmla="*/ 1058872 h 1487756"/>
              <a:gd name="connsiteX23" fmla="*/ 338964 w 8740200"/>
              <a:gd name="connsiteY23" fmla="*/ 1058872 h 1487756"/>
              <a:gd name="connsiteX24" fmla="*/ 0 w 8740200"/>
              <a:gd name="connsiteY24" fmla="*/ 882479 h 1487756"/>
              <a:gd name="connsiteX25" fmla="*/ 0 w 8740200"/>
              <a:gd name="connsiteY25" fmla="*/ 176927 h 1487756"/>
              <a:gd name="connsiteX26" fmla="*/ 338964 w 8740200"/>
              <a:gd name="connsiteY26" fmla="*/ 534 h 1487756"/>
              <a:gd name="connsiteX27" fmla="*/ 3740008 w 8740200"/>
              <a:gd name="connsiteY27" fmla="*/ 534 h 1487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0200" h="1487756">
                <a:moveTo>
                  <a:pt x="3770835" y="0"/>
                </a:moveTo>
                <a:lnTo>
                  <a:pt x="3770835" y="13302"/>
                </a:lnTo>
                <a:lnTo>
                  <a:pt x="3822471" y="7877"/>
                </a:lnTo>
                <a:lnTo>
                  <a:pt x="7223515" y="7877"/>
                </a:lnTo>
                <a:cubicBezTo>
                  <a:pt x="7424951" y="4140"/>
                  <a:pt x="7626386" y="403"/>
                  <a:pt x="7804931" y="30"/>
                </a:cubicBezTo>
                <a:cubicBezTo>
                  <a:pt x="7983475" y="-345"/>
                  <a:pt x="8139128" y="2646"/>
                  <a:pt x="8249001" y="12362"/>
                </a:cubicBezTo>
                <a:cubicBezTo>
                  <a:pt x="8501781" y="78135"/>
                  <a:pt x="8658335" y="156612"/>
                  <a:pt x="8740200" y="402512"/>
                </a:cubicBezTo>
                <a:lnTo>
                  <a:pt x="8740200" y="1487756"/>
                </a:lnTo>
                <a:cubicBezTo>
                  <a:pt x="8531224" y="1148431"/>
                  <a:pt x="8484545" y="1093120"/>
                  <a:pt x="8068033" y="1070699"/>
                </a:cubicBezTo>
                <a:cubicBezTo>
                  <a:pt x="7834643" y="1068458"/>
                  <a:pt x="7643038" y="1066472"/>
                  <a:pt x="7474669" y="1064972"/>
                </a:cubicBezTo>
                <a:lnTo>
                  <a:pt x="7254131" y="1063602"/>
                </a:lnTo>
                <a:lnTo>
                  <a:pt x="7229253" y="1066215"/>
                </a:lnTo>
                <a:lnTo>
                  <a:pt x="6370428" y="1066215"/>
                </a:lnTo>
                <a:lnTo>
                  <a:pt x="6357821" y="1066362"/>
                </a:lnTo>
                <a:cubicBezTo>
                  <a:pt x="6273768" y="1067534"/>
                  <a:pt x="6183937" y="1068971"/>
                  <a:pt x="6086001" y="1070699"/>
                </a:cubicBezTo>
                <a:lnTo>
                  <a:pt x="6092773" y="1066215"/>
                </a:lnTo>
                <a:lnTo>
                  <a:pt x="3822471" y="1066215"/>
                </a:lnTo>
                <a:lnTo>
                  <a:pt x="3749162" y="1058513"/>
                </a:lnTo>
                <a:lnTo>
                  <a:pt x="3745746" y="1058872"/>
                </a:lnTo>
                <a:lnTo>
                  <a:pt x="2886922" y="1058872"/>
                </a:lnTo>
                <a:lnTo>
                  <a:pt x="2874314" y="1059019"/>
                </a:lnTo>
                <a:cubicBezTo>
                  <a:pt x="2790261" y="1060191"/>
                  <a:pt x="2700431" y="1061627"/>
                  <a:pt x="2602495" y="1063356"/>
                </a:cubicBezTo>
                <a:lnTo>
                  <a:pt x="2609266" y="1058872"/>
                </a:lnTo>
                <a:lnTo>
                  <a:pt x="338964" y="1058872"/>
                </a:lnTo>
                <a:cubicBezTo>
                  <a:pt x="151758" y="1058872"/>
                  <a:pt x="0" y="979898"/>
                  <a:pt x="0" y="882479"/>
                </a:cubicBezTo>
                <a:lnTo>
                  <a:pt x="0" y="176927"/>
                </a:lnTo>
                <a:cubicBezTo>
                  <a:pt x="0" y="79507"/>
                  <a:pt x="151758" y="534"/>
                  <a:pt x="338964" y="534"/>
                </a:cubicBezTo>
                <a:lnTo>
                  <a:pt x="3740008" y="534"/>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1440" rIns="91440" bIns="457200" rtlCol="0" anchor="ctr" anchorCtr="0">
            <a:noAutofit/>
          </a:bodyPr>
          <a:lstStyle/>
          <a:p>
            <a:pPr marL="0" marR="0" lvl="1" indent="0" algn="l" defTabSz="4572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Corbel" panose="020B0503020204020204"/>
                <a:ea typeface="+mn-ea"/>
                <a:cs typeface="+mn-cs"/>
              </a:rPr>
              <a:t>The RFP contains questions with many subcomponents, which can be difficult for bidders to respond to and for scorers to track and score.  SoCalGas has adopted the recommendation.</a:t>
            </a:r>
          </a:p>
        </p:txBody>
      </p:sp>
      <p:sp>
        <p:nvSpPr>
          <p:cNvPr id="23" name="Freeform 13">
            <a:extLst>
              <a:ext uri="{FF2B5EF4-FFF2-40B4-BE49-F238E27FC236}">
                <a16:creationId xmlns:a16="http://schemas.microsoft.com/office/drawing/2014/main" id="{B6014F39-5AAF-4A21-AAE5-6C33E9E075F0}"/>
              </a:ext>
            </a:extLst>
          </p:cNvPr>
          <p:cNvSpPr/>
          <p:nvPr/>
        </p:nvSpPr>
        <p:spPr>
          <a:xfrm>
            <a:off x="8626730" y="3824579"/>
            <a:ext cx="3264408" cy="1197864"/>
          </a:xfrm>
          <a:custGeom>
            <a:avLst/>
            <a:gdLst>
              <a:gd name="connsiteX0" fmla="*/ 263525 w 958848"/>
              <a:gd name="connsiteY0" fmla="*/ 0 h 1051808"/>
              <a:gd name="connsiteX1" fmla="*/ 263525 w 958848"/>
              <a:gd name="connsiteY1" fmla="*/ 4058 h 1051808"/>
              <a:gd name="connsiteX2" fmla="*/ 833962 w 958848"/>
              <a:gd name="connsiteY2" fmla="*/ 4058 h 1051808"/>
              <a:gd name="connsiteX3" fmla="*/ 958848 w 958848"/>
              <a:gd name="connsiteY3" fmla="*/ 128944 h 1051808"/>
              <a:gd name="connsiteX4" fmla="*/ 958848 w 958848"/>
              <a:gd name="connsiteY4" fmla="*/ 628472 h 1051808"/>
              <a:gd name="connsiteX5" fmla="*/ 833962 w 958848"/>
              <a:gd name="connsiteY5" fmla="*/ 753358 h 1051808"/>
              <a:gd name="connsiteX6" fmla="*/ 263525 w 958848"/>
              <a:gd name="connsiteY6" fmla="*/ 753358 h 1051808"/>
              <a:gd name="connsiteX7" fmla="*/ 263525 w 958848"/>
              <a:gd name="connsiteY7" fmla="*/ 756235 h 1051808"/>
              <a:gd name="connsiteX8" fmla="*/ 247650 w 958848"/>
              <a:gd name="connsiteY8" fmla="*/ 756533 h 1051808"/>
              <a:gd name="connsiteX9" fmla="*/ 0 w 958848"/>
              <a:gd name="connsiteY9" fmla="*/ 1051808 h 1051808"/>
              <a:gd name="connsiteX10" fmla="*/ 0 w 958848"/>
              <a:gd name="connsiteY10" fmla="*/ 283458 h 1051808"/>
              <a:gd name="connsiteX11" fmla="*/ 117649 w 958848"/>
              <a:gd name="connsiteY11" fmla="*/ 45556 h 1051808"/>
              <a:gd name="connsiteX12" fmla="*/ 153826 w 958848"/>
              <a:gd name="connsiteY12" fmla="*/ 23663 h 1051808"/>
              <a:gd name="connsiteX13" fmla="*/ 168348 w 958848"/>
              <a:gd name="connsiteY13" fmla="*/ 13872 h 1051808"/>
              <a:gd name="connsiteX14" fmla="*/ 170834 w 958848"/>
              <a:gd name="connsiteY14" fmla="*/ 13370 h 1051808"/>
              <a:gd name="connsiteX15" fmla="*/ 180975 w 958848"/>
              <a:gd name="connsiteY15" fmla="*/ 7233 h 1051808"/>
              <a:gd name="connsiteX16" fmla="*/ 253293 w 958848"/>
              <a:gd name="connsiteY16" fmla="*/ 189 h 1051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8848" h="1051808">
                <a:moveTo>
                  <a:pt x="263525" y="0"/>
                </a:moveTo>
                <a:lnTo>
                  <a:pt x="263525" y="4058"/>
                </a:lnTo>
                <a:lnTo>
                  <a:pt x="833962" y="4058"/>
                </a:lnTo>
                <a:cubicBezTo>
                  <a:pt x="902935" y="4058"/>
                  <a:pt x="958848" y="59971"/>
                  <a:pt x="958848" y="128944"/>
                </a:cubicBezTo>
                <a:lnTo>
                  <a:pt x="958848" y="628472"/>
                </a:lnTo>
                <a:cubicBezTo>
                  <a:pt x="958848" y="697445"/>
                  <a:pt x="902935" y="753358"/>
                  <a:pt x="833962" y="753358"/>
                </a:cubicBezTo>
                <a:lnTo>
                  <a:pt x="263525" y="753358"/>
                </a:lnTo>
                <a:lnTo>
                  <a:pt x="263525" y="756235"/>
                </a:lnTo>
                <a:lnTo>
                  <a:pt x="247650" y="756533"/>
                </a:lnTo>
                <a:cubicBezTo>
                  <a:pt x="94192" y="772407"/>
                  <a:pt x="76994" y="811567"/>
                  <a:pt x="0" y="1051808"/>
                </a:cubicBezTo>
                <a:lnTo>
                  <a:pt x="0" y="283458"/>
                </a:lnTo>
                <a:cubicBezTo>
                  <a:pt x="22621" y="152886"/>
                  <a:pt x="60722" y="88989"/>
                  <a:pt x="117649" y="45556"/>
                </a:cubicBezTo>
                <a:lnTo>
                  <a:pt x="153826" y="23663"/>
                </a:lnTo>
                <a:lnTo>
                  <a:pt x="168348" y="13872"/>
                </a:lnTo>
                <a:lnTo>
                  <a:pt x="170834" y="13370"/>
                </a:lnTo>
                <a:lnTo>
                  <a:pt x="180975" y="7233"/>
                </a:lnTo>
                <a:cubicBezTo>
                  <a:pt x="201215" y="3794"/>
                  <a:pt x="225673" y="1545"/>
                  <a:pt x="253293" y="189"/>
                </a:cubicBezTo>
                <a:close/>
              </a:path>
            </a:pathLst>
          </a:custGeom>
          <a:solidFill>
            <a:schemeClr val="accent2"/>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white">
                    <a:lumMod val="95000"/>
                  </a:prstClr>
                </a:solidFill>
                <a:effectLst/>
                <a:uLnTx/>
                <a:uFillTx/>
                <a:latin typeface="Corbel" panose="020B0503020204020204"/>
                <a:ea typeface="+mn-ea"/>
                <a:cs typeface="+mn-cs"/>
              </a:rPr>
              <a:t>Reduce Complexity of RFP questions</a:t>
            </a:r>
          </a:p>
        </p:txBody>
      </p:sp>
      <p:sp>
        <p:nvSpPr>
          <p:cNvPr id="10" name="Freeform 37">
            <a:extLst>
              <a:ext uri="{FF2B5EF4-FFF2-40B4-BE49-F238E27FC236}">
                <a16:creationId xmlns:a16="http://schemas.microsoft.com/office/drawing/2014/main" id="{A4383CF9-BA8C-4A48-88B1-3BF135B07559}"/>
              </a:ext>
            </a:extLst>
          </p:cNvPr>
          <p:cNvSpPr/>
          <p:nvPr/>
        </p:nvSpPr>
        <p:spPr>
          <a:xfrm>
            <a:off x="413488" y="5063412"/>
            <a:ext cx="8229600" cy="1380744"/>
          </a:xfrm>
          <a:custGeom>
            <a:avLst/>
            <a:gdLst>
              <a:gd name="connsiteX0" fmla="*/ 3770835 w 8740200"/>
              <a:gd name="connsiteY0" fmla="*/ 0 h 1487756"/>
              <a:gd name="connsiteX1" fmla="*/ 3770835 w 8740200"/>
              <a:gd name="connsiteY1" fmla="*/ 13302 h 1487756"/>
              <a:gd name="connsiteX2" fmla="*/ 3822471 w 8740200"/>
              <a:gd name="connsiteY2" fmla="*/ 7877 h 1487756"/>
              <a:gd name="connsiteX3" fmla="*/ 7223515 w 8740200"/>
              <a:gd name="connsiteY3" fmla="*/ 7877 h 1487756"/>
              <a:gd name="connsiteX4" fmla="*/ 7804931 w 8740200"/>
              <a:gd name="connsiteY4" fmla="*/ 30 h 1487756"/>
              <a:gd name="connsiteX5" fmla="*/ 8249001 w 8740200"/>
              <a:gd name="connsiteY5" fmla="*/ 12362 h 1487756"/>
              <a:gd name="connsiteX6" fmla="*/ 8740200 w 8740200"/>
              <a:gd name="connsiteY6" fmla="*/ 402512 h 1487756"/>
              <a:gd name="connsiteX7" fmla="*/ 8740200 w 8740200"/>
              <a:gd name="connsiteY7" fmla="*/ 1487756 h 1487756"/>
              <a:gd name="connsiteX8" fmla="*/ 8068033 w 8740200"/>
              <a:gd name="connsiteY8" fmla="*/ 1070699 h 1487756"/>
              <a:gd name="connsiteX9" fmla="*/ 7474669 w 8740200"/>
              <a:gd name="connsiteY9" fmla="*/ 1064972 h 1487756"/>
              <a:gd name="connsiteX10" fmla="*/ 7254131 w 8740200"/>
              <a:gd name="connsiteY10" fmla="*/ 1063602 h 1487756"/>
              <a:gd name="connsiteX11" fmla="*/ 7229253 w 8740200"/>
              <a:gd name="connsiteY11" fmla="*/ 1066215 h 1487756"/>
              <a:gd name="connsiteX12" fmla="*/ 6370428 w 8740200"/>
              <a:gd name="connsiteY12" fmla="*/ 1066215 h 1487756"/>
              <a:gd name="connsiteX13" fmla="*/ 6357821 w 8740200"/>
              <a:gd name="connsiteY13" fmla="*/ 1066362 h 1487756"/>
              <a:gd name="connsiteX14" fmla="*/ 6086001 w 8740200"/>
              <a:gd name="connsiteY14" fmla="*/ 1070699 h 1487756"/>
              <a:gd name="connsiteX15" fmla="*/ 6092773 w 8740200"/>
              <a:gd name="connsiteY15" fmla="*/ 1066215 h 1487756"/>
              <a:gd name="connsiteX16" fmla="*/ 3822471 w 8740200"/>
              <a:gd name="connsiteY16" fmla="*/ 1066215 h 1487756"/>
              <a:gd name="connsiteX17" fmla="*/ 3749162 w 8740200"/>
              <a:gd name="connsiteY17" fmla="*/ 1058513 h 1487756"/>
              <a:gd name="connsiteX18" fmla="*/ 3745746 w 8740200"/>
              <a:gd name="connsiteY18" fmla="*/ 1058872 h 1487756"/>
              <a:gd name="connsiteX19" fmla="*/ 2886922 w 8740200"/>
              <a:gd name="connsiteY19" fmla="*/ 1058872 h 1487756"/>
              <a:gd name="connsiteX20" fmla="*/ 2874314 w 8740200"/>
              <a:gd name="connsiteY20" fmla="*/ 1059019 h 1487756"/>
              <a:gd name="connsiteX21" fmla="*/ 2602495 w 8740200"/>
              <a:gd name="connsiteY21" fmla="*/ 1063356 h 1487756"/>
              <a:gd name="connsiteX22" fmla="*/ 2609266 w 8740200"/>
              <a:gd name="connsiteY22" fmla="*/ 1058872 h 1487756"/>
              <a:gd name="connsiteX23" fmla="*/ 338964 w 8740200"/>
              <a:gd name="connsiteY23" fmla="*/ 1058872 h 1487756"/>
              <a:gd name="connsiteX24" fmla="*/ 0 w 8740200"/>
              <a:gd name="connsiteY24" fmla="*/ 882479 h 1487756"/>
              <a:gd name="connsiteX25" fmla="*/ 0 w 8740200"/>
              <a:gd name="connsiteY25" fmla="*/ 176927 h 1487756"/>
              <a:gd name="connsiteX26" fmla="*/ 338964 w 8740200"/>
              <a:gd name="connsiteY26" fmla="*/ 534 h 1487756"/>
              <a:gd name="connsiteX27" fmla="*/ 3740008 w 8740200"/>
              <a:gd name="connsiteY27" fmla="*/ 534 h 1487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0200" h="1487756">
                <a:moveTo>
                  <a:pt x="3770835" y="0"/>
                </a:moveTo>
                <a:lnTo>
                  <a:pt x="3770835" y="13302"/>
                </a:lnTo>
                <a:lnTo>
                  <a:pt x="3822471" y="7877"/>
                </a:lnTo>
                <a:lnTo>
                  <a:pt x="7223515" y="7877"/>
                </a:lnTo>
                <a:cubicBezTo>
                  <a:pt x="7424951" y="4140"/>
                  <a:pt x="7626386" y="403"/>
                  <a:pt x="7804931" y="30"/>
                </a:cubicBezTo>
                <a:cubicBezTo>
                  <a:pt x="7983475" y="-345"/>
                  <a:pt x="8139128" y="2646"/>
                  <a:pt x="8249001" y="12362"/>
                </a:cubicBezTo>
                <a:cubicBezTo>
                  <a:pt x="8501781" y="78135"/>
                  <a:pt x="8658335" y="156612"/>
                  <a:pt x="8740200" y="402512"/>
                </a:cubicBezTo>
                <a:lnTo>
                  <a:pt x="8740200" y="1487756"/>
                </a:lnTo>
                <a:cubicBezTo>
                  <a:pt x="8531224" y="1148431"/>
                  <a:pt x="8484545" y="1093120"/>
                  <a:pt x="8068033" y="1070699"/>
                </a:cubicBezTo>
                <a:cubicBezTo>
                  <a:pt x="7834643" y="1068458"/>
                  <a:pt x="7643038" y="1066472"/>
                  <a:pt x="7474669" y="1064972"/>
                </a:cubicBezTo>
                <a:lnTo>
                  <a:pt x="7254131" y="1063602"/>
                </a:lnTo>
                <a:lnTo>
                  <a:pt x="7229253" y="1066215"/>
                </a:lnTo>
                <a:lnTo>
                  <a:pt x="6370428" y="1066215"/>
                </a:lnTo>
                <a:lnTo>
                  <a:pt x="6357821" y="1066362"/>
                </a:lnTo>
                <a:cubicBezTo>
                  <a:pt x="6273768" y="1067534"/>
                  <a:pt x="6183937" y="1068971"/>
                  <a:pt x="6086001" y="1070699"/>
                </a:cubicBezTo>
                <a:lnTo>
                  <a:pt x="6092773" y="1066215"/>
                </a:lnTo>
                <a:lnTo>
                  <a:pt x="3822471" y="1066215"/>
                </a:lnTo>
                <a:lnTo>
                  <a:pt x="3749162" y="1058513"/>
                </a:lnTo>
                <a:lnTo>
                  <a:pt x="3745746" y="1058872"/>
                </a:lnTo>
                <a:lnTo>
                  <a:pt x="2886922" y="1058872"/>
                </a:lnTo>
                <a:lnTo>
                  <a:pt x="2874314" y="1059019"/>
                </a:lnTo>
                <a:cubicBezTo>
                  <a:pt x="2790261" y="1060191"/>
                  <a:pt x="2700431" y="1061627"/>
                  <a:pt x="2602495" y="1063356"/>
                </a:cubicBezTo>
                <a:lnTo>
                  <a:pt x="2609266" y="1058872"/>
                </a:lnTo>
                <a:lnTo>
                  <a:pt x="338964" y="1058872"/>
                </a:lnTo>
                <a:cubicBezTo>
                  <a:pt x="151758" y="1058872"/>
                  <a:pt x="0" y="979898"/>
                  <a:pt x="0" y="882479"/>
                </a:cubicBezTo>
                <a:lnTo>
                  <a:pt x="0" y="176927"/>
                </a:lnTo>
                <a:cubicBezTo>
                  <a:pt x="0" y="79507"/>
                  <a:pt x="151758" y="534"/>
                  <a:pt x="338964" y="534"/>
                </a:cubicBezTo>
                <a:lnTo>
                  <a:pt x="3740008" y="534"/>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1440" rIns="91440" bIns="457200" rtlCol="0" anchor="ctr" anchorCtr="0">
            <a:noAutofit/>
          </a:bodyPr>
          <a:lstStyle/>
          <a:p>
            <a:pPr marL="0" marR="0" lvl="1" indent="0" algn="l" defTabSz="4572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Corbel" panose="020B0503020204020204"/>
                <a:ea typeface="+mn-ea"/>
                <a:cs typeface="+mn-cs"/>
              </a:rPr>
              <a:t>The contract template does not include a section on innovation. Future contracts should clearly identify the program’s innovative attributes. These attributes should be included in the Implementation Plan.</a:t>
            </a:r>
            <a:r>
              <a:rPr kumimoji="0" lang="en-US" sz="2000" b="0" i="0" u="none" strike="noStrike" kern="1200" cap="none" spc="0" normalizeH="0" baseline="0" noProof="0" dirty="0">
                <a:ln>
                  <a:noFill/>
                </a:ln>
                <a:solidFill>
                  <a:srgbClr val="818183"/>
                </a:solidFill>
                <a:effectLst/>
                <a:uLnTx/>
                <a:uFillTx/>
                <a:latin typeface="Corbel" panose="020B0503020204020204"/>
                <a:ea typeface="+mn-ea"/>
                <a:cs typeface="+mn-cs"/>
              </a:rPr>
              <a:t>	</a:t>
            </a:r>
          </a:p>
        </p:txBody>
      </p:sp>
      <p:sp>
        <p:nvSpPr>
          <p:cNvPr id="11" name="Freeform 10">
            <a:extLst>
              <a:ext uri="{FF2B5EF4-FFF2-40B4-BE49-F238E27FC236}">
                <a16:creationId xmlns:a16="http://schemas.microsoft.com/office/drawing/2014/main" id="{271DB8CD-5AA4-4D39-B255-55173D0481A2}"/>
              </a:ext>
            </a:extLst>
          </p:cNvPr>
          <p:cNvSpPr/>
          <p:nvPr/>
        </p:nvSpPr>
        <p:spPr>
          <a:xfrm>
            <a:off x="8651267" y="5127704"/>
            <a:ext cx="3265985" cy="1195224"/>
          </a:xfrm>
          <a:custGeom>
            <a:avLst/>
            <a:gdLst>
              <a:gd name="connsiteX0" fmla="*/ 263525 w 958848"/>
              <a:gd name="connsiteY0" fmla="*/ 0 h 1051808"/>
              <a:gd name="connsiteX1" fmla="*/ 263525 w 958848"/>
              <a:gd name="connsiteY1" fmla="*/ 4058 h 1051808"/>
              <a:gd name="connsiteX2" fmla="*/ 833962 w 958848"/>
              <a:gd name="connsiteY2" fmla="*/ 4058 h 1051808"/>
              <a:gd name="connsiteX3" fmla="*/ 958848 w 958848"/>
              <a:gd name="connsiteY3" fmla="*/ 128944 h 1051808"/>
              <a:gd name="connsiteX4" fmla="*/ 958848 w 958848"/>
              <a:gd name="connsiteY4" fmla="*/ 628472 h 1051808"/>
              <a:gd name="connsiteX5" fmla="*/ 833962 w 958848"/>
              <a:gd name="connsiteY5" fmla="*/ 753358 h 1051808"/>
              <a:gd name="connsiteX6" fmla="*/ 263525 w 958848"/>
              <a:gd name="connsiteY6" fmla="*/ 753358 h 1051808"/>
              <a:gd name="connsiteX7" fmla="*/ 263525 w 958848"/>
              <a:gd name="connsiteY7" fmla="*/ 756235 h 1051808"/>
              <a:gd name="connsiteX8" fmla="*/ 247650 w 958848"/>
              <a:gd name="connsiteY8" fmla="*/ 756533 h 1051808"/>
              <a:gd name="connsiteX9" fmla="*/ 0 w 958848"/>
              <a:gd name="connsiteY9" fmla="*/ 1051808 h 1051808"/>
              <a:gd name="connsiteX10" fmla="*/ 0 w 958848"/>
              <a:gd name="connsiteY10" fmla="*/ 283458 h 1051808"/>
              <a:gd name="connsiteX11" fmla="*/ 117649 w 958848"/>
              <a:gd name="connsiteY11" fmla="*/ 45556 h 1051808"/>
              <a:gd name="connsiteX12" fmla="*/ 153826 w 958848"/>
              <a:gd name="connsiteY12" fmla="*/ 23663 h 1051808"/>
              <a:gd name="connsiteX13" fmla="*/ 168348 w 958848"/>
              <a:gd name="connsiteY13" fmla="*/ 13872 h 1051808"/>
              <a:gd name="connsiteX14" fmla="*/ 170834 w 958848"/>
              <a:gd name="connsiteY14" fmla="*/ 13370 h 1051808"/>
              <a:gd name="connsiteX15" fmla="*/ 180975 w 958848"/>
              <a:gd name="connsiteY15" fmla="*/ 7233 h 1051808"/>
              <a:gd name="connsiteX16" fmla="*/ 253293 w 958848"/>
              <a:gd name="connsiteY16" fmla="*/ 189 h 1051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8848" h="1051808">
                <a:moveTo>
                  <a:pt x="263525" y="0"/>
                </a:moveTo>
                <a:lnTo>
                  <a:pt x="263525" y="4058"/>
                </a:lnTo>
                <a:lnTo>
                  <a:pt x="833962" y="4058"/>
                </a:lnTo>
                <a:cubicBezTo>
                  <a:pt x="902935" y="4058"/>
                  <a:pt x="958848" y="59971"/>
                  <a:pt x="958848" y="128944"/>
                </a:cubicBezTo>
                <a:lnTo>
                  <a:pt x="958848" y="628472"/>
                </a:lnTo>
                <a:cubicBezTo>
                  <a:pt x="958848" y="697445"/>
                  <a:pt x="902935" y="753358"/>
                  <a:pt x="833962" y="753358"/>
                </a:cubicBezTo>
                <a:lnTo>
                  <a:pt x="263525" y="753358"/>
                </a:lnTo>
                <a:lnTo>
                  <a:pt x="263525" y="756235"/>
                </a:lnTo>
                <a:lnTo>
                  <a:pt x="247650" y="756533"/>
                </a:lnTo>
                <a:cubicBezTo>
                  <a:pt x="94192" y="772407"/>
                  <a:pt x="76994" y="811567"/>
                  <a:pt x="0" y="1051808"/>
                </a:cubicBezTo>
                <a:lnTo>
                  <a:pt x="0" y="283458"/>
                </a:lnTo>
                <a:cubicBezTo>
                  <a:pt x="22621" y="152886"/>
                  <a:pt x="60722" y="88989"/>
                  <a:pt x="117649" y="45556"/>
                </a:cubicBezTo>
                <a:lnTo>
                  <a:pt x="153826" y="23663"/>
                </a:lnTo>
                <a:lnTo>
                  <a:pt x="168348" y="13872"/>
                </a:lnTo>
                <a:lnTo>
                  <a:pt x="170834" y="13370"/>
                </a:lnTo>
                <a:lnTo>
                  <a:pt x="180975" y="7233"/>
                </a:lnTo>
                <a:cubicBezTo>
                  <a:pt x="201215" y="3794"/>
                  <a:pt x="225673" y="1545"/>
                  <a:pt x="253293" y="189"/>
                </a:cubicBezTo>
                <a:close/>
              </a:path>
            </a:pathLst>
          </a:cu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FFFF">
                    <a:lumMod val="95000"/>
                  </a:srgbClr>
                </a:solidFill>
                <a:effectLst/>
                <a:uLnTx/>
                <a:uFillTx/>
                <a:latin typeface="Corbel" panose="020B0503020204020204"/>
                <a:ea typeface="+mn-ea"/>
                <a:cs typeface="+mn-cs"/>
              </a:rPr>
              <a:t>Include Innovation in Contract Template</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200" b="1" i="0" u="none" strike="noStrike" kern="1200" cap="none" spc="0" normalizeH="0" baseline="0" noProof="0" dirty="0">
              <a:ln>
                <a:noFill/>
              </a:ln>
              <a:solidFill>
                <a:srgbClr val="FFFFFF">
                  <a:lumMod val="95000"/>
                </a:srgbClr>
              </a:solidFill>
              <a:effectLst/>
              <a:uLnTx/>
              <a:uFillTx/>
              <a:latin typeface="Corbel" panose="020B0503020204020204"/>
              <a:ea typeface="+mn-ea"/>
              <a:cs typeface="+mn-cs"/>
            </a:endParaRPr>
          </a:p>
        </p:txBody>
      </p:sp>
    </p:spTree>
    <p:extLst>
      <p:ext uri="{BB962C8B-B14F-4D97-AF65-F5344CB8AC3E}">
        <p14:creationId xmlns:p14="http://schemas.microsoft.com/office/powerpoint/2010/main" val="18168233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79CBD3C9-4E66-426D-948E-7CF4778107E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31140" y="243840"/>
            <a:ext cx="11724640" cy="6377939"/>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31" name="Rectangle 30">
            <a:extLst>
              <a:ext uri="{FF2B5EF4-FFF2-40B4-BE49-F238E27FC236}">
                <a16:creationId xmlns:a16="http://schemas.microsoft.com/office/drawing/2014/main" id="{DDB95FCF-AD96-482F-9FB8-CD95725E6EF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31140" y="243840"/>
            <a:ext cx="11724640" cy="6377939"/>
          </a:xfrm>
          <a:prstGeom prst="rect">
            <a:avLst/>
          </a:prstGeom>
          <a:solidFill>
            <a:schemeClr val="accent1"/>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sp>
      <p:cxnSp>
        <p:nvCxnSpPr>
          <p:cNvPr id="33" name="Straight Connector 32">
            <a:extLst>
              <a:ext uri="{FF2B5EF4-FFF2-40B4-BE49-F238E27FC236}">
                <a16:creationId xmlns:a16="http://schemas.microsoft.com/office/drawing/2014/main" id="{64EEEC00-AD80-4734-BEE6-04CBDEC830C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978660" y="3733800"/>
            <a:ext cx="822960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C6896D1-BFB1-4C84-82DD-31073BED3F0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978660" y="5462458"/>
            <a:ext cx="822960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B704BEC-D7D6-4233-8BA1-6046BEA78143}"/>
              </a:ext>
            </a:extLst>
          </p:cNvPr>
          <p:cNvSpPr>
            <a:spLocks noGrp="1"/>
          </p:cNvSpPr>
          <p:nvPr>
            <p:ph type="title"/>
          </p:nvPr>
        </p:nvSpPr>
        <p:spPr>
          <a:xfrm>
            <a:off x="1109980" y="4208424"/>
            <a:ext cx="9966960" cy="1325880"/>
          </a:xfrm>
        </p:spPr>
        <p:txBody>
          <a:bodyPr vert="horz" lIns="91440" tIns="45720" rIns="91440" bIns="45720" rtlCol="0" anchor="b">
            <a:normAutofit/>
          </a:bodyPr>
          <a:lstStyle/>
          <a:p>
            <a:r>
              <a:rPr lang="en-US" sz="4600" b="1" dirty="0">
                <a:solidFill>
                  <a:srgbClr val="FFFFFF"/>
                </a:solidFill>
              </a:rPr>
              <a:t>Effective solicitation practices</a:t>
            </a:r>
          </a:p>
        </p:txBody>
      </p:sp>
      <p:sp>
        <p:nvSpPr>
          <p:cNvPr id="37" name="Rectangle 36">
            <a:extLst>
              <a:ext uri="{FF2B5EF4-FFF2-40B4-BE49-F238E27FC236}">
                <a16:creationId xmlns:a16="http://schemas.microsoft.com/office/drawing/2014/main" id="{8A2FDFB1-2B6D-49EB-B6C0-FA923806E0A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31140" y="243841"/>
            <a:ext cx="11722100" cy="3964584"/>
          </a:xfrm>
          <a:prstGeom prst="rect">
            <a:avLst/>
          </a:prstGeom>
          <a:solidFill>
            <a:schemeClr val="bg1"/>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sp>
      <p:pic>
        <p:nvPicPr>
          <p:cNvPr id="24" name="Graphic 23" descr="Excellent with solid fill">
            <a:extLst>
              <a:ext uri="{FF2B5EF4-FFF2-40B4-BE49-F238E27FC236}">
                <a16:creationId xmlns:a16="http://schemas.microsoft.com/office/drawing/2014/main" id="{03D9F6B2-2DCF-4BEC-B3C9-07BADF93EA1E}"/>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4578531" y="728472"/>
            <a:ext cx="3027316" cy="3027316"/>
          </a:xfrm>
          <a:prstGeom prst="rect">
            <a:avLst/>
          </a:prstGeom>
        </p:spPr>
      </p:pic>
      <p:sp>
        <p:nvSpPr>
          <p:cNvPr id="4" name="Footer Placeholder 3">
            <a:extLst>
              <a:ext uri="{FF2B5EF4-FFF2-40B4-BE49-F238E27FC236}">
                <a16:creationId xmlns:a16="http://schemas.microsoft.com/office/drawing/2014/main" id="{ABB0C7F6-5B8A-416F-B23F-A902DA693701}"/>
              </a:ext>
            </a:extLst>
          </p:cNvPr>
          <p:cNvSpPr>
            <a:spLocks noGrp="1"/>
          </p:cNvSpPr>
          <p:nvPr>
            <p:ph type="ftr" sz="quarter" idx="11"/>
          </p:nvPr>
        </p:nvSpPr>
        <p:spPr>
          <a:xfrm>
            <a:off x="3949148" y="6223828"/>
            <a:ext cx="4717774" cy="365125"/>
          </a:xfrm>
        </p:spPr>
        <p:txBody>
          <a:bodyPr vert="horz" lIns="91440" tIns="45720" rIns="91440" bIns="45720" rtlCol="0"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orbel" panose="020B0503020204020204"/>
                <a:ea typeface="+mn-ea"/>
                <a:cs typeface="+mn-cs"/>
              </a:rPr>
              <a:t>IE Semi-Annual Report: July 28, 2021 Stakeholder Meeting</a:t>
            </a:r>
          </a:p>
          <a:p>
            <a:pPr marL="0" marR="0" lvl="0" indent="0" algn="ctr" defTabSz="9144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orbel" panose="020B0503020204020204"/>
              <a:ea typeface="+mn-ea"/>
              <a:cs typeface="+mn-cs"/>
            </a:endParaRPr>
          </a:p>
        </p:txBody>
      </p:sp>
      <p:sp>
        <p:nvSpPr>
          <p:cNvPr id="5" name="Slide Number Placeholder 4">
            <a:extLst>
              <a:ext uri="{FF2B5EF4-FFF2-40B4-BE49-F238E27FC236}">
                <a16:creationId xmlns:a16="http://schemas.microsoft.com/office/drawing/2014/main" id="{DD8BE81C-9C36-4FFF-9613-DC887B1722D5}"/>
              </a:ext>
            </a:extLst>
          </p:cNvPr>
          <p:cNvSpPr>
            <a:spLocks noGrp="1"/>
          </p:cNvSpPr>
          <p:nvPr>
            <p:ph type="sldNum" sz="quarter" idx="12"/>
          </p:nvPr>
        </p:nvSpPr>
        <p:spPr>
          <a:xfrm>
            <a:off x="9329530" y="6223828"/>
            <a:ext cx="1706217"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BF51FD3E-87FA-4BB9-8479-893262DE1709}" type="slidenum">
              <a:rPr kumimoji="0" lang="en-US" sz="1200" b="0" i="0" u="none" strike="noStrike" kern="1200" cap="none" spc="0" normalizeH="0" baseline="0" noProof="0">
                <a:ln>
                  <a:noFill/>
                </a:ln>
                <a:solidFill>
                  <a:srgbClr val="FFFFFF"/>
                </a:solidFill>
                <a:effectLst/>
                <a:uLnTx/>
                <a:uFillTx/>
                <a:latin typeface="Corbel" panose="020B050302020402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38</a:t>
            </a:fld>
            <a:endParaRPr kumimoji="0" lang="en-US" sz="1200" b="0" i="0" u="none" strike="noStrike" kern="1200" cap="none" spc="0" normalizeH="0" baseline="0" noProof="0" dirty="0">
              <a:ln>
                <a:noFill/>
              </a:ln>
              <a:solidFill>
                <a:srgbClr val="FFFFFF"/>
              </a:solidFill>
              <a:effectLst/>
              <a:uLnTx/>
              <a:uFillTx/>
              <a:latin typeface="Corbel" panose="020B0503020204020204"/>
              <a:ea typeface="+mn-ea"/>
              <a:cs typeface="+mn-cs"/>
            </a:endParaRPr>
          </a:p>
        </p:txBody>
      </p:sp>
    </p:spTree>
    <p:extLst>
      <p:ext uri="{BB962C8B-B14F-4D97-AF65-F5344CB8AC3E}">
        <p14:creationId xmlns:p14="http://schemas.microsoft.com/office/powerpoint/2010/main" val="120588682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CFAEE-6D5A-4E5A-984D-76329D6A1854}"/>
              </a:ext>
            </a:extLst>
          </p:cNvPr>
          <p:cNvSpPr>
            <a:spLocks noGrp="1"/>
          </p:cNvSpPr>
          <p:nvPr>
            <p:ph type="title"/>
          </p:nvPr>
        </p:nvSpPr>
        <p:spPr>
          <a:xfrm>
            <a:off x="1143000" y="609600"/>
            <a:ext cx="9875520" cy="1356360"/>
          </a:xfrm>
        </p:spPr>
        <p:txBody>
          <a:bodyPr>
            <a:normAutofit/>
          </a:bodyPr>
          <a:lstStyle/>
          <a:p>
            <a:r>
              <a:rPr lang="en-US" dirty="0">
                <a:solidFill>
                  <a:schemeClr val="tx1">
                    <a:lumMod val="65000"/>
                    <a:lumOff val="35000"/>
                  </a:schemeClr>
                </a:solidFill>
              </a:rPr>
              <a:t>Effective Solicitation Practices</a:t>
            </a:r>
            <a:endParaRPr lang="en-US" strike="sngStrike" dirty="0">
              <a:solidFill>
                <a:schemeClr val="tx1">
                  <a:lumMod val="65000"/>
                  <a:lumOff val="35000"/>
                </a:schemeClr>
              </a:solidFill>
            </a:endParaRPr>
          </a:p>
        </p:txBody>
      </p:sp>
      <p:sp>
        <p:nvSpPr>
          <p:cNvPr id="4" name="Footer Placeholder 3">
            <a:extLst>
              <a:ext uri="{FF2B5EF4-FFF2-40B4-BE49-F238E27FC236}">
                <a16:creationId xmlns:a16="http://schemas.microsoft.com/office/drawing/2014/main" id="{184CFF9D-B864-4AAF-B33A-E020B9C84BDA}"/>
              </a:ext>
            </a:extLst>
          </p:cNvPr>
          <p:cNvSpPr>
            <a:spLocks noGrp="1"/>
          </p:cNvSpPr>
          <p:nvPr>
            <p:ph type="ftr" sz="quarter" idx="11"/>
          </p:nvPr>
        </p:nvSpPr>
        <p:spPr>
          <a:xfrm>
            <a:off x="3949148" y="6223828"/>
            <a:ext cx="4717774" cy="365125"/>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rPr>
              <a:t>IE Semi-Annual Report: July 28, 2021 Stakeholder Meeting</a:t>
            </a:r>
          </a:p>
        </p:txBody>
      </p:sp>
      <p:sp>
        <p:nvSpPr>
          <p:cNvPr id="5" name="Slide Number Placeholder 4">
            <a:extLst>
              <a:ext uri="{FF2B5EF4-FFF2-40B4-BE49-F238E27FC236}">
                <a16:creationId xmlns:a16="http://schemas.microsoft.com/office/drawing/2014/main" id="{B6FAA57D-BF74-4A68-A4E3-F12CAC39530B}"/>
              </a:ext>
            </a:extLst>
          </p:cNvPr>
          <p:cNvSpPr>
            <a:spLocks noGrp="1"/>
          </p:cNvSpPr>
          <p:nvPr>
            <p:ph type="sldNum" sz="quarter" idx="12"/>
          </p:nvPr>
        </p:nvSpPr>
        <p:spPr>
          <a:xfrm>
            <a:off x="9329530" y="6223828"/>
            <a:ext cx="1706217"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AB73BC-B049-4115-A692-8D63A059BFB8}" type="slidenum">
              <a:rPr kumimoji="0" lang="en-US" sz="11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1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8" name="Freeform 37">
            <a:extLst>
              <a:ext uri="{FF2B5EF4-FFF2-40B4-BE49-F238E27FC236}">
                <a16:creationId xmlns:a16="http://schemas.microsoft.com/office/drawing/2014/main" id="{DFD6BBF1-9FDA-4063-875C-61356A8F51A7}"/>
              </a:ext>
            </a:extLst>
          </p:cNvPr>
          <p:cNvSpPr/>
          <p:nvPr/>
        </p:nvSpPr>
        <p:spPr>
          <a:xfrm>
            <a:off x="612250" y="2928025"/>
            <a:ext cx="8010194" cy="1356359"/>
          </a:xfrm>
          <a:custGeom>
            <a:avLst/>
            <a:gdLst>
              <a:gd name="connsiteX0" fmla="*/ 3770835 w 8740200"/>
              <a:gd name="connsiteY0" fmla="*/ 0 h 1487756"/>
              <a:gd name="connsiteX1" fmla="*/ 3770835 w 8740200"/>
              <a:gd name="connsiteY1" fmla="*/ 13302 h 1487756"/>
              <a:gd name="connsiteX2" fmla="*/ 3822471 w 8740200"/>
              <a:gd name="connsiteY2" fmla="*/ 7877 h 1487756"/>
              <a:gd name="connsiteX3" fmla="*/ 7223515 w 8740200"/>
              <a:gd name="connsiteY3" fmla="*/ 7877 h 1487756"/>
              <a:gd name="connsiteX4" fmla="*/ 7804931 w 8740200"/>
              <a:gd name="connsiteY4" fmla="*/ 30 h 1487756"/>
              <a:gd name="connsiteX5" fmla="*/ 8249001 w 8740200"/>
              <a:gd name="connsiteY5" fmla="*/ 12362 h 1487756"/>
              <a:gd name="connsiteX6" fmla="*/ 8740200 w 8740200"/>
              <a:gd name="connsiteY6" fmla="*/ 402512 h 1487756"/>
              <a:gd name="connsiteX7" fmla="*/ 8740200 w 8740200"/>
              <a:gd name="connsiteY7" fmla="*/ 1487756 h 1487756"/>
              <a:gd name="connsiteX8" fmla="*/ 8068033 w 8740200"/>
              <a:gd name="connsiteY8" fmla="*/ 1070699 h 1487756"/>
              <a:gd name="connsiteX9" fmla="*/ 7474669 w 8740200"/>
              <a:gd name="connsiteY9" fmla="*/ 1064972 h 1487756"/>
              <a:gd name="connsiteX10" fmla="*/ 7254131 w 8740200"/>
              <a:gd name="connsiteY10" fmla="*/ 1063602 h 1487756"/>
              <a:gd name="connsiteX11" fmla="*/ 7229253 w 8740200"/>
              <a:gd name="connsiteY11" fmla="*/ 1066215 h 1487756"/>
              <a:gd name="connsiteX12" fmla="*/ 6370428 w 8740200"/>
              <a:gd name="connsiteY12" fmla="*/ 1066215 h 1487756"/>
              <a:gd name="connsiteX13" fmla="*/ 6357821 w 8740200"/>
              <a:gd name="connsiteY13" fmla="*/ 1066362 h 1487756"/>
              <a:gd name="connsiteX14" fmla="*/ 6086001 w 8740200"/>
              <a:gd name="connsiteY14" fmla="*/ 1070699 h 1487756"/>
              <a:gd name="connsiteX15" fmla="*/ 6092773 w 8740200"/>
              <a:gd name="connsiteY15" fmla="*/ 1066215 h 1487756"/>
              <a:gd name="connsiteX16" fmla="*/ 3822471 w 8740200"/>
              <a:gd name="connsiteY16" fmla="*/ 1066215 h 1487756"/>
              <a:gd name="connsiteX17" fmla="*/ 3749162 w 8740200"/>
              <a:gd name="connsiteY17" fmla="*/ 1058513 h 1487756"/>
              <a:gd name="connsiteX18" fmla="*/ 3745746 w 8740200"/>
              <a:gd name="connsiteY18" fmla="*/ 1058872 h 1487756"/>
              <a:gd name="connsiteX19" fmla="*/ 2886922 w 8740200"/>
              <a:gd name="connsiteY19" fmla="*/ 1058872 h 1487756"/>
              <a:gd name="connsiteX20" fmla="*/ 2874314 w 8740200"/>
              <a:gd name="connsiteY20" fmla="*/ 1059019 h 1487756"/>
              <a:gd name="connsiteX21" fmla="*/ 2602495 w 8740200"/>
              <a:gd name="connsiteY21" fmla="*/ 1063356 h 1487756"/>
              <a:gd name="connsiteX22" fmla="*/ 2609266 w 8740200"/>
              <a:gd name="connsiteY22" fmla="*/ 1058872 h 1487756"/>
              <a:gd name="connsiteX23" fmla="*/ 338964 w 8740200"/>
              <a:gd name="connsiteY23" fmla="*/ 1058872 h 1487756"/>
              <a:gd name="connsiteX24" fmla="*/ 0 w 8740200"/>
              <a:gd name="connsiteY24" fmla="*/ 882479 h 1487756"/>
              <a:gd name="connsiteX25" fmla="*/ 0 w 8740200"/>
              <a:gd name="connsiteY25" fmla="*/ 176927 h 1487756"/>
              <a:gd name="connsiteX26" fmla="*/ 338964 w 8740200"/>
              <a:gd name="connsiteY26" fmla="*/ 534 h 1487756"/>
              <a:gd name="connsiteX27" fmla="*/ 3740008 w 8740200"/>
              <a:gd name="connsiteY27" fmla="*/ 534 h 1487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0200" h="1487756">
                <a:moveTo>
                  <a:pt x="3770835" y="0"/>
                </a:moveTo>
                <a:lnTo>
                  <a:pt x="3770835" y="13302"/>
                </a:lnTo>
                <a:lnTo>
                  <a:pt x="3822471" y="7877"/>
                </a:lnTo>
                <a:lnTo>
                  <a:pt x="7223515" y="7877"/>
                </a:lnTo>
                <a:cubicBezTo>
                  <a:pt x="7424951" y="4140"/>
                  <a:pt x="7626386" y="403"/>
                  <a:pt x="7804931" y="30"/>
                </a:cubicBezTo>
                <a:cubicBezTo>
                  <a:pt x="7983475" y="-345"/>
                  <a:pt x="8139128" y="2646"/>
                  <a:pt x="8249001" y="12362"/>
                </a:cubicBezTo>
                <a:cubicBezTo>
                  <a:pt x="8501781" y="78135"/>
                  <a:pt x="8658335" y="156612"/>
                  <a:pt x="8740200" y="402512"/>
                </a:cubicBezTo>
                <a:lnTo>
                  <a:pt x="8740200" y="1487756"/>
                </a:lnTo>
                <a:cubicBezTo>
                  <a:pt x="8531224" y="1148431"/>
                  <a:pt x="8484545" y="1093120"/>
                  <a:pt x="8068033" y="1070699"/>
                </a:cubicBezTo>
                <a:cubicBezTo>
                  <a:pt x="7834643" y="1068458"/>
                  <a:pt x="7643038" y="1066472"/>
                  <a:pt x="7474669" y="1064972"/>
                </a:cubicBezTo>
                <a:lnTo>
                  <a:pt x="7254131" y="1063602"/>
                </a:lnTo>
                <a:lnTo>
                  <a:pt x="7229253" y="1066215"/>
                </a:lnTo>
                <a:lnTo>
                  <a:pt x="6370428" y="1066215"/>
                </a:lnTo>
                <a:lnTo>
                  <a:pt x="6357821" y="1066362"/>
                </a:lnTo>
                <a:cubicBezTo>
                  <a:pt x="6273768" y="1067534"/>
                  <a:pt x="6183937" y="1068971"/>
                  <a:pt x="6086001" y="1070699"/>
                </a:cubicBezTo>
                <a:lnTo>
                  <a:pt x="6092773" y="1066215"/>
                </a:lnTo>
                <a:lnTo>
                  <a:pt x="3822471" y="1066215"/>
                </a:lnTo>
                <a:lnTo>
                  <a:pt x="3749162" y="1058513"/>
                </a:lnTo>
                <a:lnTo>
                  <a:pt x="3745746" y="1058872"/>
                </a:lnTo>
                <a:lnTo>
                  <a:pt x="2886922" y="1058872"/>
                </a:lnTo>
                <a:lnTo>
                  <a:pt x="2874314" y="1059019"/>
                </a:lnTo>
                <a:cubicBezTo>
                  <a:pt x="2790261" y="1060191"/>
                  <a:pt x="2700431" y="1061627"/>
                  <a:pt x="2602495" y="1063356"/>
                </a:cubicBezTo>
                <a:lnTo>
                  <a:pt x="2609266" y="1058872"/>
                </a:lnTo>
                <a:lnTo>
                  <a:pt x="338964" y="1058872"/>
                </a:lnTo>
                <a:cubicBezTo>
                  <a:pt x="151758" y="1058872"/>
                  <a:pt x="0" y="979898"/>
                  <a:pt x="0" y="882479"/>
                </a:cubicBezTo>
                <a:lnTo>
                  <a:pt x="0" y="176927"/>
                </a:lnTo>
                <a:cubicBezTo>
                  <a:pt x="0" y="79507"/>
                  <a:pt x="151758" y="534"/>
                  <a:pt x="338964" y="534"/>
                </a:cubicBezTo>
                <a:lnTo>
                  <a:pt x="3740008" y="534"/>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1440" rIns="91440" bIns="457200" rtlCol="0" anchor="t" anchorCtr="0">
            <a:noAutofit/>
          </a:bodyPr>
          <a:lstStyle/>
          <a:p>
            <a:pPr marL="0" marR="0" lvl="1" indent="0" algn="l" defTabSz="4572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Corbel" panose="020B0503020204020204"/>
                <a:ea typeface="+mn-ea"/>
                <a:cs typeface="+mn-cs"/>
              </a:rPr>
              <a:t>Utilizing the pool of all IEs proved an effective way to conduct and manage a multi-sector solicitation and/or review common materials across solicitations. (PG&amp;E, SCE, SDG&amp;E, SCG)</a:t>
            </a:r>
          </a:p>
        </p:txBody>
      </p:sp>
      <p:sp>
        <p:nvSpPr>
          <p:cNvPr id="9" name="Freeform 13">
            <a:extLst>
              <a:ext uri="{FF2B5EF4-FFF2-40B4-BE49-F238E27FC236}">
                <a16:creationId xmlns:a16="http://schemas.microsoft.com/office/drawing/2014/main" id="{A5E6CD95-4D00-4C6F-A6D9-1E6D401E74FC}"/>
              </a:ext>
            </a:extLst>
          </p:cNvPr>
          <p:cNvSpPr/>
          <p:nvPr/>
        </p:nvSpPr>
        <p:spPr>
          <a:xfrm>
            <a:off x="8666922" y="5403516"/>
            <a:ext cx="3264408" cy="1197864"/>
          </a:xfrm>
          <a:custGeom>
            <a:avLst/>
            <a:gdLst>
              <a:gd name="connsiteX0" fmla="*/ 263525 w 958848"/>
              <a:gd name="connsiteY0" fmla="*/ 0 h 1051808"/>
              <a:gd name="connsiteX1" fmla="*/ 263525 w 958848"/>
              <a:gd name="connsiteY1" fmla="*/ 4058 h 1051808"/>
              <a:gd name="connsiteX2" fmla="*/ 833962 w 958848"/>
              <a:gd name="connsiteY2" fmla="*/ 4058 h 1051808"/>
              <a:gd name="connsiteX3" fmla="*/ 958848 w 958848"/>
              <a:gd name="connsiteY3" fmla="*/ 128944 h 1051808"/>
              <a:gd name="connsiteX4" fmla="*/ 958848 w 958848"/>
              <a:gd name="connsiteY4" fmla="*/ 628472 h 1051808"/>
              <a:gd name="connsiteX5" fmla="*/ 833962 w 958848"/>
              <a:gd name="connsiteY5" fmla="*/ 753358 h 1051808"/>
              <a:gd name="connsiteX6" fmla="*/ 263525 w 958848"/>
              <a:gd name="connsiteY6" fmla="*/ 753358 h 1051808"/>
              <a:gd name="connsiteX7" fmla="*/ 263525 w 958848"/>
              <a:gd name="connsiteY7" fmla="*/ 756235 h 1051808"/>
              <a:gd name="connsiteX8" fmla="*/ 247650 w 958848"/>
              <a:gd name="connsiteY8" fmla="*/ 756533 h 1051808"/>
              <a:gd name="connsiteX9" fmla="*/ 0 w 958848"/>
              <a:gd name="connsiteY9" fmla="*/ 1051808 h 1051808"/>
              <a:gd name="connsiteX10" fmla="*/ 0 w 958848"/>
              <a:gd name="connsiteY10" fmla="*/ 283458 h 1051808"/>
              <a:gd name="connsiteX11" fmla="*/ 117649 w 958848"/>
              <a:gd name="connsiteY11" fmla="*/ 45556 h 1051808"/>
              <a:gd name="connsiteX12" fmla="*/ 153826 w 958848"/>
              <a:gd name="connsiteY12" fmla="*/ 23663 h 1051808"/>
              <a:gd name="connsiteX13" fmla="*/ 168348 w 958848"/>
              <a:gd name="connsiteY13" fmla="*/ 13872 h 1051808"/>
              <a:gd name="connsiteX14" fmla="*/ 170834 w 958848"/>
              <a:gd name="connsiteY14" fmla="*/ 13370 h 1051808"/>
              <a:gd name="connsiteX15" fmla="*/ 180975 w 958848"/>
              <a:gd name="connsiteY15" fmla="*/ 7233 h 1051808"/>
              <a:gd name="connsiteX16" fmla="*/ 253293 w 958848"/>
              <a:gd name="connsiteY16" fmla="*/ 189 h 1051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8848" h="1051808">
                <a:moveTo>
                  <a:pt x="263525" y="0"/>
                </a:moveTo>
                <a:lnTo>
                  <a:pt x="263525" y="4058"/>
                </a:lnTo>
                <a:lnTo>
                  <a:pt x="833962" y="4058"/>
                </a:lnTo>
                <a:cubicBezTo>
                  <a:pt x="902935" y="4058"/>
                  <a:pt x="958848" y="59971"/>
                  <a:pt x="958848" y="128944"/>
                </a:cubicBezTo>
                <a:lnTo>
                  <a:pt x="958848" y="628472"/>
                </a:lnTo>
                <a:cubicBezTo>
                  <a:pt x="958848" y="697445"/>
                  <a:pt x="902935" y="753358"/>
                  <a:pt x="833962" y="753358"/>
                </a:cubicBezTo>
                <a:lnTo>
                  <a:pt x="263525" y="753358"/>
                </a:lnTo>
                <a:lnTo>
                  <a:pt x="263525" y="756235"/>
                </a:lnTo>
                <a:lnTo>
                  <a:pt x="247650" y="756533"/>
                </a:lnTo>
                <a:cubicBezTo>
                  <a:pt x="94192" y="772407"/>
                  <a:pt x="76994" y="811567"/>
                  <a:pt x="0" y="1051808"/>
                </a:cubicBezTo>
                <a:lnTo>
                  <a:pt x="0" y="283458"/>
                </a:lnTo>
                <a:cubicBezTo>
                  <a:pt x="22621" y="152886"/>
                  <a:pt x="60722" y="88989"/>
                  <a:pt x="117649" y="45556"/>
                </a:cubicBezTo>
                <a:lnTo>
                  <a:pt x="153826" y="23663"/>
                </a:lnTo>
                <a:lnTo>
                  <a:pt x="168348" y="13872"/>
                </a:lnTo>
                <a:lnTo>
                  <a:pt x="170834" y="13370"/>
                </a:lnTo>
                <a:lnTo>
                  <a:pt x="180975" y="7233"/>
                </a:lnTo>
                <a:cubicBezTo>
                  <a:pt x="201215" y="3794"/>
                  <a:pt x="225673" y="1545"/>
                  <a:pt x="253293" y="189"/>
                </a:cubicBez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lumMod val="95000"/>
                  </a:prstClr>
                </a:solidFill>
                <a:effectLst/>
                <a:uLnTx/>
                <a:uFillTx/>
                <a:latin typeface="Corbel" panose="020B0503020204020204"/>
                <a:ea typeface="+mn-ea"/>
                <a:cs typeface="+mn-cs"/>
              </a:rPr>
              <a:t>Using Word Based Narrative Responses </a:t>
            </a:r>
          </a:p>
        </p:txBody>
      </p:sp>
      <p:sp>
        <p:nvSpPr>
          <p:cNvPr id="12" name="Freeform 38">
            <a:extLst>
              <a:ext uri="{FF2B5EF4-FFF2-40B4-BE49-F238E27FC236}">
                <a16:creationId xmlns:a16="http://schemas.microsoft.com/office/drawing/2014/main" id="{1C687167-AD0B-D24A-A7DF-3F814C57B8AB}"/>
              </a:ext>
            </a:extLst>
          </p:cNvPr>
          <p:cNvSpPr/>
          <p:nvPr/>
        </p:nvSpPr>
        <p:spPr>
          <a:xfrm>
            <a:off x="612250" y="5403516"/>
            <a:ext cx="8031956" cy="1219583"/>
          </a:xfrm>
          <a:custGeom>
            <a:avLst/>
            <a:gdLst>
              <a:gd name="connsiteX0" fmla="*/ 3770835 w 8740200"/>
              <a:gd name="connsiteY0" fmla="*/ 0 h 1487756"/>
              <a:gd name="connsiteX1" fmla="*/ 3770835 w 8740200"/>
              <a:gd name="connsiteY1" fmla="*/ 13302 h 1487756"/>
              <a:gd name="connsiteX2" fmla="*/ 3822471 w 8740200"/>
              <a:gd name="connsiteY2" fmla="*/ 7877 h 1487756"/>
              <a:gd name="connsiteX3" fmla="*/ 7223515 w 8740200"/>
              <a:gd name="connsiteY3" fmla="*/ 7877 h 1487756"/>
              <a:gd name="connsiteX4" fmla="*/ 7804931 w 8740200"/>
              <a:gd name="connsiteY4" fmla="*/ 30 h 1487756"/>
              <a:gd name="connsiteX5" fmla="*/ 8249001 w 8740200"/>
              <a:gd name="connsiteY5" fmla="*/ 12362 h 1487756"/>
              <a:gd name="connsiteX6" fmla="*/ 8740200 w 8740200"/>
              <a:gd name="connsiteY6" fmla="*/ 402512 h 1487756"/>
              <a:gd name="connsiteX7" fmla="*/ 8740200 w 8740200"/>
              <a:gd name="connsiteY7" fmla="*/ 1487756 h 1487756"/>
              <a:gd name="connsiteX8" fmla="*/ 8068033 w 8740200"/>
              <a:gd name="connsiteY8" fmla="*/ 1070699 h 1487756"/>
              <a:gd name="connsiteX9" fmla="*/ 7474669 w 8740200"/>
              <a:gd name="connsiteY9" fmla="*/ 1064972 h 1487756"/>
              <a:gd name="connsiteX10" fmla="*/ 7254131 w 8740200"/>
              <a:gd name="connsiteY10" fmla="*/ 1063602 h 1487756"/>
              <a:gd name="connsiteX11" fmla="*/ 7229253 w 8740200"/>
              <a:gd name="connsiteY11" fmla="*/ 1066215 h 1487756"/>
              <a:gd name="connsiteX12" fmla="*/ 6370428 w 8740200"/>
              <a:gd name="connsiteY12" fmla="*/ 1066215 h 1487756"/>
              <a:gd name="connsiteX13" fmla="*/ 6357821 w 8740200"/>
              <a:gd name="connsiteY13" fmla="*/ 1066362 h 1487756"/>
              <a:gd name="connsiteX14" fmla="*/ 6086001 w 8740200"/>
              <a:gd name="connsiteY14" fmla="*/ 1070699 h 1487756"/>
              <a:gd name="connsiteX15" fmla="*/ 6092773 w 8740200"/>
              <a:gd name="connsiteY15" fmla="*/ 1066215 h 1487756"/>
              <a:gd name="connsiteX16" fmla="*/ 3822471 w 8740200"/>
              <a:gd name="connsiteY16" fmla="*/ 1066215 h 1487756"/>
              <a:gd name="connsiteX17" fmla="*/ 3749161 w 8740200"/>
              <a:gd name="connsiteY17" fmla="*/ 1058513 h 1487756"/>
              <a:gd name="connsiteX18" fmla="*/ 3745746 w 8740200"/>
              <a:gd name="connsiteY18" fmla="*/ 1058872 h 1487756"/>
              <a:gd name="connsiteX19" fmla="*/ 2886922 w 8740200"/>
              <a:gd name="connsiteY19" fmla="*/ 1058872 h 1487756"/>
              <a:gd name="connsiteX20" fmla="*/ 2874314 w 8740200"/>
              <a:gd name="connsiteY20" fmla="*/ 1059019 h 1487756"/>
              <a:gd name="connsiteX21" fmla="*/ 2602495 w 8740200"/>
              <a:gd name="connsiteY21" fmla="*/ 1063356 h 1487756"/>
              <a:gd name="connsiteX22" fmla="*/ 2609266 w 8740200"/>
              <a:gd name="connsiteY22" fmla="*/ 1058872 h 1487756"/>
              <a:gd name="connsiteX23" fmla="*/ 338964 w 8740200"/>
              <a:gd name="connsiteY23" fmla="*/ 1058872 h 1487756"/>
              <a:gd name="connsiteX24" fmla="*/ 0 w 8740200"/>
              <a:gd name="connsiteY24" fmla="*/ 882479 h 1487756"/>
              <a:gd name="connsiteX25" fmla="*/ 0 w 8740200"/>
              <a:gd name="connsiteY25" fmla="*/ 176927 h 1487756"/>
              <a:gd name="connsiteX26" fmla="*/ 338964 w 8740200"/>
              <a:gd name="connsiteY26" fmla="*/ 534 h 1487756"/>
              <a:gd name="connsiteX27" fmla="*/ 3740008 w 8740200"/>
              <a:gd name="connsiteY27" fmla="*/ 534 h 1487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0200" h="1487756">
                <a:moveTo>
                  <a:pt x="3770835" y="0"/>
                </a:moveTo>
                <a:lnTo>
                  <a:pt x="3770835" y="13302"/>
                </a:lnTo>
                <a:lnTo>
                  <a:pt x="3822471" y="7877"/>
                </a:lnTo>
                <a:lnTo>
                  <a:pt x="7223515" y="7877"/>
                </a:lnTo>
                <a:cubicBezTo>
                  <a:pt x="7424951" y="4140"/>
                  <a:pt x="7626386" y="403"/>
                  <a:pt x="7804931" y="30"/>
                </a:cubicBezTo>
                <a:cubicBezTo>
                  <a:pt x="7983475" y="-345"/>
                  <a:pt x="8139128" y="2646"/>
                  <a:pt x="8249001" y="12362"/>
                </a:cubicBezTo>
                <a:cubicBezTo>
                  <a:pt x="8501781" y="78135"/>
                  <a:pt x="8658335" y="156612"/>
                  <a:pt x="8740200" y="402512"/>
                </a:cubicBezTo>
                <a:lnTo>
                  <a:pt x="8740200" y="1487756"/>
                </a:lnTo>
                <a:cubicBezTo>
                  <a:pt x="8531224" y="1148431"/>
                  <a:pt x="8484545" y="1093120"/>
                  <a:pt x="8068033" y="1070699"/>
                </a:cubicBezTo>
                <a:cubicBezTo>
                  <a:pt x="7834643" y="1068458"/>
                  <a:pt x="7643038" y="1066472"/>
                  <a:pt x="7474669" y="1064972"/>
                </a:cubicBezTo>
                <a:lnTo>
                  <a:pt x="7254131" y="1063602"/>
                </a:lnTo>
                <a:lnTo>
                  <a:pt x="7229253" y="1066215"/>
                </a:lnTo>
                <a:lnTo>
                  <a:pt x="6370428" y="1066215"/>
                </a:lnTo>
                <a:lnTo>
                  <a:pt x="6357821" y="1066362"/>
                </a:lnTo>
                <a:cubicBezTo>
                  <a:pt x="6273768" y="1067534"/>
                  <a:pt x="6183937" y="1068971"/>
                  <a:pt x="6086001" y="1070699"/>
                </a:cubicBezTo>
                <a:lnTo>
                  <a:pt x="6092773" y="1066215"/>
                </a:lnTo>
                <a:lnTo>
                  <a:pt x="3822471" y="1066215"/>
                </a:lnTo>
                <a:lnTo>
                  <a:pt x="3749161" y="1058513"/>
                </a:lnTo>
                <a:lnTo>
                  <a:pt x="3745746" y="1058872"/>
                </a:lnTo>
                <a:lnTo>
                  <a:pt x="2886922" y="1058872"/>
                </a:lnTo>
                <a:lnTo>
                  <a:pt x="2874314" y="1059019"/>
                </a:lnTo>
                <a:cubicBezTo>
                  <a:pt x="2790261" y="1060191"/>
                  <a:pt x="2700431" y="1061627"/>
                  <a:pt x="2602495" y="1063356"/>
                </a:cubicBezTo>
                <a:lnTo>
                  <a:pt x="2609266" y="1058872"/>
                </a:lnTo>
                <a:lnTo>
                  <a:pt x="338964" y="1058872"/>
                </a:lnTo>
                <a:cubicBezTo>
                  <a:pt x="151758" y="1058872"/>
                  <a:pt x="0" y="979899"/>
                  <a:pt x="0" y="882479"/>
                </a:cubicBezTo>
                <a:lnTo>
                  <a:pt x="0" y="176927"/>
                </a:lnTo>
                <a:cubicBezTo>
                  <a:pt x="0" y="79508"/>
                  <a:pt x="151758" y="534"/>
                  <a:pt x="338964" y="534"/>
                </a:cubicBezTo>
                <a:lnTo>
                  <a:pt x="3740008" y="534"/>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1440" rIns="91440" bIns="457200" rtlCol="0" anchor="t" anchorCtr="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Corbel" panose="020B0503020204020204"/>
                <a:ea typeface="+mn-ea"/>
                <a:cs typeface="+mn-cs"/>
              </a:rPr>
              <a:t>Use of a Microsoft Word-based Response Format for Qualitative Questions makes it easier for bidders and the scoring team. (PG&amp;E, SCE and SCG, SDG&amp;E for RFA only)</a:t>
            </a:r>
          </a:p>
        </p:txBody>
      </p:sp>
      <p:sp>
        <p:nvSpPr>
          <p:cNvPr id="13" name="Freeform 15">
            <a:extLst>
              <a:ext uri="{FF2B5EF4-FFF2-40B4-BE49-F238E27FC236}">
                <a16:creationId xmlns:a16="http://schemas.microsoft.com/office/drawing/2014/main" id="{92356E06-080B-3C4E-8ECD-AF15766F3A8B}"/>
              </a:ext>
            </a:extLst>
          </p:cNvPr>
          <p:cNvSpPr/>
          <p:nvPr/>
        </p:nvSpPr>
        <p:spPr>
          <a:xfrm>
            <a:off x="8666922" y="4168102"/>
            <a:ext cx="3264408" cy="1356358"/>
          </a:xfrm>
          <a:custGeom>
            <a:avLst/>
            <a:gdLst>
              <a:gd name="connsiteX0" fmla="*/ 263525 w 958848"/>
              <a:gd name="connsiteY0" fmla="*/ 0 h 1051808"/>
              <a:gd name="connsiteX1" fmla="*/ 263525 w 958848"/>
              <a:gd name="connsiteY1" fmla="*/ 4058 h 1051808"/>
              <a:gd name="connsiteX2" fmla="*/ 833962 w 958848"/>
              <a:gd name="connsiteY2" fmla="*/ 4058 h 1051808"/>
              <a:gd name="connsiteX3" fmla="*/ 958848 w 958848"/>
              <a:gd name="connsiteY3" fmla="*/ 128944 h 1051808"/>
              <a:gd name="connsiteX4" fmla="*/ 958848 w 958848"/>
              <a:gd name="connsiteY4" fmla="*/ 628472 h 1051808"/>
              <a:gd name="connsiteX5" fmla="*/ 833962 w 958848"/>
              <a:gd name="connsiteY5" fmla="*/ 753358 h 1051808"/>
              <a:gd name="connsiteX6" fmla="*/ 263525 w 958848"/>
              <a:gd name="connsiteY6" fmla="*/ 753358 h 1051808"/>
              <a:gd name="connsiteX7" fmla="*/ 263525 w 958848"/>
              <a:gd name="connsiteY7" fmla="*/ 756235 h 1051808"/>
              <a:gd name="connsiteX8" fmla="*/ 247650 w 958848"/>
              <a:gd name="connsiteY8" fmla="*/ 756533 h 1051808"/>
              <a:gd name="connsiteX9" fmla="*/ 0 w 958848"/>
              <a:gd name="connsiteY9" fmla="*/ 1051808 h 1051808"/>
              <a:gd name="connsiteX10" fmla="*/ 0 w 958848"/>
              <a:gd name="connsiteY10" fmla="*/ 283458 h 1051808"/>
              <a:gd name="connsiteX11" fmla="*/ 117649 w 958848"/>
              <a:gd name="connsiteY11" fmla="*/ 45556 h 1051808"/>
              <a:gd name="connsiteX12" fmla="*/ 153826 w 958848"/>
              <a:gd name="connsiteY12" fmla="*/ 23663 h 1051808"/>
              <a:gd name="connsiteX13" fmla="*/ 168348 w 958848"/>
              <a:gd name="connsiteY13" fmla="*/ 13872 h 1051808"/>
              <a:gd name="connsiteX14" fmla="*/ 170834 w 958848"/>
              <a:gd name="connsiteY14" fmla="*/ 13370 h 1051808"/>
              <a:gd name="connsiteX15" fmla="*/ 180975 w 958848"/>
              <a:gd name="connsiteY15" fmla="*/ 7233 h 1051808"/>
              <a:gd name="connsiteX16" fmla="*/ 253293 w 958848"/>
              <a:gd name="connsiteY16" fmla="*/ 189 h 1051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8848" h="1051808">
                <a:moveTo>
                  <a:pt x="263525" y="0"/>
                </a:moveTo>
                <a:lnTo>
                  <a:pt x="263525" y="4058"/>
                </a:lnTo>
                <a:lnTo>
                  <a:pt x="833962" y="4058"/>
                </a:lnTo>
                <a:cubicBezTo>
                  <a:pt x="902935" y="4058"/>
                  <a:pt x="958848" y="59971"/>
                  <a:pt x="958848" y="128944"/>
                </a:cubicBezTo>
                <a:lnTo>
                  <a:pt x="958848" y="628472"/>
                </a:lnTo>
                <a:cubicBezTo>
                  <a:pt x="958848" y="697445"/>
                  <a:pt x="902935" y="753358"/>
                  <a:pt x="833962" y="753358"/>
                </a:cubicBezTo>
                <a:lnTo>
                  <a:pt x="263525" y="753358"/>
                </a:lnTo>
                <a:lnTo>
                  <a:pt x="263525" y="756235"/>
                </a:lnTo>
                <a:lnTo>
                  <a:pt x="247650" y="756533"/>
                </a:lnTo>
                <a:cubicBezTo>
                  <a:pt x="94192" y="772407"/>
                  <a:pt x="76994" y="811567"/>
                  <a:pt x="0" y="1051808"/>
                </a:cubicBezTo>
                <a:lnTo>
                  <a:pt x="0" y="283458"/>
                </a:lnTo>
                <a:cubicBezTo>
                  <a:pt x="22621" y="152886"/>
                  <a:pt x="60722" y="88989"/>
                  <a:pt x="117649" y="45556"/>
                </a:cubicBezTo>
                <a:lnTo>
                  <a:pt x="153826" y="23663"/>
                </a:lnTo>
                <a:lnTo>
                  <a:pt x="168348" y="13872"/>
                </a:lnTo>
                <a:lnTo>
                  <a:pt x="170834" y="13370"/>
                </a:lnTo>
                <a:lnTo>
                  <a:pt x="180975" y="7233"/>
                </a:lnTo>
                <a:cubicBezTo>
                  <a:pt x="201215" y="3794"/>
                  <a:pt x="225673" y="1545"/>
                  <a:pt x="253293" y="189"/>
                </a:cubicBezTo>
                <a:close/>
              </a:path>
            </a:pathLst>
          </a:cu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lumMod val="95000"/>
                  </a:srgbClr>
                </a:solidFill>
                <a:effectLst/>
                <a:uLnTx/>
                <a:uFillTx/>
                <a:latin typeface="Corbel" panose="020B0503020204020204"/>
                <a:ea typeface="+mn-ea"/>
                <a:cs typeface="+mn-cs"/>
              </a:rPr>
              <a:t>Mapping CPUC Standard Terms &amp; Conditions</a:t>
            </a:r>
          </a:p>
        </p:txBody>
      </p:sp>
      <p:sp>
        <p:nvSpPr>
          <p:cNvPr id="14" name="Freeform 36">
            <a:extLst>
              <a:ext uri="{FF2B5EF4-FFF2-40B4-BE49-F238E27FC236}">
                <a16:creationId xmlns:a16="http://schemas.microsoft.com/office/drawing/2014/main" id="{E4353425-3900-4EFC-9EA2-75A05FCC2E40}"/>
              </a:ext>
            </a:extLst>
          </p:cNvPr>
          <p:cNvSpPr/>
          <p:nvPr/>
        </p:nvSpPr>
        <p:spPr>
          <a:xfrm>
            <a:off x="567774" y="1791945"/>
            <a:ext cx="8054672" cy="1356359"/>
          </a:xfrm>
          <a:custGeom>
            <a:avLst/>
            <a:gdLst>
              <a:gd name="connsiteX0" fmla="*/ 7804931 w 8740200"/>
              <a:gd name="connsiteY0" fmla="*/ 30 h 1487756"/>
              <a:gd name="connsiteX1" fmla="*/ 8249001 w 8740200"/>
              <a:gd name="connsiteY1" fmla="*/ 12362 h 1487756"/>
              <a:gd name="connsiteX2" fmla="*/ 8740200 w 8740200"/>
              <a:gd name="connsiteY2" fmla="*/ 402512 h 1487756"/>
              <a:gd name="connsiteX3" fmla="*/ 8740200 w 8740200"/>
              <a:gd name="connsiteY3" fmla="*/ 1487756 h 1487756"/>
              <a:gd name="connsiteX4" fmla="*/ 8068033 w 8740200"/>
              <a:gd name="connsiteY4" fmla="*/ 1070699 h 1487756"/>
              <a:gd name="connsiteX5" fmla="*/ 7474669 w 8740200"/>
              <a:gd name="connsiteY5" fmla="*/ 1064972 h 1487756"/>
              <a:gd name="connsiteX6" fmla="*/ 7254131 w 8740200"/>
              <a:gd name="connsiteY6" fmla="*/ 1063602 h 1487756"/>
              <a:gd name="connsiteX7" fmla="*/ 7229253 w 8740200"/>
              <a:gd name="connsiteY7" fmla="*/ 1066215 h 1487756"/>
              <a:gd name="connsiteX8" fmla="*/ 6370428 w 8740200"/>
              <a:gd name="connsiteY8" fmla="*/ 1066215 h 1487756"/>
              <a:gd name="connsiteX9" fmla="*/ 6357821 w 8740200"/>
              <a:gd name="connsiteY9" fmla="*/ 1066362 h 1487756"/>
              <a:gd name="connsiteX10" fmla="*/ 6086001 w 8740200"/>
              <a:gd name="connsiteY10" fmla="*/ 1070699 h 1487756"/>
              <a:gd name="connsiteX11" fmla="*/ 6092773 w 8740200"/>
              <a:gd name="connsiteY11" fmla="*/ 1066215 h 1487756"/>
              <a:gd name="connsiteX12" fmla="*/ 3822471 w 8740200"/>
              <a:gd name="connsiteY12" fmla="*/ 1066215 h 1487756"/>
              <a:gd name="connsiteX13" fmla="*/ 3770835 w 8740200"/>
              <a:gd name="connsiteY13" fmla="*/ 1060790 h 1487756"/>
              <a:gd name="connsiteX14" fmla="*/ 3770835 w 8740200"/>
              <a:gd name="connsiteY14" fmla="*/ 1063603 h 1487756"/>
              <a:gd name="connsiteX15" fmla="*/ 3770624 w 8740200"/>
              <a:gd name="connsiteY15" fmla="*/ 1063602 h 1487756"/>
              <a:gd name="connsiteX16" fmla="*/ 3745746 w 8740200"/>
              <a:gd name="connsiteY16" fmla="*/ 1066215 h 1487756"/>
              <a:gd name="connsiteX17" fmla="*/ 2886922 w 8740200"/>
              <a:gd name="connsiteY17" fmla="*/ 1066215 h 1487756"/>
              <a:gd name="connsiteX18" fmla="*/ 2874314 w 8740200"/>
              <a:gd name="connsiteY18" fmla="*/ 1066362 h 1487756"/>
              <a:gd name="connsiteX19" fmla="*/ 2602495 w 8740200"/>
              <a:gd name="connsiteY19" fmla="*/ 1070699 h 1487756"/>
              <a:gd name="connsiteX20" fmla="*/ 2609266 w 8740200"/>
              <a:gd name="connsiteY20" fmla="*/ 1066215 h 1487756"/>
              <a:gd name="connsiteX21" fmla="*/ 338964 w 8740200"/>
              <a:gd name="connsiteY21" fmla="*/ 1066215 h 1487756"/>
              <a:gd name="connsiteX22" fmla="*/ 0 w 8740200"/>
              <a:gd name="connsiteY22" fmla="*/ 889822 h 1487756"/>
              <a:gd name="connsiteX23" fmla="*/ 0 w 8740200"/>
              <a:gd name="connsiteY23" fmla="*/ 184270 h 1487756"/>
              <a:gd name="connsiteX24" fmla="*/ 338964 w 8740200"/>
              <a:gd name="connsiteY24" fmla="*/ 7877 h 1487756"/>
              <a:gd name="connsiteX25" fmla="*/ 3740008 w 8740200"/>
              <a:gd name="connsiteY25" fmla="*/ 7877 h 1487756"/>
              <a:gd name="connsiteX26" fmla="*/ 3770835 w 8740200"/>
              <a:gd name="connsiteY26" fmla="*/ 7343 h 1487756"/>
              <a:gd name="connsiteX27" fmla="*/ 3770835 w 8740200"/>
              <a:gd name="connsiteY27" fmla="*/ 13302 h 1487756"/>
              <a:gd name="connsiteX28" fmla="*/ 3822471 w 8740200"/>
              <a:gd name="connsiteY28" fmla="*/ 7877 h 1487756"/>
              <a:gd name="connsiteX29" fmla="*/ 7223515 w 8740200"/>
              <a:gd name="connsiteY29" fmla="*/ 7877 h 1487756"/>
              <a:gd name="connsiteX30" fmla="*/ 7804931 w 8740200"/>
              <a:gd name="connsiteY30" fmla="*/ 30 h 1487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740200" h="1487756">
                <a:moveTo>
                  <a:pt x="7804931" y="30"/>
                </a:moveTo>
                <a:cubicBezTo>
                  <a:pt x="7983475" y="-345"/>
                  <a:pt x="8139128" y="2645"/>
                  <a:pt x="8249001" y="12362"/>
                </a:cubicBezTo>
                <a:cubicBezTo>
                  <a:pt x="8501781" y="78135"/>
                  <a:pt x="8658335" y="156612"/>
                  <a:pt x="8740200" y="402512"/>
                </a:cubicBezTo>
                <a:lnTo>
                  <a:pt x="8740200" y="1487756"/>
                </a:lnTo>
                <a:cubicBezTo>
                  <a:pt x="8531224" y="1148431"/>
                  <a:pt x="8484545" y="1093120"/>
                  <a:pt x="8068033" y="1070699"/>
                </a:cubicBezTo>
                <a:cubicBezTo>
                  <a:pt x="7834643" y="1068458"/>
                  <a:pt x="7643038" y="1066472"/>
                  <a:pt x="7474669" y="1064972"/>
                </a:cubicBezTo>
                <a:lnTo>
                  <a:pt x="7254131" y="1063602"/>
                </a:lnTo>
                <a:lnTo>
                  <a:pt x="7229253" y="1066215"/>
                </a:lnTo>
                <a:lnTo>
                  <a:pt x="6370428" y="1066215"/>
                </a:lnTo>
                <a:lnTo>
                  <a:pt x="6357821" y="1066362"/>
                </a:lnTo>
                <a:cubicBezTo>
                  <a:pt x="6273768" y="1067534"/>
                  <a:pt x="6183937" y="1068971"/>
                  <a:pt x="6086001" y="1070699"/>
                </a:cubicBezTo>
                <a:lnTo>
                  <a:pt x="6092773" y="1066215"/>
                </a:lnTo>
                <a:lnTo>
                  <a:pt x="3822471" y="1066215"/>
                </a:lnTo>
                <a:lnTo>
                  <a:pt x="3770835" y="1060790"/>
                </a:lnTo>
                <a:lnTo>
                  <a:pt x="3770835" y="1063603"/>
                </a:lnTo>
                <a:lnTo>
                  <a:pt x="3770624" y="1063602"/>
                </a:lnTo>
                <a:lnTo>
                  <a:pt x="3745746" y="1066215"/>
                </a:lnTo>
                <a:lnTo>
                  <a:pt x="2886922" y="1066215"/>
                </a:lnTo>
                <a:lnTo>
                  <a:pt x="2874314" y="1066362"/>
                </a:lnTo>
                <a:cubicBezTo>
                  <a:pt x="2790261" y="1067534"/>
                  <a:pt x="2700431" y="1068970"/>
                  <a:pt x="2602495" y="1070699"/>
                </a:cubicBezTo>
                <a:lnTo>
                  <a:pt x="2609266" y="1066215"/>
                </a:lnTo>
                <a:lnTo>
                  <a:pt x="338964" y="1066215"/>
                </a:lnTo>
                <a:cubicBezTo>
                  <a:pt x="151758" y="1066215"/>
                  <a:pt x="0" y="987241"/>
                  <a:pt x="0" y="889822"/>
                </a:cubicBezTo>
                <a:lnTo>
                  <a:pt x="0" y="184270"/>
                </a:lnTo>
                <a:cubicBezTo>
                  <a:pt x="0" y="86850"/>
                  <a:pt x="151758" y="7877"/>
                  <a:pt x="338964" y="7877"/>
                </a:cubicBezTo>
                <a:lnTo>
                  <a:pt x="3740008" y="7877"/>
                </a:lnTo>
                <a:lnTo>
                  <a:pt x="3770835" y="7343"/>
                </a:lnTo>
                <a:lnTo>
                  <a:pt x="3770835" y="13302"/>
                </a:lnTo>
                <a:lnTo>
                  <a:pt x="3822471" y="7877"/>
                </a:lnTo>
                <a:lnTo>
                  <a:pt x="7223515" y="7877"/>
                </a:lnTo>
                <a:cubicBezTo>
                  <a:pt x="7424951" y="4140"/>
                  <a:pt x="7626386" y="402"/>
                  <a:pt x="7804931" y="3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1440" rIns="91440" bIns="457200" rtlCol="0" anchor="t" anchorCtr="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Corbel" panose="020B0503020204020204"/>
                <a:ea typeface="+mn-ea"/>
                <a:cs typeface="+mn-cs"/>
              </a:rPr>
              <a:t>Conducting training for the evaluation team including a mock scoring exercise is an effective way to prepare for scoring abstracts &amp; proposals. (SCE, PG&amp;E) </a:t>
            </a:r>
          </a:p>
        </p:txBody>
      </p:sp>
      <p:sp>
        <p:nvSpPr>
          <p:cNvPr id="15" name="Freeform 10">
            <a:extLst>
              <a:ext uri="{FF2B5EF4-FFF2-40B4-BE49-F238E27FC236}">
                <a16:creationId xmlns:a16="http://schemas.microsoft.com/office/drawing/2014/main" id="{774D478F-08D6-429C-9C5F-A09E1508F9FD}"/>
              </a:ext>
            </a:extLst>
          </p:cNvPr>
          <p:cNvSpPr/>
          <p:nvPr/>
        </p:nvSpPr>
        <p:spPr>
          <a:xfrm>
            <a:off x="8644206" y="1812169"/>
            <a:ext cx="3265985" cy="1314588"/>
          </a:xfrm>
          <a:custGeom>
            <a:avLst/>
            <a:gdLst>
              <a:gd name="connsiteX0" fmla="*/ 263525 w 958848"/>
              <a:gd name="connsiteY0" fmla="*/ 0 h 1051808"/>
              <a:gd name="connsiteX1" fmla="*/ 263525 w 958848"/>
              <a:gd name="connsiteY1" fmla="*/ 4058 h 1051808"/>
              <a:gd name="connsiteX2" fmla="*/ 833962 w 958848"/>
              <a:gd name="connsiteY2" fmla="*/ 4058 h 1051808"/>
              <a:gd name="connsiteX3" fmla="*/ 958848 w 958848"/>
              <a:gd name="connsiteY3" fmla="*/ 128944 h 1051808"/>
              <a:gd name="connsiteX4" fmla="*/ 958848 w 958848"/>
              <a:gd name="connsiteY4" fmla="*/ 628472 h 1051808"/>
              <a:gd name="connsiteX5" fmla="*/ 833962 w 958848"/>
              <a:gd name="connsiteY5" fmla="*/ 753358 h 1051808"/>
              <a:gd name="connsiteX6" fmla="*/ 263525 w 958848"/>
              <a:gd name="connsiteY6" fmla="*/ 753358 h 1051808"/>
              <a:gd name="connsiteX7" fmla="*/ 263525 w 958848"/>
              <a:gd name="connsiteY7" fmla="*/ 756235 h 1051808"/>
              <a:gd name="connsiteX8" fmla="*/ 247650 w 958848"/>
              <a:gd name="connsiteY8" fmla="*/ 756533 h 1051808"/>
              <a:gd name="connsiteX9" fmla="*/ 0 w 958848"/>
              <a:gd name="connsiteY9" fmla="*/ 1051808 h 1051808"/>
              <a:gd name="connsiteX10" fmla="*/ 0 w 958848"/>
              <a:gd name="connsiteY10" fmla="*/ 283458 h 1051808"/>
              <a:gd name="connsiteX11" fmla="*/ 117649 w 958848"/>
              <a:gd name="connsiteY11" fmla="*/ 45556 h 1051808"/>
              <a:gd name="connsiteX12" fmla="*/ 153826 w 958848"/>
              <a:gd name="connsiteY12" fmla="*/ 23663 h 1051808"/>
              <a:gd name="connsiteX13" fmla="*/ 168348 w 958848"/>
              <a:gd name="connsiteY13" fmla="*/ 13872 h 1051808"/>
              <a:gd name="connsiteX14" fmla="*/ 170834 w 958848"/>
              <a:gd name="connsiteY14" fmla="*/ 13370 h 1051808"/>
              <a:gd name="connsiteX15" fmla="*/ 180975 w 958848"/>
              <a:gd name="connsiteY15" fmla="*/ 7233 h 1051808"/>
              <a:gd name="connsiteX16" fmla="*/ 253293 w 958848"/>
              <a:gd name="connsiteY16" fmla="*/ 189 h 1051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8848" h="1051808">
                <a:moveTo>
                  <a:pt x="263525" y="0"/>
                </a:moveTo>
                <a:lnTo>
                  <a:pt x="263525" y="4058"/>
                </a:lnTo>
                <a:lnTo>
                  <a:pt x="833962" y="4058"/>
                </a:lnTo>
                <a:cubicBezTo>
                  <a:pt x="902935" y="4058"/>
                  <a:pt x="958848" y="59971"/>
                  <a:pt x="958848" y="128944"/>
                </a:cubicBezTo>
                <a:lnTo>
                  <a:pt x="958848" y="628472"/>
                </a:lnTo>
                <a:cubicBezTo>
                  <a:pt x="958848" y="697445"/>
                  <a:pt x="902935" y="753358"/>
                  <a:pt x="833962" y="753358"/>
                </a:cubicBezTo>
                <a:lnTo>
                  <a:pt x="263525" y="753358"/>
                </a:lnTo>
                <a:lnTo>
                  <a:pt x="263525" y="756235"/>
                </a:lnTo>
                <a:lnTo>
                  <a:pt x="247650" y="756533"/>
                </a:lnTo>
                <a:cubicBezTo>
                  <a:pt x="94192" y="772407"/>
                  <a:pt x="76994" y="811567"/>
                  <a:pt x="0" y="1051808"/>
                </a:cubicBezTo>
                <a:lnTo>
                  <a:pt x="0" y="283458"/>
                </a:lnTo>
                <a:cubicBezTo>
                  <a:pt x="22621" y="152886"/>
                  <a:pt x="60722" y="88989"/>
                  <a:pt x="117649" y="45556"/>
                </a:cubicBezTo>
                <a:lnTo>
                  <a:pt x="153826" y="23663"/>
                </a:lnTo>
                <a:lnTo>
                  <a:pt x="168348" y="13872"/>
                </a:lnTo>
                <a:lnTo>
                  <a:pt x="170834" y="13370"/>
                </a:lnTo>
                <a:lnTo>
                  <a:pt x="180975" y="7233"/>
                </a:lnTo>
                <a:cubicBezTo>
                  <a:pt x="201215" y="3794"/>
                  <a:pt x="225673" y="1545"/>
                  <a:pt x="253293" y="189"/>
                </a:cubicBezTo>
                <a:close/>
              </a:path>
            </a:pathLst>
          </a:cu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marL="0" marR="0" lvl="0" indent="0" algn="ctr" defTabSz="457200" rtl="0" eaLnBrk="1" fontAlgn="auto" latinLnBrk="0" hangingPunct="1">
              <a:lnSpc>
                <a:spcPct val="100000"/>
              </a:lnSpc>
              <a:spcBef>
                <a:spcPts val="600"/>
              </a:spcBef>
              <a:spcAft>
                <a:spcPts val="0"/>
              </a:spcAft>
              <a:buClrTx/>
              <a:buSzTx/>
              <a:buFontTx/>
              <a:buNone/>
              <a:tabLst/>
              <a:defRPr/>
            </a:pPr>
            <a:r>
              <a:rPr kumimoji="0" lang="en-US" sz="2000" b="1" i="0" u="none" strike="noStrike" kern="1200" cap="none" spc="0" normalizeH="0" baseline="0" noProof="0" dirty="0">
                <a:ln>
                  <a:noFill/>
                </a:ln>
                <a:solidFill>
                  <a:srgbClr val="FFFFFF">
                    <a:lumMod val="95000"/>
                  </a:srgbClr>
                </a:solidFill>
                <a:effectLst/>
                <a:uLnTx/>
                <a:uFillTx/>
                <a:latin typeface="Corbel" panose="020B0503020204020204"/>
                <a:ea typeface="+mn-ea"/>
                <a:cs typeface="+mn-cs"/>
              </a:rPr>
              <a:t>Training for Scoring Team with Mock Scoring </a:t>
            </a:r>
          </a:p>
        </p:txBody>
      </p:sp>
      <p:sp>
        <p:nvSpPr>
          <p:cNvPr id="11" name="Freeform 38">
            <a:extLst>
              <a:ext uri="{FF2B5EF4-FFF2-40B4-BE49-F238E27FC236}">
                <a16:creationId xmlns:a16="http://schemas.microsoft.com/office/drawing/2014/main" id="{44329835-9147-4EE0-B54C-B9C9CFB6F6C5}"/>
              </a:ext>
            </a:extLst>
          </p:cNvPr>
          <p:cNvSpPr/>
          <p:nvPr/>
        </p:nvSpPr>
        <p:spPr>
          <a:xfrm>
            <a:off x="612250" y="4168190"/>
            <a:ext cx="8054672" cy="1356359"/>
          </a:xfrm>
          <a:custGeom>
            <a:avLst/>
            <a:gdLst>
              <a:gd name="connsiteX0" fmla="*/ 3770835 w 8740200"/>
              <a:gd name="connsiteY0" fmla="*/ 0 h 1487756"/>
              <a:gd name="connsiteX1" fmla="*/ 3770835 w 8740200"/>
              <a:gd name="connsiteY1" fmla="*/ 13302 h 1487756"/>
              <a:gd name="connsiteX2" fmla="*/ 3822471 w 8740200"/>
              <a:gd name="connsiteY2" fmla="*/ 7877 h 1487756"/>
              <a:gd name="connsiteX3" fmla="*/ 7223515 w 8740200"/>
              <a:gd name="connsiteY3" fmla="*/ 7877 h 1487756"/>
              <a:gd name="connsiteX4" fmla="*/ 7804931 w 8740200"/>
              <a:gd name="connsiteY4" fmla="*/ 30 h 1487756"/>
              <a:gd name="connsiteX5" fmla="*/ 8249001 w 8740200"/>
              <a:gd name="connsiteY5" fmla="*/ 12362 h 1487756"/>
              <a:gd name="connsiteX6" fmla="*/ 8740200 w 8740200"/>
              <a:gd name="connsiteY6" fmla="*/ 402512 h 1487756"/>
              <a:gd name="connsiteX7" fmla="*/ 8740200 w 8740200"/>
              <a:gd name="connsiteY7" fmla="*/ 1487756 h 1487756"/>
              <a:gd name="connsiteX8" fmla="*/ 8068033 w 8740200"/>
              <a:gd name="connsiteY8" fmla="*/ 1070699 h 1487756"/>
              <a:gd name="connsiteX9" fmla="*/ 7474669 w 8740200"/>
              <a:gd name="connsiteY9" fmla="*/ 1064972 h 1487756"/>
              <a:gd name="connsiteX10" fmla="*/ 7254131 w 8740200"/>
              <a:gd name="connsiteY10" fmla="*/ 1063602 h 1487756"/>
              <a:gd name="connsiteX11" fmla="*/ 7229253 w 8740200"/>
              <a:gd name="connsiteY11" fmla="*/ 1066215 h 1487756"/>
              <a:gd name="connsiteX12" fmla="*/ 6370428 w 8740200"/>
              <a:gd name="connsiteY12" fmla="*/ 1066215 h 1487756"/>
              <a:gd name="connsiteX13" fmla="*/ 6357821 w 8740200"/>
              <a:gd name="connsiteY13" fmla="*/ 1066362 h 1487756"/>
              <a:gd name="connsiteX14" fmla="*/ 6086001 w 8740200"/>
              <a:gd name="connsiteY14" fmla="*/ 1070699 h 1487756"/>
              <a:gd name="connsiteX15" fmla="*/ 6092773 w 8740200"/>
              <a:gd name="connsiteY15" fmla="*/ 1066215 h 1487756"/>
              <a:gd name="connsiteX16" fmla="*/ 3822471 w 8740200"/>
              <a:gd name="connsiteY16" fmla="*/ 1066215 h 1487756"/>
              <a:gd name="connsiteX17" fmla="*/ 3749161 w 8740200"/>
              <a:gd name="connsiteY17" fmla="*/ 1058513 h 1487756"/>
              <a:gd name="connsiteX18" fmla="*/ 3745746 w 8740200"/>
              <a:gd name="connsiteY18" fmla="*/ 1058872 h 1487756"/>
              <a:gd name="connsiteX19" fmla="*/ 2886922 w 8740200"/>
              <a:gd name="connsiteY19" fmla="*/ 1058872 h 1487756"/>
              <a:gd name="connsiteX20" fmla="*/ 2874314 w 8740200"/>
              <a:gd name="connsiteY20" fmla="*/ 1059019 h 1487756"/>
              <a:gd name="connsiteX21" fmla="*/ 2602495 w 8740200"/>
              <a:gd name="connsiteY21" fmla="*/ 1063356 h 1487756"/>
              <a:gd name="connsiteX22" fmla="*/ 2609266 w 8740200"/>
              <a:gd name="connsiteY22" fmla="*/ 1058872 h 1487756"/>
              <a:gd name="connsiteX23" fmla="*/ 338964 w 8740200"/>
              <a:gd name="connsiteY23" fmla="*/ 1058872 h 1487756"/>
              <a:gd name="connsiteX24" fmla="*/ 0 w 8740200"/>
              <a:gd name="connsiteY24" fmla="*/ 882479 h 1487756"/>
              <a:gd name="connsiteX25" fmla="*/ 0 w 8740200"/>
              <a:gd name="connsiteY25" fmla="*/ 176927 h 1487756"/>
              <a:gd name="connsiteX26" fmla="*/ 338964 w 8740200"/>
              <a:gd name="connsiteY26" fmla="*/ 534 h 1487756"/>
              <a:gd name="connsiteX27" fmla="*/ 3740008 w 8740200"/>
              <a:gd name="connsiteY27" fmla="*/ 534 h 1487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0200" h="1487756">
                <a:moveTo>
                  <a:pt x="3770835" y="0"/>
                </a:moveTo>
                <a:lnTo>
                  <a:pt x="3770835" y="13302"/>
                </a:lnTo>
                <a:lnTo>
                  <a:pt x="3822471" y="7877"/>
                </a:lnTo>
                <a:lnTo>
                  <a:pt x="7223515" y="7877"/>
                </a:lnTo>
                <a:cubicBezTo>
                  <a:pt x="7424951" y="4140"/>
                  <a:pt x="7626386" y="403"/>
                  <a:pt x="7804931" y="30"/>
                </a:cubicBezTo>
                <a:cubicBezTo>
                  <a:pt x="7983475" y="-345"/>
                  <a:pt x="8139128" y="2646"/>
                  <a:pt x="8249001" y="12362"/>
                </a:cubicBezTo>
                <a:cubicBezTo>
                  <a:pt x="8501781" y="78135"/>
                  <a:pt x="8658335" y="156612"/>
                  <a:pt x="8740200" y="402512"/>
                </a:cubicBezTo>
                <a:lnTo>
                  <a:pt x="8740200" y="1487756"/>
                </a:lnTo>
                <a:cubicBezTo>
                  <a:pt x="8531224" y="1148431"/>
                  <a:pt x="8484545" y="1093120"/>
                  <a:pt x="8068033" y="1070699"/>
                </a:cubicBezTo>
                <a:cubicBezTo>
                  <a:pt x="7834643" y="1068458"/>
                  <a:pt x="7643038" y="1066472"/>
                  <a:pt x="7474669" y="1064972"/>
                </a:cubicBezTo>
                <a:lnTo>
                  <a:pt x="7254131" y="1063602"/>
                </a:lnTo>
                <a:lnTo>
                  <a:pt x="7229253" y="1066215"/>
                </a:lnTo>
                <a:lnTo>
                  <a:pt x="6370428" y="1066215"/>
                </a:lnTo>
                <a:lnTo>
                  <a:pt x="6357821" y="1066362"/>
                </a:lnTo>
                <a:cubicBezTo>
                  <a:pt x="6273768" y="1067534"/>
                  <a:pt x="6183937" y="1068971"/>
                  <a:pt x="6086001" y="1070699"/>
                </a:cubicBezTo>
                <a:lnTo>
                  <a:pt x="6092773" y="1066215"/>
                </a:lnTo>
                <a:lnTo>
                  <a:pt x="3822471" y="1066215"/>
                </a:lnTo>
                <a:lnTo>
                  <a:pt x="3749161" y="1058513"/>
                </a:lnTo>
                <a:lnTo>
                  <a:pt x="3745746" y="1058872"/>
                </a:lnTo>
                <a:lnTo>
                  <a:pt x="2886922" y="1058872"/>
                </a:lnTo>
                <a:lnTo>
                  <a:pt x="2874314" y="1059019"/>
                </a:lnTo>
                <a:cubicBezTo>
                  <a:pt x="2790261" y="1060191"/>
                  <a:pt x="2700431" y="1061627"/>
                  <a:pt x="2602495" y="1063356"/>
                </a:cubicBezTo>
                <a:lnTo>
                  <a:pt x="2609266" y="1058872"/>
                </a:lnTo>
                <a:lnTo>
                  <a:pt x="338964" y="1058872"/>
                </a:lnTo>
                <a:cubicBezTo>
                  <a:pt x="151758" y="1058872"/>
                  <a:pt x="0" y="979899"/>
                  <a:pt x="0" y="882479"/>
                </a:cubicBezTo>
                <a:lnTo>
                  <a:pt x="0" y="176927"/>
                </a:lnTo>
                <a:cubicBezTo>
                  <a:pt x="0" y="79508"/>
                  <a:pt x="151758" y="534"/>
                  <a:pt x="338964" y="534"/>
                </a:cubicBezTo>
                <a:lnTo>
                  <a:pt x="3740008" y="534"/>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1440" rIns="91440" bIns="457200" rtlCol="0" anchor="t" anchorCtr="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Corbel" panose="020B0503020204020204"/>
                <a:ea typeface="+mn-ea"/>
                <a:cs typeface="+mn-cs"/>
              </a:rPr>
              <a:t>Providing a mapping of CPUC Standard Contract Terms to the Final Contracts makes it easier to track / confirm this required language. (PG&amp;E, SCE, SDG&amp;E, SCG)</a:t>
            </a:r>
          </a:p>
        </p:txBody>
      </p:sp>
      <p:sp>
        <p:nvSpPr>
          <p:cNvPr id="16" name="Freeform 13">
            <a:extLst>
              <a:ext uri="{FF2B5EF4-FFF2-40B4-BE49-F238E27FC236}">
                <a16:creationId xmlns:a16="http://schemas.microsoft.com/office/drawing/2014/main" id="{E11D32E8-9CA4-4AB1-B5D5-550D1F68C1EF}"/>
              </a:ext>
            </a:extLst>
          </p:cNvPr>
          <p:cNvSpPr/>
          <p:nvPr/>
        </p:nvSpPr>
        <p:spPr>
          <a:xfrm>
            <a:off x="8644205" y="2954495"/>
            <a:ext cx="3264408" cy="1288224"/>
          </a:xfrm>
          <a:custGeom>
            <a:avLst/>
            <a:gdLst>
              <a:gd name="connsiteX0" fmla="*/ 263525 w 958848"/>
              <a:gd name="connsiteY0" fmla="*/ 0 h 1051808"/>
              <a:gd name="connsiteX1" fmla="*/ 263525 w 958848"/>
              <a:gd name="connsiteY1" fmla="*/ 4058 h 1051808"/>
              <a:gd name="connsiteX2" fmla="*/ 833962 w 958848"/>
              <a:gd name="connsiteY2" fmla="*/ 4058 h 1051808"/>
              <a:gd name="connsiteX3" fmla="*/ 958848 w 958848"/>
              <a:gd name="connsiteY3" fmla="*/ 128944 h 1051808"/>
              <a:gd name="connsiteX4" fmla="*/ 958848 w 958848"/>
              <a:gd name="connsiteY4" fmla="*/ 628472 h 1051808"/>
              <a:gd name="connsiteX5" fmla="*/ 833962 w 958848"/>
              <a:gd name="connsiteY5" fmla="*/ 753358 h 1051808"/>
              <a:gd name="connsiteX6" fmla="*/ 263525 w 958848"/>
              <a:gd name="connsiteY6" fmla="*/ 753358 h 1051808"/>
              <a:gd name="connsiteX7" fmla="*/ 263525 w 958848"/>
              <a:gd name="connsiteY7" fmla="*/ 756235 h 1051808"/>
              <a:gd name="connsiteX8" fmla="*/ 247650 w 958848"/>
              <a:gd name="connsiteY8" fmla="*/ 756533 h 1051808"/>
              <a:gd name="connsiteX9" fmla="*/ 0 w 958848"/>
              <a:gd name="connsiteY9" fmla="*/ 1051808 h 1051808"/>
              <a:gd name="connsiteX10" fmla="*/ 0 w 958848"/>
              <a:gd name="connsiteY10" fmla="*/ 283458 h 1051808"/>
              <a:gd name="connsiteX11" fmla="*/ 117649 w 958848"/>
              <a:gd name="connsiteY11" fmla="*/ 45556 h 1051808"/>
              <a:gd name="connsiteX12" fmla="*/ 153826 w 958848"/>
              <a:gd name="connsiteY12" fmla="*/ 23663 h 1051808"/>
              <a:gd name="connsiteX13" fmla="*/ 168348 w 958848"/>
              <a:gd name="connsiteY13" fmla="*/ 13872 h 1051808"/>
              <a:gd name="connsiteX14" fmla="*/ 170834 w 958848"/>
              <a:gd name="connsiteY14" fmla="*/ 13370 h 1051808"/>
              <a:gd name="connsiteX15" fmla="*/ 180975 w 958848"/>
              <a:gd name="connsiteY15" fmla="*/ 7233 h 1051808"/>
              <a:gd name="connsiteX16" fmla="*/ 253293 w 958848"/>
              <a:gd name="connsiteY16" fmla="*/ 189 h 1051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8848" h="1051808">
                <a:moveTo>
                  <a:pt x="263525" y="0"/>
                </a:moveTo>
                <a:lnTo>
                  <a:pt x="263525" y="4058"/>
                </a:lnTo>
                <a:lnTo>
                  <a:pt x="833962" y="4058"/>
                </a:lnTo>
                <a:cubicBezTo>
                  <a:pt x="902935" y="4058"/>
                  <a:pt x="958848" y="59971"/>
                  <a:pt x="958848" y="128944"/>
                </a:cubicBezTo>
                <a:lnTo>
                  <a:pt x="958848" y="628472"/>
                </a:lnTo>
                <a:cubicBezTo>
                  <a:pt x="958848" y="697445"/>
                  <a:pt x="902935" y="753358"/>
                  <a:pt x="833962" y="753358"/>
                </a:cubicBezTo>
                <a:lnTo>
                  <a:pt x="263525" y="753358"/>
                </a:lnTo>
                <a:lnTo>
                  <a:pt x="263525" y="756235"/>
                </a:lnTo>
                <a:lnTo>
                  <a:pt x="247650" y="756533"/>
                </a:lnTo>
                <a:cubicBezTo>
                  <a:pt x="94192" y="772407"/>
                  <a:pt x="76994" y="811567"/>
                  <a:pt x="0" y="1051808"/>
                </a:cubicBezTo>
                <a:lnTo>
                  <a:pt x="0" y="283458"/>
                </a:lnTo>
                <a:cubicBezTo>
                  <a:pt x="22621" y="152886"/>
                  <a:pt x="60722" y="88989"/>
                  <a:pt x="117649" y="45556"/>
                </a:cubicBezTo>
                <a:lnTo>
                  <a:pt x="153826" y="23663"/>
                </a:lnTo>
                <a:lnTo>
                  <a:pt x="168348" y="13872"/>
                </a:lnTo>
                <a:lnTo>
                  <a:pt x="170834" y="13370"/>
                </a:lnTo>
                <a:lnTo>
                  <a:pt x="180975" y="7233"/>
                </a:lnTo>
                <a:cubicBezTo>
                  <a:pt x="201215" y="3794"/>
                  <a:pt x="225673" y="1545"/>
                  <a:pt x="253293" y="189"/>
                </a:cubicBezTo>
                <a:close/>
              </a:path>
            </a:pathLst>
          </a:cu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lumMod val="95000"/>
                  </a:prstClr>
                </a:solidFill>
                <a:effectLst/>
                <a:uLnTx/>
                <a:uFillTx/>
                <a:latin typeface="Corbel" panose="020B0503020204020204"/>
                <a:ea typeface="+mn-ea"/>
                <a:cs typeface="+mn-cs"/>
              </a:rPr>
              <a:t>Effectively Utilizing the Pool of IEs </a:t>
            </a:r>
          </a:p>
        </p:txBody>
      </p:sp>
    </p:spTree>
    <p:extLst>
      <p:ext uri="{BB962C8B-B14F-4D97-AF65-F5344CB8AC3E}">
        <p14:creationId xmlns:p14="http://schemas.microsoft.com/office/powerpoint/2010/main" val="33654263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3D9E9-B0A2-904D-9E33-1C1DE5F4DC4E}"/>
              </a:ext>
            </a:extLst>
          </p:cNvPr>
          <p:cNvSpPr>
            <a:spLocks noGrp="1"/>
          </p:cNvSpPr>
          <p:nvPr>
            <p:ph type="ctrTitle"/>
          </p:nvPr>
        </p:nvSpPr>
        <p:spPr/>
        <p:txBody>
          <a:bodyPr/>
          <a:lstStyle/>
          <a:p>
            <a:r>
              <a:rPr lang="en-US" dirty="0"/>
              <a:t>Introduction</a:t>
            </a:r>
          </a:p>
        </p:txBody>
      </p:sp>
      <p:sp>
        <p:nvSpPr>
          <p:cNvPr id="3" name="Subtitle 2">
            <a:extLst>
              <a:ext uri="{FF2B5EF4-FFF2-40B4-BE49-F238E27FC236}">
                <a16:creationId xmlns:a16="http://schemas.microsoft.com/office/drawing/2014/main" id="{769610A6-BF99-D444-8765-3D077C18B11A}"/>
              </a:ext>
            </a:extLst>
          </p:cNvPr>
          <p:cNvSpPr>
            <a:spLocks noGrp="1"/>
          </p:cNvSpPr>
          <p:nvPr>
            <p:ph type="subTitle" idx="1"/>
          </p:nvPr>
        </p:nvSpPr>
        <p:spPr>
          <a:xfrm>
            <a:off x="609600" y="3429000"/>
            <a:ext cx="7924800" cy="1655762"/>
          </a:xfrm>
        </p:spPr>
        <p:txBody>
          <a:bodyPr/>
          <a:lstStyle/>
          <a:p>
            <a:r>
              <a:rPr lang="en-US" dirty="0"/>
              <a:t>Fifth Semi-Annual Energy Efficiency Third Party Solicitation Stakeholder Meeting</a:t>
            </a:r>
          </a:p>
          <a:p>
            <a:r>
              <a:rPr lang="en-US" dirty="0"/>
              <a:t>July 28, 2021</a:t>
            </a:r>
          </a:p>
        </p:txBody>
      </p:sp>
    </p:spTree>
    <p:extLst>
      <p:ext uri="{BB962C8B-B14F-4D97-AF65-F5344CB8AC3E}">
        <p14:creationId xmlns:p14="http://schemas.microsoft.com/office/powerpoint/2010/main" val="427080927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CFAEE-6D5A-4E5A-984D-76329D6A1854}"/>
              </a:ext>
            </a:extLst>
          </p:cNvPr>
          <p:cNvSpPr>
            <a:spLocks noGrp="1"/>
          </p:cNvSpPr>
          <p:nvPr>
            <p:ph type="title"/>
          </p:nvPr>
        </p:nvSpPr>
        <p:spPr>
          <a:xfrm>
            <a:off x="623283" y="280637"/>
            <a:ext cx="10412464" cy="1356360"/>
          </a:xfrm>
        </p:spPr>
        <p:txBody>
          <a:bodyPr>
            <a:normAutofit/>
          </a:bodyPr>
          <a:lstStyle/>
          <a:p>
            <a:r>
              <a:rPr lang="en-US" dirty="0">
                <a:solidFill>
                  <a:schemeClr val="tx1">
                    <a:lumMod val="65000"/>
                    <a:lumOff val="35000"/>
                  </a:schemeClr>
                </a:solidFill>
              </a:rPr>
              <a:t>Effective Solicitation Practices – continued</a:t>
            </a:r>
            <a:endParaRPr lang="en-US" strike="sngStrike" dirty="0">
              <a:solidFill>
                <a:schemeClr val="tx1">
                  <a:lumMod val="65000"/>
                  <a:lumOff val="35000"/>
                </a:schemeClr>
              </a:solidFill>
            </a:endParaRPr>
          </a:p>
        </p:txBody>
      </p:sp>
      <p:sp>
        <p:nvSpPr>
          <p:cNvPr id="4" name="Footer Placeholder 3">
            <a:extLst>
              <a:ext uri="{FF2B5EF4-FFF2-40B4-BE49-F238E27FC236}">
                <a16:creationId xmlns:a16="http://schemas.microsoft.com/office/drawing/2014/main" id="{184CFF9D-B864-4AAF-B33A-E020B9C84BDA}"/>
              </a:ext>
            </a:extLst>
          </p:cNvPr>
          <p:cNvSpPr>
            <a:spLocks noGrp="1"/>
          </p:cNvSpPr>
          <p:nvPr>
            <p:ph type="ftr" sz="quarter" idx="11"/>
          </p:nvPr>
        </p:nvSpPr>
        <p:spPr>
          <a:xfrm>
            <a:off x="3949148" y="6223828"/>
            <a:ext cx="4717774" cy="365125"/>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rPr>
              <a:t>IE Semi-Annual Report: July 28, 2021 Stakeholder Meeting</a:t>
            </a:r>
          </a:p>
        </p:txBody>
      </p:sp>
      <p:sp>
        <p:nvSpPr>
          <p:cNvPr id="5" name="Slide Number Placeholder 4">
            <a:extLst>
              <a:ext uri="{FF2B5EF4-FFF2-40B4-BE49-F238E27FC236}">
                <a16:creationId xmlns:a16="http://schemas.microsoft.com/office/drawing/2014/main" id="{B6FAA57D-BF74-4A68-A4E3-F12CAC39530B}"/>
              </a:ext>
            </a:extLst>
          </p:cNvPr>
          <p:cNvSpPr>
            <a:spLocks noGrp="1"/>
          </p:cNvSpPr>
          <p:nvPr>
            <p:ph type="sldNum" sz="quarter" idx="12"/>
          </p:nvPr>
        </p:nvSpPr>
        <p:spPr>
          <a:xfrm>
            <a:off x="9329530" y="6223828"/>
            <a:ext cx="1706217"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AB73BC-B049-4115-A692-8D63A059BFB8}" type="slidenum">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8" name="Freeform 37">
            <a:extLst>
              <a:ext uri="{FF2B5EF4-FFF2-40B4-BE49-F238E27FC236}">
                <a16:creationId xmlns:a16="http://schemas.microsoft.com/office/drawing/2014/main" id="{DFD6BBF1-9FDA-4063-875C-61356A8F51A7}"/>
              </a:ext>
            </a:extLst>
          </p:cNvPr>
          <p:cNvSpPr/>
          <p:nvPr/>
        </p:nvSpPr>
        <p:spPr>
          <a:xfrm>
            <a:off x="767123" y="1710982"/>
            <a:ext cx="7865724" cy="1278708"/>
          </a:xfrm>
          <a:custGeom>
            <a:avLst/>
            <a:gdLst>
              <a:gd name="connsiteX0" fmla="*/ 3770835 w 8740200"/>
              <a:gd name="connsiteY0" fmla="*/ 0 h 1487756"/>
              <a:gd name="connsiteX1" fmla="*/ 3770835 w 8740200"/>
              <a:gd name="connsiteY1" fmla="*/ 13302 h 1487756"/>
              <a:gd name="connsiteX2" fmla="*/ 3822471 w 8740200"/>
              <a:gd name="connsiteY2" fmla="*/ 7877 h 1487756"/>
              <a:gd name="connsiteX3" fmla="*/ 7223515 w 8740200"/>
              <a:gd name="connsiteY3" fmla="*/ 7877 h 1487756"/>
              <a:gd name="connsiteX4" fmla="*/ 7804931 w 8740200"/>
              <a:gd name="connsiteY4" fmla="*/ 30 h 1487756"/>
              <a:gd name="connsiteX5" fmla="*/ 8249001 w 8740200"/>
              <a:gd name="connsiteY5" fmla="*/ 12362 h 1487756"/>
              <a:gd name="connsiteX6" fmla="*/ 8740200 w 8740200"/>
              <a:gd name="connsiteY6" fmla="*/ 402512 h 1487756"/>
              <a:gd name="connsiteX7" fmla="*/ 8740200 w 8740200"/>
              <a:gd name="connsiteY7" fmla="*/ 1487756 h 1487756"/>
              <a:gd name="connsiteX8" fmla="*/ 8068033 w 8740200"/>
              <a:gd name="connsiteY8" fmla="*/ 1070699 h 1487756"/>
              <a:gd name="connsiteX9" fmla="*/ 7474669 w 8740200"/>
              <a:gd name="connsiteY9" fmla="*/ 1064972 h 1487756"/>
              <a:gd name="connsiteX10" fmla="*/ 7254131 w 8740200"/>
              <a:gd name="connsiteY10" fmla="*/ 1063602 h 1487756"/>
              <a:gd name="connsiteX11" fmla="*/ 7229253 w 8740200"/>
              <a:gd name="connsiteY11" fmla="*/ 1066215 h 1487756"/>
              <a:gd name="connsiteX12" fmla="*/ 6370428 w 8740200"/>
              <a:gd name="connsiteY12" fmla="*/ 1066215 h 1487756"/>
              <a:gd name="connsiteX13" fmla="*/ 6357821 w 8740200"/>
              <a:gd name="connsiteY13" fmla="*/ 1066362 h 1487756"/>
              <a:gd name="connsiteX14" fmla="*/ 6086001 w 8740200"/>
              <a:gd name="connsiteY14" fmla="*/ 1070699 h 1487756"/>
              <a:gd name="connsiteX15" fmla="*/ 6092773 w 8740200"/>
              <a:gd name="connsiteY15" fmla="*/ 1066215 h 1487756"/>
              <a:gd name="connsiteX16" fmla="*/ 3822471 w 8740200"/>
              <a:gd name="connsiteY16" fmla="*/ 1066215 h 1487756"/>
              <a:gd name="connsiteX17" fmla="*/ 3749162 w 8740200"/>
              <a:gd name="connsiteY17" fmla="*/ 1058513 h 1487756"/>
              <a:gd name="connsiteX18" fmla="*/ 3745746 w 8740200"/>
              <a:gd name="connsiteY18" fmla="*/ 1058872 h 1487756"/>
              <a:gd name="connsiteX19" fmla="*/ 2886922 w 8740200"/>
              <a:gd name="connsiteY19" fmla="*/ 1058872 h 1487756"/>
              <a:gd name="connsiteX20" fmla="*/ 2874314 w 8740200"/>
              <a:gd name="connsiteY20" fmla="*/ 1059019 h 1487756"/>
              <a:gd name="connsiteX21" fmla="*/ 2602495 w 8740200"/>
              <a:gd name="connsiteY21" fmla="*/ 1063356 h 1487756"/>
              <a:gd name="connsiteX22" fmla="*/ 2609266 w 8740200"/>
              <a:gd name="connsiteY22" fmla="*/ 1058872 h 1487756"/>
              <a:gd name="connsiteX23" fmla="*/ 338964 w 8740200"/>
              <a:gd name="connsiteY23" fmla="*/ 1058872 h 1487756"/>
              <a:gd name="connsiteX24" fmla="*/ 0 w 8740200"/>
              <a:gd name="connsiteY24" fmla="*/ 882479 h 1487756"/>
              <a:gd name="connsiteX25" fmla="*/ 0 w 8740200"/>
              <a:gd name="connsiteY25" fmla="*/ 176927 h 1487756"/>
              <a:gd name="connsiteX26" fmla="*/ 338964 w 8740200"/>
              <a:gd name="connsiteY26" fmla="*/ 534 h 1487756"/>
              <a:gd name="connsiteX27" fmla="*/ 3740008 w 8740200"/>
              <a:gd name="connsiteY27" fmla="*/ 534 h 1487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0200" h="1487756">
                <a:moveTo>
                  <a:pt x="3770835" y="0"/>
                </a:moveTo>
                <a:lnTo>
                  <a:pt x="3770835" y="13302"/>
                </a:lnTo>
                <a:lnTo>
                  <a:pt x="3822471" y="7877"/>
                </a:lnTo>
                <a:lnTo>
                  <a:pt x="7223515" y="7877"/>
                </a:lnTo>
                <a:cubicBezTo>
                  <a:pt x="7424951" y="4140"/>
                  <a:pt x="7626386" y="403"/>
                  <a:pt x="7804931" y="30"/>
                </a:cubicBezTo>
                <a:cubicBezTo>
                  <a:pt x="7983475" y="-345"/>
                  <a:pt x="8139128" y="2646"/>
                  <a:pt x="8249001" y="12362"/>
                </a:cubicBezTo>
                <a:cubicBezTo>
                  <a:pt x="8501781" y="78135"/>
                  <a:pt x="8658335" y="156612"/>
                  <a:pt x="8740200" y="402512"/>
                </a:cubicBezTo>
                <a:lnTo>
                  <a:pt x="8740200" y="1487756"/>
                </a:lnTo>
                <a:cubicBezTo>
                  <a:pt x="8531224" y="1148431"/>
                  <a:pt x="8484545" y="1093120"/>
                  <a:pt x="8068033" y="1070699"/>
                </a:cubicBezTo>
                <a:cubicBezTo>
                  <a:pt x="7834643" y="1068458"/>
                  <a:pt x="7643038" y="1066472"/>
                  <a:pt x="7474669" y="1064972"/>
                </a:cubicBezTo>
                <a:lnTo>
                  <a:pt x="7254131" y="1063602"/>
                </a:lnTo>
                <a:lnTo>
                  <a:pt x="7229253" y="1066215"/>
                </a:lnTo>
                <a:lnTo>
                  <a:pt x="6370428" y="1066215"/>
                </a:lnTo>
                <a:lnTo>
                  <a:pt x="6357821" y="1066362"/>
                </a:lnTo>
                <a:cubicBezTo>
                  <a:pt x="6273768" y="1067534"/>
                  <a:pt x="6183937" y="1068971"/>
                  <a:pt x="6086001" y="1070699"/>
                </a:cubicBezTo>
                <a:lnTo>
                  <a:pt x="6092773" y="1066215"/>
                </a:lnTo>
                <a:lnTo>
                  <a:pt x="3822471" y="1066215"/>
                </a:lnTo>
                <a:lnTo>
                  <a:pt x="3749162" y="1058513"/>
                </a:lnTo>
                <a:lnTo>
                  <a:pt x="3745746" y="1058872"/>
                </a:lnTo>
                <a:lnTo>
                  <a:pt x="2886922" y="1058872"/>
                </a:lnTo>
                <a:lnTo>
                  <a:pt x="2874314" y="1059019"/>
                </a:lnTo>
                <a:cubicBezTo>
                  <a:pt x="2790261" y="1060191"/>
                  <a:pt x="2700431" y="1061627"/>
                  <a:pt x="2602495" y="1063356"/>
                </a:cubicBezTo>
                <a:lnTo>
                  <a:pt x="2609266" y="1058872"/>
                </a:lnTo>
                <a:lnTo>
                  <a:pt x="338964" y="1058872"/>
                </a:lnTo>
                <a:cubicBezTo>
                  <a:pt x="151758" y="1058872"/>
                  <a:pt x="0" y="979898"/>
                  <a:pt x="0" y="882479"/>
                </a:cubicBezTo>
                <a:lnTo>
                  <a:pt x="0" y="176927"/>
                </a:lnTo>
                <a:cubicBezTo>
                  <a:pt x="0" y="79507"/>
                  <a:pt x="151758" y="534"/>
                  <a:pt x="338964" y="534"/>
                </a:cubicBezTo>
                <a:lnTo>
                  <a:pt x="3740008" y="534"/>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1440" rIns="91440" bIns="457200" rtlCol="0" anchor="t" anchorCtr="0">
            <a:noAutofit/>
          </a:bodyPr>
          <a:lstStyle/>
          <a:p>
            <a:pPr marL="0" marR="0" lvl="1" indent="0" algn="l" defTabSz="4572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DDDDDD">
                    <a:lumMod val="50000"/>
                  </a:srgbClr>
                </a:solidFill>
                <a:effectLst/>
                <a:uLnTx/>
                <a:uFillTx/>
                <a:latin typeface="Corbel" panose="020B0503020204020204"/>
                <a:ea typeface="+mn-ea"/>
                <a:cs typeface="+mn-cs"/>
              </a:rPr>
              <a:t>Offering “office hours” to provide the PRG with additional opportunities to ask questions during contract review can be especially useful when the PRG is reviewing multiple IOU contracts.  (SCE, PG&amp;E)</a:t>
            </a:r>
          </a:p>
          <a:p>
            <a:pPr marL="0" marR="0" lvl="1" indent="0" algn="l" defTabSz="457200" rtl="0" eaLnBrk="1" fontAlgn="auto" latinLnBrk="0" hangingPunct="1">
              <a:lnSpc>
                <a:spcPct val="100000"/>
              </a:lnSpc>
              <a:spcBef>
                <a:spcPts val="0"/>
              </a:spcBef>
              <a:spcAft>
                <a:spcPts val="600"/>
              </a:spcAft>
              <a:buClrTx/>
              <a:buSzTx/>
              <a:buFontTx/>
              <a:buNone/>
              <a:tabLst/>
              <a:defRPr/>
            </a:pPr>
            <a:endParaRPr kumimoji="0" lang="en-US" sz="2000" b="0" i="0" u="none" strike="noStrike" kern="1200" cap="none" spc="0" normalizeH="0" baseline="0" noProof="0" dirty="0">
              <a:ln>
                <a:noFill/>
              </a:ln>
              <a:solidFill>
                <a:srgbClr val="DDDDDD">
                  <a:lumMod val="50000"/>
                </a:srgbClr>
              </a:solidFill>
              <a:effectLst/>
              <a:uLnTx/>
              <a:uFillTx/>
              <a:latin typeface="Corbel" panose="020B0503020204020204"/>
              <a:ea typeface="+mn-ea"/>
              <a:cs typeface="+mn-cs"/>
            </a:endParaRPr>
          </a:p>
          <a:p>
            <a:pPr marL="0" marR="0" lvl="1" indent="0" algn="l" defTabSz="4572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DDDDDD">
                    <a:lumMod val="50000"/>
                  </a:srgbClr>
                </a:solidFill>
                <a:effectLst/>
                <a:uLnTx/>
                <a:uFillTx/>
                <a:latin typeface="Corbel" panose="020B0503020204020204"/>
                <a:ea typeface="+mn-ea"/>
                <a:cs typeface="+mn-cs"/>
              </a:rPr>
              <a:t>)</a:t>
            </a:r>
          </a:p>
        </p:txBody>
      </p:sp>
      <p:sp>
        <p:nvSpPr>
          <p:cNvPr id="9" name="Freeform 13">
            <a:extLst>
              <a:ext uri="{FF2B5EF4-FFF2-40B4-BE49-F238E27FC236}">
                <a16:creationId xmlns:a16="http://schemas.microsoft.com/office/drawing/2014/main" id="{A5E6CD95-4D00-4C6F-A6D9-1E6D401E74FC}"/>
              </a:ext>
            </a:extLst>
          </p:cNvPr>
          <p:cNvSpPr/>
          <p:nvPr/>
        </p:nvSpPr>
        <p:spPr>
          <a:xfrm>
            <a:off x="8666922" y="5258553"/>
            <a:ext cx="3264408" cy="1197864"/>
          </a:xfrm>
          <a:custGeom>
            <a:avLst/>
            <a:gdLst>
              <a:gd name="connsiteX0" fmla="*/ 263525 w 958848"/>
              <a:gd name="connsiteY0" fmla="*/ 0 h 1051808"/>
              <a:gd name="connsiteX1" fmla="*/ 263525 w 958848"/>
              <a:gd name="connsiteY1" fmla="*/ 4058 h 1051808"/>
              <a:gd name="connsiteX2" fmla="*/ 833962 w 958848"/>
              <a:gd name="connsiteY2" fmla="*/ 4058 h 1051808"/>
              <a:gd name="connsiteX3" fmla="*/ 958848 w 958848"/>
              <a:gd name="connsiteY3" fmla="*/ 128944 h 1051808"/>
              <a:gd name="connsiteX4" fmla="*/ 958848 w 958848"/>
              <a:gd name="connsiteY4" fmla="*/ 628472 h 1051808"/>
              <a:gd name="connsiteX5" fmla="*/ 833962 w 958848"/>
              <a:gd name="connsiteY5" fmla="*/ 753358 h 1051808"/>
              <a:gd name="connsiteX6" fmla="*/ 263525 w 958848"/>
              <a:gd name="connsiteY6" fmla="*/ 753358 h 1051808"/>
              <a:gd name="connsiteX7" fmla="*/ 263525 w 958848"/>
              <a:gd name="connsiteY7" fmla="*/ 756235 h 1051808"/>
              <a:gd name="connsiteX8" fmla="*/ 247650 w 958848"/>
              <a:gd name="connsiteY8" fmla="*/ 756533 h 1051808"/>
              <a:gd name="connsiteX9" fmla="*/ 0 w 958848"/>
              <a:gd name="connsiteY9" fmla="*/ 1051808 h 1051808"/>
              <a:gd name="connsiteX10" fmla="*/ 0 w 958848"/>
              <a:gd name="connsiteY10" fmla="*/ 283458 h 1051808"/>
              <a:gd name="connsiteX11" fmla="*/ 117649 w 958848"/>
              <a:gd name="connsiteY11" fmla="*/ 45556 h 1051808"/>
              <a:gd name="connsiteX12" fmla="*/ 153826 w 958848"/>
              <a:gd name="connsiteY12" fmla="*/ 23663 h 1051808"/>
              <a:gd name="connsiteX13" fmla="*/ 168348 w 958848"/>
              <a:gd name="connsiteY13" fmla="*/ 13872 h 1051808"/>
              <a:gd name="connsiteX14" fmla="*/ 170834 w 958848"/>
              <a:gd name="connsiteY14" fmla="*/ 13370 h 1051808"/>
              <a:gd name="connsiteX15" fmla="*/ 180975 w 958848"/>
              <a:gd name="connsiteY15" fmla="*/ 7233 h 1051808"/>
              <a:gd name="connsiteX16" fmla="*/ 253293 w 958848"/>
              <a:gd name="connsiteY16" fmla="*/ 189 h 1051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8848" h="1051808">
                <a:moveTo>
                  <a:pt x="263525" y="0"/>
                </a:moveTo>
                <a:lnTo>
                  <a:pt x="263525" y="4058"/>
                </a:lnTo>
                <a:lnTo>
                  <a:pt x="833962" y="4058"/>
                </a:lnTo>
                <a:cubicBezTo>
                  <a:pt x="902935" y="4058"/>
                  <a:pt x="958848" y="59971"/>
                  <a:pt x="958848" y="128944"/>
                </a:cubicBezTo>
                <a:lnTo>
                  <a:pt x="958848" y="628472"/>
                </a:lnTo>
                <a:cubicBezTo>
                  <a:pt x="958848" y="697445"/>
                  <a:pt x="902935" y="753358"/>
                  <a:pt x="833962" y="753358"/>
                </a:cubicBezTo>
                <a:lnTo>
                  <a:pt x="263525" y="753358"/>
                </a:lnTo>
                <a:lnTo>
                  <a:pt x="263525" y="756235"/>
                </a:lnTo>
                <a:lnTo>
                  <a:pt x="247650" y="756533"/>
                </a:lnTo>
                <a:cubicBezTo>
                  <a:pt x="94192" y="772407"/>
                  <a:pt x="76994" y="811567"/>
                  <a:pt x="0" y="1051808"/>
                </a:cubicBezTo>
                <a:lnTo>
                  <a:pt x="0" y="283458"/>
                </a:lnTo>
                <a:cubicBezTo>
                  <a:pt x="22621" y="152886"/>
                  <a:pt x="60722" y="88989"/>
                  <a:pt x="117649" y="45556"/>
                </a:cubicBezTo>
                <a:lnTo>
                  <a:pt x="153826" y="23663"/>
                </a:lnTo>
                <a:lnTo>
                  <a:pt x="168348" y="13872"/>
                </a:lnTo>
                <a:lnTo>
                  <a:pt x="170834" y="13370"/>
                </a:lnTo>
                <a:lnTo>
                  <a:pt x="180975" y="7233"/>
                </a:lnTo>
                <a:cubicBezTo>
                  <a:pt x="201215" y="3794"/>
                  <a:pt x="225673" y="1545"/>
                  <a:pt x="253293" y="189"/>
                </a:cubicBez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37160" bIns="9144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white">
                    <a:lumMod val="95000"/>
                  </a:prstClr>
                </a:solidFill>
                <a:effectLst/>
                <a:uLnTx/>
                <a:uFillTx/>
                <a:latin typeface="Corbel" panose="020B0503020204020204"/>
                <a:ea typeface="+mn-ea"/>
                <a:cs typeface="+mn-cs"/>
              </a:rPr>
              <a:t>Multiple Rounds of Q&amp;A for Bidders </a:t>
            </a:r>
          </a:p>
        </p:txBody>
      </p:sp>
      <p:sp>
        <p:nvSpPr>
          <p:cNvPr id="12" name="Freeform 38">
            <a:extLst>
              <a:ext uri="{FF2B5EF4-FFF2-40B4-BE49-F238E27FC236}">
                <a16:creationId xmlns:a16="http://schemas.microsoft.com/office/drawing/2014/main" id="{1C687167-AD0B-D24A-A7DF-3F814C57B8AB}"/>
              </a:ext>
            </a:extLst>
          </p:cNvPr>
          <p:cNvSpPr/>
          <p:nvPr/>
        </p:nvSpPr>
        <p:spPr>
          <a:xfrm>
            <a:off x="778482" y="5258553"/>
            <a:ext cx="7865724" cy="1278708"/>
          </a:xfrm>
          <a:custGeom>
            <a:avLst/>
            <a:gdLst>
              <a:gd name="connsiteX0" fmla="*/ 3770835 w 8740200"/>
              <a:gd name="connsiteY0" fmla="*/ 0 h 1487756"/>
              <a:gd name="connsiteX1" fmla="*/ 3770835 w 8740200"/>
              <a:gd name="connsiteY1" fmla="*/ 13302 h 1487756"/>
              <a:gd name="connsiteX2" fmla="*/ 3822471 w 8740200"/>
              <a:gd name="connsiteY2" fmla="*/ 7877 h 1487756"/>
              <a:gd name="connsiteX3" fmla="*/ 7223515 w 8740200"/>
              <a:gd name="connsiteY3" fmla="*/ 7877 h 1487756"/>
              <a:gd name="connsiteX4" fmla="*/ 7804931 w 8740200"/>
              <a:gd name="connsiteY4" fmla="*/ 30 h 1487756"/>
              <a:gd name="connsiteX5" fmla="*/ 8249001 w 8740200"/>
              <a:gd name="connsiteY5" fmla="*/ 12362 h 1487756"/>
              <a:gd name="connsiteX6" fmla="*/ 8740200 w 8740200"/>
              <a:gd name="connsiteY6" fmla="*/ 402512 h 1487756"/>
              <a:gd name="connsiteX7" fmla="*/ 8740200 w 8740200"/>
              <a:gd name="connsiteY7" fmla="*/ 1487756 h 1487756"/>
              <a:gd name="connsiteX8" fmla="*/ 8068033 w 8740200"/>
              <a:gd name="connsiteY8" fmla="*/ 1070699 h 1487756"/>
              <a:gd name="connsiteX9" fmla="*/ 7474669 w 8740200"/>
              <a:gd name="connsiteY9" fmla="*/ 1064972 h 1487756"/>
              <a:gd name="connsiteX10" fmla="*/ 7254131 w 8740200"/>
              <a:gd name="connsiteY10" fmla="*/ 1063602 h 1487756"/>
              <a:gd name="connsiteX11" fmla="*/ 7229253 w 8740200"/>
              <a:gd name="connsiteY11" fmla="*/ 1066215 h 1487756"/>
              <a:gd name="connsiteX12" fmla="*/ 6370428 w 8740200"/>
              <a:gd name="connsiteY12" fmla="*/ 1066215 h 1487756"/>
              <a:gd name="connsiteX13" fmla="*/ 6357821 w 8740200"/>
              <a:gd name="connsiteY13" fmla="*/ 1066362 h 1487756"/>
              <a:gd name="connsiteX14" fmla="*/ 6086001 w 8740200"/>
              <a:gd name="connsiteY14" fmla="*/ 1070699 h 1487756"/>
              <a:gd name="connsiteX15" fmla="*/ 6092773 w 8740200"/>
              <a:gd name="connsiteY15" fmla="*/ 1066215 h 1487756"/>
              <a:gd name="connsiteX16" fmla="*/ 3822471 w 8740200"/>
              <a:gd name="connsiteY16" fmla="*/ 1066215 h 1487756"/>
              <a:gd name="connsiteX17" fmla="*/ 3749161 w 8740200"/>
              <a:gd name="connsiteY17" fmla="*/ 1058513 h 1487756"/>
              <a:gd name="connsiteX18" fmla="*/ 3745746 w 8740200"/>
              <a:gd name="connsiteY18" fmla="*/ 1058872 h 1487756"/>
              <a:gd name="connsiteX19" fmla="*/ 2886922 w 8740200"/>
              <a:gd name="connsiteY19" fmla="*/ 1058872 h 1487756"/>
              <a:gd name="connsiteX20" fmla="*/ 2874314 w 8740200"/>
              <a:gd name="connsiteY20" fmla="*/ 1059019 h 1487756"/>
              <a:gd name="connsiteX21" fmla="*/ 2602495 w 8740200"/>
              <a:gd name="connsiteY21" fmla="*/ 1063356 h 1487756"/>
              <a:gd name="connsiteX22" fmla="*/ 2609266 w 8740200"/>
              <a:gd name="connsiteY22" fmla="*/ 1058872 h 1487756"/>
              <a:gd name="connsiteX23" fmla="*/ 338964 w 8740200"/>
              <a:gd name="connsiteY23" fmla="*/ 1058872 h 1487756"/>
              <a:gd name="connsiteX24" fmla="*/ 0 w 8740200"/>
              <a:gd name="connsiteY24" fmla="*/ 882479 h 1487756"/>
              <a:gd name="connsiteX25" fmla="*/ 0 w 8740200"/>
              <a:gd name="connsiteY25" fmla="*/ 176927 h 1487756"/>
              <a:gd name="connsiteX26" fmla="*/ 338964 w 8740200"/>
              <a:gd name="connsiteY26" fmla="*/ 534 h 1487756"/>
              <a:gd name="connsiteX27" fmla="*/ 3740008 w 8740200"/>
              <a:gd name="connsiteY27" fmla="*/ 534 h 1487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0200" h="1487756">
                <a:moveTo>
                  <a:pt x="3770835" y="0"/>
                </a:moveTo>
                <a:lnTo>
                  <a:pt x="3770835" y="13302"/>
                </a:lnTo>
                <a:lnTo>
                  <a:pt x="3822471" y="7877"/>
                </a:lnTo>
                <a:lnTo>
                  <a:pt x="7223515" y="7877"/>
                </a:lnTo>
                <a:cubicBezTo>
                  <a:pt x="7424951" y="4140"/>
                  <a:pt x="7626386" y="403"/>
                  <a:pt x="7804931" y="30"/>
                </a:cubicBezTo>
                <a:cubicBezTo>
                  <a:pt x="7983475" y="-345"/>
                  <a:pt x="8139128" y="2646"/>
                  <a:pt x="8249001" y="12362"/>
                </a:cubicBezTo>
                <a:cubicBezTo>
                  <a:pt x="8501781" y="78135"/>
                  <a:pt x="8658335" y="156612"/>
                  <a:pt x="8740200" y="402512"/>
                </a:cubicBezTo>
                <a:lnTo>
                  <a:pt x="8740200" y="1487756"/>
                </a:lnTo>
                <a:cubicBezTo>
                  <a:pt x="8531224" y="1148431"/>
                  <a:pt x="8484545" y="1093120"/>
                  <a:pt x="8068033" y="1070699"/>
                </a:cubicBezTo>
                <a:cubicBezTo>
                  <a:pt x="7834643" y="1068458"/>
                  <a:pt x="7643038" y="1066472"/>
                  <a:pt x="7474669" y="1064972"/>
                </a:cubicBezTo>
                <a:lnTo>
                  <a:pt x="7254131" y="1063602"/>
                </a:lnTo>
                <a:lnTo>
                  <a:pt x="7229253" y="1066215"/>
                </a:lnTo>
                <a:lnTo>
                  <a:pt x="6370428" y="1066215"/>
                </a:lnTo>
                <a:lnTo>
                  <a:pt x="6357821" y="1066362"/>
                </a:lnTo>
                <a:cubicBezTo>
                  <a:pt x="6273768" y="1067534"/>
                  <a:pt x="6183937" y="1068971"/>
                  <a:pt x="6086001" y="1070699"/>
                </a:cubicBezTo>
                <a:lnTo>
                  <a:pt x="6092773" y="1066215"/>
                </a:lnTo>
                <a:lnTo>
                  <a:pt x="3822471" y="1066215"/>
                </a:lnTo>
                <a:lnTo>
                  <a:pt x="3749161" y="1058513"/>
                </a:lnTo>
                <a:lnTo>
                  <a:pt x="3745746" y="1058872"/>
                </a:lnTo>
                <a:lnTo>
                  <a:pt x="2886922" y="1058872"/>
                </a:lnTo>
                <a:lnTo>
                  <a:pt x="2874314" y="1059019"/>
                </a:lnTo>
                <a:cubicBezTo>
                  <a:pt x="2790261" y="1060191"/>
                  <a:pt x="2700431" y="1061627"/>
                  <a:pt x="2602495" y="1063356"/>
                </a:cubicBezTo>
                <a:lnTo>
                  <a:pt x="2609266" y="1058872"/>
                </a:lnTo>
                <a:lnTo>
                  <a:pt x="338964" y="1058872"/>
                </a:lnTo>
                <a:cubicBezTo>
                  <a:pt x="151758" y="1058872"/>
                  <a:pt x="0" y="979899"/>
                  <a:pt x="0" y="882479"/>
                </a:cubicBezTo>
                <a:lnTo>
                  <a:pt x="0" y="176927"/>
                </a:lnTo>
                <a:cubicBezTo>
                  <a:pt x="0" y="79508"/>
                  <a:pt x="151758" y="534"/>
                  <a:pt x="338964" y="534"/>
                </a:cubicBezTo>
                <a:lnTo>
                  <a:pt x="3740008" y="534"/>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1440" rIns="91440" bIns="457200" rtlCol="0" anchor="t" anchorCtr="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DDDDDD">
                    <a:lumMod val="50000"/>
                  </a:srgbClr>
                </a:solidFill>
                <a:effectLst/>
                <a:uLnTx/>
                <a:uFillTx/>
                <a:latin typeface="Corbel" panose="020B0503020204020204"/>
                <a:ea typeface="+mn-ea"/>
                <a:cs typeface="+mn-cs"/>
              </a:rPr>
              <a:t>Providing more than a single round of Q&amp;A following bidders’ conferences allows bidders to provide follow-up questions and affords bidders more opportunity to ask questions. (SCE, SDG&amp;E, SCG, PG&amp;E)</a:t>
            </a:r>
          </a:p>
        </p:txBody>
      </p:sp>
      <p:sp>
        <p:nvSpPr>
          <p:cNvPr id="13" name="Freeform 15">
            <a:extLst>
              <a:ext uri="{FF2B5EF4-FFF2-40B4-BE49-F238E27FC236}">
                <a16:creationId xmlns:a16="http://schemas.microsoft.com/office/drawing/2014/main" id="{92356E06-080B-3C4E-8ECD-AF15766F3A8B}"/>
              </a:ext>
            </a:extLst>
          </p:cNvPr>
          <p:cNvSpPr/>
          <p:nvPr/>
        </p:nvSpPr>
        <p:spPr>
          <a:xfrm>
            <a:off x="8666922" y="4023138"/>
            <a:ext cx="3264408" cy="1278707"/>
          </a:xfrm>
          <a:custGeom>
            <a:avLst/>
            <a:gdLst>
              <a:gd name="connsiteX0" fmla="*/ 263525 w 958848"/>
              <a:gd name="connsiteY0" fmla="*/ 0 h 1051808"/>
              <a:gd name="connsiteX1" fmla="*/ 263525 w 958848"/>
              <a:gd name="connsiteY1" fmla="*/ 4058 h 1051808"/>
              <a:gd name="connsiteX2" fmla="*/ 833962 w 958848"/>
              <a:gd name="connsiteY2" fmla="*/ 4058 h 1051808"/>
              <a:gd name="connsiteX3" fmla="*/ 958848 w 958848"/>
              <a:gd name="connsiteY3" fmla="*/ 128944 h 1051808"/>
              <a:gd name="connsiteX4" fmla="*/ 958848 w 958848"/>
              <a:gd name="connsiteY4" fmla="*/ 628472 h 1051808"/>
              <a:gd name="connsiteX5" fmla="*/ 833962 w 958848"/>
              <a:gd name="connsiteY5" fmla="*/ 753358 h 1051808"/>
              <a:gd name="connsiteX6" fmla="*/ 263525 w 958848"/>
              <a:gd name="connsiteY6" fmla="*/ 753358 h 1051808"/>
              <a:gd name="connsiteX7" fmla="*/ 263525 w 958848"/>
              <a:gd name="connsiteY7" fmla="*/ 756235 h 1051808"/>
              <a:gd name="connsiteX8" fmla="*/ 247650 w 958848"/>
              <a:gd name="connsiteY8" fmla="*/ 756533 h 1051808"/>
              <a:gd name="connsiteX9" fmla="*/ 0 w 958848"/>
              <a:gd name="connsiteY9" fmla="*/ 1051808 h 1051808"/>
              <a:gd name="connsiteX10" fmla="*/ 0 w 958848"/>
              <a:gd name="connsiteY10" fmla="*/ 283458 h 1051808"/>
              <a:gd name="connsiteX11" fmla="*/ 117649 w 958848"/>
              <a:gd name="connsiteY11" fmla="*/ 45556 h 1051808"/>
              <a:gd name="connsiteX12" fmla="*/ 153826 w 958848"/>
              <a:gd name="connsiteY12" fmla="*/ 23663 h 1051808"/>
              <a:gd name="connsiteX13" fmla="*/ 168348 w 958848"/>
              <a:gd name="connsiteY13" fmla="*/ 13872 h 1051808"/>
              <a:gd name="connsiteX14" fmla="*/ 170834 w 958848"/>
              <a:gd name="connsiteY14" fmla="*/ 13370 h 1051808"/>
              <a:gd name="connsiteX15" fmla="*/ 180975 w 958848"/>
              <a:gd name="connsiteY15" fmla="*/ 7233 h 1051808"/>
              <a:gd name="connsiteX16" fmla="*/ 253293 w 958848"/>
              <a:gd name="connsiteY16" fmla="*/ 189 h 1051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8848" h="1051808">
                <a:moveTo>
                  <a:pt x="263525" y="0"/>
                </a:moveTo>
                <a:lnTo>
                  <a:pt x="263525" y="4058"/>
                </a:lnTo>
                <a:lnTo>
                  <a:pt x="833962" y="4058"/>
                </a:lnTo>
                <a:cubicBezTo>
                  <a:pt x="902935" y="4058"/>
                  <a:pt x="958848" y="59971"/>
                  <a:pt x="958848" y="128944"/>
                </a:cubicBezTo>
                <a:lnTo>
                  <a:pt x="958848" y="628472"/>
                </a:lnTo>
                <a:cubicBezTo>
                  <a:pt x="958848" y="697445"/>
                  <a:pt x="902935" y="753358"/>
                  <a:pt x="833962" y="753358"/>
                </a:cubicBezTo>
                <a:lnTo>
                  <a:pt x="263525" y="753358"/>
                </a:lnTo>
                <a:lnTo>
                  <a:pt x="263525" y="756235"/>
                </a:lnTo>
                <a:lnTo>
                  <a:pt x="247650" y="756533"/>
                </a:lnTo>
                <a:cubicBezTo>
                  <a:pt x="94192" y="772407"/>
                  <a:pt x="76994" y="811567"/>
                  <a:pt x="0" y="1051808"/>
                </a:cubicBezTo>
                <a:lnTo>
                  <a:pt x="0" y="283458"/>
                </a:lnTo>
                <a:cubicBezTo>
                  <a:pt x="22621" y="152886"/>
                  <a:pt x="60722" y="88989"/>
                  <a:pt x="117649" y="45556"/>
                </a:cubicBezTo>
                <a:lnTo>
                  <a:pt x="153826" y="23663"/>
                </a:lnTo>
                <a:lnTo>
                  <a:pt x="168348" y="13872"/>
                </a:lnTo>
                <a:lnTo>
                  <a:pt x="170834" y="13370"/>
                </a:lnTo>
                <a:lnTo>
                  <a:pt x="180975" y="7233"/>
                </a:lnTo>
                <a:cubicBezTo>
                  <a:pt x="201215" y="3794"/>
                  <a:pt x="225673" y="1545"/>
                  <a:pt x="253293" y="189"/>
                </a:cubicBezTo>
                <a:close/>
              </a:path>
            </a:pathLst>
          </a:cu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FFFF">
                    <a:lumMod val="95000"/>
                  </a:srgbClr>
                </a:solidFill>
                <a:effectLst/>
                <a:uLnTx/>
                <a:uFillTx/>
                <a:latin typeface="Corbel" panose="020B0503020204020204"/>
                <a:ea typeface="+mn-ea"/>
                <a:cs typeface="+mn-cs"/>
              </a:rPr>
              <a:t>Real-Time Answers at Bidders’ Conference </a:t>
            </a:r>
          </a:p>
        </p:txBody>
      </p:sp>
      <p:sp>
        <p:nvSpPr>
          <p:cNvPr id="15" name="Freeform 10">
            <a:extLst>
              <a:ext uri="{FF2B5EF4-FFF2-40B4-BE49-F238E27FC236}">
                <a16:creationId xmlns:a16="http://schemas.microsoft.com/office/drawing/2014/main" id="{774D478F-08D6-429C-9C5F-A09E1508F9FD}"/>
              </a:ext>
            </a:extLst>
          </p:cNvPr>
          <p:cNvSpPr/>
          <p:nvPr/>
        </p:nvSpPr>
        <p:spPr>
          <a:xfrm>
            <a:off x="8654774" y="1726396"/>
            <a:ext cx="3243269" cy="1197864"/>
          </a:xfrm>
          <a:custGeom>
            <a:avLst/>
            <a:gdLst>
              <a:gd name="connsiteX0" fmla="*/ 263525 w 958848"/>
              <a:gd name="connsiteY0" fmla="*/ 0 h 1051808"/>
              <a:gd name="connsiteX1" fmla="*/ 263525 w 958848"/>
              <a:gd name="connsiteY1" fmla="*/ 4058 h 1051808"/>
              <a:gd name="connsiteX2" fmla="*/ 833962 w 958848"/>
              <a:gd name="connsiteY2" fmla="*/ 4058 h 1051808"/>
              <a:gd name="connsiteX3" fmla="*/ 958848 w 958848"/>
              <a:gd name="connsiteY3" fmla="*/ 128944 h 1051808"/>
              <a:gd name="connsiteX4" fmla="*/ 958848 w 958848"/>
              <a:gd name="connsiteY4" fmla="*/ 628472 h 1051808"/>
              <a:gd name="connsiteX5" fmla="*/ 833962 w 958848"/>
              <a:gd name="connsiteY5" fmla="*/ 753358 h 1051808"/>
              <a:gd name="connsiteX6" fmla="*/ 263525 w 958848"/>
              <a:gd name="connsiteY6" fmla="*/ 753358 h 1051808"/>
              <a:gd name="connsiteX7" fmla="*/ 263525 w 958848"/>
              <a:gd name="connsiteY7" fmla="*/ 756235 h 1051808"/>
              <a:gd name="connsiteX8" fmla="*/ 247650 w 958848"/>
              <a:gd name="connsiteY8" fmla="*/ 756533 h 1051808"/>
              <a:gd name="connsiteX9" fmla="*/ 0 w 958848"/>
              <a:gd name="connsiteY9" fmla="*/ 1051808 h 1051808"/>
              <a:gd name="connsiteX10" fmla="*/ 0 w 958848"/>
              <a:gd name="connsiteY10" fmla="*/ 283458 h 1051808"/>
              <a:gd name="connsiteX11" fmla="*/ 117649 w 958848"/>
              <a:gd name="connsiteY11" fmla="*/ 45556 h 1051808"/>
              <a:gd name="connsiteX12" fmla="*/ 153826 w 958848"/>
              <a:gd name="connsiteY12" fmla="*/ 23663 h 1051808"/>
              <a:gd name="connsiteX13" fmla="*/ 168348 w 958848"/>
              <a:gd name="connsiteY13" fmla="*/ 13872 h 1051808"/>
              <a:gd name="connsiteX14" fmla="*/ 170834 w 958848"/>
              <a:gd name="connsiteY14" fmla="*/ 13370 h 1051808"/>
              <a:gd name="connsiteX15" fmla="*/ 180975 w 958848"/>
              <a:gd name="connsiteY15" fmla="*/ 7233 h 1051808"/>
              <a:gd name="connsiteX16" fmla="*/ 253293 w 958848"/>
              <a:gd name="connsiteY16" fmla="*/ 189 h 1051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8848" h="1051808">
                <a:moveTo>
                  <a:pt x="263525" y="0"/>
                </a:moveTo>
                <a:lnTo>
                  <a:pt x="263525" y="4058"/>
                </a:lnTo>
                <a:lnTo>
                  <a:pt x="833962" y="4058"/>
                </a:lnTo>
                <a:cubicBezTo>
                  <a:pt x="902935" y="4058"/>
                  <a:pt x="958848" y="59971"/>
                  <a:pt x="958848" y="128944"/>
                </a:cubicBezTo>
                <a:lnTo>
                  <a:pt x="958848" y="628472"/>
                </a:lnTo>
                <a:cubicBezTo>
                  <a:pt x="958848" y="697445"/>
                  <a:pt x="902935" y="753358"/>
                  <a:pt x="833962" y="753358"/>
                </a:cubicBezTo>
                <a:lnTo>
                  <a:pt x="263525" y="753358"/>
                </a:lnTo>
                <a:lnTo>
                  <a:pt x="263525" y="756235"/>
                </a:lnTo>
                <a:lnTo>
                  <a:pt x="247650" y="756533"/>
                </a:lnTo>
                <a:cubicBezTo>
                  <a:pt x="94192" y="772407"/>
                  <a:pt x="76994" y="811567"/>
                  <a:pt x="0" y="1051808"/>
                </a:cubicBezTo>
                <a:lnTo>
                  <a:pt x="0" y="283458"/>
                </a:lnTo>
                <a:cubicBezTo>
                  <a:pt x="22621" y="152886"/>
                  <a:pt x="60722" y="88989"/>
                  <a:pt x="117649" y="45556"/>
                </a:cubicBezTo>
                <a:lnTo>
                  <a:pt x="153826" y="23663"/>
                </a:lnTo>
                <a:lnTo>
                  <a:pt x="168348" y="13872"/>
                </a:lnTo>
                <a:lnTo>
                  <a:pt x="170834" y="13370"/>
                </a:lnTo>
                <a:lnTo>
                  <a:pt x="180975" y="7233"/>
                </a:lnTo>
                <a:cubicBezTo>
                  <a:pt x="201215" y="3794"/>
                  <a:pt x="225673" y="1545"/>
                  <a:pt x="253293" y="189"/>
                </a:cubicBezTo>
                <a:close/>
              </a:path>
            </a:pathLst>
          </a:cu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white">
                    <a:lumMod val="95000"/>
                  </a:prstClr>
                </a:solidFill>
                <a:effectLst/>
                <a:uLnTx/>
                <a:uFillTx/>
                <a:latin typeface="Corbel" panose="020B0503020204020204"/>
                <a:ea typeface="+mn-ea"/>
                <a:cs typeface="+mn-cs"/>
              </a:rPr>
              <a:t>Open Office Hours for PRG Q&amp;A </a:t>
            </a:r>
          </a:p>
        </p:txBody>
      </p:sp>
      <p:sp>
        <p:nvSpPr>
          <p:cNvPr id="11" name="Freeform 38">
            <a:extLst>
              <a:ext uri="{FF2B5EF4-FFF2-40B4-BE49-F238E27FC236}">
                <a16:creationId xmlns:a16="http://schemas.microsoft.com/office/drawing/2014/main" id="{44329835-9147-4EE0-B54C-B9C9CFB6F6C5}"/>
              </a:ext>
            </a:extLst>
          </p:cNvPr>
          <p:cNvSpPr/>
          <p:nvPr/>
        </p:nvSpPr>
        <p:spPr>
          <a:xfrm>
            <a:off x="801198" y="4023227"/>
            <a:ext cx="7865724" cy="1356360"/>
          </a:xfrm>
          <a:custGeom>
            <a:avLst/>
            <a:gdLst>
              <a:gd name="connsiteX0" fmla="*/ 3770835 w 8740200"/>
              <a:gd name="connsiteY0" fmla="*/ 0 h 1487756"/>
              <a:gd name="connsiteX1" fmla="*/ 3770835 w 8740200"/>
              <a:gd name="connsiteY1" fmla="*/ 13302 h 1487756"/>
              <a:gd name="connsiteX2" fmla="*/ 3822471 w 8740200"/>
              <a:gd name="connsiteY2" fmla="*/ 7877 h 1487756"/>
              <a:gd name="connsiteX3" fmla="*/ 7223515 w 8740200"/>
              <a:gd name="connsiteY3" fmla="*/ 7877 h 1487756"/>
              <a:gd name="connsiteX4" fmla="*/ 7804931 w 8740200"/>
              <a:gd name="connsiteY4" fmla="*/ 30 h 1487756"/>
              <a:gd name="connsiteX5" fmla="*/ 8249001 w 8740200"/>
              <a:gd name="connsiteY5" fmla="*/ 12362 h 1487756"/>
              <a:gd name="connsiteX6" fmla="*/ 8740200 w 8740200"/>
              <a:gd name="connsiteY6" fmla="*/ 402512 h 1487756"/>
              <a:gd name="connsiteX7" fmla="*/ 8740200 w 8740200"/>
              <a:gd name="connsiteY7" fmla="*/ 1487756 h 1487756"/>
              <a:gd name="connsiteX8" fmla="*/ 8068033 w 8740200"/>
              <a:gd name="connsiteY8" fmla="*/ 1070699 h 1487756"/>
              <a:gd name="connsiteX9" fmla="*/ 7474669 w 8740200"/>
              <a:gd name="connsiteY9" fmla="*/ 1064972 h 1487756"/>
              <a:gd name="connsiteX10" fmla="*/ 7254131 w 8740200"/>
              <a:gd name="connsiteY10" fmla="*/ 1063602 h 1487756"/>
              <a:gd name="connsiteX11" fmla="*/ 7229253 w 8740200"/>
              <a:gd name="connsiteY11" fmla="*/ 1066215 h 1487756"/>
              <a:gd name="connsiteX12" fmla="*/ 6370428 w 8740200"/>
              <a:gd name="connsiteY12" fmla="*/ 1066215 h 1487756"/>
              <a:gd name="connsiteX13" fmla="*/ 6357821 w 8740200"/>
              <a:gd name="connsiteY13" fmla="*/ 1066362 h 1487756"/>
              <a:gd name="connsiteX14" fmla="*/ 6086001 w 8740200"/>
              <a:gd name="connsiteY14" fmla="*/ 1070699 h 1487756"/>
              <a:gd name="connsiteX15" fmla="*/ 6092773 w 8740200"/>
              <a:gd name="connsiteY15" fmla="*/ 1066215 h 1487756"/>
              <a:gd name="connsiteX16" fmla="*/ 3822471 w 8740200"/>
              <a:gd name="connsiteY16" fmla="*/ 1066215 h 1487756"/>
              <a:gd name="connsiteX17" fmla="*/ 3749161 w 8740200"/>
              <a:gd name="connsiteY17" fmla="*/ 1058513 h 1487756"/>
              <a:gd name="connsiteX18" fmla="*/ 3745746 w 8740200"/>
              <a:gd name="connsiteY18" fmla="*/ 1058872 h 1487756"/>
              <a:gd name="connsiteX19" fmla="*/ 2886922 w 8740200"/>
              <a:gd name="connsiteY19" fmla="*/ 1058872 h 1487756"/>
              <a:gd name="connsiteX20" fmla="*/ 2874314 w 8740200"/>
              <a:gd name="connsiteY20" fmla="*/ 1059019 h 1487756"/>
              <a:gd name="connsiteX21" fmla="*/ 2602495 w 8740200"/>
              <a:gd name="connsiteY21" fmla="*/ 1063356 h 1487756"/>
              <a:gd name="connsiteX22" fmla="*/ 2609266 w 8740200"/>
              <a:gd name="connsiteY22" fmla="*/ 1058872 h 1487756"/>
              <a:gd name="connsiteX23" fmla="*/ 338964 w 8740200"/>
              <a:gd name="connsiteY23" fmla="*/ 1058872 h 1487756"/>
              <a:gd name="connsiteX24" fmla="*/ 0 w 8740200"/>
              <a:gd name="connsiteY24" fmla="*/ 882479 h 1487756"/>
              <a:gd name="connsiteX25" fmla="*/ 0 w 8740200"/>
              <a:gd name="connsiteY25" fmla="*/ 176927 h 1487756"/>
              <a:gd name="connsiteX26" fmla="*/ 338964 w 8740200"/>
              <a:gd name="connsiteY26" fmla="*/ 534 h 1487756"/>
              <a:gd name="connsiteX27" fmla="*/ 3740008 w 8740200"/>
              <a:gd name="connsiteY27" fmla="*/ 534 h 1487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0200" h="1487756">
                <a:moveTo>
                  <a:pt x="3770835" y="0"/>
                </a:moveTo>
                <a:lnTo>
                  <a:pt x="3770835" y="13302"/>
                </a:lnTo>
                <a:lnTo>
                  <a:pt x="3822471" y="7877"/>
                </a:lnTo>
                <a:lnTo>
                  <a:pt x="7223515" y="7877"/>
                </a:lnTo>
                <a:cubicBezTo>
                  <a:pt x="7424951" y="4140"/>
                  <a:pt x="7626386" y="403"/>
                  <a:pt x="7804931" y="30"/>
                </a:cubicBezTo>
                <a:cubicBezTo>
                  <a:pt x="7983475" y="-345"/>
                  <a:pt x="8139128" y="2646"/>
                  <a:pt x="8249001" y="12362"/>
                </a:cubicBezTo>
                <a:cubicBezTo>
                  <a:pt x="8501781" y="78135"/>
                  <a:pt x="8658335" y="156612"/>
                  <a:pt x="8740200" y="402512"/>
                </a:cubicBezTo>
                <a:lnTo>
                  <a:pt x="8740200" y="1487756"/>
                </a:lnTo>
                <a:cubicBezTo>
                  <a:pt x="8531224" y="1148431"/>
                  <a:pt x="8484545" y="1093120"/>
                  <a:pt x="8068033" y="1070699"/>
                </a:cubicBezTo>
                <a:cubicBezTo>
                  <a:pt x="7834643" y="1068458"/>
                  <a:pt x="7643038" y="1066472"/>
                  <a:pt x="7474669" y="1064972"/>
                </a:cubicBezTo>
                <a:lnTo>
                  <a:pt x="7254131" y="1063602"/>
                </a:lnTo>
                <a:lnTo>
                  <a:pt x="7229253" y="1066215"/>
                </a:lnTo>
                <a:lnTo>
                  <a:pt x="6370428" y="1066215"/>
                </a:lnTo>
                <a:lnTo>
                  <a:pt x="6357821" y="1066362"/>
                </a:lnTo>
                <a:cubicBezTo>
                  <a:pt x="6273768" y="1067534"/>
                  <a:pt x="6183937" y="1068971"/>
                  <a:pt x="6086001" y="1070699"/>
                </a:cubicBezTo>
                <a:lnTo>
                  <a:pt x="6092773" y="1066215"/>
                </a:lnTo>
                <a:lnTo>
                  <a:pt x="3822471" y="1066215"/>
                </a:lnTo>
                <a:lnTo>
                  <a:pt x="3749161" y="1058513"/>
                </a:lnTo>
                <a:lnTo>
                  <a:pt x="3745746" y="1058872"/>
                </a:lnTo>
                <a:lnTo>
                  <a:pt x="2886922" y="1058872"/>
                </a:lnTo>
                <a:lnTo>
                  <a:pt x="2874314" y="1059019"/>
                </a:lnTo>
                <a:cubicBezTo>
                  <a:pt x="2790261" y="1060191"/>
                  <a:pt x="2700431" y="1061627"/>
                  <a:pt x="2602495" y="1063356"/>
                </a:cubicBezTo>
                <a:lnTo>
                  <a:pt x="2609266" y="1058872"/>
                </a:lnTo>
                <a:lnTo>
                  <a:pt x="338964" y="1058872"/>
                </a:lnTo>
                <a:cubicBezTo>
                  <a:pt x="151758" y="1058872"/>
                  <a:pt x="0" y="979899"/>
                  <a:pt x="0" y="882479"/>
                </a:cubicBezTo>
                <a:lnTo>
                  <a:pt x="0" y="176927"/>
                </a:lnTo>
                <a:cubicBezTo>
                  <a:pt x="0" y="79508"/>
                  <a:pt x="151758" y="534"/>
                  <a:pt x="338964" y="534"/>
                </a:cubicBezTo>
                <a:lnTo>
                  <a:pt x="3740008" y="534"/>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1440" rIns="91440" bIns="457200" rtlCol="0" anchor="t" anchorCtr="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DDDDDD">
                    <a:lumMod val="50000"/>
                  </a:srgbClr>
                </a:solidFill>
                <a:effectLst/>
                <a:uLnTx/>
                <a:uFillTx/>
                <a:latin typeface="Corbel" panose="020B0503020204020204"/>
                <a:ea typeface="+mn-ea"/>
                <a:cs typeface="+mn-cs"/>
              </a:rPr>
              <a:t>Conducting Bidders’ Conferences with key SMEs available on another call simultaneously and behind the scenes to field questions and provide answers in real time for bidders is effective. (SCE, SDG&amp;E, SCG)</a:t>
            </a:r>
          </a:p>
        </p:txBody>
      </p:sp>
      <p:sp>
        <p:nvSpPr>
          <p:cNvPr id="16" name="Freeform 13">
            <a:extLst>
              <a:ext uri="{FF2B5EF4-FFF2-40B4-BE49-F238E27FC236}">
                <a16:creationId xmlns:a16="http://schemas.microsoft.com/office/drawing/2014/main" id="{E11D32E8-9CA4-4AB1-B5D5-550D1F68C1EF}"/>
              </a:ext>
            </a:extLst>
          </p:cNvPr>
          <p:cNvSpPr/>
          <p:nvPr/>
        </p:nvSpPr>
        <p:spPr>
          <a:xfrm>
            <a:off x="8644205" y="2809532"/>
            <a:ext cx="3264408" cy="1253810"/>
          </a:xfrm>
          <a:custGeom>
            <a:avLst/>
            <a:gdLst>
              <a:gd name="connsiteX0" fmla="*/ 263525 w 958848"/>
              <a:gd name="connsiteY0" fmla="*/ 0 h 1051808"/>
              <a:gd name="connsiteX1" fmla="*/ 263525 w 958848"/>
              <a:gd name="connsiteY1" fmla="*/ 4058 h 1051808"/>
              <a:gd name="connsiteX2" fmla="*/ 833962 w 958848"/>
              <a:gd name="connsiteY2" fmla="*/ 4058 h 1051808"/>
              <a:gd name="connsiteX3" fmla="*/ 958848 w 958848"/>
              <a:gd name="connsiteY3" fmla="*/ 128944 h 1051808"/>
              <a:gd name="connsiteX4" fmla="*/ 958848 w 958848"/>
              <a:gd name="connsiteY4" fmla="*/ 628472 h 1051808"/>
              <a:gd name="connsiteX5" fmla="*/ 833962 w 958848"/>
              <a:gd name="connsiteY5" fmla="*/ 753358 h 1051808"/>
              <a:gd name="connsiteX6" fmla="*/ 263525 w 958848"/>
              <a:gd name="connsiteY6" fmla="*/ 753358 h 1051808"/>
              <a:gd name="connsiteX7" fmla="*/ 263525 w 958848"/>
              <a:gd name="connsiteY7" fmla="*/ 756235 h 1051808"/>
              <a:gd name="connsiteX8" fmla="*/ 247650 w 958848"/>
              <a:gd name="connsiteY8" fmla="*/ 756533 h 1051808"/>
              <a:gd name="connsiteX9" fmla="*/ 0 w 958848"/>
              <a:gd name="connsiteY9" fmla="*/ 1051808 h 1051808"/>
              <a:gd name="connsiteX10" fmla="*/ 0 w 958848"/>
              <a:gd name="connsiteY10" fmla="*/ 283458 h 1051808"/>
              <a:gd name="connsiteX11" fmla="*/ 117649 w 958848"/>
              <a:gd name="connsiteY11" fmla="*/ 45556 h 1051808"/>
              <a:gd name="connsiteX12" fmla="*/ 153826 w 958848"/>
              <a:gd name="connsiteY12" fmla="*/ 23663 h 1051808"/>
              <a:gd name="connsiteX13" fmla="*/ 168348 w 958848"/>
              <a:gd name="connsiteY13" fmla="*/ 13872 h 1051808"/>
              <a:gd name="connsiteX14" fmla="*/ 170834 w 958848"/>
              <a:gd name="connsiteY14" fmla="*/ 13370 h 1051808"/>
              <a:gd name="connsiteX15" fmla="*/ 180975 w 958848"/>
              <a:gd name="connsiteY15" fmla="*/ 7233 h 1051808"/>
              <a:gd name="connsiteX16" fmla="*/ 253293 w 958848"/>
              <a:gd name="connsiteY16" fmla="*/ 189 h 1051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8848" h="1051808">
                <a:moveTo>
                  <a:pt x="263525" y="0"/>
                </a:moveTo>
                <a:lnTo>
                  <a:pt x="263525" y="4058"/>
                </a:lnTo>
                <a:lnTo>
                  <a:pt x="833962" y="4058"/>
                </a:lnTo>
                <a:cubicBezTo>
                  <a:pt x="902935" y="4058"/>
                  <a:pt x="958848" y="59971"/>
                  <a:pt x="958848" y="128944"/>
                </a:cubicBezTo>
                <a:lnTo>
                  <a:pt x="958848" y="628472"/>
                </a:lnTo>
                <a:cubicBezTo>
                  <a:pt x="958848" y="697445"/>
                  <a:pt x="902935" y="753358"/>
                  <a:pt x="833962" y="753358"/>
                </a:cubicBezTo>
                <a:lnTo>
                  <a:pt x="263525" y="753358"/>
                </a:lnTo>
                <a:lnTo>
                  <a:pt x="263525" y="756235"/>
                </a:lnTo>
                <a:lnTo>
                  <a:pt x="247650" y="756533"/>
                </a:lnTo>
                <a:cubicBezTo>
                  <a:pt x="94192" y="772407"/>
                  <a:pt x="76994" y="811567"/>
                  <a:pt x="0" y="1051808"/>
                </a:cubicBezTo>
                <a:lnTo>
                  <a:pt x="0" y="283458"/>
                </a:lnTo>
                <a:cubicBezTo>
                  <a:pt x="22621" y="152886"/>
                  <a:pt x="60722" y="88989"/>
                  <a:pt x="117649" y="45556"/>
                </a:cubicBezTo>
                <a:lnTo>
                  <a:pt x="153826" y="23663"/>
                </a:lnTo>
                <a:lnTo>
                  <a:pt x="168348" y="13872"/>
                </a:lnTo>
                <a:lnTo>
                  <a:pt x="170834" y="13370"/>
                </a:lnTo>
                <a:lnTo>
                  <a:pt x="180975" y="7233"/>
                </a:lnTo>
                <a:cubicBezTo>
                  <a:pt x="201215" y="3794"/>
                  <a:pt x="225673" y="1545"/>
                  <a:pt x="253293" y="189"/>
                </a:cubicBezTo>
                <a:close/>
              </a:path>
            </a:pathLst>
          </a:cu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FFFF">
                    <a:lumMod val="95000"/>
                  </a:srgbClr>
                </a:solidFill>
                <a:effectLst/>
                <a:uLnTx/>
                <a:uFillTx/>
                <a:latin typeface="Corbel" panose="020B0503020204020204"/>
                <a:ea typeface="+mn-ea"/>
                <a:cs typeface="+mn-cs"/>
              </a:rPr>
              <a:t>Pre-Read of PRG Materials</a:t>
            </a:r>
          </a:p>
        </p:txBody>
      </p:sp>
      <p:sp>
        <p:nvSpPr>
          <p:cNvPr id="17" name="Freeform 38">
            <a:extLst>
              <a:ext uri="{FF2B5EF4-FFF2-40B4-BE49-F238E27FC236}">
                <a16:creationId xmlns:a16="http://schemas.microsoft.com/office/drawing/2014/main" id="{064C77B2-E342-436E-BF2B-E0409A6037EE}"/>
              </a:ext>
            </a:extLst>
          </p:cNvPr>
          <p:cNvSpPr/>
          <p:nvPr/>
        </p:nvSpPr>
        <p:spPr>
          <a:xfrm>
            <a:off x="789840" y="2763111"/>
            <a:ext cx="7865724" cy="1356360"/>
          </a:xfrm>
          <a:custGeom>
            <a:avLst/>
            <a:gdLst>
              <a:gd name="connsiteX0" fmla="*/ 3770835 w 8740200"/>
              <a:gd name="connsiteY0" fmla="*/ 0 h 1487756"/>
              <a:gd name="connsiteX1" fmla="*/ 3770835 w 8740200"/>
              <a:gd name="connsiteY1" fmla="*/ 13302 h 1487756"/>
              <a:gd name="connsiteX2" fmla="*/ 3822471 w 8740200"/>
              <a:gd name="connsiteY2" fmla="*/ 7877 h 1487756"/>
              <a:gd name="connsiteX3" fmla="*/ 7223515 w 8740200"/>
              <a:gd name="connsiteY3" fmla="*/ 7877 h 1487756"/>
              <a:gd name="connsiteX4" fmla="*/ 7804931 w 8740200"/>
              <a:gd name="connsiteY4" fmla="*/ 30 h 1487756"/>
              <a:gd name="connsiteX5" fmla="*/ 8249001 w 8740200"/>
              <a:gd name="connsiteY5" fmla="*/ 12362 h 1487756"/>
              <a:gd name="connsiteX6" fmla="*/ 8740200 w 8740200"/>
              <a:gd name="connsiteY6" fmla="*/ 402512 h 1487756"/>
              <a:gd name="connsiteX7" fmla="*/ 8740200 w 8740200"/>
              <a:gd name="connsiteY7" fmla="*/ 1487756 h 1487756"/>
              <a:gd name="connsiteX8" fmla="*/ 8068033 w 8740200"/>
              <a:gd name="connsiteY8" fmla="*/ 1070699 h 1487756"/>
              <a:gd name="connsiteX9" fmla="*/ 7474669 w 8740200"/>
              <a:gd name="connsiteY9" fmla="*/ 1064972 h 1487756"/>
              <a:gd name="connsiteX10" fmla="*/ 7254131 w 8740200"/>
              <a:gd name="connsiteY10" fmla="*/ 1063602 h 1487756"/>
              <a:gd name="connsiteX11" fmla="*/ 7229253 w 8740200"/>
              <a:gd name="connsiteY11" fmla="*/ 1066215 h 1487756"/>
              <a:gd name="connsiteX12" fmla="*/ 6370428 w 8740200"/>
              <a:gd name="connsiteY12" fmla="*/ 1066215 h 1487756"/>
              <a:gd name="connsiteX13" fmla="*/ 6357821 w 8740200"/>
              <a:gd name="connsiteY13" fmla="*/ 1066362 h 1487756"/>
              <a:gd name="connsiteX14" fmla="*/ 6086001 w 8740200"/>
              <a:gd name="connsiteY14" fmla="*/ 1070699 h 1487756"/>
              <a:gd name="connsiteX15" fmla="*/ 6092773 w 8740200"/>
              <a:gd name="connsiteY15" fmla="*/ 1066215 h 1487756"/>
              <a:gd name="connsiteX16" fmla="*/ 3822471 w 8740200"/>
              <a:gd name="connsiteY16" fmla="*/ 1066215 h 1487756"/>
              <a:gd name="connsiteX17" fmla="*/ 3749161 w 8740200"/>
              <a:gd name="connsiteY17" fmla="*/ 1058513 h 1487756"/>
              <a:gd name="connsiteX18" fmla="*/ 3745746 w 8740200"/>
              <a:gd name="connsiteY18" fmla="*/ 1058872 h 1487756"/>
              <a:gd name="connsiteX19" fmla="*/ 2886922 w 8740200"/>
              <a:gd name="connsiteY19" fmla="*/ 1058872 h 1487756"/>
              <a:gd name="connsiteX20" fmla="*/ 2874314 w 8740200"/>
              <a:gd name="connsiteY20" fmla="*/ 1059019 h 1487756"/>
              <a:gd name="connsiteX21" fmla="*/ 2602495 w 8740200"/>
              <a:gd name="connsiteY21" fmla="*/ 1063356 h 1487756"/>
              <a:gd name="connsiteX22" fmla="*/ 2609266 w 8740200"/>
              <a:gd name="connsiteY22" fmla="*/ 1058872 h 1487756"/>
              <a:gd name="connsiteX23" fmla="*/ 338964 w 8740200"/>
              <a:gd name="connsiteY23" fmla="*/ 1058872 h 1487756"/>
              <a:gd name="connsiteX24" fmla="*/ 0 w 8740200"/>
              <a:gd name="connsiteY24" fmla="*/ 882479 h 1487756"/>
              <a:gd name="connsiteX25" fmla="*/ 0 w 8740200"/>
              <a:gd name="connsiteY25" fmla="*/ 176927 h 1487756"/>
              <a:gd name="connsiteX26" fmla="*/ 338964 w 8740200"/>
              <a:gd name="connsiteY26" fmla="*/ 534 h 1487756"/>
              <a:gd name="connsiteX27" fmla="*/ 3740008 w 8740200"/>
              <a:gd name="connsiteY27" fmla="*/ 534 h 1487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0200" h="1487756">
                <a:moveTo>
                  <a:pt x="3770835" y="0"/>
                </a:moveTo>
                <a:lnTo>
                  <a:pt x="3770835" y="13302"/>
                </a:lnTo>
                <a:lnTo>
                  <a:pt x="3822471" y="7877"/>
                </a:lnTo>
                <a:lnTo>
                  <a:pt x="7223515" y="7877"/>
                </a:lnTo>
                <a:cubicBezTo>
                  <a:pt x="7424951" y="4140"/>
                  <a:pt x="7626386" y="403"/>
                  <a:pt x="7804931" y="30"/>
                </a:cubicBezTo>
                <a:cubicBezTo>
                  <a:pt x="7983475" y="-345"/>
                  <a:pt x="8139128" y="2646"/>
                  <a:pt x="8249001" y="12362"/>
                </a:cubicBezTo>
                <a:cubicBezTo>
                  <a:pt x="8501781" y="78135"/>
                  <a:pt x="8658335" y="156612"/>
                  <a:pt x="8740200" y="402512"/>
                </a:cubicBezTo>
                <a:lnTo>
                  <a:pt x="8740200" y="1487756"/>
                </a:lnTo>
                <a:cubicBezTo>
                  <a:pt x="8531224" y="1148431"/>
                  <a:pt x="8484545" y="1093120"/>
                  <a:pt x="8068033" y="1070699"/>
                </a:cubicBezTo>
                <a:cubicBezTo>
                  <a:pt x="7834643" y="1068458"/>
                  <a:pt x="7643038" y="1066472"/>
                  <a:pt x="7474669" y="1064972"/>
                </a:cubicBezTo>
                <a:lnTo>
                  <a:pt x="7254131" y="1063602"/>
                </a:lnTo>
                <a:lnTo>
                  <a:pt x="7229253" y="1066215"/>
                </a:lnTo>
                <a:lnTo>
                  <a:pt x="6370428" y="1066215"/>
                </a:lnTo>
                <a:lnTo>
                  <a:pt x="6357821" y="1066362"/>
                </a:lnTo>
                <a:cubicBezTo>
                  <a:pt x="6273768" y="1067534"/>
                  <a:pt x="6183937" y="1068971"/>
                  <a:pt x="6086001" y="1070699"/>
                </a:cubicBezTo>
                <a:lnTo>
                  <a:pt x="6092773" y="1066215"/>
                </a:lnTo>
                <a:lnTo>
                  <a:pt x="3822471" y="1066215"/>
                </a:lnTo>
                <a:lnTo>
                  <a:pt x="3749161" y="1058513"/>
                </a:lnTo>
                <a:lnTo>
                  <a:pt x="3745746" y="1058872"/>
                </a:lnTo>
                <a:lnTo>
                  <a:pt x="2886922" y="1058872"/>
                </a:lnTo>
                <a:lnTo>
                  <a:pt x="2874314" y="1059019"/>
                </a:lnTo>
                <a:cubicBezTo>
                  <a:pt x="2790261" y="1060191"/>
                  <a:pt x="2700431" y="1061627"/>
                  <a:pt x="2602495" y="1063356"/>
                </a:cubicBezTo>
                <a:lnTo>
                  <a:pt x="2609266" y="1058872"/>
                </a:lnTo>
                <a:lnTo>
                  <a:pt x="338964" y="1058872"/>
                </a:lnTo>
                <a:cubicBezTo>
                  <a:pt x="151758" y="1058872"/>
                  <a:pt x="0" y="979899"/>
                  <a:pt x="0" y="882479"/>
                </a:cubicBezTo>
                <a:lnTo>
                  <a:pt x="0" y="176927"/>
                </a:lnTo>
                <a:cubicBezTo>
                  <a:pt x="0" y="79508"/>
                  <a:pt x="151758" y="534"/>
                  <a:pt x="338964" y="534"/>
                </a:cubicBezTo>
                <a:lnTo>
                  <a:pt x="3740008" y="534"/>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1440" rIns="91440" bIns="457200" rtlCol="0" anchor="t" anchorCtr="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DDDDDD">
                    <a:lumMod val="50000"/>
                  </a:srgbClr>
                </a:solidFill>
                <a:effectLst/>
                <a:uLnTx/>
                <a:uFillTx/>
                <a:latin typeface="Corbel" panose="020B0503020204020204"/>
                <a:ea typeface="+mn-ea"/>
                <a:cs typeface="+mn-cs"/>
              </a:rPr>
              <a:t>Holding an internal “pre-read” to go through PRG materials one week before the PRG meeting allows the IEs and utility staff to provide feedback and to prepare materials more effectively. (SCE)</a:t>
            </a:r>
          </a:p>
        </p:txBody>
      </p:sp>
    </p:spTree>
    <p:extLst>
      <p:ext uri="{BB962C8B-B14F-4D97-AF65-F5344CB8AC3E}">
        <p14:creationId xmlns:p14="http://schemas.microsoft.com/office/powerpoint/2010/main" val="170133163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6CFAEE-6D5A-4E5A-984D-76329D6A1854}"/>
              </a:ext>
            </a:extLst>
          </p:cNvPr>
          <p:cNvSpPr>
            <a:spLocks noGrp="1"/>
          </p:cNvSpPr>
          <p:nvPr>
            <p:ph type="title"/>
          </p:nvPr>
        </p:nvSpPr>
        <p:spPr>
          <a:xfrm>
            <a:off x="623283" y="280637"/>
            <a:ext cx="10412464" cy="1356360"/>
          </a:xfrm>
        </p:spPr>
        <p:txBody>
          <a:bodyPr>
            <a:normAutofit/>
          </a:bodyPr>
          <a:lstStyle/>
          <a:p>
            <a:r>
              <a:rPr lang="en-US" dirty="0">
                <a:solidFill>
                  <a:schemeClr val="tx1">
                    <a:lumMod val="65000"/>
                    <a:lumOff val="35000"/>
                  </a:schemeClr>
                </a:solidFill>
              </a:rPr>
              <a:t>Effective Solicitation Practices – continued</a:t>
            </a:r>
            <a:endParaRPr lang="en-US" strike="sngStrike" dirty="0">
              <a:solidFill>
                <a:schemeClr val="tx1">
                  <a:lumMod val="65000"/>
                  <a:lumOff val="35000"/>
                </a:schemeClr>
              </a:solidFill>
            </a:endParaRPr>
          </a:p>
        </p:txBody>
      </p:sp>
      <p:sp>
        <p:nvSpPr>
          <p:cNvPr id="4" name="Footer Placeholder 3">
            <a:extLst>
              <a:ext uri="{FF2B5EF4-FFF2-40B4-BE49-F238E27FC236}">
                <a16:creationId xmlns:a16="http://schemas.microsoft.com/office/drawing/2014/main" id="{184CFF9D-B864-4AAF-B33A-E020B9C84BDA}"/>
              </a:ext>
            </a:extLst>
          </p:cNvPr>
          <p:cNvSpPr>
            <a:spLocks noGrp="1"/>
          </p:cNvSpPr>
          <p:nvPr>
            <p:ph type="ftr" sz="quarter" idx="11"/>
          </p:nvPr>
        </p:nvSpPr>
        <p:spPr>
          <a:xfrm>
            <a:off x="3949148" y="6223828"/>
            <a:ext cx="4717774" cy="365125"/>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rPr>
              <a:t>IE Semi-Annual Report: July 28, 2021 Stakeholder Meeting</a:t>
            </a:r>
          </a:p>
        </p:txBody>
      </p:sp>
      <p:sp>
        <p:nvSpPr>
          <p:cNvPr id="5" name="Slide Number Placeholder 4">
            <a:extLst>
              <a:ext uri="{FF2B5EF4-FFF2-40B4-BE49-F238E27FC236}">
                <a16:creationId xmlns:a16="http://schemas.microsoft.com/office/drawing/2014/main" id="{B6FAA57D-BF74-4A68-A4E3-F12CAC39530B}"/>
              </a:ext>
            </a:extLst>
          </p:cNvPr>
          <p:cNvSpPr>
            <a:spLocks noGrp="1"/>
          </p:cNvSpPr>
          <p:nvPr>
            <p:ph type="sldNum" sz="quarter" idx="12"/>
          </p:nvPr>
        </p:nvSpPr>
        <p:spPr>
          <a:xfrm>
            <a:off x="9329530" y="6223828"/>
            <a:ext cx="1706217"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AB73BC-B049-4115-A692-8D63A059BFB8}" type="slidenum">
              <a:rPr kumimoji="0" lang="en-US" sz="1200" b="0" i="0" u="none" strike="noStrike" kern="1200" cap="none" spc="0" normalizeH="0" baseline="0" noProof="0" smtClean="0">
                <a:ln>
                  <a:noFill/>
                </a:ln>
                <a:solidFill>
                  <a:srgbClr val="A6B727"/>
                </a:solidFill>
                <a:effectLst/>
                <a:uLnTx/>
                <a:uFillTx/>
                <a:latin typeface="Corbel" panose="020B0503020204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srgbClr val="A6B727"/>
              </a:solidFill>
              <a:effectLst/>
              <a:uLnTx/>
              <a:uFillTx/>
              <a:latin typeface="Corbel" panose="020B0503020204020204"/>
              <a:ea typeface="+mn-ea"/>
              <a:cs typeface="+mn-cs"/>
            </a:endParaRPr>
          </a:p>
        </p:txBody>
      </p:sp>
      <p:sp>
        <p:nvSpPr>
          <p:cNvPr id="8" name="Freeform 37">
            <a:extLst>
              <a:ext uri="{FF2B5EF4-FFF2-40B4-BE49-F238E27FC236}">
                <a16:creationId xmlns:a16="http://schemas.microsoft.com/office/drawing/2014/main" id="{DFD6BBF1-9FDA-4063-875C-61356A8F51A7}"/>
              </a:ext>
            </a:extLst>
          </p:cNvPr>
          <p:cNvSpPr/>
          <p:nvPr/>
        </p:nvSpPr>
        <p:spPr>
          <a:xfrm>
            <a:off x="767123" y="1710982"/>
            <a:ext cx="7865724" cy="1278708"/>
          </a:xfrm>
          <a:custGeom>
            <a:avLst/>
            <a:gdLst>
              <a:gd name="connsiteX0" fmla="*/ 3770835 w 8740200"/>
              <a:gd name="connsiteY0" fmla="*/ 0 h 1487756"/>
              <a:gd name="connsiteX1" fmla="*/ 3770835 w 8740200"/>
              <a:gd name="connsiteY1" fmla="*/ 13302 h 1487756"/>
              <a:gd name="connsiteX2" fmla="*/ 3822471 w 8740200"/>
              <a:gd name="connsiteY2" fmla="*/ 7877 h 1487756"/>
              <a:gd name="connsiteX3" fmla="*/ 7223515 w 8740200"/>
              <a:gd name="connsiteY3" fmla="*/ 7877 h 1487756"/>
              <a:gd name="connsiteX4" fmla="*/ 7804931 w 8740200"/>
              <a:gd name="connsiteY4" fmla="*/ 30 h 1487756"/>
              <a:gd name="connsiteX5" fmla="*/ 8249001 w 8740200"/>
              <a:gd name="connsiteY5" fmla="*/ 12362 h 1487756"/>
              <a:gd name="connsiteX6" fmla="*/ 8740200 w 8740200"/>
              <a:gd name="connsiteY6" fmla="*/ 402512 h 1487756"/>
              <a:gd name="connsiteX7" fmla="*/ 8740200 w 8740200"/>
              <a:gd name="connsiteY7" fmla="*/ 1487756 h 1487756"/>
              <a:gd name="connsiteX8" fmla="*/ 8068033 w 8740200"/>
              <a:gd name="connsiteY8" fmla="*/ 1070699 h 1487756"/>
              <a:gd name="connsiteX9" fmla="*/ 7474669 w 8740200"/>
              <a:gd name="connsiteY9" fmla="*/ 1064972 h 1487756"/>
              <a:gd name="connsiteX10" fmla="*/ 7254131 w 8740200"/>
              <a:gd name="connsiteY10" fmla="*/ 1063602 h 1487756"/>
              <a:gd name="connsiteX11" fmla="*/ 7229253 w 8740200"/>
              <a:gd name="connsiteY11" fmla="*/ 1066215 h 1487756"/>
              <a:gd name="connsiteX12" fmla="*/ 6370428 w 8740200"/>
              <a:gd name="connsiteY12" fmla="*/ 1066215 h 1487756"/>
              <a:gd name="connsiteX13" fmla="*/ 6357821 w 8740200"/>
              <a:gd name="connsiteY13" fmla="*/ 1066362 h 1487756"/>
              <a:gd name="connsiteX14" fmla="*/ 6086001 w 8740200"/>
              <a:gd name="connsiteY14" fmla="*/ 1070699 h 1487756"/>
              <a:gd name="connsiteX15" fmla="*/ 6092773 w 8740200"/>
              <a:gd name="connsiteY15" fmla="*/ 1066215 h 1487756"/>
              <a:gd name="connsiteX16" fmla="*/ 3822471 w 8740200"/>
              <a:gd name="connsiteY16" fmla="*/ 1066215 h 1487756"/>
              <a:gd name="connsiteX17" fmla="*/ 3749162 w 8740200"/>
              <a:gd name="connsiteY17" fmla="*/ 1058513 h 1487756"/>
              <a:gd name="connsiteX18" fmla="*/ 3745746 w 8740200"/>
              <a:gd name="connsiteY18" fmla="*/ 1058872 h 1487756"/>
              <a:gd name="connsiteX19" fmla="*/ 2886922 w 8740200"/>
              <a:gd name="connsiteY19" fmla="*/ 1058872 h 1487756"/>
              <a:gd name="connsiteX20" fmla="*/ 2874314 w 8740200"/>
              <a:gd name="connsiteY20" fmla="*/ 1059019 h 1487756"/>
              <a:gd name="connsiteX21" fmla="*/ 2602495 w 8740200"/>
              <a:gd name="connsiteY21" fmla="*/ 1063356 h 1487756"/>
              <a:gd name="connsiteX22" fmla="*/ 2609266 w 8740200"/>
              <a:gd name="connsiteY22" fmla="*/ 1058872 h 1487756"/>
              <a:gd name="connsiteX23" fmla="*/ 338964 w 8740200"/>
              <a:gd name="connsiteY23" fmla="*/ 1058872 h 1487756"/>
              <a:gd name="connsiteX24" fmla="*/ 0 w 8740200"/>
              <a:gd name="connsiteY24" fmla="*/ 882479 h 1487756"/>
              <a:gd name="connsiteX25" fmla="*/ 0 w 8740200"/>
              <a:gd name="connsiteY25" fmla="*/ 176927 h 1487756"/>
              <a:gd name="connsiteX26" fmla="*/ 338964 w 8740200"/>
              <a:gd name="connsiteY26" fmla="*/ 534 h 1487756"/>
              <a:gd name="connsiteX27" fmla="*/ 3740008 w 8740200"/>
              <a:gd name="connsiteY27" fmla="*/ 534 h 1487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0200" h="1487756">
                <a:moveTo>
                  <a:pt x="3770835" y="0"/>
                </a:moveTo>
                <a:lnTo>
                  <a:pt x="3770835" y="13302"/>
                </a:lnTo>
                <a:lnTo>
                  <a:pt x="3822471" y="7877"/>
                </a:lnTo>
                <a:lnTo>
                  <a:pt x="7223515" y="7877"/>
                </a:lnTo>
                <a:cubicBezTo>
                  <a:pt x="7424951" y="4140"/>
                  <a:pt x="7626386" y="403"/>
                  <a:pt x="7804931" y="30"/>
                </a:cubicBezTo>
                <a:cubicBezTo>
                  <a:pt x="7983475" y="-345"/>
                  <a:pt x="8139128" y="2646"/>
                  <a:pt x="8249001" y="12362"/>
                </a:cubicBezTo>
                <a:cubicBezTo>
                  <a:pt x="8501781" y="78135"/>
                  <a:pt x="8658335" y="156612"/>
                  <a:pt x="8740200" y="402512"/>
                </a:cubicBezTo>
                <a:lnTo>
                  <a:pt x="8740200" y="1487756"/>
                </a:lnTo>
                <a:cubicBezTo>
                  <a:pt x="8531224" y="1148431"/>
                  <a:pt x="8484545" y="1093120"/>
                  <a:pt x="8068033" y="1070699"/>
                </a:cubicBezTo>
                <a:cubicBezTo>
                  <a:pt x="7834643" y="1068458"/>
                  <a:pt x="7643038" y="1066472"/>
                  <a:pt x="7474669" y="1064972"/>
                </a:cubicBezTo>
                <a:lnTo>
                  <a:pt x="7254131" y="1063602"/>
                </a:lnTo>
                <a:lnTo>
                  <a:pt x="7229253" y="1066215"/>
                </a:lnTo>
                <a:lnTo>
                  <a:pt x="6370428" y="1066215"/>
                </a:lnTo>
                <a:lnTo>
                  <a:pt x="6357821" y="1066362"/>
                </a:lnTo>
                <a:cubicBezTo>
                  <a:pt x="6273768" y="1067534"/>
                  <a:pt x="6183937" y="1068971"/>
                  <a:pt x="6086001" y="1070699"/>
                </a:cubicBezTo>
                <a:lnTo>
                  <a:pt x="6092773" y="1066215"/>
                </a:lnTo>
                <a:lnTo>
                  <a:pt x="3822471" y="1066215"/>
                </a:lnTo>
                <a:lnTo>
                  <a:pt x="3749162" y="1058513"/>
                </a:lnTo>
                <a:lnTo>
                  <a:pt x="3745746" y="1058872"/>
                </a:lnTo>
                <a:lnTo>
                  <a:pt x="2886922" y="1058872"/>
                </a:lnTo>
                <a:lnTo>
                  <a:pt x="2874314" y="1059019"/>
                </a:lnTo>
                <a:cubicBezTo>
                  <a:pt x="2790261" y="1060191"/>
                  <a:pt x="2700431" y="1061627"/>
                  <a:pt x="2602495" y="1063356"/>
                </a:cubicBezTo>
                <a:lnTo>
                  <a:pt x="2609266" y="1058872"/>
                </a:lnTo>
                <a:lnTo>
                  <a:pt x="338964" y="1058872"/>
                </a:lnTo>
                <a:cubicBezTo>
                  <a:pt x="151758" y="1058872"/>
                  <a:pt x="0" y="979898"/>
                  <a:pt x="0" y="882479"/>
                </a:cubicBezTo>
                <a:lnTo>
                  <a:pt x="0" y="176927"/>
                </a:lnTo>
                <a:cubicBezTo>
                  <a:pt x="0" y="79507"/>
                  <a:pt x="151758" y="534"/>
                  <a:pt x="338964" y="534"/>
                </a:cubicBezTo>
                <a:lnTo>
                  <a:pt x="3740008" y="534"/>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1440" rIns="91440" bIns="457200" rtlCol="0" anchor="t" anchorCtr="0">
            <a:noAutofit/>
          </a:bodyPr>
          <a:lstStyle/>
          <a:p>
            <a:pPr marL="0" marR="0" lvl="1" indent="0" algn="l" defTabSz="4572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DDDDDD">
                    <a:lumMod val="50000"/>
                  </a:srgbClr>
                </a:solidFill>
                <a:effectLst/>
                <a:uLnTx/>
                <a:uFillTx/>
                <a:latin typeface="Corbel" panose="020B0503020204020204"/>
                <a:ea typeface="+mn-ea"/>
                <a:cs typeface="+mn-cs"/>
              </a:rPr>
              <a:t>Reducing the number of bidder questions at the RFA stage reduces the burden on both the bidder and the IOU while capturing enough information to evaluate the proposal (PG&amp;E, SDG&amp;E, SCE)</a:t>
            </a:r>
          </a:p>
          <a:p>
            <a:pPr marL="0" marR="0" lvl="1" indent="0" algn="l" defTabSz="4572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DDDDDD">
                    <a:lumMod val="50000"/>
                  </a:srgbClr>
                </a:solidFill>
                <a:effectLst/>
                <a:uLnTx/>
                <a:uFillTx/>
                <a:latin typeface="Corbel" panose="020B0503020204020204"/>
                <a:ea typeface="+mn-ea"/>
                <a:cs typeface="+mn-cs"/>
              </a:rPr>
              <a:t>)</a:t>
            </a:r>
          </a:p>
        </p:txBody>
      </p:sp>
      <p:sp>
        <p:nvSpPr>
          <p:cNvPr id="9" name="Freeform 13">
            <a:extLst>
              <a:ext uri="{FF2B5EF4-FFF2-40B4-BE49-F238E27FC236}">
                <a16:creationId xmlns:a16="http://schemas.microsoft.com/office/drawing/2014/main" id="{A5E6CD95-4D00-4C6F-A6D9-1E6D401E74FC}"/>
              </a:ext>
            </a:extLst>
          </p:cNvPr>
          <p:cNvSpPr/>
          <p:nvPr/>
        </p:nvSpPr>
        <p:spPr>
          <a:xfrm>
            <a:off x="8666922" y="5258553"/>
            <a:ext cx="3264408" cy="1197864"/>
          </a:xfrm>
          <a:custGeom>
            <a:avLst/>
            <a:gdLst>
              <a:gd name="connsiteX0" fmla="*/ 263525 w 958848"/>
              <a:gd name="connsiteY0" fmla="*/ 0 h 1051808"/>
              <a:gd name="connsiteX1" fmla="*/ 263525 w 958848"/>
              <a:gd name="connsiteY1" fmla="*/ 4058 h 1051808"/>
              <a:gd name="connsiteX2" fmla="*/ 833962 w 958848"/>
              <a:gd name="connsiteY2" fmla="*/ 4058 h 1051808"/>
              <a:gd name="connsiteX3" fmla="*/ 958848 w 958848"/>
              <a:gd name="connsiteY3" fmla="*/ 128944 h 1051808"/>
              <a:gd name="connsiteX4" fmla="*/ 958848 w 958848"/>
              <a:gd name="connsiteY4" fmla="*/ 628472 h 1051808"/>
              <a:gd name="connsiteX5" fmla="*/ 833962 w 958848"/>
              <a:gd name="connsiteY5" fmla="*/ 753358 h 1051808"/>
              <a:gd name="connsiteX6" fmla="*/ 263525 w 958848"/>
              <a:gd name="connsiteY6" fmla="*/ 753358 h 1051808"/>
              <a:gd name="connsiteX7" fmla="*/ 263525 w 958848"/>
              <a:gd name="connsiteY7" fmla="*/ 756235 h 1051808"/>
              <a:gd name="connsiteX8" fmla="*/ 247650 w 958848"/>
              <a:gd name="connsiteY8" fmla="*/ 756533 h 1051808"/>
              <a:gd name="connsiteX9" fmla="*/ 0 w 958848"/>
              <a:gd name="connsiteY9" fmla="*/ 1051808 h 1051808"/>
              <a:gd name="connsiteX10" fmla="*/ 0 w 958848"/>
              <a:gd name="connsiteY10" fmla="*/ 283458 h 1051808"/>
              <a:gd name="connsiteX11" fmla="*/ 117649 w 958848"/>
              <a:gd name="connsiteY11" fmla="*/ 45556 h 1051808"/>
              <a:gd name="connsiteX12" fmla="*/ 153826 w 958848"/>
              <a:gd name="connsiteY12" fmla="*/ 23663 h 1051808"/>
              <a:gd name="connsiteX13" fmla="*/ 168348 w 958848"/>
              <a:gd name="connsiteY13" fmla="*/ 13872 h 1051808"/>
              <a:gd name="connsiteX14" fmla="*/ 170834 w 958848"/>
              <a:gd name="connsiteY14" fmla="*/ 13370 h 1051808"/>
              <a:gd name="connsiteX15" fmla="*/ 180975 w 958848"/>
              <a:gd name="connsiteY15" fmla="*/ 7233 h 1051808"/>
              <a:gd name="connsiteX16" fmla="*/ 253293 w 958848"/>
              <a:gd name="connsiteY16" fmla="*/ 189 h 1051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8848" h="1051808">
                <a:moveTo>
                  <a:pt x="263525" y="0"/>
                </a:moveTo>
                <a:lnTo>
                  <a:pt x="263525" y="4058"/>
                </a:lnTo>
                <a:lnTo>
                  <a:pt x="833962" y="4058"/>
                </a:lnTo>
                <a:cubicBezTo>
                  <a:pt x="902935" y="4058"/>
                  <a:pt x="958848" y="59971"/>
                  <a:pt x="958848" y="128944"/>
                </a:cubicBezTo>
                <a:lnTo>
                  <a:pt x="958848" y="628472"/>
                </a:lnTo>
                <a:cubicBezTo>
                  <a:pt x="958848" y="697445"/>
                  <a:pt x="902935" y="753358"/>
                  <a:pt x="833962" y="753358"/>
                </a:cubicBezTo>
                <a:lnTo>
                  <a:pt x="263525" y="753358"/>
                </a:lnTo>
                <a:lnTo>
                  <a:pt x="263525" y="756235"/>
                </a:lnTo>
                <a:lnTo>
                  <a:pt x="247650" y="756533"/>
                </a:lnTo>
                <a:cubicBezTo>
                  <a:pt x="94192" y="772407"/>
                  <a:pt x="76994" y="811567"/>
                  <a:pt x="0" y="1051808"/>
                </a:cubicBezTo>
                <a:lnTo>
                  <a:pt x="0" y="283458"/>
                </a:lnTo>
                <a:cubicBezTo>
                  <a:pt x="22621" y="152886"/>
                  <a:pt x="60722" y="88989"/>
                  <a:pt x="117649" y="45556"/>
                </a:cubicBezTo>
                <a:lnTo>
                  <a:pt x="153826" y="23663"/>
                </a:lnTo>
                <a:lnTo>
                  <a:pt x="168348" y="13872"/>
                </a:lnTo>
                <a:lnTo>
                  <a:pt x="170834" y="13370"/>
                </a:lnTo>
                <a:lnTo>
                  <a:pt x="180975" y="7233"/>
                </a:lnTo>
                <a:cubicBezTo>
                  <a:pt x="201215" y="3794"/>
                  <a:pt x="225673" y="1545"/>
                  <a:pt x="253293" y="189"/>
                </a:cubicBez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37160" bIns="9144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white">
                    <a:lumMod val="95000"/>
                  </a:prstClr>
                </a:solidFill>
                <a:effectLst/>
                <a:uLnTx/>
                <a:uFillTx/>
                <a:latin typeface="Corbel" panose="020B0503020204020204"/>
                <a:ea typeface="+mn-ea"/>
                <a:cs typeface="+mn-cs"/>
              </a:rPr>
              <a:t>Two Way Bidder Feedback</a:t>
            </a:r>
          </a:p>
        </p:txBody>
      </p:sp>
      <p:sp>
        <p:nvSpPr>
          <p:cNvPr id="12" name="Freeform 38">
            <a:extLst>
              <a:ext uri="{FF2B5EF4-FFF2-40B4-BE49-F238E27FC236}">
                <a16:creationId xmlns:a16="http://schemas.microsoft.com/office/drawing/2014/main" id="{1C687167-AD0B-D24A-A7DF-3F814C57B8AB}"/>
              </a:ext>
            </a:extLst>
          </p:cNvPr>
          <p:cNvSpPr/>
          <p:nvPr/>
        </p:nvSpPr>
        <p:spPr>
          <a:xfrm>
            <a:off x="778482" y="5258553"/>
            <a:ext cx="7865724" cy="1278708"/>
          </a:xfrm>
          <a:custGeom>
            <a:avLst/>
            <a:gdLst>
              <a:gd name="connsiteX0" fmla="*/ 3770835 w 8740200"/>
              <a:gd name="connsiteY0" fmla="*/ 0 h 1487756"/>
              <a:gd name="connsiteX1" fmla="*/ 3770835 w 8740200"/>
              <a:gd name="connsiteY1" fmla="*/ 13302 h 1487756"/>
              <a:gd name="connsiteX2" fmla="*/ 3822471 w 8740200"/>
              <a:gd name="connsiteY2" fmla="*/ 7877 h 1487756"/>
              <a:gd name="connsiteX3" fmla="*/ 7223515 w 8740200"/>
              <a:gd name="connsiteY3" fmla="*/ 7877 h 1487756"/>
              <a:gd name="connsiteX4" fmla="*/ 7804931 w 8740200"/>
              <a:gd name="connsiteY4" fmla="*/ 30 h 1487756"/>
              <a:gd name="connsiteX5" fmla="*/ 8249001 w 8740200"/>
              <a:gd name="connsiteY5" fmla="*/ 12362 h 1487756"/>
              <a:gd name="connsiteX6" fmla="*/ 8740200 w 8740200"/>
              <a:gd name="connsiteY6" fmla="*/ 402512 h 1487756"/>
              <a:gd name="connsiteX7" fmla="*/ 8740200 w 8740200"/>
              <a:gd name="connsiteY7" fmla="*/ 1487756 h 1487756"/>
              <a:gd name="connsiteX8" fmla="*/ 8068033 w 8740200"/>
              <a:gd name="connsiteY8" fmla="*/ 1070699 h 1487756"/>
              <a:gd name="connsiteX9" fmla="*/ 7474669 w 8740200"/>
              <a:gd name="connsiteY9" fmla="*/ 1064972 h 1487756"/>
              <a:gd name="connsiteX10" fmla="*/ 7254131 w 8740200"/>
              <a:gd name="connsiteY10" fmla="*/ 1063602 h 1487756"/>
              <a:gd name="connsiteX11" fmla="*/ 7229253 w 8740200"/>
              <a:gd name="connsiteY11" fmla="*/ 1066215 h 1487756"/>
              <a:gd name="connsiteX12" fmla="*/ 6370428 w 8740200"/>
              <a:gd name="connsiteY12" fmla="*/ 1066215 h 1487756"/>
              <a:gd name="connsiteX13" fmla="*/ 6357821 w 8740200"/>
              <a:gd name="connsiteY13" fmla="*/ 1066362 h 1487756"/>
              <a:gd name="connsiteX14" fmla="*/ 6086001 w 8740200"/>
              <a:gd name="connsiteY14" fmla="*/ 1070699 h 1487756"/>
              <a:gd name="connsiteX15" fmla="*/ 6092773 w 8740200"/>
              <a:gd name="connsiteY15" fmla="*/ 1066215 h 1487756"/>
              <a:gd name="connsiteX16" fmla="*/ 3822471 w 8740200"/>
              <a:gd name="connsiteY16" fmla="*/ 1066215 h 1487756"/>
              <a:gd name="connsiteX17" fmla="*/ 3749161 w 8740200"/>
              <a:gd name="connsiteY17" fmla="*/ 1058513 h 1487756"/>
              <a:gd name="connsiteX18" fmla="*/ 3745746 w 8740200"/>
              <a:gd name="connsiteY18" fmla="*/ 1058872 h 1487756"/>
              <a:gd name="connsiteX19" fmla="*/ 2886922 w 8740200"/>
              <a:gd name="connsiteY19" fmla="*/ 1058872 h 1487756"/>
              <a:gd name="connsiteX20" fmla="*/ 2874314 w 8740200"/>
              <a:gd name="connsiteY20" fmla="*/ 1059019 h 1487756"/>
              <a:gd name="connsiteX21" fmla="*/ 2602495 w 8740200"/>
              <a:gd name="connsiteY21" fmla="*/ 1063356 h 1487756"/>
              <a:gd name="connsiteX22" fmla="*/ 2609266 w 8740200"/>
              <a:gd name="connsiteY22" fmla="*/ 1058872 h 1487756"/>
              <a:gd name="connsiteX23" fmla="*/ 338964 w 8740200"/>
              <a:gd name="connsiteY23" fmla="*/ 1058872 h 1487756"/>
              <a:gd name="connsiteX24" fmla="*/ 0 w 8740200"/>
              <a:gd name="connsiteY24" fmla="*/ 882479 h 1487756"/>
              <a:gd name="connsiteX25" fmla="*/ 0 w 8740200"/>
              <a:gd name="connsiteY25" fmla="*/ 176927 h 1487756"/>
              <a:gd name="connsiteX26" fmla="*/ 338964 w 8740200"/>
              <a:gd name="connsiteY26" fmla="*/ 534 h 1487756"/>
              <a:gd name="connsiteX27" fmla="*/ 3740008 w 8740200"/>
              <a:gd name="connsiteY27" fmla="*/ 534 h 1487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0200" h="1487756">
                <a:moveTo>
                  <a:pt x="3770835" y="0"/>
                </a:moveTo>
                <a:lnTo>
                  <a:pt x="3770835" y="13302"/>
                </a:lnTo>
                <a:lnTo>
                  <a:pt x="3822471" y="7877"/>
                </a:lnTo>
                <a:lnTo>
                  <a:pt x="7223515" y="7877"/>
                </a:lnTo>
                <a:cubicBezTo>
                  <a:pt x="7424951" y="4140"/>
                  <a:pt x="7626386" y="403"/>
                  <a:pt x="7804931" y="30"/>
                </a:cubicBezTo>
                <a:cubicBezTo>
                  <a:pt x="7983475" y="-345"/>
                  <a:pt x="8139128" y="2646"/>
                  <a:pt x="8249001" y="12362"/>
                </a:cubicBezTo>
                <a:cubicBezTo>
                  <a:pt x="8501781" y="78135"/>
                  <a:pt x="8658335" y="156612"/>
                  <a:pt x="8740200" y="402512"/>
                </a:cubicBezTo>
                <a:lnTo>
                  <a:pt x="8740200" y="1487756"/>
                </a:lnTo>
                <a:cubicBezTo>
                  <a:pt x="8531224" y="1148431"/>
                  <a:pt x="8484545" y="1093120"/>
                  <a:pt x="8068033" y="1070699"/>
                </a:cubicBezTo>
                <a:cubicBezTo>
                  <a:pt x="7834643" y="1068458"/>
                  <a:pt x="7643038" y="1066472"/>
                  <a:pt x="7474669" y="1064972"/>
                </a:cubicBezTo>
                <a:lnTo>
                  <a:pt x="7254131" y="1063602"/>
                </a:lnTo>
                <a:lnTo>
                  <a:pt x="7229253" y="1066215"/>
                </a:lnTo>
                <a:lnTo>
                  <a:pt x="6370428" y="1066215"/>
                </a:lnTo>
                <a:lnTo>
                  <a:pt x="6357821" y="1066362"/>
                </a:lnTo>
                <a:cubicBezTo>
                  <a:pt x="6273768" y="1067534"/>
                  <a:pt x="6183937" y="1068971"/>
                  <a:pt x="6086001" y="1070699"/>
                </a:cubicBezTo>
                <a:lnTo>
                  <a:pt x="6092773" y="1066215"/>
                </a:lnTo>
                <a:lnTo>
                  <a:pt x="3822471" y="1066215"/>
                </a:lnTo>
                <a:lnTo>
                  <a:pt x="3749161" y="1058513"/>
                </a:lnTo>
                <a:lnTo>
                  <a:pt x="3745746" y="1058872"/>
                </a:lnTo>
                <a:lnTo>
                  <a:pt x="2886922" y="1058872"/>
                </a:lnTo>
                <a:lnTo>
                  <a:pt x="2874314" y="1059019"/>
                </a:lnTo>
                <a:cubicBezTo>
                  <a:pt x="2790261" y="1060191"/>
                  <a:pt x="2700431" y="1061627"/>
                  <a:pt x="2602495" y="1063356"/>
                </a:cubicBezTo>
                <a:lnTo>
                  <a:pt x="2609266" y="1058872"/>
                </a:lnTo>
                <a:lnTo>
                  <a:pt x="338964" y="1058872"/>
                </a:lnTo>
                <a:cubicBezTo>
                  <a:pt x="151758" y="1058872"/>
                  <a:pt x="0" y="979899"/>
                  <a:pt x="0" y="882479"/>
                </a:cubicBezTo>
                <a:lnTo>
                  <a:pt x="0" y="176927"/>
                </a:lnTo>
                <a:cubicBezTo>
                  <a:pt x="0" y="79508"/>
                  <a:pt x="151758" y="534"/>
                  <a:pt x="338964" y="534"/>
                </a:cubicBezTo>
                <a:lnTo>
                  <a:pt x="3740008" y="534"/>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1440" rIns="91440" bIns="457200" rtlCol="0" anchor="t" anchorCtr="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Corbel" panose="020B0503020204020204"/>
                <a:ea typeface="+mn-ea"/>
                <a:cs typeface="+mn-cs"/>
              </a:rPr>
              <a:t>Having a two way dialog during bidder debriefs/feedback requesting feedback from bidders on the solicitation process is an appropriate and effective way to make improvements in the process (PG&amp;E)</a:t>
            </a:r>
          </a:p>
        </p:txBody>
      </p:sp>
      <p:sp>
        <p:nvSpPr>
          <p:cNvPr id="13" name="Freeform 15">
            <a:extLst>
              <a:ext uri="{FF2B5EF4-FFF2-40B4-BE49-F238E27FC236}">
                <a16:creationId xmlns:a16="http://schemas.microsoft.com/office/drawing/2014/main" id="{92356E06-080B-3C4E-8ECD-AF15766F3A8B}"/>
              </a:ext>
            </a:extLst>
          </p:cNvPr>
          <p:cNvSpPr/>
          <p:nvPr/>
        </p:nvSpPr>
        <p:spPr>
          <a:xfrm>
            <a:off x="8666922" y="4023138"/>
            <a:ext cx="3264408" cy="1278707"/>
          </a:xfrm>
          <a:custGeom>
            <a:avLst/>
            <a:gdLst>
              <a:gd name="connsiteX0" fmla="*/ 263525 w 958848"/>
              <a:gd name="connsiteY0" fmla="*/ 0 h 1051808"/>
              <a:gd name="connsiteX1" fmla="*/ 263525 w 958848"/>
              <a:gd name="connsiteY1" fmla="*/ 4058 h 1051808"/>
              <a:gd name="connsiteX2" fmla="*/ 833962 w 958848"/>
              <a:gd name="connsiteY2" fmla="*/ 4058 h 1051808"/>
              <a:gd name="connsiteX3" fmla="*/ 958848 w 958848"/>
              <a:gd name="connsiteY3" fmla="*/ 128944 h 1051808"/>
              <a:gd name="connsiteX4" fmla="*/ 958848 w 958848"/>
              <a:gd name="connsiteY4" fmla="*/ 628472 h 1051808"/>
              <a:gd name="connsiteX5" fmla="*/ 833962 w 958848"/>
              <a:gd name="connsiteY5" fmla="*/ 753358 h 1051808"/>
              <a:gd name="connsiteX6" fmla="*/ 263525 w 958848"/>
              <a:gd name="connsiteY6" fmla="*/ 753358 h 1051808"/>
              <a:gd name="connsiteX7" fmla="*/ 263525 w 958848"/>
              <a:gd name="connsiteY7" fmla="*/ 756235 h 1051808"/>
              <a:gd name="connsiteX8" fmla="*/ 247650 w 958848"/>
              <a:gd name="connsiteY8" fmla="*/ 756533 h 1051808"/>
              <a:gd name="connsiteX9" fmla="*/ 0 w 958848"/>
              <a:gd name="connsiteY9" fmla="*/ 1051808 h 1051808"/>
              <a:gd name="connsiteX10" fmla="*/ 0 w 958848"/>
              <a:gd name="connsiteY10" fmla="*/ 283458 h 1051808"/>
              <a:gd name="connsiteX11" fmla="*/ 117649 w 958848"/>
              <a:gd name="connsiteY11" fmla="*/ 45556 h 1051808"/>
              <a:gd name="connsiteX12" fmla="*/ 153826 w 958848"/>
              <a:gd name="connsiteY12" fmla="*/ 23663 h 1051808"/>
              <a:gd name="connsiteX13" fmla="*/ 168348 w 958848"/>
              <a:gd name="connsiteY13" fmla="*/ 13872 h 1051808"/>
              <a:gd name="connsiteX14" fmla="*/ 170834 w 958848"/>
              <a:gd name="connsiteY14" fmla="*/ 13370 h 1051808"/>
              <a:gd name="connsiteX15" fmla="*/ 180975 w 958848"/>
              <a:gd name="connsiteY15" fmla="*/ 7233 h 1051808"/>
              <a:gd name="connsiteX16" fmla="*/ 253293 w 958848"/>
              <a:gd name="connsiteY16" fmla="*/ 189 h 1051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8848" h="1051808">
                <a:moveTo>
                  <a:pt x="263525" y="0"/>
                </a:moveTo>
                <a:lnTo>
                  <a:pt x="263525" y="4058"/>
                </a:lnTo>
                <a:lnTo>
                  <a:pt x="833962" y="4058"/>
                </a:lnTo>
                <a:cubicBezTo>
                  <a:pt x="902935" y="4058"/>
                  <a:pt x="958848" y="59971"/>
                  <a:pt x="958848" y="128944"/>
                </a:cubicBezTo>
                <a:lnTo>
                  <a:pt x="958848" y="628472"/>
                </a:lnTo>
                <a:cubicBezTo>
                  <a:pt x="958848" y="697445"/>
                  <a:pt x="902935" y="753358"/>
                  <a:pt x="833962" y="753358"/>
                </a:cubicBezTo>
                <a:lnTo>
                  <a:pt x="263525" y="753358"/>
                </a:lnTo>
                <a:lnTo>
                  <a:pt x="263525" y="756235"/>
                </a:lnTo>
                <a:lnTo>
                  <a:pt x="247650" y="756533"/>
                </a:lnTo>
                <a:cubicBezTo>
                  <a:pt x="94192" y="772407"/>
                  <a:pt x="76994" y="811567"/>
                  <a:pt x="0" y="1051808"/>
                </a:cubicBezTo>
                <a:lnTo>
                  <a:pt x="0" y="283458"/>
                </a:lnTo>
                <a:cubicBezTo>
                  <a:pt x="22621" y="152886"/>
                  <a:pt x="60722" y="88989"/>
                  <a:pt x="117649" y="45556"/>
                </a:cubicBezTo>
                <a:lnTo>
                  <a:pt x="153826" y="23663"/>
                </a:lnTo>
                <a:lnTo>
                  <a:pt x="168348" y="13872"/>
                </a:lnTo>
                <a:lnTo>
                  <a:pt x="170834" y="13370"/>
                </a:lnTo>
                <a:lnTo>
                  <a:pt x="180975" y="7233"/>
                </a:lnTo>
                <a:cubicBezTo>
                  <a:pt x="201215" y="3794"/>
                  <a:pt x="225673" y="1545"/>
                  <a:pt x="253293" y="189"/>
                </a:cubicBezTo>
                <a:close/>
              </a:path>
            </a:pathLst>
          </a:cu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FFFF">
                    <a:lumMod val="95000"/>
                  </a:srgbClr>
                </a:solidFill>
                <a:effectLst/>
                <a:uLnTx/>
                <a:uFillTx/>
                <a:latin typeface="Corbel" panose="020B0503020204020204"/>
                <a:ea typeface="+mn-ea"/>
                <a:cs typeface="+mn-cs"/>
              </a:rPr>
              <a:t>Respond to IE SAR Recommendations</a:t>
            </a:r>
          </a:p>
        </p:txBody>
      </p:sp>
      <p:sp>
        <p:nvSpPr>
          <p:cNvPr id="15" name="Freeform 10">
            <a:extLst>
              <a:ext uri="{FF2B5EF4-FFF2-40B4-BE49-F238E27FC236}">
                <a16:creationId xmlns:a16="http://schemas.microsoft.com/office/drawing/2014/main" id="{774D478F-08D6-429C-9C5F-A09E1508F9FD}"/>
              </a:ext>
            </a:extLst>
          </p:cNvPr>
          <p:cNvSpPr/>
          <p:nvPr/>
        </p:nvSpPr>
        <p:spPr>
          <a:xfrm>
            <a:off x="8654774" y="1726396"/>
            <a:ext cx="3243269" cy="1197864"/>
          </a:xfrm>
          <a:custGeom>
            <a:avLst/>
            <a:gdLst>
              <a:gd name="connsiteX0" fmla="*/ 263525 w 958848"/>
              <a:gd name="connsiteY0" fmla="*/ 0 h 1051808"/>
              <a:gd name="connsiteX1" fmla="*/ 263525 w 958848"/>
              <a:gd name="connsiteY1" fmla="*/ 4058 h 1051808"/>
              <a:gd name="connsiteX2" fmla="*/ 833962 w 958848"/>
              <a:gd name="connsiteY2" fmla="*/ 4058 h 1051808"/>
              <a:gd name="connsiteX3" fmla="*/ 958848 w 958848"/>
              <a:gd name="connsiteY3" fmla="*/ 128944 h 1051808"/>
              <a:gd name="connsiteX4" fmla="*/ 958848 w 958848"/>
              <a:gd name="connsiteY4" fmla="*/ 628472 h 1051808"/>
              <a:gd name="connsiteX5" fmla="*/ 833962 w 958848"/>
              <a:gd name="connsiteY5" fmla="*/ 753358 h 1051808"/>
              <a:gd name="connsiteX6" fmla="*/ 263525 w 958848"/>
              <a:gd name="connsiteY6" fmla="*/ 753358 h 1051808"/>
              <a:gd name="connsiteX7" fmla="*/ 263525 w 958848"/>
              <a:gd name="connsiteY7" fmla="*/ 756235 h 1051808"/>
              <a:gd name="connsiteX8" fmla="*/ 247650 w 958848"/>
              <a:gd name="connsiteY8" fmla="*/ 756533 h 1051808"/>
              <a:gd name="connsiteX9" fmla="*/ 0 w 958848"/>
              <a:gd name="connsiteY9" fmla="*/ 1051808 h 1051808"/>
              <a:gd name="connsiteX10" fmla="*/ 0 w 958848"/>
              <a:gd name="connsiteY10" fmla="*/ 283458 h 1051808"/>
              <a:gd name="connsiteX11" fmla="*/ 117649 w 958848"/>
              <a:gd name="connsiteY11" fmla="*/ 45556 h 1051808"/>
              <a:gd name="connsiteX12" fmla="*/ 153826 w 958848"/>
              <a:gd name="connsiteY12" fmla="*/ 23663 h 1051808"/>
              <a:gd name="connsiteX13" fmla="*/ 168348 w 958848"/>
              <a:gd name="connsiteY13" fmla="*/ 13872 h 1051808"/>
              <a:gd name="connsiteX14" fmla="*/ 170834 w 958848"/>
              <a:gd name="connsiteY14" fmla="*/ 13370 h 1051808"/>
              <a:gd name="connsiteX15" fmla="*/ 180975 w 958848"/>
              <a:gd name="connsiteY15" fmla="*/ 7233 h 1051808"/>
              <a:gd name="connsiteX16" fmla="*/ 253293 w 958848"/>
              <a:gd name="connsiteY16" fmla="*/ 189 h 1051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8848" h="1051808">
                <a:moveTo>
                  <a:pt x="263525" y="0"/>
                </a:moveTo>
                <a:lnTo>
                  <a:pt x="263525" y="4058"/>
                </a:lnTo>
                <a:lnTo>
                  <a:pt x="833962" y="4058"/>
                </a:lnTo>
                <a:cubicBezTo>
                  <a:pt x="902935" y="4058"/>
                  <a:pt x="958848" y="59971"/>
                  <a:pt x="958848" y="128944"/>
                </a:cubicBezTo>
                <a:lnTo>
                  <a:pt x="958848" y="628472"/>
                </a:lnTo>
                <a:cubicBezTo>
                  <a:pt x="958848" y="697445"/>
                  <a:pt x="902935" y="753358"/>
                  <a:pt x="833962" y="753358"/>
                </a:cubicBezTo>
                <a:lnTo>
                  <a:pt x="263525" y="753358"/>
                </a:lnTo>
                <a:lnTo>
                  <a:pt x="263525" y="756235"/>
                </a:lnTo>
                <a:lnTo>
                  <a:pt x="247650" y="756533"/>
                </a:lnTo>
                <a:cubicBezTo>
                  <a:pt x="94192" y="772407"/>
                  <a:pt x="76994" y="811567"/>
                  <a:pt x="0" y="1051808"/>
                </a:cubicBezTo>
                <a:lnTo>
                  <a:pt x="0" y="283458"/>
                </a:lnTo>
                <a:cubicBezTo>
                  <a:pt x="22621" y="152886"/>
                  <a:pt x="60722" y="88989"/>
                  <a:pt x="117649" y="45556"/>
                </a:cubicBezTo>
                <a:lnTo>
                  <a:pt x="153826" y="23663"/>
                </a:lnTo>
                <a:lnTo>
                  <a:pt x="168348" y="13872"/>
                </a:lnTo>
                <a:lnTo>
                  <a:pt x="170834" y="13370"/>
                </a:lnTo>
                <a:lnTo>
                  <a:pt x="180975" y="7233"/>
                </a:lnTo>
                <a:cubicBezTo>
                  <a:pt x="201215" y="3794"/>
                  <a:pt x="225673" y="1545"/>
                  <a:pt x="253293" y="189"/>
                </a:cubicBezTo>
                <a:close/>
              </a:path>
            </a:pathLst>
          </a:cu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white">
                    <a:lumMod val="95000"/>
                  </a:prstClr>
                </a:solidFill>
                <a:effectLst/>
                <a:uLnTx/>
                <a:uFillTx/>
                <a:latin typeface="Corbel" panose="020B0503020204020204"/>
                <a:ea typeface="+mn-ea"/>
                <a:cs typeface="+mn-cs"/>
              </a:rPr>
              <a:t>Reduce RFA Requirements</a:t>
            </a:r>
          </a:p>
        </p:txBody>
      </p:sp>
      <p:sp>
        <p:nvSpPr>
          <p:cNvPr id="11" name="Freeform 38">
            <a:extLst>
              <a:ext uri="{FF2B5EF4-FFF2-40B4-BE49-F238E27FC236}">
                <a16:creationId xmlns:a16="http://schemas.microsoft.com/office/drawing/2014/main" id="{44329835-9147-4EE0-B54C-B9C9CFB6F6C5}"/>
              </a:ext>
            </a:extLst>
          </p:cNvPr>
          <p:cNvSpPr/>
          <p:nvPr/>
        </p:nvSpPr>
        <p:spPr>
          <a:xfrm>
            <a:off x="801198" y="4023227"/>
            <a:ext cx="7865724" cy="1356360"/>
          </a:xfrm>
          <a:custGeom>
            <a:avLst/>
            <a:gdLst>
              <a:gd name="connsiteX0" fmla="*/ 3770835 w 8740200"/>
              <a:gd name="connsiteY0" fmla="*/ 0 h 1487756"/>
              <a:gd name="connsiteX1" fmla="*/ 3770835 w 8740200"/>
              <a:gd name="connsiteY1" fmla="*/ 13302 h 1487756"/>
              <a:gd name="connsiteX2" fmla="*/ 3822471 w 8740200"/>
              <a:gd name="connsiteY2" fmla="*/ 7877 h 1487756"/>
              <a:gd name="connsiteX3" fmla="*/ 7223515 w 8740200"/>
              <a:gd name="connsiteY3" fmla="*/ 7877 h 1487756"/>
              <a:gd name="connsiteX4" fmla="*/ 7804931 w 8740200"/>
              <a:gd name="connsiteY4" fmla="*/ 30 h 1487756"/>
              <a:gd name="connsiteX5" fmla="*/ 8249001 w 8740200"/>
              <a:gd name="connsiteY5" fmla="*/ 12362 h 1487756"/>
              <a:gd name="connsiteX6" fmla="*/ 8740200 w 8740200"/>
              <a:gd name="connsiteY6" fmla="*/ 402512 h 1487756"/>
              <a:gd name="connsiteX7" fmla="*/ 8740200 w 8740200"/>
              <a:gd name="connsiteY7" fmla="*/ 1487756 h 1487756"/>
              <a:gd name="connsiteX8" fmla="*/ 8068033 w 8740200"/>
              <a:gd name="connsiteY8" fmla="*/ 1070699 h 1487756"/>
              <a:gd name="connsiteX9" fmla="*/ 7474669 w 8740200"/>
              <a:gd name="connsiteY9" fmla="*/ 1064972 h 1487756"/>
              <a:gd name="connsiteX10" fmla="*/ 7254131 w 8740200"/>
              <a:gd name="connsiteY10" fmla="*/ 1063602 h 1487756"/>
              <a:gd name="connsiteX11" fmla="*/ 7229253 w 8740200"/>
              <a:gd name="connsiteY11" fmla="*/ 1066215 h 1487756"/>
              <a:gd name="connsiteX12" fmla="*/ 6370428 w 8740200"/>
              <a:gd name="connsiteY12" fmla="*/ 1066215 h 1487756"/>
              <a:gd name="connsiteX13" fmla="*/ 6357821 w 8740200"/>
              <a:gd name="connsiteY13" fmla="*/ 1066362 h 1487756"/>
              <a:gd name="connsiteX14" fmla="*/ 6086001 w 8740200"/>
              <a:gd name="connsiteY14" fmla="*/ 1070699 h 1487756"/>
              <a:gd name="connsiteX15" fmla="*/ 6092773 w 8740200"/>
              <a:gd name="connsiteY15" fmla="*/ 1066215 h 1487756"/>
              <a:gd name="connsiteX16" fmla="*/ 3822471 w 8740200"/>
              <a:gd name="connsiteY16" fmla="*/ 1066215 h 1487756"/>
              <a:gd name="connsiteX17" fmla="*/ 3749161 w 8740200"/>
              <a:gd name="connsiteY17" fmla="*/ 1058513 h 1487756"/>
              <a:gd name="connsiteX18" fmla="*/ 3745746 w 8740200"/>
              <a:gd name="connsiteY18" fmla="*/ 1058872 h 1487756"/>
              <a:gd name="connsiteX19" fmla="*/ 2886922 w 8740200"/>
              <a:gd name="connsiteY19" fmla="*/ 1058872 h 1487756"/>
              <a:gd name="connsiteX20" fmla="*/ 2874314 w 8740200"/>
              <a:gd name="connsiteY20" fmla="*/ 1059019 h 1487756"/>
              <a:gd name="connsiteX21" fmla="*/ 2602495 w 8740200"/>
              <a:gd name="connsiteY21" fmla="*/ 1063356 h 1487756"/>
              <a:gd name="connsiteX22" fmla="*/ 2609266 w 8740200"/>
              <a:gd name="connsiteY22" fmla="*/ 1058872 h 1487756"/>
              <a:gd name="connsiteX23" fmla="*/ 338964 w 8740200"/>
              <a:gd name="connsiteY23" fmla="*/ 1058872 h 1487756"/>
              <a:gd name="connsiteX24" fmla="*/ 0 w 8740200"/>
              <a:gd name="connsiteY24" fmla="*/ 882479 h 1487756"/>
              <a:gd name="connsiteX25" fmla="*/ 0 w 8740200"/>
              <a:gd name="connsiteY25" fmla="*/ 176927 h 1487756"/>
              <a:gd name="connsiteX26" fmla="*/ 338964 w 8740200"/>
              <a:gd name="connsiteY26" fmla="*/ 534 h 1487756"/>
              <a:gd name="connsiteX27" fmla="*/ 3740008 w 8740200"/>
              <a:gd name="connsiteY27" fmla="*/ 534 h 1487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0200" h="1487756">
                <a:moveTo>
                  <a:pt x="3770835" y="0"/>
                </a:moveTo>
                <a:lnTo>
                  <a:pt x="3770835" y="13302"/>
                </a:lnTo>
                <a:lnTo>
                  <a:pt x="3822471" y="7877"/>
                </a:lnTo>
                <a:lnTo>
                  <a:pt x="7223515" y="7877"/>
                </a:lnTo>
                <a:cubicBezTo>
                  <a:pt x="7424951" y="4140"/>
                  <a:pt x="7626386" y="403"/>
                  <a:pt x="7804931" y="30"/>
                </a:cubicBezTo>
                <a:cubicBezTo>
                  <a:pt x="7983475" y="-345"/>
                  <a:pt x="8139128" y="2646"/>
                  <a:pt x="8249001" y="12362"/>
                </a:cubicBezTo>
                <a:cubicBezTo>
                  <a:pt x="8501781" y="78135"/>
                  <a:pt x="8658335" y="156612"/>
                  <a:pt x="8740200" y="402512"/>
                </a:cubicBezTo>
                <a:lnTo>
                  <a:pt x="8740200" y="1487756"/>
                </a:lnTo>
                <a:cubicBezTo>
                  <a:pt x="8531224" y="1148431"/>
                  <a:pt x="8484545" y="1093120"/>
                  <a:pt x="8068033" y="1070699"/>
                </a:cubicBezTo>
                <a:cubicBezTo>
                  <a:pt x="7834643" y="1068458"/>
                  <a:pt x="7643038" y="1066472"/>
                  <a:pt x="7474669" y="1064972"/>
                </a:cubicBezTo>
                <a:lnTo>
                  <a:pt x="7254131" y="1063602"/>
                </a:lnTo>
                <a:lnTo>
                  <a:pt x="7229253" y="1066215"/>
                </a:lnTo>
                <a:lnTo>
                  <a:pt x="6370428" y="1066215"/>
                </a:lnTo>
                <a:lnTo>
                  <a:pt x="6357821" y="1066362"/>
                </a:lnTo>
                <a:cubicBezTo>
                  <a:pt x="6273768" y="1067534"/>
                  <a:pt x="6183937" y="1068971"/>
                  <a:pt x="6086001" y="1070699"/>
                </a:cubicBezTo>
                <a:lnTo>
                  <a:pt x="6092773" y="1066215"/>
                </a:lnTo>
                <a:lnTo>
                  <a:pt x="3822471" y="1066215"/>
                </a:lnTo>
                <a:lnTo>
                  <a:pt x="3749161" y="1058513"/>
                </a:lnTo>
                <a:lnTo>
                  <a:pt x="3745746" y="1058872"/>
                </a:lnTo>
                <a:lnTo>
                  <a:pt x="2886922" y="1058872"/>
                </a:lnTo>
                <a:lnTo>
                  <a:pt x="2874314" y="1059019"/>
                </a:lnTo>
                <a:cubicBezTo>
                  <a:pt x="2790261" y="1060191"/>
                  <a:pt x="2700431" y="1061627"/>
                  <a:pt x="2602495" y="1063356"/>
                </a:cubicBezTo>
                <a:lnTo>
                  <a:pt x="2609266" y="1058872"/>
                </a:lnTo>
                <a:lnTo>
                  <a:pt x="338964" y="1058872"/>
                </a:lnTo>
                <a:cubicBezTo>
                  <a:pt x="151758" y="1058872"/>
                  <a:pt x="0" y="979899"/>
                  <a:pt x="0" y="882479"/>
                </a:cubicBezTo>
                <a:lnTo>
                  <a:pt x="0" y="176927"/>
                </a:lnTo>
                <a:cubicBezTo>
                  <a:pt x="0" y="79508"/>
                  <a:pt x="151758" y="534"/>
                  <a:pt x="338964" y="534"/>
                </a:cubicBezTo>
                <a:lnTo>
                  <a:pt x="3740008" y="534"/>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1440" rIns="91440" bIns="457200" rtlCol="0" anchor="t" anchorCtr="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000000">
                    <a:lumMod val="65000"/>
                    <a:lumOff val="35000"/>
                  </a:srgbClr>
                </a:solidFill>
                <a:effectLst/>
                <a:uLnTx/>
                <a:uFillTx/>
                <a:latin typeface="Corbel" panose="020B0503020204020204"/>
                <a:ea typeface="+mn-ea"/>
                <a:cs typeface="+mn-cs"/>
              </a:rPr>
              <a:t>Initiating a process to address each IE Key Issues and Observations and Effective Practices presented in the Semi-Annual Reports promotes continuous improvements  (SDG&amp;E)</a:t>
            </a:r>
          </a:p>
        </p:txBody>
      </p:sp>
      <p:sp>
        <p:nvSpPr>
          <p:cNvPr id="16" name="Freeform 13">
            <a:extLst>
              <a:ext uri="{FF2B5EF4-FFF2-40B4-BE49-F238E27FC236}">
                <a16:creationId xmlns:a16="http://schemas.microsoft.com/office/drawing/2014/main" id="{E11D32E8-9CA4-4AB1-B5D5-550D1F68C1EF}"/>
              </a:ext>
            </a:extLst>
          </p:cNvPr>
          <p:cNvSpPr/>
          <p:nvPr/>
        </p:nvSpPr>
        <p:spPr>
          <a:xfrm>
            <a:off x="8644205" y="2809532"/>
            <a:ext cx="3264408" cy="1253810"/>
          </a:xfrm>
          <a:custGeom>
            <a:avLst/>
            <a:gdLst>
              <a:gd name="connsiteX0" fmla="*/ 263525 w 958848"/>
              <a:gd name="connsiteY0" fmla="*/ 0 h 1051808"/>
              <a:gd name="connsiteX1" fmla="*/ 263525 w 958848"/>
              <a:gd name="connsiteY1" fmla="*/ 4058 h 1051808"/>
              <a:gd name="connsiteX2" fmla="*/ 833962 w 958848"/>
              <a:gd name="connsiteY2" fmla="*/ 4058 h 1051808"/>
              <a:gd name="connsiteX3" fmla="*/ 958848 w 958848"/>
              <a:gd name="connsiteY3" fmla="*/ 128944 h 1051808"/>
              <a:gd name="connsiteX4" fmla="*/ 958848 w 958848"/>
              <a:gd name="connsiteY4" fmla="*/ 628472 h 1051808"/>
              <a:gd name="connsiteX5" fmla="*/ 833962 w 958848"/>
              <a:gd name="connsiteY5" fmla="*/ 753358 h 1051808"/>
              <a:gd name="connsiteX6" fmla="*/ 263525 w 958848"/>
              <a:gd name="connsiteY6" fmla="*/ 753358 h 1051808"/>
              <a:gd name="connsiteX7" fmla="*/ 263525 w 958848"/>
              <a:gd name="connsiteY7" fmla="*/ 756235 h 1051808"/>
              <a:gd name="connsiteX8" fmla="*/ 247650 w 958848"/>
              <a:gd name="connsiteY8" fmla="*/ 756533 h 1051808"/>
              <a:gd name="connsiteX9" fmla="*/ 0 w 958848"/>
              <a:gd name="connsiteY9" fmla="*/ 1051808 h 1051808"/>
              <a:gd name="connsiteX10" fmla="*/ 0 w 958848"/>
              <a:gd name="connsiteY10" fmla="*/ 283458 h 1051808"/>
              <a:gd name="connsiteX11" fmla="*/ 117649 w 958848"/>
              <a:gd name="connsiteY11" fmla="*/ 45556 h 1051808"/>
              <a:gd name="connsiteX12" fmla="*/ 153826 w 958848"/>
              <a:gd name="connsiteY12" fmla="*/ 23663 h 1051808"/>
              <a:gd name="connsiteX13" fmla="*/ 168348 w 958848"/>
              <a:gd name="connsiteY13" fmla="*/ 13872 h 1051808"/>
              <a:gd name="connsiteX14" fmla="*/ 170834 w 958848"/>
              <a:gd name="connsiteY14" fmla="*/ 13370 h 1051808"/>
              <a:gd name="connsiteX15" fmla="*/ 180975 w 958848"/>
              <a:gd name="connsiteY15" fmla="*/ 7233 h 1051808"/>
              <a:gd name="connsiteX16" fmla="*/ 253293 w 958848"/>
              <a:gd name="connsiteY16" fmla="*/ 189 h 1051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8848" h="1051808">
                <a:moveTo>
                  <a:pt x="263525" y="0"/>
                </a:moveTo>
                <a:lnTo>
                  <a:pt x="263525" y="4058"/>
                </a:lnTo>
                <a:lnTo>
                  <a:pt x="833962" y="4058"/>
                </a:lnTo>
                <a:cubicBezTo>
                  <a:pt x="902935" y="4058"/>
                  <a:pt x="958848" y="59971"/>
                  <a:pt x="958848" y="128944"/>
                </a:cubicBezTo>
                <a:lnTo>
                  <a:pt x="958848" y="628472"/>
                </a:lnTo>
                <a:cubicBezTo>
                  <a:pt x="958848" y="697445"/>
                  <a:pt x="902935" y="753358"/>
                  <a:pt x="833962" y="753358"/>
                </a:cubicBezTo>
                <a:lnTo>
                  <a:pt x="263525" y="753358"/>
                </a:lnTo>
                <a:lnTo>
                  <a:pt x="263525" y="756235"/>
                </a:lnTo>
                <a:lnTo>
                  <a:pt x="247650" y="756533"/>
                </a:lnTo>
                <a:cubicBezTo>
                  <a:pt x="94192" y="772407"/>
                  <a:pt x="76994" y="811567"/>
                  <a:pt x="0" y="1051808"/>
                </a:cubicBezTo>
                <a:lnTo>
                  <a:pt x="0" y="283458"/>
                </a:lnTo>
                <a:cubicBezTo>
                  <a:pt x="22621" y="152886"/>
                  <a:pt x="60722" y="88989"/>
                  <a:pt x="117649" y="45556"/>
                </a:cubicBezTo>
                <a:lnTo>
                  <a:pt x="153826" y="23663"/>
                </a:lnTo>
                <a:lnTo>
                  <a:pt x="168348" y="13872"/>
                </a:lnTo>
                <a:lnTo>
                  <a:pt x="170834" y="13370"/>
                </a:lnTo>
                <a:lnTo>
                  <a:pt x="180975" y="7233"/>
                </a:lnTo>
                <a:cubicBezTo>
                  <a:pt x="201215" y="3794"/>
                  <a:pt x="225673" y="1545"/>
                  <a:pt x="253293" y="189"/>
                </a:cubicBezTo>
                <a:close/>
              </a:path>
            </a:pathLst>
          </a:cu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FFFF">
                    <a:lumMod val="95000"/>
                  </a:srgbClr>
                </a:solidFill>
                <a:effectLst/>
                <a:uLnTx/>
                <a:uFillTx/>
                <a:latin typeface="Corbel" panose="020B0503020204020204"/>
                <a:ea typeface="+mn-ea"/>
                <a:cs typeface="+mn-cs"/>
              </a:rPr>
              <a:t>Provide a Pick-List of Approved Measures</a:t>
            </a:r>
          </a:p>
        </p:txBody>
      </p:sp>
      <p:sp>
        <p:nvSpPr>
          <p:cNvPr id="17" name="Freeform 38">
            <a:extLst>
              <a:ext uri="{FF2B5EF4-FFF2-40B4-BE49-F238E27FC236}">
                <a16:creationId xmlns:a16="http://schemas.microsoft.com/office/drawing/2014/main" id="{064C77B2-E342-436E-BF2B-E0409A6037EE}"/>
              </a:ext>
            </a:extLst>
          </p:cNvPr>
          <p:cNvSpPr/>
          <p:nvPr/>
        </p:nvSpPr>
        <p:spPr>
          <a:xfrm>
            <a:off x="789840" y="2763111"/>
            <a:ext cx="7865724" cy="1356360"/>
          </a:xfrm>
          <a:custGeom>
            <a:avLst/>
            <a:gdLst>
              <a:gd name="connsiteX0" fmla="*/ 3770835 w 8740200"/>
              <a:gd name="connsiteY0" fmla="*/ 0 h 1487756"/>
              <a:gd name="connsiteX1" fmla="*/ 3770835 w 8740200"/>
              <a:gd name="connsiteY1" fmla="*/ 13302 h 1487756"/>
              <a:gd name="connsiteX2" fmla="*/ 3822471 w 8740200"/>
              <a:gd name="connsiteY2" fmla="*/ 7877 h 1487756"/>
              <a:gd name="connsiteX3" fmla="*/ 7223515 w 8740200"/>
              <a:gd name="connsiteY3" fmla="*/ 7877 h 1487756"/>
              <a:gd name="connsiteX4" fmla="*/ 7804931 w 8740200"/>
              <a:gd name="connsiteY4" fmla="*/ 30 h 1487756"/>
              <a:gd name="connsiteX5" fmla="*/ 8249001 w 8740200"/>
              <a:gd name="connsiteY5" fmla="*/ 12362 h 1487756"/>
              <a:gd name="connsiteX6" fmla="*/ 8740200 w 8740200"/>
              <a:gd name="connsiteY6" fmla="*/ 402512 h 1487756"/>
              <a:gd name="connsiteX7" fmla="*/ 8740200 w 8740200"/>
              <a:gd name="connsiteY7" fmla="*/ 1487756 h 1487756"/>
              <a:gd name="connsiteX8" fmla="*/ 8068033 w 8740200"/>
              <a:gd name="connsiteY8" fmla="*/ 1070699 h 1487756"/>
              <a:gd name="connsiteX9" fmla="*/ 7474669 w 8740200"/>
              <a:gd name="connsiteY9" fmla="*/ 1064972 h 1487756"/>
              <a:gd name="connsiteX10" fmla="*/ 7254131 w 8740200"/>
              <a:gd name="connsiteY10" fmla="*/ 1063602 h 1487756"/>
              <a:gd name="connsiteX11" fmla="*/ 7229253 w 8740200"/>
              <a:gd name="connsiteY11" fmla="*/ 1066215 h 1487756"/>
              <a:gd name="connsiteX12" fmla="*/ 6370428 w 8740200"/>
              <a:gd name="connsiteY12" fmla="*/ 1066215 h 1487756"/>
              <a:gd name="connsiteX13" fmla="*/ 6357821 w 8740200"/>
              <a:gd name="connsiteY13" fmla="*/ 1066362 h 1487756"/>
              <a:gd name="connsiteX14" fmla="*/ 6086001 w 8740200"/>
              <a:gd name="connsiteY14" fmla="*/ 1070699 h 1487756"/>
              <a:gd name="connsiteX15" fmla="*/ 6092773 w 8740200"/>
              <a:gd name="connsiteY15" fmla="*/ 1066215 h 1487756"/>
              <a:gd name="connsiteX16" fmla="*/ 3822471 w 8740200"/>
              <a:gd name="connsiteY16" fmla="*/ 1066215 h 1487756"/>
              <a:gd name="connsiteX17" fmla="*/ 3749161 w 8740200"/>
              <a:gd name="connsiteY17" fmla="*/ 1058513 h 1487756"/>
              <a:gd name="connsiteX18" fmla="*/ 3745746 w 8740200"/>
              <a:gd name="connsiteY18" fmla="*/ 1058872 h 1487756"/>
              <a:gd name="connsiteX19" fmla="*/ 2886922 w 8740200"/>
              <a:gd name="connsiteY19" fmla="*/ 1058872 h 1487756"/>
              <a:gd name="connsiteX20" fmla="*/ 2874314 w 8740200"/>
              <a:gd name="connsiteY20" fmla="*/ 1059019 h 1487756"/>
              <a:gd name="connsiteX21" fmla="*/ 2602495 w 8740200"/>
              <a:gd name="connsiteY21" fmla="*/ 1063356 h 1487756"/>
              <a:gd name="connsiteX22" fmla="*/ 2609266 w 8740200"/>
              <a:gd name="connsiteY22" fmla="*/ 1058872 h 1487756"/>
              <a:gd name="connsiteX23" fmla="*/ 338964 w 8740200"/>
              <a:gd name="connsiteY23" fmla="*/ 1058872 h 1487756"/>
              <a:gd name="connsiteX24" fmla="*/ 0 w 8740200"/>
              <a:gd name="connsiteY24" fmla="*/ 882479 h 1487756"/>
              <a:gd name="connsiteX25" fmla="*/ 0 w 8740200"/>
              <a:gd name="connsiteY25" fmla="*/ 176927 h 1487756"/>
              <a:gd name="connsiteX26" fmla="*/ 338964 w 8740200"/>
              <a:gd name="connsiteY26" fmla="*/ 534 h 1487756"/>
              <a:gd name="connsiteX27" fmla="*/ 3740008 w 8740200"/>
              <a:gd name="connsiteY27" fmla="*/ 534 h 1487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740200" h="1487756">
                <a:moveTo>
                  <a:pt x="3770835" y="0"/>
                </a:moveTo>
                <a:lnTo>
                  <a:pt x="3770835" y="13302"/>
                </a:lnTo>
                <a:lnTo>
                  <a:pt x="3822471" y="7877"/>
                </a:lnTo>
                <a:lnTo>
                  <a:pt x="7223515" y="7877"/>
                </a:lnTo>
                <a:cubicBezTo>
                  <a:pt x="7424951" y="4140"/>
                  <a:pt x="7626386" y="403"/>
                  <a:pt x="7804931" y="30"/>
                </a:cubicBezTo>
                <a:cubicBezTo>
                  <a:pt x="7983475" y="-345"/>
                  <a:pt x="8139128" y="2646"/>
                  <a:pt x="8249001" y="12362"/>
                </a:cubicBezTo>
                <a:cubicBezTo>
                  <a:pt x="8501781" y="78135"/>
                  <a:pt x="8658335" y="156612"/>
                  <a:pt x="8740200" y="402512"/>
                </a:cubicBezTo>
                <a:lnTo>
                  <a:pt x="8740200" y="1487756"/>
                </a:lnTo>
                <a:cubicBezTo>
                  <a:pt x="8531224" y="1148431"/>
                  <a:pt x="8484545" y="1093120"/>
                  <a:pt x="8068033" y="1070699"/>
                </a:cubicBezTo>
                <a:cubicBezTo>
                  <a:pt x="7834643" y="1068458"/>
                  <a:pt x="7643038" y="1066472"/>
                  <a:pt x="7474669" y="1064972"/>
                </a:cubicBezTo>
                <a:lnTo>
                  <a:pt x="7254131" y="1063602"/>
                </a:lnTo>
                <a:lnTo>
                  <a:pt x="7229253" y="1066215"/>
                </a:lnTo>
                <a:lnTo>
                  <a:pt x="6370428" y="1066215"/>
                </a:lnTo>
                <a:lnTo>
                  <a:pt x="6357821" y="1066362"/>
                </a:lnTo>
                <a:cubicBezTo>
                  <a:pt x="6273768" y="1067534"/>
                  <a:pt x="6183937" y="1068971"/>
                  <a:pt x="6086001" y="1070699"/>
                </a:cubicBezTo>
                <a:lnTo>
                  <a:pt x="6092773" y="1066215"/>
                </a:lnTo>
                <a:lnTo>
                  <a:pt x="3822471" y="1066215"/>
                </a:lnTo>
                <a:lnTo>
                  <a:pt x="3749161" y="1058513"/>
                </a:lnTo>
                <a:lnTo>
                  <a:pt x="3745746" y="1058872"/>
                </a:lnTo>
                <a:lnTo>
                  <a:pt x="2886922" y="1058872"/>
                </a:lnTo>
                <a:lnTo>
                  <a:pt x="2874314" y="1059019"/>
                </a:lnTo>
                <a:cubicBezTo>
                  <a:pt x="2790261" y="1060191"/>
                  <a:pt x="2700431" y="1061627"/>
                  <a:pt x="2602495" y="1063356"/>
                </a:cubicBezTo>
                <a:lnTo>
                  <a:pt x="2609266" y="1058872"/>
                </a:lnTo>
                <a:lnTo>
                  <a:pt x="338964" y="1058872"/>
                </a:lnTo>
                <a:cubicBezTo>
                  <a:pt x="151758" y="1058872"/>
                  <a:pt x="0" y="979899"/>
                  <a:pt x="0" y="882479"/>
                </a:cubicBezTo>
                <a:lnTo>
                  <a:pt x="0" y="176927"/>
                </a:lnTo>
                <a:cubicBezTo>
                  <a:pt x="0" y="79508"/>
                  <a:pt x="151758" y="534"/>
                  <a:pt x="338964" y="534"/>
                </a:cubicBezTo>
                <a:lnTo>
                  <a:pt x="3740008" y="534"/>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tIns="91440" rIns="91440" bIns="457200" rtlCol="0" anchor="t" anchorCtr="0">
            <a:no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DDDDDD">
                    <a:lumMod val="50000"/>
                  </a:srgbClr>
                </a:solidFill>
                <a:effectLst/>
                <a:uLnTx/>
                <a:uFillTx/>
                <a:latin typeface="Corbel" panose="020B0503020204020204"/>
                <a:ea typeface="+mn-ea"/>
                <a:cs typeface="+mn-cs"/>
              </a:rPr>
              <a:t>Providing bidders with a list of CPUC-approved deemed measures and corresponding assumptions (aka, Measure Picklist) makes the CET input and evaluation more straightforward (PG&amp;E) </a:t>
            </a:r>
          </a:p>
        </p:txBody>
      </p:sp>
    </p:spTree>
    <p:extLst>
      <p:ext uri="{BB962C8B-B14F-4D97-AF65-F5344CB8AC3E}">
        <p14:creationId xmlns:p14="http://schemas.microsoft.com/office/powerpoint/2010/main" val="206794097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cxnSp>
        <p:nvCxnSpPr>
          <p:cNvPr id="21" name="Straight Connector 20">
            <a:extLst>
              <a:ext uri="{FF2B5EF4-FFF2-40B4-BE49-F238E27FC236}">
                <a16:creationId xmlns:a16="http://schemas.microsoft.com/office/drawing/2014/main" id="{6C6896D1-BFB1-4C84-82DD-31073BED3F0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978660" y="5462458"/>
            <a:ext cx="822960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4BA63CC7-7A39-425E-908B-6FA61D9134E2}"/>
              </a:ext>
            </a:extLst>
          </p:cNvPr>
          <p:cNvSpPr>
            <a:spLocks noGrp="1"/>
          </p:cNvSpPr>
          <p:nvPr>
            <p:ph type="ctrTitle"/>
          </p:nvPr>
        </p:nvSpPr>
        <p:spPr>
          <a:xfrm>
            <a:off x="1109980" y="4208424"/>
            <a:ext cx="9966960" cy="1325880"/>
          </a:xfrm>
        </p:spPr>
        <p:txBody>
          <a:bodyPr>
            <a:normAutofit/>
          </a:bodyPr>
          <a:lstStyle/>
          <a:p>
            <a:r>
              <a:rPr lang="en-US" sz="6600" dirty="0">
                <a:solidFill>
                  <a:schemeClr val="bg1"/>
                </a:solidFill>
              </a:rPr>
              <a:t>discussion</a:t>
            </a:r>
          </a:p>
        </p:txBody>
      </p:sp>
      <p:sp>
        <p:nvSpPr>
          <p:cNvPr id="23" name="Rectangle 22">
            <a:extLst>
              <a:ext uri="{FF2B5EF4-FFF2-40B4-BE49-F238E27FC236}">
                <a16:creationId xmlns:a16="http://schemas.microsoft.com/office/drawing/2014/main" id="{8A2FDFB1-2B6D-49EB-B6C0-FA923806E0A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31140" y="243841"/>
            <a:ext cx="11722100" cy="3964584"/>
          </a:xfrm>
          <a:prstGeom prst="rect">
            <a:avLst/>
          </a:prstGeom>
          <a:solidFill>
            <a:schemeClr val="bg1"/>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sp>
      <p:sp>
        <p:nvSpPr>
          <p:cNvPr id="4" name="Footer Placeholder 3">
            <a:extLst>
              <a:ext uri="{FF2B5EF4-FFF2-40B4-BE49-F238E27FC236}">
                <a16:creationId xmlns:a16="http://schemas.microsoft.com/office/drawing/2014/main" id="{37BBF811-79FB-477C-BA53-B3FCF1B53C67}"/>
              </a:ext>
            </a:extLst>
          </p:cNvPr>
          <p:cNvSpPr>
            <a:spLocks noGrp="1"/>
          </p:cNvSpPr>
          <p:nvPr>
            <p:ph type="ftr" sz="quarter" idx="11"/>
          </p:nvPr>
        </p:nvSpPr>
        <p:spPr>
          <a:xfrm>
            <a:off x="3949148" y="6223828"/>
            <a:ext cx="4717774" cy="365125"/>
          </a:xfrm>
        </p:spPr>
        <p:txBody>
          <a:bodyPr>
            <a:norm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orbel" panose="020B0503020204020204"/>
                <a:ea typeface="+mn-ea"/>
                <a:cs typeface="+mn-cs"/>
              </a:rPr>
              <a:t>IE Semi-Annual Report: July 28, 2021 Stakeholder Meeting</a:t>
            </a:r>
          </a:p>
          <a:p>
            <a:pPr marL="0" marR="0" lvl="0" indent="0" algn="ctr" defTabSz="457200" rtl="0" eaLnBrk="1" fontAlgn="auto" latinLnBrk="0" hangingPunct="1">
              <a:lnSpc>
                <a:spcPct val="100000"/>
              </a:lnSpc>
              <a:spcBef>
                <a:spcPts val="0"/>
              </a:spcBef>
              <a:spcAft>
                <a:spcPts val="60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orbel" panose="020B0503020204020204"/>
              <a:ea typeface="+mn-ea"/>
              <a:cs typeface="+mn-cs"/>
            </a:endParaRPr>
          </a:p>
        </p:txBody>
      </p:sp>
      <p:sp>
        <p:nvSpPr>
          <p:cNvPr id="5" name="Slide Number Placeholder 4">
            <a:extLst>
              <a:ext uri="{FF2B5EF4-FFF2-40B4-BE49-F238E27FC236}">
                <a16:creationId xmlns:a16="http://schemas.microsoft.com/office/drawing/2014/main" id="{3959979C-3049-4507-98B9-3BF5740ACF53}"/>
              </a:ext>
            </a:extLst>
          </p:cNvPr>
          <p:cNvSpPr>
            <a:spLocks noGrp="1"/>
          </p:cNvSpPr>
          <p:nvPr>
            <p:ph type="sldNum" sz="quarter" idx="12"/>
          </p:nvPr>
        </p:nvSpPr>
        <p:spPr>
          <a:xfrm>
            <a:off x="9329530" y="6223828"/>
            <a:ext cx="1706217" cy="365125"/>
          </a:xfrm>
        </p:spPr>
        <p:txBody>
          <a:bodyPr>
            <a:normAutofit/>
          </a:bodyPr>
          <a:lstStyle/>
          <a:p>
            <a:pPr marL="0" marR="0" lvl="0" indent="0" algn="r" defTabSz="457200" rtl="0" eaLnBrk="1" fontAlgn="auto" latinLnBrk="0" hangingPunct="1">
              <a:lnSpc>
                <a:spcPct val="100000"/>
              </a:lnSpc>
              <a:spcBef>
                <a:spcPts val="0"/>
              </a:spcBef>
              <a:spcAft>
                <a:spcPts val="600"/>
              </a:spcAft>
              <a:buClrTx/>
              <a:buSzTx/>
              <a:buFontTx/>
              <a:buNone/>
              <a:tabLst/>
              <a:defRPr/>
            </a:pPr>
            <a:fld id="{4FAB73BC-B049-4115-A692-8D63A059BFB8}" type="slidenum">
              <a:rPr kumimoji="0" lang="en-US" sz="1200" b="0" i="0" u="none" strike="noStrike" kern="1200" cap="none" spc="0" normalizeH="0" baseline="0" noProof="0">
                <a:ln>
                  <a:noFill/>
                </a:ln>
                <a:solidFill>
                  <a:srgbClr val="FFFFFF"/>
                </a:solidFill>
                <a:effectLst/>
                <a:uLnTx/>
                <a:uFillTx/>
                <a:latin typeface="Corbel" panose="020B0503020204020204"/>
                <a:ea typeface="+mn-ea"/>
                <a:cs typeface="+mn-cs"/>
              </a:rPr>
              <a:pPr marL="0" marR="0" lvl="0" indent="0" algn="r" defTabSz="457200" rtl="0" eaLnBrk="1" fontAlgn="auto" latinLnBrk="0" hangingPunct="1">
                <a:lnSpc>
                  <a:spcPct val="100000"/>
                </a:lnSpc>
                <a:spcBef>
                  <a:spcPts val="0"/>
                </a:spcBef>
                <a:spcAft>
                  <a:spcPts val="600"/>
                </a:spcAft>
                <a:buClrTx/>
                <a:buSzTx/>
                <a:buFontTx/>
                <a:buNone/>
                <a:tabLst/>
                <a:defRPr/>
              </a:pPr>
              <a:t>42</a:t>
            </a:fld>
            <a:endParaRPr kumimoji="0" lang="en-US" sz="1200" b="0" i="0" u="none" strike="noStrike" kern="1200" cap="none" spc="0" normalizeH="0" baseline="0" noProof="0" dirty="0">
              <a:ln>
                <a:noFill/>
              </a:ln>
              <a:solidFill>
                <a:srgbClr val="FFFFFF"/>
              </a:solidFill>
              <a:effectLst/>
              <a:uLnTx/>
              <a:uFillTx/>
              <a:latin typeface="Corbel" panose="020B0503020204020204"/>
              <a:ea typeface="+mn-ea"/>
              <a:cs typeface="+mn-cs"/>
            </a:endParaRPr>
          </a:p>
        </p:txBody>
      </p:sp>
      <p:pic>
        <p:nvPicPr>
          <p:cNvPr id="19" name="Graphic 18" descr="Customer review with solid fill">
            <a:extLst>
              <a:ext uri="{FF2B5EF4-FFF2-40B4-BE49-F238E27FC236}">
                <a16:creationId xmlns:a16="http://schemas.microsoft.com/office/drawing/2014/main" id="{17B6B555-B9BF-48FC-953D-4E05D88BE0F8}"/>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794377" y="946775"/>
            <a:ext cx="3027316" cy="3027316"/>
          </a:xfrm>
          <a:prstGeom prst="rect">
            <a:avLst/>
          </a:prstGeom>
        </p:spPr>
      </p:pic>
    </p:spTree>
    <p:extLst>
      <p:ext uri="{BB962C8B-B14F-4D97-AF65-F5344CB8AC3E}">
        <p14:creationId xmlns:p14="http://schemas.microsoft.com/office/powerpoint/2010/main" val="42606289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54B276-DF19-4A3A-BD79-3AD68C065070}"/>
              </a:ext>
            </a:extLst>
          </p:cNvPr>
          <p:cNvSpPr>
            <a:spLocks noGrp="1"/>
          </p:cNvSpPr>
          <p:nvPr>
            <p:ph type="ctrTitle"/>
          </p:nvPr>
        </p:nvSpPr>
        <p:spPr/>
        <p:txBody>
          <a:bodyPr>
            <a:normAutofit/>
          </a:bodyPr>
          <a:lstStyle/>
          <a:p>
            <a:r>
              <a:rPr lang="en-US" sz="5400" b="1" dirty="0"/>
              <a:t>Independent Evaluators’ Semiannual Report</a:t>
            </a:r>
          </a:p>
        </p:txBody>
      </p:sp>
      <p:sp>
        <p:nvSpPr>
          <p:cNvPr id="3" name="Subtitle 2">
            <a:extLst>
              <a:ext uri="{FF2B5EF4-FFF2-40B4-BE49-F238E27FC236}">
                <a16:creationId xmlns:a16="http://schemas.microsoft.com/office/drawing/2014/main" id="{AEDE1435-4E80-4B1A-B148-7AEC1CCE1AEF}"/>
              </a:ext>
            </a:extLst>
          </p:cNvPr>
          <p:cNvSpPr>
            <a:spLocks noGrp="1"/>
          </p:cNvSpPr>
          <p:nvPr>
            <p:ph type="subTitle" idx="1"/>
          </p:nvPr>
        </p:nvSpPr>
        <p:spPr/>
        <p:txBody>
          <a:bodyPr>
            <a:normAutofit fontScale="85000" lnSpcReduction="20000"/>
          </a:bodyPr>
          <a:lstStyle/>
          <a:p>
            <a:r>
              <a:rPr lang="en-US" dirty="0"/>
              <a:t>Topic:  Redaction Process</a:t>
            </a:r>
          </a:p>
          <a:p>
            <a:r>
              <a:rPr lang="en-US" dirty="0"/>
              <a:t>Date:  July 28, 2021</a:t>
            </a:r>
          </a:p>
          <a:p>
            <a:r>
              <a:rPr lang="en-US" dirty="0"/>
              <a:t> </a:t>
            </a:r>
          </a:p>
        </p:txBody>
      </p:sp>
      <p:sp>
        <p:nvSpPr>
          <p:cNvPr id="5" name="Slide Number Placeholder 4">
            <a:extLst>
              <a:ext uri="{FF2B5EF4-FFF2-40B4-BE49-F238E27FC236}">
                <a16:creationId xmlns:a16="http://schemas.microsoft.com/office/drawing/2014/main" id="{567E8A26-3EC1-458D-9B8A-623C9BE588A8}"/>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8A5BF6F-6284-4268-A4B2-70D64A08C3F8}" type="slidenum">
              <a:rPr kumimoji="0" lang="en-US" sz="105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105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8089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BB8ADB-7FBF-45CD-BF7C-3CCAE4743751}"/>
              </a:ext>
            </a:extLst>
          </p:cNvPr>
          <p:cNvSpPr>
            <a:spLocks noGrp="1"/>
          </p:cNvSpPr>
          <p:nvPr>
            <p:ph type="title"/>
          </p:nvPr>
        </p:nvSpPr>
        <p:spPr/>
        <p:txBody>
          <a:bodyPr/>
          <a:lstStyle/>
          <a:p>
            <a:r>
              <a:rPr kumimoji="0" lang="en-US" sz="4800" b="1" i="0" u="none" strike="noStrike" kern="1200" cap="none" spc="-50" normalizeH="0" baseline="0" noProof="0" dirty="0">
                <a:ln>
                  <a:noFill/>
                </a:ln>
                <a:solidFill>
                  <a:srgbClr val="000000">
                    <a:lumMod val="75000"/>
                    <a:lumOff val="25000"/>
                  </a:srgbClr>
                </a:solidFill>
                <a:effectLst/>
                <a:uLnTx/>
                <a:uFillTx/>
                <a:latin typeface="Calibri Light" panose="020F0302020204030204"/>
                <a:ea typeface="+mj-ea"/>
                <a:cs typeface="+mj-cs"/>
              </a:rPr>
              <a:t>IE Semiannual Report:</a:t>
            </a:r>
            <a:br>
              <a:rPr lang="en-US" b="1" dirty="0"/>
            </a:br>
            <a:r>
              <a:rPr lang="en-US" sz="4000" b="1" dirty="0"/>
              <a:t>Redaction Process</a:t>
            </a:r>
            <a:endParaRPr lang="en-US" dirty="0"/>
          </a:p>
        </p:txBody>
      </p:sp>
      <p:sp>
        <p:nvSpPr>
          <p:cNvPr id="6" name="Slide Number Placeholder 5">
            <a:extLst>
              <a:ext uri="{FF2B5EF4-FFF2-40B4-BE49-F238E27FC236}">
                <a16:creationId xmlns:a16="http://schemas.microsoft.com/office/drawing/2014/main" id="{97F2D11E-1FF7-4197-BCBD-DD8BC410CCFD}"/>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8A5BF6F-6284-4268-A4B2-70D64A08C3F8}" type="slidenum">
              <a:rPr kumimoji="0" lang="en-US" sz="105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8" name="Group 7">
            <a:extLst>
              <a:ext uri="{FF2B5EF4-FFF2-40B4-BE49-F238E27FC236}">
                <a16:creationId xmlns:a16="http://schemas.microsoft.com/office/drawing/2014/main" id="{E978D3D5-BC4E-4F20-888C-810FD90F63EC}"/>
              </a:ext>
            </a:extLst>
          </p:cNvPr>
          <p:cNvGrpSpPr/>
          <p:nvPr/>
        </p:nvGrpSpPr>
        <p:grpSpPr>
          <a:xfrm>
            <a:off x="9092886" y="1823535"/>
            <a:ext cx="2602814" cy="4155391"/>
            <a:chOff x="6798410" y="751558"/>
            <a:chExt cx="4207237" cy="5118395"/>
          </a:xfrm>
        </p:grpSpPr>
        <p:sp>
          <p:nvSpPr>
            <p:cNvPr id="10" name="Rectangle 9">
              <a:extLst>
                <a:ext uri="{FF2B5EF4-FFF2-40B4-BE49-F238E27FC236}">
                  <a16:creationId xmlns:a16="http://schemas.microsoft.com/office/drawing/2014/main" id="{FEE671A6-58A2-4722-A434-E45410E764B7}"/>
                </a:ext>
              </a:extLst>
            </p:cNvPr>
            <p:cNvSpPr/>
            <p:nvPr/>
          </p:nvSpPr>
          <p:spPr>
            <a:xfrm>
              <a:off x="6798410" y="2156973"/>
              <a:ext cx="1629623" cy="10320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IE and IOU Confer on Redactions</a:t>
              </a:r>
            </a:p>
          </p:txBody>
        </p:sp>
        <p:sp>
          <p:nvSpPr>
            <p:cNvPr id="11" name="Rectangle 10">
              <a:extLst>
                <a:ext uri="{FF2B5EF4-FFF2-40B4-BE49-F238E27FC236}">
                  <a16:creationId xmlns:a16="http://schemas.microsoft.com/office/drawing/2014/main" id="{19B9A473-90AA-469C-8344-505C8F933736}"/>
                </a:ext>
              </a:extLst>
            </p:cNvPr>
            <p:cNvSpPr/>
            <p:nvPr/>
          </p:nvSpPr>
          <p:spPr>
            <a:xfrm>
              <a:off x="9345478" y="2156973"/>
              <a:ext cx="1629623" cy="10320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Redactions Finalized</a:t>
              </a:r>
            </a:p>
          </p:txBody>
        </p:sp>
        <p:sp>
          <p:nvSpPr>
            <p:cNvPr id="12" name="Rectangle 11">
              <a:extLst>
                <a:ext uri="{FF2B5EF4-FFF2-40B4-BE49-F238E27FC236}">
                  <a16:creationId xmlns:a16="http://schemas.microsoft.com/office/drawing/2014/main" id="{8EB423B5-DDE9-456E-88E9-2EC9A00198D8}"/>
                </a:ext>
              </a:extLst>
            </p:cNvPr>
            <p:cNvSpPr/>
            <p:nvPr/>
          </p:nvSpPr>
          <p:spPr>
            <a:xfrm>
              <a:off x="6828952" y="3440620"/>
              <a:ext cx="1629623" cy="106676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Assigned IE Executes Redaction Letter</a:t>
              </a:r>
            </a:p>
          </p:txBody>
        </p:sp>
        <p:sp>
          <p:nvSpPr>
            <p:cNvPr id="13" name="Rectangle 12">
              <a:extLst>
                <a:ext uri="{FF2B5EF4-FFF2-40B4-BE49-F238E27FC236}">
                  <a16:creationId xmlns:a16="http://schemas.microsoft.com/office/drawing/2014/main" id="{A94100D7-27C7-4610-9D22-84A2C314B4DF}"/>
                </a:ext>
              </a:extLst>
            </p:cNvPr>
            <p:cNvSpPr/>
            <p:nvPr/>
          </p:nvSpPr>
          <p:spPr>
            <a:xfrm>
              <a:off x="9376024" y="3424100"/>
              <a:ext cx="1629623" cy="10654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IOU Legal Performs Redactions</a:t>
              </a:r>
            </a:p>
          </p:txBody>
        </p:sp>
        <p:sp>
          <p:nvSpPr>
            <p:cNvPr id="15" name="Rectangle 14">
              <a:extLst>
                <a:ext uri="{FF2B5EF4-FFF2-40B4-BE49-F238E27FC236}">
                  <a16:creationId xmlns:a16="http://schemas.microsoft.com/office/drawing/2014/main" id="{5B70FC67-E2F6-43A8-807B-3A645D26ED80}"/>
                </a:ext>
              </a:extLst>
            </p:cNvPr>
            <p:cNvSpPr/>
            <p:nvPr/>
          </p:nvSpPr>
          <p:spPr>
            <a:xfrm>
              <a:off x="6828953" y="4825756"/>
              <a:ext cx="1629623" cy="10441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IOU Files Redacted Report to Service List</a:t>
              </a:r>
            </a:p>
          </p:txBody>
        </p:sp>
        <p:sp>
          <p:nvSpPr>
            <p:cNvPr id="16" name="Rectangle 15">
              <a:extLst>
                <a:ext uri="{FF2B5EF4-FFF2-40B4-BE49-F238E27FC236}">
                  <a16:creationId xmlns:a16="http://schemas.microsoft.com/office/drawing/2014/main" id="{7E92F4EB-D8B8-4FC3-B54A-5C0745D60FB4}"/>
                </a:ext>
              </a:extLst>
            </p:cNvPr>
            <p:cNvSpPr/>
            <p:nvPr/>
          </p:nvSpPr>
          <p:spPr>
            <a:xfrm>
              <a:off x="9345479" y="4837857"/>
              <a:ext cx="1629623" cy="10320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IOU Files Unredacted Report Under Seal</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18" name="Connector: Elbow 17">
              <a:extLst>
                <a:ext uri="{FF2B5EF4-FFF2-40B4-BE49-F238E27FC236}">
                  <a16:creationId xmlns:a16="http://schemas.microsoft.com/office/drawing/2014/main" id="{7951A185-80EF-4F6B-AE66-2384A92993F8}"/>
                </a:ext>
              </a:extLst>
            </p:cNvPr>
            <p:cNvCxnSpPr>
              <a:cxnSpLocks/>
              <a:stCxn id="11" idx="3"/>
              <a:endCxn id="12" idx="1"/>
            </p:cNvCxnSpPr>
            <p:nvPr/>
          </p:nvCxnSpPr>
          <p:spPr>
            <a:xfrm flipH="1">
              <a:off x="6828952" y="2673021"/>
              <a:ext cx="4146150" cy="1300980"/>
            </a:xfrm>
            <a:prstGeom prst="bentConnector5">
              <a:avLst>
                <a:gd name="adj1" fmla="val -8912"/>
                <a:gd name="adj2" fmla="val 49334"/>
                <a:gd name="adj3" fmla="val 10891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4A6A158B-5EF2-4AF0-9F49-BCE38B052590}"/>
                </a:ext>
              </a:extLst>
            </p:cNvPr>
            <p:cNvCxnSpPr>
              <a:cxnSpLocks/>
              <a:stCxn id="10" idx="3"/>
              <a:endCxn id="11" idx="1"/>
            </p:cNvCxnSpPr>
            <p:nvPr/>
          </p:nvCxnSpPr>
          <p:spPr>
            <a:xfrm>
              <a:off x="8428033" y="2673021"/>
              <a:ext cx="91744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E989210C-D988-445D-9EED-9E067142E716}"/>
                </a:ext>
              </a:extLst>
            </p:cNvPr>
            <p:cNvCxnSpPr>
              <a:cxnSpLocks/>
              <a:stCxn id="12" idx="3"/>
              <a:endCxn id="13" idx="1"/>
            </p:cNvCxnSpPr>
            <p:nvPr/>
          </p:nvCxnSpPr>
          <p:spPr>
            <a:xfrm flipV="1">
              <a:off x="8458575" y="3956820"/>
              <a:ext cx="917449" cy="171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A530FFA1-BA6D-4188-91A6-5869DB7C38BA}"/>
                </a:ext>
              </a:extLst>
            </p:cNvPr>
            <p:cNvCxnSpPr>
              <a:cxnSpLocks/>
              <a:stCxn id="15" idx="3"/>
              <a:endCxn id="16" idx="1"/>
            </p:cNvCxnSpPr>
            <p:nvPr/>
          </p:nvCxnSpPr>
          <p:spPr>
            <a:xfrm>
              <a:off x="8458577" y="5347854"/>
              <a:ext cx="886901" cy="60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2116FB80-7D93-4805-947F-276A34F310C5}"/>
                </a:ext>
              </a:extLst>
            </p:cNvPr>
            <p:cNvCxnSpPr>
              <a:cxnSpLocks/>
              <a:stCxn id="13" idx="3"/>
              <a:endCxn id="15" idx="1"/>
            </p:cNvCxnSpPr>
            <p:nvPr/>
          </p:nvCxnSpPr>
          <p:spPr>
            <a:xfrm flipH="1">
              <a:off x="6828953" y="3956820"/>
              <a:ext cx="4176694" cy="1391034"/>
            </a:xfrm>
            <a:prstGeom prst="bentConnector5">
              <a:avLst>
                <a:gd name="adj1" fmla="val -8847"/>
                <a:gd name="adj2" fmla="val 50382"/>
                <a:gd name="adj3" fmla="val 108847"/>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Rectangle: Rounded Corners 24">
              <a:extLst>
                <a:ext uri="{FF2B5EF4-FFF2-40B4-BE49-F238E27FC236}">
                  <a16:creationId xmlns:a16="http://schemas.microsoft.com/office/drawing/2014/main" id="{CB488310-19D7-45DD-8BDE-25C3FEFEB96F}"/>
                </a:ext>
              </a:extLst>
            </p:cNvPr>
            <p:cNvSpPr/>
            <p:nvPr/>
          </p:nvSpPr>
          <p:spPr>
            <a:xfrm rot="5400000">
              <a:off x="8288190" y="-563478"/>
              <a:ext cx="1197126" cy="3827197"/>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mn-cs"/>
                </a:rPr>
                <a:t>Final IE Semiannual Report Process</a:t>
              </a:r>
            </a:p>
          </p:txBody>
        </p:sp>
      </p:grpSp>
      <p:sp>
        <p:nvSpPr>
          <p:cNvPr id="27" name="Content Placeholder 2">
            <a:extLst>
              <a:ext uri="{FF2B5EF4-FFF2-40B4-BE49-F238E27FC236}">
                <a16:creationId xmlns:a16="http://schemas.microsoft.com/office/drawing/2014/main" id="{D8F368F1-1C57-4ACD-BD58-B622AE7C177C}"/>
              </a:ext>
            </a:extLst>
          </p:cNvPr>
          <p:cNvSpPr txBox="1">
            <a:spLocks/>
          </p:cNvSpPr>
          <p:nvPr/>
        </p:nvSpPr>
        <p:spPr>
          <a:xfrm>
            <a:off x="515197" y="1715589"/>
            <a:ext cx="8558792" cy="4517257"/>
          </a:xfrm>
          <a:prstGeom prst="rect">
            <a:avLst/>
          </a:prstGeom>
        </p:spPr>
        <p:txBody>
          <a:bodyP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marR="0" lvl="0" indent="-91440" algn="l" defTabSz="914400" rtl="0" eaLnBrk="1" fontAlgn="auto" latinLnBrk="0" hangingPunct="1">
              <a:lnSpc>
                <a:spcPct val="107000"/>
              </a:lnSpc>
              <a:spcBef>
                <a:spcPts val="0"/>
              </a:spcBef>
              <a:spcAft>
                <a:spcPts val="600"/>
              </a:spcAft>
              <a:buClr>
                <a:srgbClr val="E48312"/>
              </a:buClr>
              <a:buSzPct val="100000"/>
              <a:buFont typeface="Calibri" panose="020F0502020204030204" pitchFamily="34" charset="0"/>
              <a:buChar char=" "/>
              <a:tabLst/>
              <a:defRPr/>
            </a:pPr>
            <a:r>
              <a:rPr kumimoji="0" lang="en-US" sz="2400" b="1"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Calibri" panose="020F0502020204030204" pitchFamily="34" charset="0"/>
                <a:cs typeface="Times New Roman" panose="02020603050405020304" pitchFamily="18" charset="0"/>
              </a:rPr>
              <a:t>Background</a:t>
            </a:r>
          </a:p>
          <a:p>
            <a:pPr marL="342900" marR="0" lvl="0" indent="-342900" algn="l" defTabSz="914400" rtl="0" eaLnBrk="1" fontAlgn="auto" latinLnBrk="0" hangingPunct="1">
              <a:lnSpc>
                <a:spcPct val="70000"/>
              </a:lnSpc>
              <a:spcBef>
                <a:spcPts val="600"/>
              </a:spcBef>
              <a:spcAft>
                <a:spcPts val="200"/>
              </a:spcAft>
              <a:buClr>
                <a:srgbClr val="E48312"/>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IEs are required to </a:t>
            </a:r>
            <a:r>
              <a:rPr kumimoji="0" lang="en-US" sz="1800" b="0" i="0" u="sng"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file</a:t>
            </a:r>
            <a:r>
              <a:rPr kumimoji="0" lang="en-US" sz="18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 a Semiannual Report on active IOU solicitations.  (Most of the report is focused on program contracts not yet approved by the CPUC and, therefore subject to stricter Confidentiality review.)</a:t>
            </a:r>
          </a:p>
          <a:p>
            <a:pPr marL="342900" marR="0" lvl="0" indent="-342900" algn="l" defTabSz="914400" rtl="0" eaLnBrk="1" fontAlgn="auto" latinLnBrk="0" hangingPunct="1">
              <a:lnSpc>
                <a:spcPct val="70000"/>
              </a:lnSpc>
              <a:spcBef>
                <a:spcPts val="1200"/>
              </a:spcBef>
              <a:spcAft>
                <a:spcPts val="200"/>
              </a:spcAft>
              <a:buClr>
                <a:srgbClr val="E48312"/>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IEs coordinate with the IOU on all redactions.</a:t>
            </a:r>
          </a:p>
          <a:p>
            <a:pPr marL="342900" marR="0" lvl="0" indent="-342900" algn="l" defTabSz="914400" rtl="0" eaLnBrk="1" fontAlgn="auto" latinLnBrk="0" hangingPunct="1">
              <a:lnSpc>
                <a:spcPct val="70000"/>
              </a:lnSpc>
              <a:spcBef>
                <a:spcPts val="1200"/>
              </a:spcBef>
              <a:spcAft>
                <a:spcPts val="200"/>
              </a:spcAft>
              <a:buClr>
                <a:srgbClr val="E48312"/>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Redactions are subject to:</a:t>
            </a:r>
          </a:p>
          <a:p>
            <a:pPr marL="635508" marR="0" lvl="1" indent="-342900" algn="l" defTabSz="914400" rtl="0" eaLnBrk="1" fontAlgn="auto" latinLnBrk="0" hangingPunct="1">
              <a:lnSpc>
                <a:spcPct val="70000"/>
              </a:lnSpc>
              <a:spcBef>
                <a:spcPts val="200"/>
              </a:spcBef>
              <a:spcAft>
                <a:spcPts val="400"/>
              </a:spcAft>
              <a:buClr>
                <a:srgbClr val="E48312"/>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Non-disclosure agreements</a:t>
            </a:r>
          </a:p>
          <a:p>
            <a:pPr marL="635508" marR="0" lvl="1" indent="-342900" algn="l" defTabSz="914400" rtl="0" eaLnBrk="1" fontAlgn="auto" latinLnBrk="0" hangingPunct="1">
              <a:lnSpc>
                <a:spcPct val="70000"/>
              </a:lnSpc>
              <a:spcBef>
                <a:spcPts val="200"/>
              </a:spcBef>
              <a:spcAft>
                <a:spcPts val="400"/>
              </a:spcAft>
              <a:buClr>
                <a:srgbClr val="E48312"/>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Confidentiality agreements</a:t>
            </a:r>
          </a:p>
          <a:p>
            <a:pPr marL="635508" marR="0" lvl="1" indent="-342900" algn="l" defTabSz="914400" rtl="0" eaLnBrk="1" fontAlgn="auto" latinLnBrk="0" hangingPunct="1">
              <a:lnSpc>
                <a:spcPct val="70000"/>
              </a:lnSpc>
              <a:spcBef>
                <a:spcPts val="200"/>
              </a:spcBef>
              <a:spcAft>
                <a:spcPts val="400"/>
              </a:spcAft>
              <a:buClr>
                <a:srgbClr val="E48312"/>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Other confidentiality restrictions (Decision 19-01-028, GO 66-D)</a:t>
            </a:r>
          </a:p>
          <a:p>
            <a:pPr marL="342900" marR="0" lvl="0" indent="-342900" algn="l" defTabSz="914400" rtl="0" eaLnBrk="1" fontAlgn="auto" latinLnBrk="0" hangingPunct="1">
              <a:lnSpc>
                <a:spcPct val="70000"/>
              </a:lnSpc>
              <a:spcBef>
                <a:spcPts val="1200"/>
              </a:spcBef>
              <a:spcAft>
                <a:spcPts val="200"/>
              </a:spcAft>
              <a:buClr>
                <a:srgbClr val="E48312"/>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The Report contains:</a:t>
            </a:r>
          </a:p>
          <a:p>
            <a:pPr marL="635508" marR="0" lvl="1" indent="-342900" algn="l" defTabSz="914400" rtl="0" eaLnBrk="1" fontAlgn="auto" latinLnBrk="0" hangingPunct="1">
              <a:lnSpc>
                <a:spcPct val="70000"/>
              </a:lnSpc>
              <a:spcBef>
                <a:spcPts val="200"/>
              </a:spcBef>
              <a:spcAft>
                <a:spcPts val="400"/>
              </a:spcAft>
              <a:buClr>
                <a:srgbClr val="E48312"/>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Market-sensitive information</a:t>
            </a:r>
          </a:p>
          <a:p>
            <a:pPr marL="635508" marR="0" lvl="1" indent="-342900" algn="l" defTabSz="914400" rtl="0" eaLnBrk="1" fontAlgn="auto" latinLnBrk="0" hangingPunct="1">
              <a:lnSpc>
                <a:spcPct val="70000"/>
              </a:lnSpc>
              <a:spcBef>
                <a:spcPts val="200"/>
              </a:spcBef>
              <a:spcAft>
                <a:spcPts val="400"/>
              </a:spcAft>
              <a:buClr>
                <a:srgbClr val="E48312"/>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Contract information that is commercially-sensitive</a:t>
            </a:r>
          </a:p>
          <a:p>
            <a:pPr marL="635508" marR="0" lvl="1" indent="-342900" algn="l" defTabSz="914400" rtl="0" eaLnBrk="1" fontAlgn="auto" latinLnBrk="0" hangingPunct="1">
              <a:lnSpc>
                <a:spcPct val="70000"/>
              </a:lnSpc>
              <a:spcBef>
                <a:spcPts val="200"/>
              </a:spcBef>
              <a:spcAft>
                <a:spcPts val="400"/>
              </a:spcAft>
              <a:buClr>
                <a:srgbClr val="E48312"/>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Financial information of non-public companies</a:t>
            </a:r>
          </a:p>
          <a:p>
            <a:pPr marL="635508" marR="0" lvl="1" indent="-342900" algn="l" defTabSz="914400" rtl="0" eaLnBrk="1" fontAlgn="auto" latinLnBrk="0" hangingPunct="1">
              <a:lnSpc>
                <a:spcPct val="70000"/>
              </a:lnSpc>
              <a:spcBef>
                <a:spcPts val="200"/>
              </a:spcBef>
              <a:spcAft>
                <a:spcPts val="400"/>
              </a:spcAft>
              <a:buClr>
                <a:srgbClr val="E48312"/>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Competitive data.</a:t>
            </a:r>
          </a:p>
          <a:p>
            <a:pPr marL="342900" marR="0" lvl="0" indent="-342900" algn="l" defTabSz="914400" rtl="0" eaLnBrk="1" fontAlgn="auto" latinLnBrk="0" hangingPunct="1">
              <a:lnSpc>
                <a:spcPct val="70000"/>
              </a:lnSpc>
              <a:spcBef>
                <a:spcPts val="1200"/>
              </a:spcBef>
              <a:spcAft>
                <a:spcPts val="200"/>
              </a:spcAft>
              <a:buClr>
                <a:srgbClr val="E48312"/>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IOUs file a redacted (aka, public) Report on behalf of the IEs to the EE service list and unredacted Report filed under seal to the CPUC.</a:t>
            </a:r>
          </a:p>
          <a:p>
            <a:pPr marL="342900" marR="0" lvl="0" indent="-342900" algn="l" defTabSz="914400" rtl="0" eaLnBrk="1" fontAlgn="auto" latinLnBrk="0" hangingPunct="1">
              <a:lnSpc>
                <a:spcPct val="70000"/>
              </a:lnSpc>
              <a:spcBef>
                <a:spcPts val="1200"/>
              </a:spcBef>
              <a:spcAft>
                <a:spcPts val="200"/>
              </a:spcAft>
              <a:buClr>
                <a:srgbClr val="E48312"/>
              </a:buClr>
              <a:buSzPct val="100000"/>
              <a:buFont typeface="Arial" panose="020B0604020202020204" pitchFamily="34" charset="0"/>
              <a:buChar char="•"/>
              <a:tabLst/>
              <a:defRPr/>
            </a:pPr>
            <a:endParaRPr kumimoji="0" lang="en-US" sz="18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endParaRPr>
          </a:p>
          <a:p>
            <a:pPr marL="91440" marR="0" lvl="0" indent="-91440" algn="l" defTabSz="914400" rtl="0" eaLnBrk="1" fontAlgn="auto" latinLnBrk="0" hangingPunct="1">
              <a:lnSpc>
                <a:spcPct val="90000"/>
              </a:lnSpc>
              <a:spcBef>
                <a:spcPts val="1200"/>
              </a:spcBef>
              <a:spcAft>
                <a:spcPts val="200"/>
              </a:spcAft>
              <a:buClr>
                <a:srgbClr val="E48312"/>
              </a:buClr>
              <a:buSzPct val="100000"/>
              <a:buFont typeface="Calibri" panose="020F0502020204030204" pitchFamily="34" charset="0"/>
              <a:buChar char=" "/>
              <a:tabLst/>
              <a:defRPr/>
            </a:pPr>
            <a:endParaRPr kumimoji="0" lang="en-US" sz="20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977647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BB8ADB-7FBF-45CD-BF7C-3CCAE4743751}"/>
              </a:ext>
            </a:extLst>
          </p:cNvPr>
          <p:cNvSpPr>
            <a:spLocks noGrp="1"/>
          </p:cNvSpPr>
          <p:nvPr>
            <p:ph type="title"/>
          </p:nvPr>
        </p:nvSpPr>
        <p:spPr/>
        <p:txBody>
          <a:bodyPr/>
          <a:lstStyle/>
          <a:p>
            <a:r>
              <a:rPr kumimoji="0" lang="en-US" sz="4800" b="1" i="0" u="none" strike="noStrike" kern="1200" cap="none" spc="-50" normalizeH="0" baseline="0" noProof="0" dirty="0">
                <a:ln>
                  <a:noFill/>
                </a:ln>
                <a:solidFill>
                  <a:srgbClr val="000000">
                    <a:lumMod val="75000"/>
                    <a:lumOff val="25000"/>
                  </a:srgbClr>
                </a:solidFill>
                <a:effectLst/>
                <a:uLnTx/>
                <a:uFillTx/>
                <a:latin typeface="Calibri Light" panose="020F0302020204030204"/>
                <a:ea typeface="+mj-ea"/>
                <a:cs typeface="+mj-cs"/>
              </a:rPr>
              <a:t>IE Semiannual Report:</a:t>
            </a:r>
            <a:br>
              <a:rPr lang="en-US" b="1" dirty="0"/>
            </a:br>
            <a:r>
              <a:rPr lang="en-US" sz="4000" b="1" dirty="0"/>
              <a:t>Redaction Process (Cont’d)</a:t>
            </a:r>
            <a:endParaRPr lang="en-US" dirty="0"/>
          </a:p>
        </p:txBody>
      </p:sp>
      <p:sp>
        <p:nvSpPr>
          <p:cNvPr id="6" name="Slide Number Placeholder 5">
            <a:extLst>
              <a:ext uri="{FF2B5EF4-FFF2-40B4-BE49-F238E27FC236}">
                <a16:creationId xmlns:a16="http://schemas.microsoft.com/office/drawing/2014/main" id="{97F2D11E-1FF7-4197-BCBD-DD8BC410CCFD}"/>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8A5BF6F-6284-4268-A4B2-70D64A08C3F8}" type="slidenum">
              <a:rPr kumimoji="0" lang="en-US" sz="105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05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aphicFrame>
        <p:nvGraphicFramePr>
          <p:cNvPr id="14" name="Table 14">
            <a:extLst>
              <a:ext uri="{FF2B5EF4-FFF2-40B4-BE49-F238E27FC236}">
                <a16:creationId xmlns:a16="http://schemas.microsoft.com/office/drawing/2014/main" id="{AD378420-43FD-44D1-8A03-A071BB127358}"/>
              </a:ext>
            </a:extLst>
          </p:cNvPr>
          <p:cNvGraphicFramePr>
            <a:graphicFrameLocks noGrp="1"/>
          </p:cNvGraphicFramePr>
          <p:nvPr>
            <p:ph sz="half" idx="2"/>
          </p:nvPr>
        </p:nvGraphicFramePr>
        <p:xfrm>
          <a:off x="1326909" y="2767980"/>
          <a:ext cx="10154194" cy="1958340"/>
        </p:xfrm>
        <a:graphic>
          <a:graphicData uri="http://schemas.openxmlformats.org/drawingml/2006/table">
            <a:tbl>
              <a:tblPr bandRow="1">
                <a:tableStyleId>{5C22544A-7EE6-4342-B048-85BDC9FD1C3A}</a:tableStyleId>
              </a:tblPr>
              <a:tblGrid>
                <a:gridCol w="1311789">
                  <a:extLst>
                    <a:ext uri="{9D8B030D-6E8A-4147-A177-3AD203B41FA5}">
                      <a16:colId xmlns:a16="http://schemas.microsoft.com/office/drawing/2014/main" val="3605561282"/>
                    </a:ext>
                  </a:extLst>
                </a:gridCol>
                <a:gridCol w="8842405">
                  <a:extLst>
                    <a:ext uri="{9D8B030D-6E8A-4147-A177-3AD203B41FA5}">
                      <a16:colId xmlns:a16="http://schemas.microsoft.com/office/drawing/2014/main" val="1776607431"/>
                    </a:ext>
                  </a:extLst>
                </a:gridCol>
              </a:tblGrid>
              <a:tr h="229273">
                <a:tc>
                  <a:txBody>
                    <a:bodyPr/>
                    <a:lstStyle/>
                    <a:p>
                      <a:r>
                        <a:rPr lang="en-US" sz="1200" b="1" dirty="0"/>
                        <a:t>Data Element(s)</a:t>
                      </a:r>
                    </a:p>
                  </a:txBody>
                  <a:tcPr/>
                </a:tc>
                <a:tc>
                  <a:txBody>
                    <a:bodyPr/>
                    <a:lstStyle/>
                    <a:p>
                      <a:r>
                        <a:rPr lang="en-US" sz="1200" b="1" dirty="0"/>
                        <a:t>Justification</a:t>
                      </a:r>
                    </a:p>
                  </a:txBody>
                  <a:tcPr/>
                </a:tc>
                <a:extLst>
                  <a:ext uri="{0D108BD9-81ED-4DB2-BD59-A6C34878D82A}">
                    <a16:rowId xmlns:a16="http://schemas.microsoft.com/office/drawing/2014/main" val="2923912657"/>
                  </a:ext>
                </a:extLst>
              </a:tr>
              <a:tr h="370840">
                <a:tc>
                  <a:txBody>
                    <a:bodyPr/>
                    <a:lstStyle/>
                    <a:p>
                      <a:pPr marL="68580" marR="0" lvl="0" indent="0" algn="l" defTabSz="914400" rtl="0" eaLnBrk="1" fontAlgn="auto" latinLnBrk="0" hangingPunct="1">
                        <a:lnSpc>
                          <a:spcPts val="1340"/>
                        </a:lnSpc>
                        <a:spcBef>
                          <a:spcPts val="0"/>
                        </a:spcBef>
                        <a:spcAft>
                          <a:spcPts val="0"/>
                        </a:spcAft>
                        <a:buClrTx/>
                        <a:buSzTx/>
                        <a:buFontTx/>
                        <a:buNone/>
                        <a:tabLst/>
                        <a:defRPr/>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68580" marR="0" lvl="0" indent="0" algn="l" defTabSz="914400" rtl="0" eaLnBrk="1" fontAlgn="auto" latinLnBrk="0" hangingPunct="1">
                        <a:lnSpc>
                          <a:spcPts val="1340"/>
                        </a:lnSpc>
                        <a:spcBef>
                          <a:spcPts val="0"/>
                        </a:spcBef>
                        <a:spcAft>
                          <a:spcPts val="0"/>
                        </a:spcAft>
                        <a:buClrTx/>
                        <a:buSzTx/>
                        <a:buFontTx/>
                        <a:buNone/>
                        <a:tabLst/>
                        <a:defRPr/>
                      </a:pPr>
                      <a:r>
                        <a:rPr lang="en-US" sz="1200" b="1" dirty="0">
                          <a:effectLst/>
                          <a:latin typeface="Calibri" panose="020F0502020204030204" pitchFamily="34" charset="0"/>
                          <a:ea typeface="Calibri" panose="020F0502020204030204" pitchFamily="34" charset="0"/>
                          <a:cs typeface="Times New Roman" panose="02020603050405020304" pitchFamily="18" charset="0"/>
                        </a:rPr>
                        <a:t>Market Sensitive Business Practices</a:t>
                      </a:r>
                    </a:p>
                  </a:txBody>
                  <a:tcPr marL="0" marR="0" marT="0" marB="0"/>
                </a:tc>
                <a:tc>
                  <a:txBody>
                    <a:bodyPr/>
                    <a:lstStyle/>
                    <a:p>
                      <a:r>
                        <a:rPr lang="en-US" sz="1200" dirty="0"/>
                        <a:t>The IOU’s business decision-making processes and results of these processes are proprietary to the IOU and could result in a competitive disadvantage if made public.</a:t>
                      </a:r>
                    </a:p>
                  </a:txBody>
                  <a:tcPr/>
                </a:tc>
                <a:extLst>
                  <a:ext uri="{0D108BD9-81ED-4DB2-BD59-A6C34878D82A}">
                    <a16:rowId xmlns:a16="http://schemas.microsoft.com/office/drawing/2014/main" val="1042961692"/>
                  </a:ext>
                </a:extLst>
              </a:tr>
              <a:tr h="370840">
                <a:tc>
                  <a:txBody>
                    <a:bodyPr/>
                    <a:lstStyle/>
                    <a:p>
                      <a:pPr marL="68580" marR="0">
                        <a:lnSpc>
                          <a:spcPts val="1245"/>
                        </a:lnSpc>
                        <a:spcBef>
                          <a:spcPts val="0"/>
                        </a:spcBef>
                        <a:spcAft>
                          <a:spcPts val="0"/>
                        </a:spcAft>
                      </a:pPr>
                      <a:endParaRPr lang="en-US" sz="1200" b="1" dirty="0">
                        <a:effectLst/>
                        <a:latin typeface="Calibri" panose="020F0502020204030204" pitchFamily="34" charset="0"/>
                        <a:ea typeface="Calibri" panose="020F0502020204030204" pitchFamily="34" charset="0"/>
                        <a:cs typeface="Times New Roman" panose="02020603050405020304" pitchFamily="18" charset="0"/>
                      </a:endParaRPr>
                    </a:p>
                    <a:p>
                      <a:pPr marL="68580" marR="0">
                        <a:lnSpc>
                          <a:spcPts val="1245"/>
                        </a:lnSpc>
                        <a:spcBef>
                          <a:spcPts val="0"/>
                        </a:spcBef>
                        <a:spcAft>
                          <a:spcPts val="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Contracts</a:t>
                      </a:r>
                    </a:p>
                  </a:txBody>
                  <a:tcPr marL="0" marR="0" marT="0" marB="0"/>
                </a:tc>
                <a:tc>
                  <a:txBody>
                    <a:bodyPr/>
                    <a:lstStyle/>
                    <a:p>
                      <a:pPr marL="171450" indent="-171450">
                        <a:buFont typeface="Arial" panose="020B0604020202020204" pitchFamily="34" charset="0"/>
                        <a:buChar char="•"/>
                      </a:pPr>
                      <a:r>
                        <a:rPr lang="en-US" sz="1200" dirty="0"/>
                        <a:t>Based on input received by third-party bidders and based on the IOU’s concurring position, the produced documents are proprietary and contain commercially-sensitive, trade secrets, and content not intended for public disclosure.</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200" dirty="0"/>
                        <a:t>3</a:t>
                      </a:r>
                      <a:r>
                        <a:rPr lang="en-US" sz="1200" baseline="30000" dirty="0"/>
                        <a:t>rd</a:t>
                      </a:r>
                      <a:r>
                        <a:rPr lang="en-US" sz="1200" dirty="0"/>
                        <a:t> party bidders’ efforts involve communications which are intended only for access by designated members. </a:t>
                      </a:r>
                    </a:p>
                    <a:p>
                      <a:pPr marL="171450" indent="-171450">
                        <a:buFont typeface="Arial" panose="020B0604020202020204" pitchFamily="34" charset="0"/>
                        <a:buChar char="•"/>
                      </a:pPr>
                      <a:endParaRPr lang="en-US" sz="1200" dirty="0"/>
                    </a:p>
                    <a:p>
                      <a:pPr marL="171450" indent="-171450">
                        <a:buFont typeface="Arial" panose="020B0604020202020204" pitchFamily="34" charset="0"/>
                        <a:buChar char="•"/>
                      </a:pPr>
                      <a:r>
                        <a:rPr lang="en-US" sz="1200" dirty="0"/>
                        <a:t>Public disclosure would pose negative impacts and/or harm to 3</a:t>
                      </a:r>
                      <a:r>
                        <a:rPr lang="en-US" sz="1200" baseline="30000" dirty="0"/>
                        <a:t>rd</a:t>
                      </a:r>
                      <a:r>
                        <a:rPr lang="en-US" sz="1200" dirty="0"/>
                        <a:t> party bidders.</a:t>
                      </a:r>
                    </a:p>
                  </a:txBody>
                  <a:tcPr/>
                </a:tc>
                <a:extLst>
                  <a:ext uri="{0D108BD9-81ED-4DB2-BD59-A6C34878D82A}">
                    <a16:rowId xmlns:a16="http://schemas.microsoft.com/office/drawing/2014/main" val="3408026473"/>
                  </a:ext>
                </a:extLst>
              </a:tr>
            </a:tbl>
          </a:graphicData>
        </a:graphic>
      </p:graphicFrame>
      <p:sp>
        <p:nvSpPr>
          <p:cNvPr id="17" name="Content Placeholder 2">
            <a:extLst>
              <a:ext uri="{FF2B5EF4-FFF2-40B4-BE49-F238E27FC236}">
                <a16:creationId xmlns:a16="http://schemas.microsoft.com/office/drawing/2014/main" id="{C95C4C1A-C415-44F5-A26E-F187234B7B09}"/>
              </a:ext>
            </a:extLst>
          </p:cNvPr>
          <p:cNvSpPr txBox="1">
            <a:spLocks/>
          </p:cNvSpPr>
          <p:nvPr/>
        </p:nvSpPr>
        <p:spPr>
          <a:xfrm>
            <a:off x="1097280" y="1886910"/>
            <a:ext cx="10839872" cy="731520"/>
          </a:xfrm>
          <a:prstGeom prst="rect">
            <a:avLst/>
          </a:prstGeom>
        </p:spPr>
        <p:txBody>
          <a:bodyP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342900" marR="0" lvl="0" indent="-342900" algn="l" defTabSz="914400" rtl="0" eaLnBrk="1" fontAlgn="auto" latinLnBrk="0" hangingPunct="1">
              <a:lnSpc>
                <a:spcPct val="70000"/>
              </a:lnSpc>
              <a:spcBef>
                <a:spcPts val="1200"/>
              </a:spcBef>
              <a:spcAft>
                <a:spcPts val="200"/>
              </a:spcAft>
              <a:buClr>
                <a:srgbClr val="E48312"/>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Redacted information (highlighted text) is proprietary to the IOU and its bidders to their solicitations, and as such disclosure could result in a competitive disadvantage or a breach of privacy if made public.  The information is treated as confidential for the following reasons:</a:t>
            </a:r>
          </a:p>
        </p:txBody>
      </p:sp>
      <p:sp>
        <p:nvSpPr>
          <p:cNvPr id="7" name="Content Placeholder 2">
            <a:extLst>
              <a:ext uri="{FF2B5EF4-FFF2-40B4-BE49-F238E27FC236}">
                <a16:creationId xmlns:a16="http://schemas.microsoft.com/office/drawing/2014/main" id="{61219103-404A-4948-AD2F-7C35A657FAD1}"/>
              </a:ext>
            </a:extLst>
          </p:cNvPr>
          <p:cNvSpPr txBox="1">
            <a:spLocks/>
          </p:cNvSpPr>
          <p:nvPr/>
        </p:nvSpPr>
        <p:spPr>
          <a:xfrm>
            <a:off x="1097280" y="4942530"/>
            <a:ext cx="10839872" cy="731520"/>
          </a:xfrm>
          <a:prstGeom prst="rect">
            <a:avLst/>
          </a:prstGeom>
        </p:spPr>
        <p:txBody>
          <a:bodyPr>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0" marR="0" lvl="0" indent="0" algn="l" defTabSz="914400" rtl="0" eaLnBrk="1" fontAlgn="auto" latinLnBrk="0" hangingPunct="1">
              <a:lnSpc>
                <a:spcPct val="70000"/>
              </a:lnSpc>
              <a:spcBef>
                <a:spcPts val="1200"/>
              </a:spcBef>
              <a:spcAft>
                <a:spcPts val="200"/>
              </a:spcAft>
              <a:buClr>
                <a:srgbClr val="E48312"/>
              </a:buClr>
              <a:buSzPct val="100000"/>
              <a:buFont typeface="Calibri" panose="020F0502020204030204" pitchFamily="34" charset="0"/>
              <a:buNone/>
              <a:tabLst/>
              <a:defRPr/>
            </a:pPr>
            <a:r>
              <a:rPr kumimoji="0" lang="en-US" sz="1800" b="1"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Current Activities</a:t>
            </a:r>
          </a:p>
          <a:p>
            <a:pPr marL="342900" marR="0" lvl="0" indent="-342900" algn="l" defTabSz="914400" rtl="0" eaLnBrk="1" fontAlgn="auto" latinLnBrk="0" hangingPunct="1">
              <a:lnSpc>
                <a:spcPct val="70000"/>
              </a:lnSpc>
              <a:spcBef>
                <a:spcPts val="1200"/>
              </a:spcBef>
              <a:spcAft>
                <a:spcPts val="200"/>
              </a:spcAft>
              <a:buClr>
                <a:srgbClr val="E48312"/>
              </a:buClr>
              <a:buSzPct val="100000"/>
              <a:buFont typeface="Arial" panose="020B0604020202020204" pitchFamily="34" charset="0"/>
              <a:buChar char="•"/>
              <a:tabLst/>
              <a:defRPr/>
            </a:pPr>
            <a:r>
              <a:rPr kumimoji="0" lang="en-US" sz="18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rPr>
              <a:t>The IOU, assigned IE, and the CPUC are reviewing the current approach to redactions to confirm adherence to CPUC and solicitation confidentiality restrictions.</a:t>
            </a:r>
          </a:p>
          <a:p>
            <a:pPr marL="342900" marR="0" lvl="0" indent="-342900" algn="l" defTabSz="914400" rtl="0" eaLnBrk="1" fontAlgn="auto" latinLnBrk="0" hangingPunct="1">
              <a:lnSpc>
                <a:spcPct val="70000"/>
              </a:lnSpc>
              <a:spcBef>
                <a:spcPts val="1200"/>
              </a:spcBef>
              <a:spcAft>
                <a:spcPts val="200"/>
              </a:spcAft>
              <a:buClr>
                <a:srgbClr val="E48312"/>
              </a:buClr>
              <a:buSzPct val="100000"/>
              <a:buFont typeface="Arial" panose="020B0604020202020204" pitchFamily="34" charset="0"/>
              <a:buChar char="•"/>
              <a:tabLst/>
              <a:defRPr/>
            </a:pPr>
            <a:endParaRPr kumimoji="0" lang="en-US" sz="18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endParaRPr>
          </a:p>
          <a:p>
            <a:pPr marL="342900" marR="0" lvl="0" indent="-342900" algn="l" defTabSz="914400" rtl="0" eaLnBrk="1" fontAlgn="auto" latinLnBrk="0" hangingPunct="1">
              <a:lnSpc>
                <a:spcPct val="70000"/>
              </a:lnSpc>
              <a:spcBef>
                <a:spcPts val="1200"/>
              </a:spcBef>
              <a:spcAft>
                <a:spcPts val="200"/>
              </a:spcAft>
              <a:buClr>
                <a:srgbClr val="E48312"/>
              </a:buClr>
              <a:buSzPct val="100000"/>
              <a:buFont typeface="Arial" panose="020B0604020202020204" pitchFamily="34" charset="0"/>
              <a:buChar char="•"/>
              <a:tabLst/>
              <a:defRPr/>
            </a:pPr>
            <a:endParaRPr kumimoji="0" lang="en-US" sz="18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endParaRPr>
          </a:p>
          <a:p>
            <a:pPr marL="0" marR="0" lvl="0" indent="0" algn="l" defTabSz="914400" rtl="0" eaLnBrk="1" fontAlgn="auto" latinLnBrk="0" hangingPunct="1">
              <a:lnSpc>
                <a:spcPct val="107000"/>
              </a:lnSpc>
              <a:spcBef>
                <a:spcPts val="0"/>
              </a:spcBef>
              <a:spcAft>
                <a:spcPts val="800"/>
              </a:spcAft>
              <a:buClr>
                <a:srgbClr val="E48312"/>
              </a:buClr>
              <a:buSzPct val="100000"/>
              <a:buFont typeface="Calibri" panose="020F0502020204030204" pitchFamily="34" charset="0"/>
              <a:buNone/>
              <a:tabLst/>
              <a:defRPr/>
            </a:pPr>
            <a:endParaRPr kumimoji="0" lang="en-US" sz="2000" b="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91440" marR="0" lvl="0" indent="-91440" algn="l" defTabSz="914400" rtl="0" eaLnBrk="1" fontAlgn="auto" latinLnBrk="0" hangingPunct="1">
              <a:lnSpc>
                <a:spcPct val="90000"/>
              </a:lnSpc>
              <a:spcBef>
                <a:spcPts val="1200"/>
              </a:spcBef>
              <a:spcAft>
                <a:spcPts val="200"/>
              </a:spcAft>
              <a:buClr>
                <a:srgbClr val="E48312"/>
              </a:buClr>
              <a:buSzPct val="100000"/>
              <a:buFont typeface="Calibri" panose="020F0502020204030204" pitchFamily="34" charset="0"/>
              <a:buChar char=" "/>
              <a:tabLst/>
              <a:defRPr/>
            </a:pPr>
            <a:endParaRPr kumimoji="0" lang="en-US" sz="2000" b="0" i="0" u="none" strike="noStrike" kern="1200" cap="none" spc="0" normalizeH="0" baseline="0" noProof="0" dirty="0">
              <a:ln>
                <a:noFill/>
              </a:ln>
              <a:solidFill>
                <a:srgbClr val="000000">
                  <a:lumMod val="75000"/>
                  <a:lumOff val="2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332270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9674860" cy="6858000"/>
          </a:xfrm>
          <a:custGeom>
            <a:avLst/>
            <a:gdLst/>
            <a:ahLst/>
            <a:cxnLst/>
            <a:rect l="l" t="t" r="r" b="b"/>
            <a:pathLst>
              <a:path w="9674860" h="6858000">
                <a:moveTo>
                  <a:pt x="0" y="6858000"/>
                </a:moveTo>
                <a:lnTo>
                  <a:pt x="9674352" y="6858000"/>
                </a:lnTo>
                <a:lnTo>
                  <a:pt x="9674352" y="0"/>
                </a:lnTo>
                <a:lnTo>
                  <a:pt x="0" y="0"/>
                </a:lnTo>
                <a:lnTo>
                  <a:pt x="0" y="6858000"/>
                </a:lnTo>
                <a:close/>
              </a:path>
            </a:pathLst>
          </a:custGeom>
          <a:solidFill>
            <a:srgbClr val="D9D9D9"/>
          </a:solidFill>
        </p:spPr>
        <p:txBody>
          <a:bodyPr wrap="square" lIns="0" tIns="0" rIns="0" bIns="0" rtlCol="0"/>
          <a:lstStyle/>
          <a:p>
            <a:endParaRPr dirty="0"/>
          </a:p>
        </p:txBody>
      </p:sp>
      <p:grpSp>
        <p:nvGrpSpPr>
          <p:cNvPr id="3" name="object 3"/>
          <p:cNvGrpSpPr/>
          <p:nvPr/>
        </p:nvGrpSpPr>
        <p:grpSpPr>
          <a:xfrm>
            <a:off x="0" y="0"/>
            <a:ext cx="12198350" cy="6861809"/>
            <a:chOff x="0" y="0"/>
            <a:chExt cx="12198350" cy="6861809"/>
          </a:xfrm>
        </p:grpSpPr>
        <p:sp>
          <p:nvSpPr>
            <p:cNvPr id="4" name="object 4"/>
            <p:cNvSpPr/>
            <p:nvPr/>
          </p:nvSpPr>
          <p:spPr>
            <a:xfrm>
              <a:off x="0" y="6027420"/>
              <a:ext cx="9685020" cy="460375"/>
            </a:xfrm>
            <a:custGeom>
              <a:avLst/>
              <a:gdLst/>
              <a:ahLst/>
              <a:cxnLst/>
              <a:rect l="l" t="t" r="r" b="b"/>
              <a:pathLst>
                <a:path w="9685020" h="460375">
                  <a:moveTo>
                    <a:pt x="9685020" y="0"/>
                  </a:moveTo>
                  <a:lnTo>
                    <a:pt x="0" y="0"/>
                  </a:lnTo>
                  <a:lnTo>
                    <a:pt x="0" y="460247"/>
                  </a:lnTo>
                  <a:lnTo>
                    <a:pt x="9685020" y="460247"/>
                  </a:lnTo>
                  <a:lnTo>
                    <a:pt x="9685020" y="0"/>
                  </a:lnTo>
                  <a:close/>
                </a:path>
              </a:pathLst>
            </a:custGeom>
            <a:solidFill>
              <a:srgbClr val="FFD046"/>
            </a:solidFill>
          </p:spPr>
          <p:txBody>
            <a:bodyPr wrap="square" lIns="0" tIns="0" rIns="0" bIns="0" rtlCol="0"/>
            <a:lstStyle/>
            <a:p>
              <a:endParaRPr dirty="0"/>
            </a:p>
          </p:txBody>
        </p:sp>
        <p:sp>
          <p:nvSpPr>
            <p:cNvPr id="5" name="object 5"/>
            <p:cNvSpPr/>
            <p:nvPr/>
          </p:nvSpPr>
          <p:spPr>
            <a:xfrm>
              <a:off x="9674352" y="0"/>
              <a:ext cx="2517775" cy="6849109"/>
            </a:xfrm>
            <a:custGeom>
              <a:avLst/>
              <a:gdLst/>
              <a:ahLst/>
              <a:cxnLst/>
              <a:rect l="l" t="t" r="r" b="b"/>
              <a:pathLst>
                <a:path w="2517775" h="6849109">
                  <a:moveTo>
                    <a:pt x="0" y="6848855"/>
                  </a:moveTo>
                  <a:lnTo>
                    <a:pt x="2517648" y="6848855"/>
                  </a:lnTo>
                  <a:lnTo>
                    <a:pt x="2517648" y="0"/>
                  </a:lnTo>
                  <a:lnTo>
                    <a:pt x="0" y="0"/>
                  </a:lnTo>
                  <a:lnTo>
                    <a:pt x="0" y="6848855"/>
                  </a:lnTo>
                  <a:close/>
                </a:path>
              </a:pathLst>
            </a:custGeom>
            <a:solidFill>
              <a:srgbClr val="FFFFFF"/>
            </a:solidFill>
          </p:spPr>
          <p:txBody>
            <a:bodyPr wrap="square" lIns="0" tIns="0" rIns="0" bIns="0" rtlCol="0"/>
            <a:lstStyle/>
            <a:p>
              <a:endParaRPr dirty="0"/>
            </a:p>
          </p:txBody>
        </p:sp>
        <p:sp>
          <p:nvSpPr>
            <p:cNvPr id="6" name="object 6"/>
            <p:cNvSpPr/>
            <p:nvPr/>
          </p:nvSpPr>
          <p:spPr>
            <a:xfrm>
              <a:off x="9674352" y="0"/>
              <a:ext cx="2517775" cy="6849109"/>
            </a:xfrm>
            <a:custGeom>
              <a:avLst/>
              <a:gdLst/>
              <a:ahLst/>
              <a:cxnLst/>
              <a:rect l="l" t="t" r="r" b="b"/>
              <a:pathLst>
                <a:path w="2517775" h="6849109">
                  <a:moveTo>
                    <a:pt x="0" y="6848855"/>
                  </a:moveTo>
                  <a:lnTo>
                    <a:pt x="2517648" y="6848855"/>
                  </a:lnTo>
                  <a:lnTo>
                    <a:pt x="2517648" y="0"/>
                  </a:lnTo>
                </a:path>
                <a:path w="2517775" h="6849109">
                  <a:moveTo>
                    <a:pt x="0" y="0"/>
                  </a:moveTo>
                  <a:lnTo>
                    <a:pt x="0" y="6848855"/>
                  </a:lnTo>
                </a:path>
              </a:pathLst>
            </a:custGeom>
            <a:ln w="12700">
              <a:solidFill>
                <a:srgbClr val="FFFFFF"/>
              </a:solidFill>
            </a:ln>
          </p:spPr>
          <p:txBody>
            <a:bodyPr wrap="square" lIns="0" tIns="0" rIns="0" bIns="0" rtlCol="0"/>
            <a:lstStyle/>
            <a:p>
              <a:endParaRPr dirty="0"/>
            </a:p>
          </p:txBody>
        </p:sp>
      </p:grpSp>
      <p:sp>
        <p:nvSpPr>
          <p:cNvPr id="7" name="object 7"/>
          <p:cNvSpPr txBox="1">
            <a:spLocks noGrp="1"/>
          </p:cNvSpPr>
          <p:nvPr>
            <p:ph type="title"/>
          </p:nvPr>
        </p:nvSpPr>
        <p:spPr>
          <a:xfrm>
            <a:off x="76200" y="1447800"/>
            <a:ext cx="9067800" cy="1138453"/>
          </a:xfrm>
          <a:prstGeom prst="rect">
            <a:avLst/>
          </a:prstGeom>
        </p:spPr>
        <p:txBody>
          <a:bodyPr vert="horz" wrap="square" lIns="0" tIns="81280" rIns="0" bIns="0" rtlCol="0">
            <a:spAutoFit/>
          </a:bodyPr>
          <a:lstStyle/>
          <a:p>
            <a:pPr marL="12700" marR="5715">
              <a:lnSpc>
                <a:spcPts val="4320"/>
              </a:lnSpc>
              <a:spcBef>
                <a:spcPts val="640"/>
              </a:spcBef>
            </a:pPr>
            <a:r>
              <a:rPr lang="en-US" sz="2700" b="1" spc="-10" dirty="0">
                <a:solidFill>
                  <a:srgbClr val="000000"/>
                </a:solidFill>
                <a:latin typeface="Calibri Light"/>
                <a:cs typeface="Calibri Light"/>
              </a:rPr>
              <a:t>Topic 3 - 3P Process </a:t>
            </a:r>
            <a:r>
              <a:rPr sz="2700" b="1" spc="-30" dirty="0">
                <a:solidFill>
                  <a:srgbClr val="000000"/>
                </a:solidFill>
                <a:latin typeface="Calibri Light"/>
                <a:cs typeface="Calibri Light"/>
              </a:rPr>
              <a:t>Evaluat</a:t>
            </a:r>
            <a:r>
              <a:rPr lang="en-US" sz="2700" b="1" spc="-30" dirty="0">
                <a:solidFill>
                  <a:srgbClr val="000000"/>
                </a:solidFill>
                <a:latin typeface="Calibri Light"/>
                <a:cs typeface="Calibri Light"/>
              </a:rPr>
              <a:t>ion Study Update</a:t>
            </a:r>
            <a:br>
              <a:rPr lang="en-US" sz="2700" b="0" spc="-20" dirty="0">
                <a:solidFill>
                  <a:srgbClr val="000000"/>
                </a:solidFill>
                <a:latin typeface="Calibri Light"/>
                <a:cs typeface="Calibri Light"/>
              </a:rPr>
            </a:br>
            <a:endParaRPr sz="2700" dirty="0">
              <a:latin typeface="Calibri Light"/>
              <a:cs typeface="Calibri Light"/>
            </a:endParaRPr>
          </a:p>
        </p:txBody>
      </p:sp>
      <p:sp>
        <p:nvSpPr>
          <p:cNvPr id="8" name="object 8"/>
          <p:cNvSpPr txBox="1"/>
          <p:nvPr/>
        </p:nvSpPr>
        <p:spPr>
          <a:xfrm>
            <a:off x="685800" y="4194534"/>
            <a:ext cx="3455721" cy="1269578"/>
          </a:xfrm>
          <a:prstGeom prst="rect">
            <a:avLst/>
          </a:prstGeom>
        </p:spPr>
        <p:txBody>
          <a:bodyPr vert="horz" wrap="square" lIns="0" tIns="12700" rIns="0" bIns="0" rtlCol="0">
            <a:spAutoFit/>
          </a:bodyPr>
          <a:lstStyle/>
          <a:p>
            <a:pPr marL="12700">
              <a:lnSpc>
                <a:spcPct val="100000"/>
              </a:lnSpc>
              <a:spcBef>
                <a:spcPts val="100"/>
              </a:spcBef>
            </a:pPr>
            <a:r>
              <a:rPr lang="en-US" sz="2000" b="1" spc="-10" dirty="0">
                <a:latin typeface="Calibri Light"/>
                <a:cs typeface="Calibri Light"/>
              </a:rPr>
              <a:t>8:55am – 9:05am</a:t>
            </a:r>
          </a:p>
          <a:p>
            <a:pPr marL="12700">
              <a:lnSpc>
                <a:spcPct val="100000"/>
              </a:lnSpc>
              <a:spcBef>
                <a:spcPts val="100"/>
              </a:spcBef>
            </a:pPr>
            <a:endParaRPr lang="en-US" sz="2000" b="1" spc="-10" dirty="0">
              <a:latin typeface="Calibri Light"/>
              <a:cs typeface="Calibri Light"/>
            </a:endParaRPr>
          </a:p>
          <a:p>
            <a:pPr marL="12700">
              <a:lnSpc>
                <a:spcPct val="100000"/>
              </a:lnSpc>
              <a:spcBef>
                <a:spcPts val="100"/>
              </a:spcBef>
            </a:pPr>
            <a:r>
              <a:rPr lang="en-US" sz="2000" spc="-10" dirty="0">
                <a:latin typeface="Calibri Light"/>
                <a:cs typeface="Calibri Light"/>
              </a:rPr>
              <a:t>Opinion Dynamics – Noel Stevens</a:t>
            </a:r>
            <a:r>
              <a:rPr lang="en-US" sz="2000" b="0" spc="-10" dirty="0">
                <a:latin typeface="Calibri Light"/>
                <a:cs typeface="Calibri Light"/>
              </a:rPr>
              <a:t> </a:t>
            </a:r>
            <a:endParaRPr sz="2000" dirty="0">
              <a:latin typeface="Calibri Light"/>
              <a:cs typeface="Calibri Light"/>
            </a:endParaRPr>
          </a:p>
          <a:p>
            <a:pPr>
              <a:lnSpc>
                <a:spcPct val="100000"/>
              </a:lnSpc>
              <a:spcBef>
                <a:spcPts val="15"/>
              </a:spcBef>
            </a:pPr>
            <a:endParaRPr lang="en-US" sz="2000" dirty="0">
              <a:latin typeface="Calibri Light"/>
              <a:cs typeface="Calibri Light"/>
            </a:endParaRPr>
          </a:p>
        </p:txBody>
      </p:sp>
    </p:spTree>
    <p:extLst>
      <p:ext uri="{BB962C8B-B14F-4D97-AF65-F5344CB8AC3E}">
        <p14:creationId xmlns:p14="http://schemas.microsoft.com/office/powerpoint/2010/main" val="284116178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1EAF3-BE03-4F4D-9D1B-118C56A4FF31}"/>
              </a:ext>
            </a:extLst>
          </p:cNvPr>
          <p:cNvSpPr>
            <a:spLocks noGrp="1"/>
          </p:cNvSpPr>
          <p:nvPr>
            <p:ph type="ctrTitle"/>
          </p:nvPr>
        </p:nvSpPr>
        <p:spPr/>
        <p:txBody>
          <a:bodyPr>
            <a:normAutofit/>
          </a:bodyPr>
          <a:lstStyle/>
          <a:p>
            <a:r>
              <a:rPr lang="en-US" dirty="0"/>
              <a:t>CPUC Third party program evaluation</a:t>
            </a:r>
          </a:p>
        </p:txBody>
      </p:sp>
      <p:sp>
        <p:nvSpPr>
          <p:cNvPr id="3" name="Subtitle 2">
            <a:extLst>
              <a:ext uri="{FF2B5EF4-FFF2-40B4-BE49-F238E27FC236}">
                <a16:creationId xmlns:a16="http://schemas.microsoft.com/office/drawing/2014/main" id="{1D78E118-434B-4454-8DE2-F3F5701E01A7}"/>
              </a:ext>
            </a:extLst>
          </p:cNvPr>
          <p:cNvSpPr>
            <a:spLocks noGrp="1"/>
          </p:cNvSpPr>
          <p:nvPr>
            <p:ph type="subTitle" idx="1"/>
          </p:nvPr>
        </p:nvSpPr>
        <p:spPr/>
        <p:txBody>
          <a:bodyPr/>
          <a:lstStyle/>
          <a:p>
            <a:r>
              <a:rPr lang="en-US" dirty="0"/>
              <a:t>Presentation to CPUC</a:t>
            </a:r>
          </a:p>
        </p:txBody>
      </p:sp>
      <p:sp>
        <p:nvSpPr>
          <p:cNvPr id="4" name="Text Placeholder 3">
            <a:extLst>
              <a:ext uri="{FF2B5EF4-FFF2-40B4-BE49-F238E27FC236}">
                <a16:creationId xmlns:a16="http://schemas.microsoft.com/office/drawing/2014/main" id="{67388537-9E16-4B49-9EF4-58F6362B7237}"/>
              </a:ext>
            </a:extLst>
          </p:cNvPr>
          <p:cNvSpPr>
            <a:spLocks noGrp="1"/>
          </p:cNvSpPr>
          <p:nvPr>
            <p:ph type="body" sz="quarter" idx="10"/>
          </p:nvPr>
        </p:nvSpPr>
        <p:spPr/>
        <p:txBody>
          <a:bodyPr/>
          <a:lstStyle/>
          <a:p>
            <a:r>
              <a:rPr lang="en-US" dirty="0"/>
              <a:t>July 28</a:t>
            </a:r>
            <a:r>
              <a:rPr lang="en-US" baseline="30000" dirty="0"/>
              <a:t>th</a:t>
            </a:r>
            <a:r>
              <a:rPr lang="en-US" dirty="0"/>
              <a:t>, 2021</a:t>
            </a:r>
          </a:p>
        </p:txBody>
      </p:sp>
    </p:spTree>
    <p:extLst>
      <p:ext uri="{BB962C8B-B14F-4D97-AF65-F5344CB8AC3E}">
        <p14:creationId xmlns:p14="http://schemas.microsoft.com/office/powerpoint/2010/main" val="19275134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5D7C9C2-1AD4-4A33-A622-A2A1EDAF4366}"/>
              </a:ext>
            </a:extLst>
          </p:cNvPr>
          <p:cNvSpPr>
            <a:spLocks noGrp="1"/>
          </p:cNvSpPr>
          <p:nvPr>
            <p:ph type="title"/>
          </p:nvPr>
        </p:nvSpPr>
        <p:spPr/>
        <p:txBody>
          <a:bodyPr/>
          <a:lstStyle/>
          <a:p>
            <a:r>
              <a:rPr lang="en-US" dirty="0"/>
              <a:t>Agenda</a:t>
            </a:r>
          </a:p>
        </p:txBody>
      </p:sp>
      <p:sp>
        <p:nvSpPr>
          <p:cNvPr id="3" name="Footer Placeholder 2">
            <a:extLst>
              <a:ext uri="{FF2B5EF4-FFF2-40B4-BE49-F238E27FC236}">
                <a16:creationId xmlns:a16="http://schemas.microsoft.com/office/drawing/2014/main" id="{07A39671-3F5F-4E4D-A845-E72D3B7078DA}"/>
              </a:ext>
            </a:extLst>
          </p:cNvPr>
          <p:cNvSpPr>
            <a:spLocks noGrp="1"/>
          </p:cNvSpPr>
          <p:nvPr>
            <p:ph type="ftr"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D4D4F">
                    <a:lumMod val="60000"/>
                    <a:lumOff val="40000"/>
                  </a:srgbClr>
                </a:solidFill>
                <a:effectLst/>
                <a:uLnTx/>
                <a:uFillTx/>
                <a:latin typeface="Franklin Gothic Book"/>
                <a:ea typeface="+mn-ea"/>
              </a:rPr>
              <a:t>CPUC Stakeholder Meeting</a:t>
            </a:r>
          </a:p>
        </p:txBody>
      </p:sp>
      <p:sp>
        <p:nvSpPr>
          <p:cNvPr id="4" name="Content Placeholder 3">
            <a:extLst>
              <a:ext uri="{FF2B5EF4-FFF2-40B4-BE49-F238E27FC236}">
                <a16:creationId xmlns:a16="http://schemas.microsoft.com/office/drawing/2014/main" id="{39E840FA-64EA-4472-A9DB-5FE83656F134}"/>
              </a:ext>
            </a:extLst>
          </p:cNvPr>
          <p:cNvSpPr>
            <a:spLocks noGrp="1"/>
          </p:cNvSpPr>
          <p:nvPr>
            <p:ph sz="quarter" idx="12"/>
          </p:nvPr>
        </p:nvSpPr>
        <p:spPr/>
        <p:txBody>
          <a:bodyPr/>
          <a:lstStyle/>
          <a:p>
            <a:r>
              <a:rPr lang="en-US" dirty="0"/>
              <a:t>Research objectives and questions</a:t>
            </a:r>
          </a:p>
          <a:p>
            <a:r>
              <a:rPr lang="en-US" dirty="0"/>
              <a:t>Research tasks</a:t>
            </a:r>
          </a:p>
          <a:p>
            <a:r>
              <a:rPr lang="en-US" dirty="0"/>
              <a:t>Evaluation rubrics</a:t>
            </a:r>
          </a:p>
          <a:p>
            <a:r>
              <a:rPr lang="en-US" dirty="0"/>
              <a:t>IOU / IE interviews</a:t>
            </a:r>
          </a:p>
          <a:p>
            <a:r>
              <a:rPr lang="en-US" dirty="0"/>
              <a:t>Bidder Interviews / Survey</a:t>
            </a:r>
          </a:p>
          <a:p>
            <a:r>
              <a:rPr lang="en-US" dirty="0"/>
              <a:t>Questions?</a:t>
            </a:r>
          </a:p>
          <a:p>
            <a:endParaRPr lang="en-US" dirty="0"/>
          </a:p>
        </p:txBody>
      </p:sp>
      <p:sp>
        <p:nvSpPr>
          <p:cNvPr id="2" name="Slide Number Placeholder 1">
            <a:extLst>
              <a:ext uri="{FF2B5EF4-FFF2-40B4-BE49-F238E27FC236}">
                <a16:creationId xmlns:a16="http://schemas.microsoft.com/office/drawing/2014/main" id="{EAB0D3AD-5609-4502-B1B8-41DEBE70909B}"/>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33A1AA-C032-4449-8476-4B1706E764B3}" type="slidenum">
              <a:rPr kumimoji="0" lang="en-US" sz="1000" b="0" i="0" u="none" strike="noStrike" kern="1200" cap="none" spc="0" normalizeH="0" baseline="0" noProof="0" smtClean="0">
                <a:ln>
                  <a:noFill/>
                </a:ln>
                <a:solidFill>
                  <a:srgbClr val="E0EFFA">
                    <a:lumMod val="65000"/>
                  </a:srgbClr>
                </a:solidFill>
                <a:effectLst/>
                <a:uLnTx/>
                <a:uFillTx/>
                <a:latin typeface="Franklin Gothic Book"/>
                <a:ea typeface="+mn-ea"/>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US" sz="1000" b="0" i="0" u="none" strike="noStrike" kern="1200" cap="none" spc="0" normalizeH="0" baseline="0" noProof="0" dirty="0">
              <a:ln>
                <a:noFill/>
              </a:ln>
              <a:solidFill>
                <a:srgbClr val="E0EFFA">
                  <a:lumMod val="65000"/>
                </a:srgbClr>
              </a:solidFill>
              <a:effectLst/>
              <a:uLnTx/>
              <a:uFillTx/>
              <a:latin typeface="Franklin Gothic Book"/>
              <a:ea typeface="+mn-ea"/>
            </a:endParaRPr>
          </a:p>
        </p:txBody>
      </p:sp>
    </p:spTree>
    <p:extLst>
      <p:ext uri="{BB962C8B-B14F-4D97-AF65-F5344CB8AC3E}">
        <p14:creationId xmlns:p14="http://schemas.microsoft.com/office/powerpoint/2010/main" val="305389605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44D7CBB-B4B6-4C78-BE56-8D7104F31C04}"/>
              </a:ext>
            </a:extLst>
          </p:cNvPr>
          <p:cNvSpPr>
            <a:spLocks noGrp="1"/>
          </p:cNvSpPr>
          <p:nvPr>
            <p:ph type="title"/>
          </p:nvPr>
        </p:nvSpPr>
        <p:spPr>
          <a:xfrm>
            <a:off x="622300" y="293457"/>
            <a:ext cx="10972800" cy="577851"/>
          </a:xfrm>
        </p:spPr>
        <p:txBody>
          <a:bodyPr/>
          <a:lstStyle/>
          <a:p>
            <a:pPr marR="0" lvl="0" algn="just">
              <a:spcBef>
                <a:spcPts val="1000"/>
              </a:spcBef>
              <a:spcAft>
                <a:spcPts val="1200"/>
              </a:spcAft>
              <a:tabLst>
                <a:tab pos="685800" algn="l"/>
              </a:tabLst>
            </a:pPr>
            <a:r>
              <a:rPr lang="en-US" b="1" kern="0" dirty="0">
                <a:solidFill>
                  <a:srgbClr val="053572"/>
                </a:solidFill>
                <a:effectLst/>
                <a:latin typeface="Franklin Gothic Book" panose="020B0503020102020204" pitchFamily="34" charset="0"/>
              </a:rPr>
              <a:t>Research objectives and questions</a:t>
            </a:r>
          </a:p>
        </p:txBody>
      </p:sp>
      <p:sp>
        <p:nvSpPr>
          <p:cNvPr id="2" name="Content Placeholder 1">
            <a:extLst>
              <a:ext uri="{FF2B5EF4-FFF2-40B4-BE49-F238E27FC236}">
                <a16:creationId xmlns:a16="http://schemas.microsoft.com/office/drawing/2014/main" id="{182A733D-AEBA-49CC-918B-0681646938D5}"/>
              </a:ext>
            </a:extLst>
          </p:cNvPr>
          <p:cNvSpPr>
            <a:spLocks noGrp="1"/>
          </p:cNvSpPr>
          <p:nvPr>
            <p:ph sz="quarter" idx="12"/>
          </p:nvPr>
        </p:nvSpPr>
        <p:spPr>
          <a:xfrm>
            <a:off x="365760" y="1123317"/>
            <a:ext cx="11262360" cy="5164772"/>
          </a:xfrm>
        </p:spPr>
        <p:txBody>
          <a:bodyPr>
            <a:normAutofit fontScale="55000" lnSpcReduction="20000"/>
          </a:bodyPr>
          <a:lstStyle/>
          <a:p>
            <a:pPr marL="0" marR="0" indent="0" algn="just">
              <a:spcBef>
                <a:spcPts val="0"/>
              </a:spcBef>
              <a:spcAft>
                <a:spcPts val="0"/>
              </a:spcAft>
              <a:buNone/>
            </a:pPr>
            <a:r>
              <a:rPr lang="en-US" sz="3300" b="1" dirty="0">
                <a:effectLst/>
                <a:latin typeface="Franklin Gothic Book" panose="020B0503020102020204" pitchFamily="34" charset="0"/>
                <a:ea typeface="Times New Roman" panose="02020603050405020304" pitchFamily="18" charset="0"/>
                <a:cs typeface="Times New Roman" panose="02020603050405020304" pitchFamily="18" charset="0"/>
              </a:rPr>
              <a:t>Research Objectives </a:t>
            </a:r>
          </a:p>
          <a:p>
            <a:pPr algn="just">
              <a:spcBef>
                <a:spcPts val="0"/>
              </a:spcBef>
              <a:spcAft>
                <a:spcPts val="0"/>
              </a:spcAft>
              <a:buFont typeface="Wingdings" panose="05000000000000000000" pitchFamily="2" charset="2"/>
              <a:buChar char="q"/>
            </a:pPr>
            <a:endParaRPr lang="en-US" sz="1800" dirty="0">
              <a:latin typeface="Franklin Gothic Book" panose="020B0503020102020204" pitchFamily="34" charset="0"/>
              <a:ea typeface="Times New Roman" panose="02020603050405020304" pitchFamily="18" charset="0"/>
              <a:cs typeface="Times New Roman" panose="02020603050405020304" pitchFamily="18" charset="0"/>
            </a:endParaRPr>
          </a:p>
          <a:p>
            <a:pPr algn="just">
              <a:spcBef>
                <a:spcPts val="0"/>
              </a:spcBef>
              <a:spcAft>
                <a:spcPts val="0"/>
              </a:spcAft>
              <a:buFont typeface="Wingdings" panose="05000000000000000000" pitchFamily="2" charset="2"/>
              <a:buChar char="q"/>
            </a:pPr>
            <a:r>
              <a:rPr lang="en-US" sz="2200" dirty="0">
                <a:latin typeface="Franklin Gothic Book" panose="020B0503020102020204" pitchFamily="34" charset="0"/>
                <a:ea typeface="Times New Roman" panose="02020603050405020304" pitchFamily="18" charset="0"/>
                <a:cs typeface="Times New Roman" panose="02020603050405020304" pitchFamily="18" charset="0"/>
              </a:rPr>
              <a:t>Ev</a:t>
            </a:r>
            <a:r>
              <a:rPr lang="en-US" sz="2200" dirty="0">
                <a:effectLst/>
                <a:latin typeface="Franklin Gothic Book" panose="020B0503020102020204" pitchFamily="34" charset="0"/>
                <a:ea typeface="Times New Roman" panose="02020603050405020304" pitchFamily="18" charset="0"/>
                <a:cs typeface="Times New Roman" panose="02020603050405020304" pitchFamily="18" charset="0"/>
              </a:rPr>
              <a:t>aluate the 2-stage approach,  The evaluation and selection approach processes, and  The contract negotiations and terms. Below are the research questions we will explore within each of these three components. </a:t>
            </a:r>
          </a:p>
          <a:p>
            <a:pPr algn="just">
              <a:spcBef>
                <a:spcPts val="0"/>
              </a:spcBef>
              <a:spcAft>
                <a:spcPts val="0"/>
              </a:spcAft>
              <a:buFont typeface="Wingdings" panose="05000000000000000000" pitchFamily="2" charset="2"/>
              <a:buChar char="q"/>
            </a:pPr>
            <a:endParaRPr lang="en-US" b="1" dirty="0">
              <a:effectLst/>
              <a:latin typeface="Franklin Gothic Book" panose="020B0503020102020204" pitchFamily="34" charset="0"/>
              <a:ea typeface="Times New Roman" panose="02020603050405020304" pitchFamily="18" charset="0"/>
              <a:cs typeface="Times New Roman" panose="02020603050405020304" pitchFamily="18" charset="0"/>
            </a:endParaRPr>
          </a:p>
          <a:p>
            <a:pPr marL="0" marR="0" lvl="0" indent="0">
              <a:spcBef>
                <a:spcPts val="0"/>
              </a:spcBef>
              <a:spcAft>
                <a:spcPts val="600"/>
              </a:spcAft>
              <a:buClr>
                <a:srgbClr val="053572"/>
              </a:buClr>
              <a:buSzPts val="1100"/>
              <a:buNone/>
            </a:pPr>
            <a:r>
              <a:rPr lang="en-US" sz="3300" b="1" dirty="0">
                <a:effectLst/>
                <a:latin typeface="Franklin Gothic Book" panose="020B0503020102020204" pitchFamily="34" charset="0"/>
                <a:ea typeface="Times New Roman" panose="02020603050405020304" pitchFamily="18" charset="0"/>
                <a:cs typeface="Times New Roman" panose="02020603050405020304" pitchFamily="18" charset="0"/>
              </a:rPr>
              <a:t>Research Questions</a:t>
            </a:r>
            <a:r>
              <a:rPr lang="en-US" sz="3300" dirty="0">
                <a:effectLst/>
                <a:latin typeface="Franklin Gothic Book" panose="020B0503020102020204" pitchFamily="34" charset="0"/>
                <a:ea typeface="Times New Roman" panose="02020603050405020304" pitchFamily="18" charset="0"/>
                <a:cs typeface="Times New Roman" panose="02020603050405020304" pitchFamily="18" charset="0"/>
              </a:rPr>
              <a:t> </a:t>
            </a:r>
          </a:p>
          <a:p>
            <a:pPr>
              <a:spcBef>
                <a:spcPts val="0"/>
              </a:spcBef>
              <a:spcAft>
                <a:spcPts val="600"/>
              </a:spcAft>
              <a:buClr>
                <a:srgbClr val="053572"/>
              </a:buClr>
              <a:buSzPts val="1100"/>
              <a:buFont typeface="Wingdings" panose="05000000000000000000" pitchFamily="2" charset="2"/>
              <a:buChar char="q"/>
            </a:pPr>
            <a:r>
              <a:rPr lang="en-US" sz="3300" b="1" i="1" dirty="0">
                <a:effectLst/>
                <a:latin typeface="Franklin Gothic Book" panose="020B0503020102020204" pitchFamily="34" charset="0"/>
                <a:ea typeface="Times New Roman" panose="02020603050405020304" pitchFamily="18" charset="0"/>
                <a:cs typeface="Times New Roman" panose="02020603050405020304" pitchFamily="18" charset="0"/>
              </a:rPr>
              <a:t>Two-Stage Solicitation Process Questions</a:t>
            </a:r>
            <a:endParaRPr lang="en-US" sz="3300" b="1" dirty="0">
              <a:effectLst/>
              <a:latin typeface="Franklin Gothic Book" panose="020B0503020102020204" pitchFamily="34" charset="0"/>
              <a:ea typeface="Times New Roman" panose="02020603050405020304" pitchFamily="18" charset="0"/>
              <a:cs typeface="Times New Roman" panose="02020603050405020304" pitchFamily="18" charset="0"/>
            </a:endParaRPr>
          </a:p>
          <a:p>
            <a:pPr lvl="1">
              <a:spcBef>
                <a:spcPts val="0"/>
              </a:spcBef>
              <a:spcAft>
                <a:spcPts val="600"/>
              </a:spcAft>
              <a:buClr>
                <a:srgbClr val="053572"/>
              </a:buClr>
              <a:buSzPts val="1100"/>
              <a:buFont typeface="Wingdings" panose="05000000000000000000" pitchFamily="2" charset="2"/>
              <a:buChar char="§"/>
            </a:pPr>
            <a:r>
              <a:rPr lang="en-US" sz="2200" dirty="0">
                <a:effectLst/>
                <a:latin typeface="Franklin Gothic Book" panose="020B0503020102020204" pitchFamily="34" charset="0"/>
                <a:ea typeface="Times New Roman" panose="02020603050405020304" pitchFamily="18" charset="0"/>
                <a:cs typeface="Times New Roman" panose="02020603050405020304" pitchFamily="18" charset="0"/>
              </a:rPr>
              <a:t>What differences exist in the RFA/RFP processes among IOUs? How does it compare to the original intent and direction around the 2-stage process from the CPUC?</a:t>
            </a:r>
          </a:p>
          <a:p>
            <a:pPr lvl="1">
              <a:spcBef>
                <a:spcPts val="0"/>
              </a:spcBef>
              <a:spcAft>
                <a:spcPts val="600"/>
              </a:spcAft>
              <a:buClr>
                <a:srgbClr val="053572"/>
              </a:buClr>
              <a:buSzPts val="1100"/>
              <a:buFont typeface="Wingdings" panose="05000000000000000000" pitchFamily="2" charset="2"/>
              <a:buChar char="§"/>
            </a:pPr>
            <a:r>
              <a:rPr lang="en-US" sz="2200" dirty="0">
                <a:effectLst/>
                <a:latin typeface="Franklin Gothic Book" panose="020B0503020102020204" pitchFamily="34" charset="0"/>
                <a:ea typeface="Times New Roman" panose="02020603050405020304" pitchFamily="18" charset="0"/>
                <a:cs typeface="Times New Roman" panose="02020603050405020304" pitchFamily="18" charset="0"/>
              </a:rPr>
              <a:t>How does the 2-stage process compare to other states with a similar solicitation process to CA? </a:t>
            </a:r>
            <a:endParaRPr lang="en-US" sz="2200" dirty="0">
              <a:latin typeface="Franklin Gothic Book" panose="020B0503020102020204" pitchFamily="34" charset="0"/>
              <a:ea typeface="Times New Roman" panose="02020603050405020304" pitchFamily="18" charset="0"/>
              <a:cs typeface="Times New Roman" panose="02020603050405020304" pitchFamily="18" charset="0"/>
            </a:endParaRPr>
          </a:p>
          <a:p>
            <a:pPr lvl="1">
              <a:spcBef>
                <a:spcPts val="0"/>
              </a:spcBef>
              <a:spcAft>
                <a:spcPts val="600"/>
              </a:spcAft>
              <a:buClr>
                <a:srgbClr val="053572"/>
              </a:buClr>
              <a:buSzPts val="1100"/>
              <a:buFont typeface="Wingdings" panose="05000000000000000000" pitchFamily="2" charset="2"/>
              <a:buChar char="§"/>
            </a:pPr>
            <a:r>
              <a:rPr lang="en-US" sz="2200" dirty="0">
                <a:effectLst/>
                <a:latin typeface="Franklin Gothic Book" panose="020B0503020102020204" pitchFamily="34" charset="0"/>
                <a:ea typeface="Times New Roman" panose="02020603050405020304" pitchFamily="18" charset="0"/>
                <a:cs typeface="Times New Roman" panose="02020603050405020304" pitchFamily="18" charset="0"/>
              </a:rPr>
              <a:t>What criteria are important for comparison state? 2-Stage process? Outsourced program design? Outsources implementation? </a:t>
            </a:r>
            <a:endParaRPr lang="en-US" sz="2200" dirty="0">
              <a:latin typeface="Franklin Gothic Book" panose="020B0503020102020204" pitchFamily="34" charset="0"/>
              <a:ea typeface="Times New Roman" panose="02020603050405020304" pitchFamily="18" charset="0"/>
              <a:cs typeface="Times New Roman" panose="02020603050405020304" pitchFamily="18" charset="0"/>
            </a:endParaRPr>
          </a:p>
          <a:p>
            <a:pPr lvl="1">
              <a:spcBef>
                <a:spcPts val="0"/>
              </a:spcBef>
              <a:spcAft>
                <a:spcPts val="600"/>
              </a:spcAft>
              <a:buClr>
                <a:srgbClr val="053572"/>
              </a:buClr>
              <a:buSzPts val="1100"/>
              <a:buFont typeface="Wingdings" panose="05000000000000000000" pitchFamily="2" charset="2"/>
              <a:buChar char="§"/>
            </a:pPr>
            <a:r>
              <a:rPr lang="en-US" sz="2200" dirty="0">
                <a:effectLst/>
                <a:latin typeface="Franklin Gothic Book" panose="020B0503020102020204" pitchFamily="34" charset="0"/>
                <a:ea typeface="Times New Roman" panose="02020603050405020304" pitchFamily="18" charset="0"/>
                <a:cs typeface="Times New Roman" panose="02020603050405020304" pitchFamily="18" charset="0"/>
              </a:rPr>
              <a:t>Are there opportunities for process standardization of the RFA/RFP content, question formats, required information? </a:t>
            </a:r>
          </a:p>
          <a:p>
            <a:pPr>
              <a:spcBef>
                <a:spcPts val="0"/>
              </a:spcBef>
              <a:spcAft>
                <a:spcPts val="600"/>
              </a:spcAft>
              <a:buSzPct val="75000"/>
              <a:buFont typeface="Wingdings" panose="05000000000000000000" pitchFamily="2" charset="2"/>
              <a:buChar char="q"/>
            </a:pPr>
            <a:r>
              <a:rPr lang="en-US" sz="3300" b="1" i="1" dirty="0">
                <a:latin typeface="Franklin Gothic Book" panose="020B0503020102020204" pitchFamily="34" charset="0"/>
                <a:ea typeface="Times New Roman" panose="02020603050405020304" pitchFamily="18" charset="0"/>
                <a:cs typeface="Times New Roman" panose="02020603050405020304" pitchFamily="18" charset="0"/>
              </a:rPr>
              <a:t>Contract Negotiation Evaluation/Selection Process Questions </a:t>
            </a:r>
            <a:endParaRPr lang="en-US" sz="3300" b="1" dirty="0">
              <a:latin typeface="Franklin Gothic Book" panose="020B0503020102020204" pitchFamily="34" charset="0"/>
              <a:ea typeface="Times New Roman" panose="02020603050405020304" pitchFamily="18" charset="0"/>
              <a:cs typeface="Times New Roman" panose="02020603050405020304" pitchFamily="18" charset="0"/>
            </a:endParaRPr>
          </a:p>
          <a:p>
            <a:pPr lvl="1">
              <a:spcBef>
                <a:spcPts val="0"/>
              </a:spcBef>
              <a:spcAft>
                <a:spcPts val="600"/>
              </a:spcAft>
              <a:buClr>
                <a:srgbClr val="053572"/>
              </a:buClr>
              <a:buSzPts val="1100"/>
              <a:buFont typeface="Wingdings" panose="05000000000000000000" pitchFamily="2" charset="2"/>
              <a:buChar char="§"/>
            </a:pPr>
            <a:r>
              <a:rPr lang="en-US" sz="2000" dirty="0">
                <a:latin typeface="Franklin Gothic Book" panose="020B0503020102020204" pitchFamily="34" charset="0"/>
                <a:ea typeface="Times New Roman" panose="02020603050405020304" pitchFamily="18" charset="0"/>
                <a:cs typeface="Times New Roman" panose="02020603050405020304" pitchFamily="18" charset="0"/>
              </a:rPr>
              <a:t>Evaluate information was requested during RFA and RFP process</a:t>
            </a:r>
          </a:p>
          <a:p>
            <a:pPr lvl="1">
              <a:spcBef>
                <a:spcPts val="0"/>
              </a:spcBef>
              <a:spcAft>
                <a:spcPts val="600"/>
              </a:spcAft>
              <a:buClr>
                <a:srgbClr val="053572"/>
              </a:buClr>
              <a:buSzPts val="1100"/>
              <a:buFont typeface="Wingdings" panose="05000000000000000000" pitchFamily="2" charset="2"/>
              <a:buChar char="§"/>
            </a:pPr>
            <a:r>
              <a:rPr lang="en-US" sz="2000" dirty="0">
                <a:latin typeface="Franklin Gothic Book" panose="020B0503020102020204" pitchFamily="34" charset="0"/>
                <a:ea typeface="Times New Roman" panose="02020603050405020304" pitchFamily="18" charset="0"/>
                <a:cs typeface="Times New Roman" panose="02020603050405020304" pitchFamily="18" charset="0"/>
              </a:rPr>
              <a:t>Transparency and consistency in scoring solicitations? </a:t>
            </a:r>
          </a:p>
          <a:p>
            <a:pPr lvl="1">
              <a:spcBef>
                <a:spcPts val="0"/>
              </a:spcBef>
              <a:spcAft>
                <a:spcPts val="600"/>
              </a:spcAft>
              <a:buClr>
                <a:srgbClr val="053572"/>
              </a:buClr>
              <a:buSzPts val="1100"/>
              <a:buFont typeface="Wingdings" panose="05000000000000000000" pitchFamily="2" charset="2"/>
              <a:buChar char="§"/>
            </a:pPr>
            <a:r>
              <a:rPr lang="en-US" sz="2000" dirty="0">
                <a:latin typeface="Franklin Gothic Book" panose="020B0503020102020204" pitchFamily="34" charset="0"/>
                <a:ea typeface="Times New Roman" panose="02020603050405020304" pitchFamily="18" charset="0"/>
                <a:cs typeface="Times New Roman" panose="02020603050405020304" pitchFamily="18" charset="0"/>
              </a:rPr>
              <a:t>Timeliness of overall process? </a:t>
            </a:r>
          </a:p>
          <a:p>
            <a:pPr>
              <a:spcBef>
                <a:spcPts val="0"/>
              </a:spcBef>
              <a:spcAft>
                <a:spcPts val="600"/>
              </a:spcAft>
              <a:buClr>
                <a:srgbClr val="053572"/>
              </a:buClr>
              <a:buSzPts val="1100"/>
              <a:buFont typeface="Wingdings" panose="05000000000000000000" pitchFamily="2" charset="2"/>
              <a:buChar char="q"/>
            </a:pPr>
            <a:r>
              <a:rPr lang="en-US" sz="3300" b="1" i="1" dirty="0">
                <a:effectLst/>
                <a:latin typeface="Franklin Gothic Book" panose="020B0503020102020204" pitchFamily="34" charset="0"/>
                <a:ea typeface="Times New Roman" panose="02020603050405020304" pitchFamily="18" charset="0"/>
                <a:cs typeface="Times New Roman" panose="02020603050405020304" pitchFamily="18" charset="0"/>
              </a:rPr>
              <a:t>Negotiation and Terms Questions</a:t>
            </a:r>
            <a:endParaRPr lang="en-US" sz="3300" b="1" dirty="0">
              <a:effectLst/>
              <a:latin typeface="Franklin Gothic Book" panose="020B0503020102020204" pitchFamily="34" charset="0"/>
              <a:ea typeface="Times New Roman" panose="02020603050405020304" pitchFamily="18" charset="0"/>
              <a:cs typeface="Times New Roman" panose="02020603050405020304" pitchFamily="18" charset="0"/>
            </a:endParaRPr>
          </a:p>
          <a:p>
            <a:pPr lvl="1">
              <a:spcBef>
                <a:spcPts val="0"/>
              </a:spcBef>
              <a:spcAft>
                <a:spcPts val="600"/>
              </a:spcAft>
              <a:buClr>
                <a:srgbClr val="053572"/>
              </a:buClr>
              <a:buSzPts val="1100"/>
              <a:buFont typeface="Wingdings" panose="05000000000000000000" pitchFamily="2" charset="2"/>
              <a:buChar char="§"/>
            </a:pPr>
            <a:r>
              <a:rPr lang="en-US" sz="2700" dirty="0">
                <a:effectLst/>
                <a:latin typeface="Franklin Gothic Book" panose="020B0503020102020204" pitchFamily="34" charset="0"/>
                <a:ea typeface="Times New Roman" panose="02020603050405020304" pitchFamily="18" charset="0"/>
                <a:cs typeface="Times New Roman" panose="02020603050405020304" pitchFamily="18" charset="0"/>
              </a:rPr>
              <a:t>What differences exist between IOU contract negotiation practices? How are IOU contract terms affecting the bidders and rate payers?</a:t>
            </a:r>
          </a:p>
          <a:p>
            <a:pPr>
              <a:spcBef>
                <a:spcPts val="0"/>
              </a:spcBef>
              <a:spcAft>
                <a:spcPts val="600"/>
              </a:spcAft>
              <a:buClr>
                <a:srgbClr val="053572"/>
              </a:buClr>
              <a:buSzPts val="1100"/>
              <a:buFont typeface="Wingdings" panose="05000000000000000000" pitchFamily="2" charset="2"/>
              <a:buChar char="q"/>
            </a:pPr>
            <a:r>
              <a:rPr lang="en-US" sz="3300" b="1" i="1" dirty="0">
                <a:effectLst/>
                <a:latin typeface="Franklin Gothic Book" panose="020B0503020102020204" pitchFamily="34" charset="0"/>
                <a:ea typeface="Times New Roman" panose="02020603050405020304" pitchFamily="18" charset="0"/>
                <a:cs typeface="Times New Roman" panose="02020603050405020304" pitchFamily="18" charset="0"/>
              </a:rPr>
              <a:t>Cost effectiveness questions</a:t>
            </a:r>
          </a:p>
          <a:p>
            <a:pPr lvl="1">
              <a:spcBef>
                <a:spcPts val="0"/>
              </a:spcBef>
              <a:spcAft>
                <a:spcPts val="600"/>
              </a:spcAft>
              <a:buClr>
                <a:srgbClr val="053572"/>
              </a:buClr>
              <a:buSzPts val="1100"/>
              <a:buFont typeface="Wingdings" panose="05000000000000000000" pitchFamily="2" charset="2"/>
              <a:buChar char="§"/>
            </a:pPr>
            <a:r>
              <a:rPr lang="en-US" sz="2300" dirty="0">
                <a:latin typeface="Franklin Gothic Book" panose="020B0503020102020204" pitchFamily="34" charset="0"/>
                <a:ea typeface="Times New Roman" panose="02020603050405020304" pitchFamily="18" charset="0"/>
                <a:cs typeface="Times New Roman" panose="02020603050405020304" pitchFamily="18" charset="0"/>
              </a:rPr>
              <a:t>Did the </a:t>
            </a:r>
            <a:r>
              <a:rPr lang="en-US" sz="2300" dirty="0">
                <a:effectLst/>
                <a:latin typeface="Franklin Gothic Book" panose="020B0503020102020204" pitchFamily="34" charset="0"/>
                <a:ea typeface="Times New Roman" panose="02020603050405020304" pitchFamily="18" charset="0"/>
                <a:cs typeface="Times New Roman" panose="02020603050405020304" pitchFamily="18" charset="0"/>
              </a:rPr>
              <a:t>3P process result in more cost-effective delivery of program savings - Long term objective</a:t>
            </a:r>
          </a:p>
          <a:p>
            <a:pPr marL="0" indent="0">
              <a:spcBef>
                <a:spcPts val="0"/>
              </a:spcBef>
              <a:spcAft>
                <a:spcPts val="600"/>
              </a:spcAft>
              <a:buClr>
                <a:srgbClr val="053572"/>
              </a:buClr>
              <a:buSzPts val="1100"/>
              <a:buNone/>
            </a:pPr>
            <a:endParaRPr lang="en-US" sz="1700" dirty="0">
              <a:effectLst/>
              <a:latin typeface="Franklin Gothic Book" panose="020B0503020102020204" pitchFamily="34" charset="0"/>
              <a:ea typeface="Times New Roman" panose="02020603050405020304" pitchFamily="18" charset="0"/>
              <a:cs typeface="Times New Roman" panose="02020603050405020304" pitchFamily="18" charset="0"/>
            </a:endParaRPr>
          </a:p>
          <a:p>
            <a:endParaRPr lang="en-US" dirty="0"/>
          </a:p>
        </p:txBody>
      </p:sp>
      <p:sp>
        <p:nvSpPr>
          <p:cNvPr id="3" name="Footer Placeholder 2">
            <a:extLst>
              <a:ext uri="{FF2B5EF4-FFF2-40B4-BE49-F238E27FC236}">
                <a16:creationId xmlns:a16="http://schemas.microsoft.com/office/drawing/2014/main" id="{148F0EDD-1465-4090-A83A-85205ECF2EF6}"/>
              </a:ext>
            </a:extLst>
          </p:cNvPr>
          <p:cNvSpPr>
            <a:spLocks noGrp="1"/>
          </p:cNvSpPr>
          <p:nvPr>
            <p:ph type="ftr"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D4D4F">
                    <a:lumMod val="60000"/>
                    <a:lumOff val="40000"/>
                  </a:srgbClr>
                </a:solidFill>
                <a:effectLst/>
                <a:uLnTx/>
                <a:uFillTx/>
                <a:latin typeface="Franklin Gothic Book"/>
                <a:ea typeface="+mn-ea"/>
              </a:rPr>
              <a:t>CPUC Stakeholder Meeting</a:t>
            </a:r>
          </a:p>
        </p:txBody>
      </p:sp>
      <p:sp>
        <p:nvSpPr>
          <p:cNvPr id="9" name="Slide Number Placeholder 8">
            <a:extLst>
              <a:ext uri="{FF2B5EF4-FFF2-40B4-BE49-F238E27FC236}">
                <a16:creationId xmlns:a16="http://schemas.microsoft.com/office/drawing/2014/main" id="{22D1987D-CCB0-4194-B461-80E98F414204}"/>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33A1AA-C032-4449-8476-4B1706E764B3}" type="slidenum">
              <a:rPr kumimoji="0" lang="en-US" sz="1000" b="0" i="0" u="none" strike="noStrike" kern="1200" cap="none" spc="0" normalizeH="0" baseline="0" noProof="0" smtClean="0">
                <a:ln>
                  <a:noFill/>
                </a:ln>
                <a:solidFill>
                  <a:srgbClr val="E0EFFA">
                    <a:lumMod val="65000"/>
                  </a:srgbClr>
                </a:solidFill>
                <a:effectLst/>
                <a:uLnTx/>
                <a:uFillTx/>
                <a:latin typeface="Franklin Gothic Book"/>
                <a:ea typeface="+mn-ea"/>
              </a:rPr>
              <a:pPr marL="0" marR="0" lvl="0" indent="0" algn="r" defTabSz="457200" rtl="0" eaLnBrk="1" fontAlgn="auto" latinLnBrk="0" hangingPunct="1">
                <a:lnSpc>
                  <a:spcPct val="100000"/>
                </a:lnSpc>
                <a:spcBef>
                  <a:spcPts val="0"/>
                </a:spcBef>
                <a:spcAft>
                  <a:spcPts val="0"/>
                </a:spcAft>
                <a:buClrTx/>
                <a:buSzTx/>
                <a:buFontTx/>
                <a:buNone/>
                <a:tabLst/>
                <a:defRPr/>
              </a:pPr>
              <a:t>49</a:t>
            </a:fld>
            <a:endParaRPr kumimoji="0" lang="en-US" sz="1000" b="0" i="0" u="none" strike="noStrike" kern="1200" cap="none" spc="0" normalizeH="0" baseline="0" noProof="0" dirty="0">
              <a:ln>
                <a:noFill/>
              </a:ln>
              <a:solidFill>
                <a:srgbClr val="E0EFFA">
                  <a:lumMod val="65000"/>
                </a:srgbClr>
              </a:solidFill>
              <a:effectLst/>
              <a:uLnTx/>
              <a:uFillTx/>
              <a:latin typeface="Franklin Gothic Book"/>
              <a:ea typeface="+mn-ea"/>
            </a:endParaRPr>
          </a:p>
        </p:txBody>
      </p:sp>
    </p:spTree>
    <p:extLst>
      <p:ext uri="{BB962C8B-B14F-4D97-AF65-F5344CB8AC3E}">
        <p14:creationId xmlns:p14="http://schemas.microsoft.com/office/powerpoint/2010/main" val="504531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DE9F65-2A70-0141-973E-4371BB0CAB9E}"/>
              </a:ext>
            </a:extLst>
          </p:cNvPr>
          <p:cNvSpPr>
            <a:spLocks noGrp="1"/>
          </p:cNvSpPr>
          <p:nvPr>
            <p:ph type="title"/>
          </p:nvPr>
        </p:nvSpPr>
        <p:spPr/>
        <p:txBody>
          <a:bodyPr/>
          <a:lstStyle/>
          <a:p>
            <a:r>
              <a:rPr lang="en-US" dirty="0"/>
              <a:t>Purpose and Goal</a:t>
            </a:r>
          </a:p>
        </p:txBody>
      </p:sp>
      <p:sp>
        <p:nvSpPr>
          <p:cNvPr id="5" name="Content Placeholder 4">
            <a:extLst>
              <a:ext uri="{FF2B5EF4-FFF2-40B4-BE49-F238E27FC236}">
                <a16:creationId xmlns:a16="http://schemas.microsoft.com/office/drawing/2014/main" id="{0D194E48-B3C8-6C4B-AC99-E1662D9745D9}"/>
              </a:ext>
            </a:extLst>
          </p:cNvPr>
          <p:cNvSpPr>
            <a:spLocks noGrp="1"/>
          </p:cNvSpPr>
          <p:nvPr>
            <p:ph idx="1"/>
          </p:nvPr>
        </p:nvSpPr>
        <p:spPr/>
        <p:txBody>
          <a:bodyPr>
            <a:noAutofit/>
          </a:bodyPr>
          <a:lstStyle/>
          <a:p>
            <a:r>
              <a:rPr lang="en-US" dirty="0"/>
              <a:t>Transparency </a:t>
            </a:r>
          </a:p>
          <a:p>
            <a:pPr lvl="1">
              <a:buFont typeface="Courier New" panose="02070309020205020404" pitchFamily="49" charset="0"/>
              <a:buChar char="o"/>
            </a:pPr>
            <a:r>
              <a:rPr lang="en-US" dirty="0"/>
              <a:t>Status updates on progress made</a:t>
            </a:r>
          </a:p>
          <a:p>
            <a:pPr lvl="1">
              <a:buFont typeface="Courier New" panose="02070309020205020404" pitchFamily="49" charset="0"/>
              <a:buChar char="o"/>
            </a:pPr>
            <a:r>
              <a:rPr lang="en-US" dirty="0"/>
              <a:t>parallel venues/efforts to address priority areas for continuous improvement</a:t>
            </a:r>
          </a:p>
          <a:p>
            <a:r>
              <a:rPr lang="en-US" dirty="0"/>
              <a:t>Gather additional feedback and identify future emerging issues</a:t>
            </a:r>
          </a:p>
          <a:p>
            <a:pPr lvl="1"/>
            <a:endParaRPr lang="en-US" dirty="0"/>
          </a:p>
          <a:p>
            <a:endParaRPr lang="en-US" dirty="0"/>
          </a:p>
          <a:p>
            <a:endParaRPr lang="en-US" dirty="0"/>
          </a:p>
        </p:txBody>
      </p:sp>
    </p:spTree>
    <p:extLst>
      <p:ext uri="{BB962C8B-B14F-4D97-AF65-F5344CB8AC3E}">
        <p14:creationId xmlns:p14="http://schemas.microsoft.com/office/powerpoint/2010/main" val="314632054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5D7C9C2-1AD4-4A33-A622-A2A1EDAF4366}"/>
              </a:ext>
            </a:extLst>
          </p:cNvPr>
          <p:cNvSpPr>
            <a:spLocks noGrp="1"/>
          </p:cNvSpPr>
          <p:nvPr>
            <p:ph type="title"/>
          </p:nvPr>
        </p:nvSpPr>
        <p:spPr/>
        <p:txBody>
          <a:bodyPr/>
          <a:lstStyle/>
          <a:p>
            <a:r>
              <a:rPr lang="en-US" dirty="0"/>
              <a:t>Research tasks</a:t>
            </a:r>
          </a:p>
        </p:txBody>
      </p:sp>
      <p:sp>
        <p:nvSpPr>
          <p:cNvPr id="3" name="Footer Placeholder 2">
            <a:extLst>
              <a:ext uri="{FF2B5EF4-FFF2-40B4-BE49-F238E27FC236}">
                <a16:creationId xmlns:a16="http://schemas.microsoft.com/office/drawing/2014/main" id="{07A39671-3F5F-4E4D-A845-E72D3B7078DA}"/>
              </a:ext>
            </a:extLst>
          </p:cNvPr>
          <p:cNvSpPr>
            <a:spLocks noGrp="1"/>
          </p:cNvSpPr>
          <p:nvPr>
            <p:ph type="ftr"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D4D4F">
                    <a:lumMod val="60000"/>
                    <a:lumOff val="40000"/>
                  </a:srgbClr>
                </a:solidFill>
                <a:effectLst/>
                <a:uLnTx/>
                <a:uFillTx/>
                <a:latin typeface="Franklin Gothic Book"/>
                <a:ea typeface="+mn-ea"/>
              </a:rPr>
              <a:t>CPUC Stakeholder Meeting</a:t>
            </a:r>
          </a:p>
        </p:txBody>
      </p:sp>
      <p:sp>
        <p:nvSpPr>
          <p:cNvPr id="2" name="Slide Number Placeholder 1">
            <a:extLst>
              <a:ext uri="{FF2B5EF4-FFF2-40B4-BE49-F238E27FC236}">
                <a16:creationId xmlns:a16="http://schemas.microsoft.com/office/drawing/2014/main" id="{EAB0D3AD-5609-4502-B1B8-41DEBE70909B}"/>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33A1AA-C032-4449-8476-4B1706E764B3}" type="slidenum">
              <a:rPr kumimoji="0" lang="en-US" sz="1000" b="0" i="0" u="none" strike="noStrike" kern="1200" cap="none" spc="0" normalizeH="0" baseline="0" noProof="0" smtClean="0">
                <a:ln>
                  <a:noFill/>
                </a:ln>
                <a:solidFill>
                  <a:srgbClr val="E0EFFA">
                    <a:lumMod val="65000"/>
                  </a:srgbClr>
                </a:solidFill>
                <a:effectLst/>
                <a:uLnTx/>
                <a:uFillTx/>
                <a:latin typeface="Franklin Gothic Book"/>
                <a:ea typeface="+mn-ea"/>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en-US" sz="1000" b="0" i="0" u="none" strike="noStrike" kern="1200" cap="none" spc="0" normalizeH="0" baseline="0" noProof="0" dirty="0">
              <a:ln>
                <a:noFill/>
              </a:ln>
              <a:solidFill>
                <a:srgbClr val="E0EFFA">
                  <a:lumMod val="65000"/>
                </a:srgbClr>
              </a:solidFill>
              <a:effectLst/>
              <a:uLnTx/>
              <a:uFillTx/>
              <a:latin typeface="Franklin Gothic Book"/>
              <a:ea typeface="+mn-ea"/>
            </a:endParaRPr>
          </a:p>
        </p:txBody>
      </p:sp>
      <p:graphicFrame>
        <p:nvGraphicFramePr>
          <p:cNvPr id="5" name="Diagram 4">
            <a:extLst>
              <a:ext uri="{FF2B5EF4-FFF2-40B4-BE49-F238E27FC236}">
                <a16:creationId xmlns:a16="http://schemas.microsoft.com/office/drawing/2014/main" id="{140D6815-3908-4576-BEB1-9FE9FAF38456}"/>
              </a:ext>
            </a:extLst>
          </p:cNvPr>
          <p:cNvGraphicFramePr/>
          <p:nvPr/>
        </p:nvGraphicFramePr>
        <p:xfrm>
          <a:off x="847633" y="686709"/>
          <a:ext cx="10734767" cy="18196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Content Placeholder 7">
            <a:extLst>
              <a:ext uri="{FF2B5EF4-FFF2-40B4-BE49-F238E27FC236}">
                <a16:creationId xmlns:a16="http://schemas.microsoft.com/office/drawing/2014/main" id="{0D1A61EF-FF7D-438B-B38B-B6159DB90F6C}"/>
              </a:ext>
            </a:extLst>
          </p:cNvPr>
          <p:cNvSpPr>
            <a:spLocks noGrp="1"/>
          </p:cNvSpPr>
          <p:nvPr>
            <p:ph sz="quarter" idx="12"/>
          </p:nvPr>
        </p:nvSpPr>
        <p:spPr>
          <a:xfrm>
            <a:off x="609600" y="2534194"/>
            <a:ext cx="10972800" cy="3388134"/>
          </a:xfrm>
        </p:spPr>
        <p:txBody>
          <a:bodyPr/>
          <a:lstStyle/>
          <a:p>
            <a:pPr marL="0" indent="0">
              <a:buNone/>
            </a:pPr>
            <a:endParaRPr lang="en-US" dirty="0"/>
          </a:p>
          <a:p>
            <a:pPr marL="0" indent="0">
              <a:buNone/>
            </a:pPr>
            <a:endParaRPr lang="en-US" dirty="0"/>
          </a:p>
          <a:p>
            <a:pPr marL="0" indent="0">
              <a:buNone/>
            </a:pPr>
            <a:endParaRPr lang="en-US" dirty="0"/>
          </a:p>
        </p:txBody>
      </p:sp>
      <p:sp>
        <p:nvSpPr>
          <p:cNvPr id="9" name="TextBox 8">
            <a:extLst>
              <a:ext uri="{FF2B5EF4-FFF2-40B4-BE49-F238E27FC236}">
                <a16:creationId xmlns:a16="http://schemas.microsoft.com/office/drawing/2014/main" id="{A1DF26F2-D053-467F-BC03-61CBE0B1680C}"/>
              </a:ext>
            </a:extLst>
          </p:cNvPr>
          <p:cNvSpPr txBox="1"/>
          <p:nvPr/>
        </p:nvSpPr>
        <p:spPr>
          <a:xfrm>
            <a:off x="799054" y="2125498"/>
            <a:ext cx="1965236" cy="4278094"/>
          </a:xfrm>
          <a:prstGeom prst="rect">
            <a:avLst/>
          </a:prstGeom>
          <a:noFill/>
        </p:spPr>
        <p:txBody>
          <a:bodyPr wrap="square" rtlCol="0">
            <a:spAutoFit/>
          </a:bodyPr>
          <a:lstStyle/>
          <a:p>
            <a:pPr marL="0" marR="0" lvl="0" indent="0" algn="l" defTabSz="457200" rtl="0" eaLnBrk="1" fontAlgn="base" latinLnBrk="0" hangingPunct="1">
              <a:lnSpc>
                <a:spcPct val="100000"/>
              </a:lnSpc>
              <a:spcBef>
                <a:spcPts val="600"/>
              </a:spcBef>
              <a:spcAft>
                <a:spcPct val="0"/>
              </a:spcAft>
              <a:buClrTx/>
              <a:buSzTx/>
              <a:buFontTx/>
              <a:buNone/>
              <a:tabLst/>
              <a:defRPr/>
            </a:pPr>
            <a:r>
              <a:rPr kumimoji="0" lang="en-US" sz="1800" b="1" i="0" u="none" strike="noStrike" kern="1200" cap="none" spc="0" normalizeH="0" baseline="0" noProof="0" dirty="0">
                <a:ln>
                  <a:noFill/>
                </a:ln>
                <a:solidFill>
                  <a:srgbClr val="4D4D4F"/>
                </a:solidFill>
                <a:effectLst/>
                <a:uLnTx/>
                <a:uFillTx/>
                <a:latin typeface="Calibri" charset="0"/>
                <a:ea typeface="ＭＳ Ｐゴシック" charset="0"/>
              </a:rPr>
              <a:t>Draft complete</a:t>
            </a:r>
          </a:p>
          <a:p>
            <a:pPr marL="285750" marR="0" lvl="0" indent="-285750" algn="l" defTabSz="4572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4D4D4F"/>
                </a:solidFill>
                <a:effectLst/>
                <a:uLnTx/>
                <a:uFillTx/>
                <a:latin typeface="Calibri" charset="0"/>
                <a:ea typeface="ＭＳ Ｐゴシック" charset="0"/>
              </a:rPr>
              <a:t>Review Orders, Business plans, RFA &amp; RFP solicitations and scoring document</a:t>
            </a:r>
          </a:p>
          <a:p>
            <a:pPr marL="285750" marR="0" lvl="0" indent="-285750" algn="l" defTabSz="4572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4D4D4F"/>
                </a:solidFill>
                <a:effectLst/>
                <a:uLnTx/>
                <a:uFillTx/>
                <a:latin typeface="Calibri" charset="0"/>
                <a:ea typeface="ＭＳ Ｐゴシック" charset="0"/>
              </a:rPr>
              <a:t>Developed rubrics to score solicitations for each IOU </a:t>
            </a:r>
          </a:p>
          <a:p>
            <a:pPr marL="285750" marR="0" lvl="0" indent="-285750" algn="l" defTabSz="4572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4D4D4F"/>
                </a:solidFill>
                <a:effectLst/>
                <a:uLnTx/>
                <a:uFillTx/>
                <a:latin typeface="Calibri" charset="0"/>
                <a:ea typeface="ＭＳ Ｐゴシック" charset="0"/>
              </a:rPr>
              <a:t>Scored 1 solicitations per IOU</a:t>
            </a:r>
          </a:p>
        </p:txBody>
      </p:sp>
      <p:sp>
        <p:nvSpPr>
          <p:cNvPr id="10" name="TextBox 9">
            <a:extLst>
              <a:ext uri="{FF2B5EF4-FFF2-40B4-BE49-F238E27FC236}">
                <a16:creationId xmlns:a16="http://schemas.microsoft.com/office/drawing/2014/main" id="{BD84D854-EFE0-4A96-A062-C6A40180ADB3}"/>
              </a:ext>
            </a:extLst>
          </p:cNvPr>
          <p:cNvSpPr txBox="1"/>
          <p:nvPr/>
        </p:nvSpPr>
        <p:spPr>
          <a:xfrm>
            <a:off x="3029130" y="2028148"/>
            <a:ext cx="1965236" cy="2816156"/>
          </a:xfrm>
          <a:prstGeom prst="rect">
            <a:avLst/>
          </a:prstGeom>
          <a:noFill/>
        </p:spPr>
        <p:txBody>
          <a:bodyPr wrap="square" rtlCol="0">
            <a:spAutoFit/>
          </a:bodyPr>
          <a:lstStyle/>
          <a:p>
            <a:pPr marL="0" marR="0" lvl="0" indent="0" algn="l" defTabSz="457200" rtl="0" eaLnBrk="1" fontAlgn="base" latinLnBrk="0" hangingPunct="1">
              <a:lnSpc>
                <a:spcPct val="100000"/>
              </a:lnSpc>
              <a:spcBef>
                <a:spcPts val="600"/>
              </a:spcBef>
              <a:spcAft>
                <a:spcPct val="0"/>
              </a:spcAft>
              <a:buClrTx/>
              <a:buSzTx/>
              <a:buFontTx/>
              <a:buNone/>
              <a:tabLst/>
              <a:defRPr/>
            </a:pPr>
            <a:r>
              <a:rPr kumimoji="0" lang="en-US" sz="1800" b="1" i="0" u="none" strike="noStrike" kern="1200" cap="none" spc="0" normalizeH="0" baseline="0" noProof="0" dirty="0">
                <a:ln>
                  <a:noFill/>
                </a:ln>
                <a:solidFill>
                  <a:srgbClr val="4D4D4F"/>
                </a:solidFill>
                <a:effectLst/>
                <a:uLnTx/>
                <a:uFillTx/>
                <a:latin typeface="Calibri" charset="0"/>
                <a:ea typeface="ＭＳ Ｐゴシック" charset="0"/>
              </a:rPr>
              <a:t>June</a:t>
            </a:r>
          </a:p>
          <a:p>
            <a:pPr marL="285750" marR="0" lvl="0" indent="-285750" algn="l" defTabSz="4572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4D4D4F"/>
                </a:solidFill>
                <a:effectLst/>
                <a:uLnTx/>
                <a:uFillTx/>
                <a:latin typeface="Calibri" charset="0"/>
                <a:ea typeface="ＭＳ Ｐゴシック" charset="0"/>
              </a:rPr>
              <a:t>Drafted IOU interview guide</a:t>
            </a:r>
          </a:p>
          <a:p>
            <a:pPr marL="285750" marR="0" lvl="0" indent="-285750" algn="l" defTabSz="457200" rtl="0" eaLnBrk="1" fontAlgn="base" latinLnBrk="0" hangingPunct="1">
              <a:lnSpc>
                <a:spcPct val="100000"/>
              </a:lnSpc>
              <a:spcBef>
                <a:spcPts val="600"/>
              </a:spcBef>
              <a:spcAft>
                <a:spcPct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4D4D4F"/>
              </a:solidFill>
              <a:effectLst/>
              <a:uLnTx/>
              <a:uFillTx/>
              <a:latin typeface="Calibri" charset="0"/>
              <a:ea typeface="ＭＳ Ｐゴシック" charset="0"/>
            </a:endParaRPr>
          </a:p>
          <a:p>
            <a:pPr marL="285750" marR="0" lvl="0" indent="-285750" algn="l" defTabSz="4572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4D4D4F"/>
                </a:solidFill>
                <a:effectLst/>
                <a:uLnTx/>
                <a:uFillTx/>
                <a:latin typeface="Calibri" charset="0"/>
                <a:ea typeface="ＭＳ Ｐゴシック" charset="0"/>
              </a:rPr>
              <a:t>Scheduled and completed interviews with staff from 4  IOUS</a:t>
            </a:r>
          </a:p>
        </p:txBody>
      </p:sp>
      <p:sp>
        <p:nvSpPr>
          <p:cNvPr id="11" name="TextBox 10">
            <a:extLst>
              <a:ext uri="{FF2B5EF4-FFF2-40B4-BE49-F238E27FC236}">
                <a16:creationId xmlns:a16="http://schemas.microsoft.com/office/drawing/2014/main" id="{7D531553-C83E-4536-9D89-A239DF551177}"/>
              </a:ext>
            </a:extLst>
          </p:cNvPr>
          <p:cNvSpPr txBox="1"/>
          <p:nvPr/>
        </p:nvSpPr>
        <p:spPr>
          <a:xfrm>
            <a:off x="5113382" y="2086394"/>
            <a:ext cx="1965236" cy="4708981"/>
          </a:xfrm>
          <a:prstGeom prst="rect">
            <a:avLst/>
          </a:prstGeom>
          <a:noFill/>
        </p:spPr>
        <p:txBody>
          <a:bodyPr wrap="square" rtlCol="0">
            <a:spAutoFit/>
          </a:bodyPr>
          <a:lstStyle/>
          <a:p>
            <a:pPr marL="0" marR="0" lvl="0" indent="0" algn="l" defTabSz="457200" rtl="0" eaLnBrk="1" fontAlgn="base" latinLnBrk="0" hangingPunct="1">
              <a:lnSpc>
                <a:spcPct val="100000"/>
              </a:lnSpc>
              <a:spcBef>
                <a:spcPts val="600"/>
              </a:spcBef>
              <a:spcAft>
                <a:spcPct val="0"/>
              </a:spcAft>
              <a:buClrTx/>
              <a:buSzTx/>
              <a:buFontTx/>
              <a:buNone/>
              <a:tabLst/>
              <a:defRPr/>
            </a:pPr>
            <a:r>
              <a:rPr kumimoji="0" lang="en-US" sz="1800" b="1" i="0" u="none" strike="noStrike" kern="1200" cap="none" spc="0" normalizeH="0" baseline="0" noProof="0" dirty="0">
                <a:ln>
                  <a:noFill/>
                </a:ln>
                <a:solidFill>
                  <a:srgbClr val="4D4D4F"/>
                </a:solidFill>
                <a:effectLst/>
                <a:uLnTx/>
                <a:uFillTx/>
                <a:latin typeface="Calibri" charset="0"/>
                <a:ea typeface="ＭＳ Ｐゴシック" charset="0"/>
              </a:rPr>
              <a:t>July</a:t>
            </a:r>
          </a:p>
          <a:p>
            <a:pPr marL="285750" marR="0" lvl="0" indent="-285750" algn="l" defTabSz="4572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4D4D4F"/>
                </a:solidFill>
                <a:effectLst/>
                <a:uLnTx/>
                <a:uFillTx/>
                <a:latin typeface="Calibri" charset="0"/>
                <a:ea typeface="ＭＳ Ｐゴシック" charset="0"/>
              </a:rPr>
              <a:t>Finalize content analysis  scoring 3 additional solicitations per IOU </a:t>
            </a:r>
          </a:p>
          <a:p>
            <a:pPr marL="285750" marR="0" lvl="0" indent="-285750" algn="l" defTabSz="4572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4D4D4F"/>
                </a:solidFill>
                <a:effectLst/>
                <a:uLnTx/>
                <a:uFillTx/>
                <a:latin typeface="Calibri" charset="0"/>
                <a:ea typeface="ＭＳ Ｐゴシック" charset="0"/>
              </a:rPr>
              <a:t>Drafted IE interview guide</a:t>
            </a:r>
          </a:p>
          <a:p>
            <a:pPr marL="285750" marR="0" lvl="0" indent="-285750" algn="l" defTabSz="457200" rtl="0" eaLnBrk="1" fontAlgn="base" latinLnBrk="0" hangingPunct="1">
              <a:lnSpc>
                <a:spcPct val="100000"/>
              </a:lnSpc>
              <a:spcBef>
                <a:spcPts val="600"/>
              </a:spcBef>
              <a:spcAft>
                <a:spcPct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4D4D4F"/>
              </a:solidFill>
              <a:effectLst/>
              <a:uLnTx/>
              <a:uFillTx/>
              <a:latin typeface="Calibri" charset="0"/>
              <a:ea typeface="ＭＳ Ｐゴシック" charset="0"/>
            </a:endParaRPr>
          </a:p>
          <a:p>
            <a:pPr marL="285750" marR="0" lvl="0" indent="-285750" algn="l" defTabSz="4572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4D4D4F"/>
                </a:solidFill>
                <a:effectLst/>
                <a:uLnTx/>
                <a:uFillTx/>
                <a:latin typeface="Calibri" charset="0"/>
                <a:ea typeface="ＭＳ Ｐゴシック" charset="0"/>
              </a:rPr>
              <a:t>Completed interviews with staff from 5  IE’s</a:t>
            </a:r>
          </a:p>
          <a:p>
            <a:pPr marL="285750" marR="0" lvl="0" indent="-285750" algn="l" defTabSz="457200" rtl="0" eaLnBrk="1" fontAlgn="base" latinLnBrk="0" hangingPunct="1">
              <a:lnSpc>
                <a:spcPct val="100000"/>
              </a:lnSpc>
              <a:spcBef>
                <a:spcPts val="600"/>
              </a:spcBef>
              <a:spcAft>
                <a:spcPct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4D4D4F"/>
              </a:solidFill>
              <a:effectLst/>
              <a:uLnTx/>
              <a:uFillTx/>
              <a:latin typeface="Calibri" charset="0"/>
              <a:ea typeface="ＭＳ Ｐゴシック" charset="0"/>
            </a:endParaRPr>
          </a:p>
          <a:p>
            <a:pPr marL="285750" marR="0" lvl="0" indent="-285750" algn="l" defTabSz="4572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4D4D4F"/>
                </a:solidFill>
                <a:effectLst/>
                <a:uLnTx/>
                <a:uFillTx/>
                <a:latin typeface="Calibri" charset="0"/>
                <a:ea typeface="ＭＳ Ｐゴシック" charset="0"/>
              </a:rPr>
              <a:t>Drafted Bidder interview Guide</a:t>
            </a:r>
          </a:p>
        </p:txBody>
      </p:sp>
      <p:sp>
        <p:nvSpPr>
          <p:cNvPr id="14" name="TextBox 13">
            <a:extLst>
              <a:ext uri="{FF2B5EF4-FFF2-40B4-BE49-F238E27FC236}">
                <a16:creationId xmlns:a16="http://schemas.microsoft.com/office/drawing/2014/main" id="{F2200519-0FAB-472F-B263-97123F7DD324}"/>
              </a:ext>
            </a:extLst>
          </p:cNvPr>
          <p:cNvSpPr txBox="1"/>
          <p:nvPr/>
        </p:nvSpPr>
        <p:spPr>
          <a:xfrm>
            <a:off x="7254239" y="2086394"/>
            <a:ext cx="2269354" cy="4739759"/>
          </a:xfrm>
          <a:prstGeom prst="rect">
            <a:avLst/>
          </a:prstGeom>
          <a:noFill/>
        </p:spPr>
        <p:txBody>
          <a:bodyPr wrap="square">
            <a:spAutoFit/>
          </a:bodyPr>
          <a:lstStyle/>
          <a:p>
            <a:pPr marL="0" marR="0" lvl="1" indent="0" algn="l" defTabSz="457200" rtl="0" eaLnBrk="1" fontAlgn="base"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D4D4F"/>
                </a:solidFill>
                <a:effectLst/>
                <a:uLnTx/>
                <a:uFillTx/>
                <a:latin typeface="Calibri" charset="0"/>
                <a:ea typeface="ＭＳ Ｐゴシック" charset="0"/>
              </a:rPr>
              <a:t>July / August</a:t>
            </a:r>
            <a:r>
              <a:rPr kumimoji="0" lang="en-US" sz="1800" b="0" i="0" u="none" strike="noStrike" kern="1200" cap="none" spc="0" normalizeH="0" baseline="0" noProof="0" dirty="0">
                <a:ln>
                  <a:noFill/>
                </a:ln>
                <a:solidFill>
                  <a:srgbClr val="4D4D4F"/>
                </a:solidFill>
                <a:effectLst/>
                <a:uLnTx/>
                <a:uFillTx/>
                <a:latin typeface="Calibri" charset="0"/>
                <a:ea typeface="ＭＳ Ｐゴシック" charset="0"/>
              </a:rPr>
              <a:t>	</a:t>
            </a:r>
          </a:p>
          <a:p>
            <a:pPr marL="0" marR="0" lvl="1" indent="0" algn="l" defTabSz="4572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D4D4F"/>
                </a:solidFill>
                <a:effectLst/>
                <a:uLnTx/>
                <a:uFillTx/>
                <a:latin typeface="Calibri" charset="0"/>
                <a:ea typeface="ＭＳ Ｐゴシック" charset="0"/>
              </a:rPr>
              <a:t>4 groups to assess each stage of process</a:t>
            </a:r>
          </a:p>
          <a:p>
            <a:pPr marL="0" marR="0" lvl="1" indent="0" algn="l" defTabSz="4572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D4D4F"/>
                </a:solidFill>
                <a:effectLst/>
                <a:uLnTx/>
                <a:uFillTx/>
                <a:latin typeface="Calibri" charset="0"/>
                <a:ea typeface="ＭＳ Ｐゴシック" charset="0"/>
              </a:rPr>
              <a:t>5 IDIs; 35 web survey respondents</a:t>
            </a:r>
          </a:p>
          <a:p>
            <a:pPr marL="285750" marR="0" lvl="1" indent="-285750" algn="l" defTabSz="4572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4D4D4F"/>
                </a:solidFill>
                <a:effectLst/>
                <a:uLnTx/>
                <a:uFillTx/>
                <a:latin typeface="Calibri" charset="0"/>
                <a:ea typeface="ＭＳ Ｐゴシック" charset="0"/>
              </a:rPr>
              <a:t>Submitted an RFA, but not an RFP</a:t>
            </a:r>
          </a:p>
          <a:p>
            <a:pPr marL="285750" marR="0" lvl="1" indent="-285750" algn="l" defTabSz="4572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4D4D4F"/>
                </a:solidFill>
                <a:effectLst/>
                <a:uLnTx/>
                <a:uFillTx/>
                <a:latin typeface="Calibri" charset="0"/>
                <a:ea typeface="ＭＳ Ｐゴシック" charset="0"/>
              </a:rPr>
              <a:t>Submitted an RFA and an RFP, but were not selected for contract negotiation</a:t>
            </a:r>
          </a:p>
          <a:p>
            <a:pPr marL="285750" marR="0" lvl="1" indent="-285750" algn="l" defTabSz="4572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4D4D4F"/>
                </a:solidFill>
                <a:effectLst/>
                <a:uLnTx/>
                <a:uFillTx/>
                <a:latin typeface="Calibri" charset="0"/>
                <a:ea typeface="ＭＳ Ｐゴシック" charset="0"/>
              </a:rPr>
              <a:t>Submitted an RFP and were selected, but did not execute the contract</a:t>
            </a:r>
          </a:p>
          <a:p>
            <a:pPr marL="285750" marR="0" lvl="1" indent="-285750" algn="l" defTabSz="457200"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4D4D4F"/>
                </a:solidFill>
                <a:effectLst/>
                <a:uLnTx/>
                <a:uFillTx/>
                <a:latin typeface="Calibri" charset="0"/>
                <a:ea typeface="ＭＳ Ｐゴシック" charset="0"/>
              </a:rPr>
              <a:t>Executed the contract</a:t>
            </a:r>
          </a:p>
        </p:txBody>
      </p:sp>
      <p:sp>
        <p:nvSpPr>
          <p:cNvPr id="16" name="TextBox 15">
            <a:extLst>
              <a:ext uri="{FF2B5EF4-FFF2-40B4-BE49-F238E27FC236}">
                <a16:creationId xmlns:a16="http://schemas.microsoft.com/office/drawing/2014/main" id="{E57D929B-DAF1-46E3-88FB-6A7A90E0C38E}"/>
              </a:ext>
            </a:extLst>
          </p:cNvPr>
          <p:cNvSpPr txBox="1"/>
          <p:nvPr/>
        </p:nvSpPr>
        <p:spPr>
          <a:xfrm>
            <a:off x="9416436" y="2028148"/>
            <a:ext cx="2269354" cy="1200329"/>
          </a:xfrm>
          <a:prstGeom prst="rect">
            <a:avLst/>
          </a:prstGeom>
          <a:noFill/>
        </p:spPr>
        <p:txBody>
          <a:bodyPr wrap="square">
            <a:spAutoFit/>
          </a:bodyPr>
          <a:lstStyle/>
          <a:p>
            <a:pPr marL="60325" marR="0" lvl="1" indent="0" algn="l" defTabSz="457200" rtl="0" eaLnBrk="1" fontAlgn="base" latinLnBrk="0" hangingPunct="1">
              <a:lnSpc>
                <a:spcPct val="100000"/>
              </a:lnSpc>
              <a:spcBef>
                <a:spcPts val="0"/>
              </a:spcBef>
              <a:spcAft>
                <a:spcPts val="0"/>
              </a:spcAft>
              <a:buClrTx/>
              <a:buSzTx/>
              <a:buFontTx/>
              <a:buNone/>
              <a:tabLst>
                <a:tab pos="60325" algn="l"/>
              </a:tabLst>
              <a:defRPr/>
            </a:pPr>
            <a:r>
              <a:rPr kumimoji="0" lang="en-US" sz="1800" b="1" i="0" u="none" strike="noStrike" kern="1200" cap="none" spc="0" normalizeH="0" baseline="0" noProof="0" dirty="0">
                <a:ln>
                  <a:noFill/>
                </a:ln>
                <a:solidFill>
                  <a:srgbClr val="4D4D4F"/>
                </a:solidFill>
                <a:effectLst/>
                <a:uLnTx/>
                <a:uFillTx/>
                <a:latin typeface="Calibri" charset="0"/>
                <a:ea typeface="ＭＳ Ｐゴシック" charset="0"/>
              </a:rPr>
              <a:t>Draft - August </a:t>
            </a:r>
          </a:p>
          <a:p>
            <a:pPr marL="60325" marR="0" lvl="1" indent="0" algn="l" defTabSz="457200" rtl="0" eaLnBrk="1" fontAlgn="base" latinLnBrk="0" hangingPunct="1">
              <a:lnSpc>
                <a:spcPct val="100000"/>
              </a:lnSpc>
              <a:spcBef>
                <a:spcPts val="0"/>
              </a:spcBef>
              <a:spcAft>
                <a:spcPts val="0"/>
              </a:spcAft>
              <a:buClrTx/>
              <a:buSzTx/>
              <a:buFontTx/>
              <a:buNone/>
              <a:tabLst>
                <a:tab pos="60325" algn="l"/>
              </a:tabLst>
              <a:defRPr/>
            </a:pPr>
            <a:r>
              <a:rPr kumimoji="0" lang="en-US" sz="1800" b="1" i="0" u="none" strike="noStrike" kern="1200" cap="none" spc="0" normalizeH="0" baseline="0" noProof="0" dirty="0">
                <a:ln>
                  <a:noFill/>
                </a:ln>
                <a:solidFill>
                  <a:srgbClr val="4D4D4F"/>
                </a:solidFill>
                <a:effectLst/>
                <a:uLnTx/>
                <a:uFillTx/>
                <a:latin typeface="Calibri" charset="0"/>
                <a:ea typeface="ＭＳ Ｐゴシック" charset="0"/>
              </a:rPr>
              <a:t>Final – September</a:t>
            </a:r>
          </a:p>
          <a:p>
            <a:pPr marL="60325" marR="0" lvl="1" indent="0" algn="l" defTabSz="457200" rtl="0" eaLnBrk="1" fontAlgn="base" latinLnBrk="0" hangingPunct="1">
              <a:lnSpc>
                <a:spcPct val="100000"/>
              </a:lnSpc>
              <a:spcBef>
                <a:spcPts val="0"/>
              </a:spcBef>
              <a:spcAft>
                <a:spcPts val="0"/>
              </a:spcAft>
              <a:buClrTx/>
              <a:buSzTx/>
              <a:buFontTx/>
              <a:buNone/>
              <a:tabLst>
                <a:tab pos="60325" algn="l"/>
              </a:tabLst>
              <a:defRPr/>
            </a:pPr>
            <a:endParaRPr kumimoji="0" lang="en-US" sz="1800" b="0" i="0" u="none" strike="noStrike" kern="1200" cap="none" spc="0" normalizeH="0" baseline="0" noProof="0" dirty="0">
              <a:ln>
                <a:noFill/>
              </a:ln>
              <a:solidFill>
                <a:srgbClr val="4D4D4F"/>
              </a:solidFill>
              <a:effectLst/>
              <a:uLnTx/>
              <a:uFillTx/>
              <a:latin typeface="Calibri" charset="0"/>
              <a:ea typeface="ＭＳ Ｐゴシック" charset="0"/>
            </a:endParaRPr>
          </a:p>
          <a:p>
            <a:pPr marL="60325" marR="0" lvl="1" indent="0" algn="l" defTabSz="457200" rtl="0" eaLnBrk="1" fontAlgn="base" latinLnBrk="0" hangingPunct="1">
              <a:lnSpc>
                <a:spcPct val="100000"/>
              </a:lnSpc>
              <a:spcBef>
                <a:spcPts val="0"/>
              </a:spcBef>
              <a:spcAft>
                <a:spcPts val="0"/>
              </a:spcAft>
              <a:buClrTx/>
              <a:buSzTx/>
              <a:buFontTx/>
              <a:buNone/>
              <a:tabLst>
                <a:tab pos="60325" algn="l"/>
              </a:tabLst>
              <a:defRPr/>
            </a:pPr>
            <a:endParaRPr kumimoji="0" lang="en-US" sz="1800" b="0" i="0" u="none" strike="noStrike" kern="1200" cap="none" spc="0" normalizeH="0" baseline="0" noProof="0" dirty="0">
              <a:ln>
                <a:noFill/>
              </a:ln>
              <a:solidFill>
                <a:srgbClr val="4D4D4F"/>
              </a:solidFill>
              <a:effectLst/>
              <a:uLnTx/>
              <a:uFillTx/>
              <a:latin typeface="Calibri" charset="0"/>
              <a:ea typeface="ＭＳ Ｐゴシック" charset="0"/>
            </a:endParaRPr>
          </a:p>
        </p:txBody>
      </p:sp>
    </p:spTree>
    <p:extLst>
      <p:ext uri="{BB962C8B-B14F-4D97-AF65-F5344CB8AC3E}">
        <p14:creationId xmlns:p14="http://schemas.microsoft.com/office/powerpoint/2010/main" val="1039601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ECBC47-F98B-4A48-914A-7885D73BAC41}"/>
              </a:ext>
            </a:extLst>
          </p:cNvPr>
          <p:cNvSpPr>
            <a:spLocks noGrp="1"/>
          </p:cNvSpPr>
          <p:nvPr>
            <p:ph type="title"/>
          </p:nvPr>
        </p:nvSpPr>
        <p:spPr/>
        <p:txBody>
          <a:bodyPr/>
          <a:lstStyle/>
          <a:p>
            <a:r>
              <a:rPr lang="en-US" dirty="0"/>
              <a:t>Content analysis: Wrapping up</a:t>
            </a:r>
          </a:p>
        </p:txBody>
      </p:sp>
      <p:sp>
        <p:nvSpPr>
          <p:cNvPr id="3" name="Footer Placeholder 2">
            <a:extLst>
              <a:ext uri="{FF2B5EF4-FFF2-40B4-BE49-F238E27FC236}">
                <a16:creationId xmlns:a16="http://schemas.microsoft.com/office/drawing/2014/main" id="{869C9671-5506-406A-A0AE-7BEAAC5ED0B8}"/>
              </a:ext>
            </a:extLst>
          </p:cNvPr>
          <p:cNvSpPr>
            <a:spLocks noGrp="1"/>
          </p:cNvSpPr>
          <p:nvPr>
            <p:ph type="ftr"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D4D4F">
                    <a:lumMod val="60000"/>
                    <a:lumOff val="40000"/>
                  </a:srgbClr>
                </a:solidFill>
                <a:effectLst/>
                <a:uLnTx/>
                <a:uFillTx/>
                <a:latin typeface="Franklin Gothic Book"/>
                <a:ea typeface="+mn-ea"/>
              </a:rPr>
              <a:t>CPUC Stakeholder Meeting</a:t>
            </a:r>
          </a:p>
        </p:txBody>
      </p:sp>
      <p:sp>
        <p:nvSpPr>
          <p:cNvPr id="4" name="Slide Number Placeholder 3">
            <a:extLst>
              <a:ext uri="{FF2B5EF4-FFF2-40B4-BE49-F238E27FC236}">
                <a16:creationId xmlns:a16="http://schemas.microsoft.com/office/drawing/2014/main" id="{7D8B4EB5-2BD9-4EE5-86EF-D306DF09E75C}"/>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33A1AA-C032-4449-8476-4B1706E764B3}" type="slidenum">
              <a:rPr kumimoji="0" lang="en-US" sz="1000" b="0" i="0" u="none" strike="noStrike" kern="1200" cap="none" spc="0" normalizeH="0" baseline="0" noProof="0" smtClean="0">
                <a:ln>
                  <a:noFill/>
                </a:ln>
                <a:solidFill>
                  <a:srgbClr val="E0EFFA">
                    <a:lumMod val="65000"/>
                  </a:srgbClr>
                </a:solidFill>
                <a:effectLst/>
                <a:uLnTx/>
                <a:uFillTx/>
                <a:latin typeface="Franklin Gothic Book"/>
                <a:ea typeface="+mn-ea"/>
              </a:rPr>
              <a:pPr marL="0" marR="0" lvl="0" indent="0" algn="r" defTabSz="457200" rtl="0" eaLnBrk="1" fontAlgn="auto" latinLnBrk="0" hangingPunct="1">
                <a:lnSpc>
                  <a:spcPct val="100000"/>
                </a:lnSpc>
                <a:spcBef>
                  <a:spcPts val="0"/>
                </a:spcBef>
                <a:spcAft>
                  <a:spcPts val="0"/>
                </a:spcAft>
                <a:buClrTx/>
                <a:buSzTx/>
                <a:buFontTx/>
                <a:buNone/>
                <a:tabLst/>
                <a:defRPr/>
              </a:pPr>
              <a:t>51</a:t>
            </a:fld>
            <a:endParaRPr kumimoji="0" lang="en-US" sz="1000" b="0" i="0" u="none" strike="noStrike" kern="1200" cap="none" spc="0" normalizeH="0" baseline="0" noProof="0" dirty="0">
              <a:ln>
                <a:noFill/>
              </a:ln>
              <a:solidFill>
                <a:srgbClr val="E0EFFA">
                  <a:lumMod val="65000"/>
                </a:srgbClr>
              </a:solidFill>
              <a:effectLst/>
              <a:uLnTx/>
              <a:uFillTx/>
              <a:latin typeface="Franklin Gothic Book"/>
              <a:ea typeface="+mn-ea"/>
            </a:endParaRPr>
          </a:p>
        </p:txBody>
      </p:sp>
      <p:sp>
        <p:nvSpPr>
          <p:cNvPr id="5" name="Content Placeholder 4">
            <a:extLst>
              <a:ext uri="{FF2B5EF4-FFF2-40B4-BE49-F238E27FC236}">
                <a16:creationId xmlns:a16="http://schemas.microsoft.com/office/drawing/2014/main" id="{CCF5D26A-153E-4090-A7CB-BF2001EBD592}"/>
              </a:ext>
            </a:extLst>
          </p:cNvPr>
          <p:cNvSpPr>
            <a:spLocks noGrp="1"/>
          </p:cNvSpPr>
          <p:nvPr>
            <p:ph sz="quarter" idx="12"/>
          </p:nvPr>
        </p:nvSpPr>
        <p:spPr>
          <a:xfrm>
            <a:off x="609600" y="1246188"/>
            <a:ext cx="10687050" cy="4500562"/>
          </a:xfrm>
        </p:spPr>
        <p:txBody>
          <a:bodyPr>
            <a:normAutofit fontScale="62500" lnSpcReduction="20000"/>
          </a:bodyPr>
          <a:lstStyle/>
          <a:p>
            <a:pPr>
              <a:buFont typeface="Wingdings" panose="05000000000000000000" pitchFamily="2" charset="2"/>
              <a:buChar char="q"/>
            </a:pPr>
            <a:r>
              <a:rPr lang="en-US" dirty="0"/>
              <a:t>Interviewed staff members across the four IOUs</a:t>
            </a:r>
          </a:p>
          <a:p>
            <a:pPr>
              <a:buFont typeface="Wingdings" panose="05000000000000000000" pitchFamily="2" charset="2"/>
              <a:buChar char="q"/>
            </a:pPr>
            <a:endParaRPr lang="en-US" sz="1600" dirty="0"/>
          </a:p>
          <a:p>
            <a:pPr>
              <a:buFont typeface="Wingdings" panose="05000000000000000000" pitchFamily="2" charset="2"/>
              <a:buChar char="q"/>
            </a:pPr>
            <a:r>
              <a:rPr lang="en-US" dirty="0"/>
              <a:t>Research objectives</a:t>
            </a:r>
          </a:p>
          <a:p>
            <a:pPr lvl="1"/>
            <a:r>
              <a:rPr lang="en-US" sz="2900" dirty="0"/>
              <a:t>Assess perception of two-stage solicitation process</a:t>
            </a:r>
          </a:p>
          <a:p>
            <a:pPr lvl="1"/>
            <a:r>
              <a:rPr lang="en-US" sz="2900" dirty="0"/>
              <a:t>Review recommendations going forward</a:t>
            </a:r>
          </a:p>
          <a:p>
            <a:pPr lvl="1"/>
            <a:r>
              <a:rPr lang="en-US" sz="2900" dirty="0"/>
              <a:t>Assess solicitation impact on four key areas: </a:t>
            </a:r>
          </a:p>
          <a:p>
            <a:pPr lvl="2"/>
            <a:r>
              <a:rPr lang="en-US" sz="2300" dirty="0"/>
              <a:t>Solicitation process efficiency/timeliness (to bidders and IOUs), </a:t>
            </a:r>
          </a:p>
          <a:p>
            <a:pPr lvl="2"/>
            <a:r>
              <a:rPr lang="en-US" sz="2300" dirty="0"/>
              <a:t>Generation of innovative program designs </a:t>
            </a:r>
          </a:p>
          <a:p>
            <a:pPr lvl="2"/>
            <a:r>
              <a:rPr lang="en-US" sz="2300" dirty="0"/>
              <a:t>Diversity of suppliers, </a:t>
            </a:r>
          </a:p>
          <a:p>
            <a:pPr lvl="2"/>
            <a:r>
              <a:rPr lang="en-US" sz="2300" dirty="0"/>
              <a:t>Program cost effectiveness – To be assessed in long term</a:t>
            </a:r>
          </a:p>
          <a:p>
            <a:pPr>
              <a:buFont typeface="Wingdings" panose="05000000000000000000" pitchFamily="2" charset="2"/>
              <a:buChar char="q"/>
            </a:pPr>
            <a:endParaRPr lang="en-US" sz="1600" dirty="0"/>
          </a:p>
          <a:p>
            <a:pPr>
              <a:buFont typeface="Wingdings" panose="05000000000000000000" pitchFamily="2" charset="2"/>
              <a:buChar char="q"/>
            </a:pPr>
            <a:r>
              <a:rPr lang="en-US" sz="3300" dirty="0"/>
              <a:t>Developed 2 separate scoring rubrics</a:t>
            </a:r>
            <a:r>
              <a:rPr lang="en-US" sz="1800" dirty="0"/>
              <a:t>:</a:t>
            </a:r>
          </a:p>
          <a:p>
            <a:pPr lvl="1"/>
            <a:r>
              <a:rPr lang="en-US" sz="2600" dirty="0"/>
              <a:t>Business plan rubric – Evaluates plans in terms of the 3 key areas in light of the specific orders delivered</a:t>
            </a:r>
          </a:p>
          <a:p>
            <a:pPr lvl="1"/>
            <a:endParaRPr lang="en-US" sz="2600" dirty="0"/>
          </a:p>
          <a:p>
            <a:pPr lvl="1"/>
            <a:r>
              <a:rPr lang="en-US" sz="2600" dirty="0"/>
              <a:t>Solicitation rubric –Evaluates 4 solicitations per IOU in terms of the 3 key areas, considering solicitations initiated pre- and post-revisions to the 2-stage process</a:t>
            </a:r>
          </a:p>
          <a:p>
            <a:pPr lvl="2"/>
            <a:endParaRPr lang="en-US" dirty="0"/>
          </a:p>
          <a:p>
            <a:pPr lvl="1"/>
            <a:endParaRPr lang="en-US" dirty="0"/>
          </a:p>
        </p:txBody>
      </p:sp>
    </p:spTree>
    <p:extLst>
      <p:ext uri="{BB962C8B-B14F-4D97-AF65-F5344CB8AC3E}">
        <p14:creationId xmlns:p14="http://schemas.microsoft.com/office/powerpoint/2010/main" val="340299862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ECBC47-F98B-4A48-914A-7885D73BAC41}"/>
              </a:ext>
            </a:extLst>
          </p:cNvPr>
          <p:cNvSpPr>
            <a:spLocks noGrp="1"/>
          </p:cNvSpPr>
          <p:nvPr>
            <p:ph type="title"/>
          </p:nvPr>
        </p:nvSpPr>
        <p:spPr/>
        <p:txBody>
          <a:bodyPr/>
          <a:lstStyle/>
          <a:p>
            <a:r>
              <a:rPr lang="en-US" dirty="0"/>
              <a:t>IOU Staff / IE Interviews - Complete</a:t>
            </a:r>
          </a:p>
        </p:txBody>
      </p:sp>
      <p:sp>
        <p:nvSpPr>
          <p:cNvPr id="3" name="Footer Placeholder 2">
            <a:extLst>
              <a:ext uri="{FF2B5EF4-FFF2-40B4-BE49-F238E27FC236}">
                <a16:creationId xmlns:a16="http://schemas.microsoft.com/office/drawing/2014/main" id="{869C9671-5506-406A-A0AE-7BEAAC5ED0B8}"/>
              </a:ext>
            </a:extLst>
          </p:cNvPr>
          <p:cNvSpPr>
            <a:spLocks noGrp="1"/>
          </p:cNvSpPr>
          <p:nvPr>
            <p:ph type="ftr"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D4D4F">
                    <a:lumMod val="60000"/>
                    <a:lumOff val="40000"/>
                  </a:srgbClr>
                </a:solidFill>
                <a:effectLst/>
                <a:uLnTx/>
                <a:uFillTx/>
                <a:latin typeface="Franklin Gothic Book"/>
                <a:ea typeface="+mn-ea"/>
              </a:rPr>
              <a:t>CPUC Stakeholder Meeting</a:t>
            </a:r>
          </a:p>
        </p:txBody>
      </p:sp>
      <p:sp>
        <p:nvSpPr>
          <p:cNvPr id="4" name="Slide Number Placeholder 3">
            <a:extLst>
              <a:ext uri="{FF2B5EF4-FFF2-40B4-BE49-F238E27FC236}">
                <a16:creationId xmlns:a16="http://schemas.microsoft.com/office/drawing/2014/main" id="{7D8B4EB5-2BD9-4EE5-86EF-D306DF09E75C}"/>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33A1AA-C032-4449-8476-4B1706E764B3}" type="slidenum">
              <a:rPr kumimoji="0" lang="en-US" sz="1000" b="0" i="0" u="none" strike="noStrike" kern="1200" cap="none" spc="0" normalizeH="0" baseline="0" noProof="0" smtClean="0">
                <a:ln>
                  <a:noFill/>
                </a:ln>
                <a:solidFill>
                  <a:srgbClr val="E0EFFA">
                    <a:lumMod val="65000"/>
                  </a:srgbClr>
                </a:solidFill>
                <a:effectLst/>
                <a:uLnTx/>
                <a:uFillTx/>
                <a:latin typeface="Franklin Gothic Book"/>
                <a:ea typeface="+mn-ea"/>
              </a:rPr>
              <a:pPr marL="0" marR="0" lvl="0" indent="0" algn="r" defTabSz="457200" rtl="0" eaLnBrk="1" fontAlgn="auto" latinLnBrk="0" hangingPunct="1">
                <a:lnSpc>
                  <a:spcPct val="100000"/>
                </a:lnSpc>
                <a:spcBef>
                  <a:spcPts val="0"/>
                </a:spcBef>
                <a:spcAft>
                  <a:spcPts val="0"/>
                </a:spcAft>
                <a:buClrTx/>
                <a:buSzTx/>
                <a:buFontTx/>
                <a:buNone/>
                <a:tabLst/>
                <a:defRPr/>
              </a:pPr>
              <a:t>52</a:t>
            </a:fld>
            <a:endParaRPr kumimoji="0" lang="en-US" sz="1000" b="0" i="0" u="none" strike="noStrike" kern="1200" cap="none" spc="0" normalizeH="0" baseline="0" noProof="0" dirty="0">
              <a:ln>
                <a:noFill/>
              </a:ln>
              <a:solidFill>
                <a:srgbClr val="E0EFFA">
                  <a:lumMod val="65000"/>
                </a:srgbClr>
              </a:solidFill>
              <a:effectLst/>
              <a:uLnTx/>
              <a:uFillTx/>
              <a:latin typeface="Franklin Gothic Book"/>
              <a:ea typeface="+mn-ea"/>
            </a:endParaRPr>
          </a:p>
        </p:txBody>
      </p:sp>
      <p:sp>
        <p:nvSpPr>
          <p:cNvPr id="5" name="Content Placeholder 4">
            <a:extLst>
              <a:ext uri="{FF2B5EF4-FFF2-40B4-BE49-F238E27FC236}">
                <a16:creationId xmlns:a16="http://schemas.microsoft.com/office/drawing/2014/main" id="{CCF5D26A-153E-4090-A7CB-BF2001EBD592}"/>
              </a:ext>
            </a:extLst>
          </p:cNvPr>
          <p:cNvSpPr>
            <a:spLocks noGrp="1"/>
          </p:cNvSpPr>
          <p:nvPr>
            <p:ph sz="quarter" idx="12"/>
          </p:nvPr>
        </p:nvSpPr>
        <p:spPr/>
        <p:txBody>
          <a:bodyPr>
            <a:normAutofit lnSpcReduction="10000"/>
          </a:bodyPr>
          <a:lstStyle/>
          <a:p>
            <a:r>
              <a:rPr lang="en-US" dirty="0"/>
              <a:t>Looking to set up interviews with eight staff members across the four IOUs</a:t>
            </a:r>
          </a:p>
          <a:p>
            <a:r>
              <a:rPr lang="en-US" dirty="0"/>
              <a:t>Research objectives</a:t>
            </a:r>
          </a:p>
          <a:p>
            <a:pPr lvl="1"/>
            <a:r>
              <a:rPr lang="en-US" sz="2000" dirty="0"/>
              <a:t>Assess perception of two-stage solicitation process</a:t>
            </a:r>
          </a:p>
          <a:p>
            <a:pPr lvl="1"/>
            <a:r>
              <a:rPr lang="en-US" sz="2000" dirty="0"/>
              <a:t>Review recommendations going forward</a:t>
            </a:r>
          </a:p>
          <a:p>
            <a:pPr lvl="1"/>
            <a:r>
              <a:rPr lang="en-US" sz="2000" dirty="0"/>
              <a:t>Assess solicitation impact on four key areas – Strategies considered, strategies implemented, what worked, what didn’t, what could be done instead?</a:t>
            </a:r>
          </a:p>
          <a:p>
            <a:pPr marL="1371600" lvl="2" indent="-457200">
              <a:buFont typeface="+mj-lt"/>
              <a:buAutoNum type="arabicPeriod"/>
            </a:pPr>
            <a:r>
              <a:rPr lang="en-US" sz="2000" dirty="0"/>
              <a:t>Solicitation process efficiency/timeliness (to bidders and IOUs) </a:t>
            </a:r>
          </a:p>
          <a:p>
            <a:pPr marL="1371600" lvl="2" indent="-457200">
              <a:buFont typeface="+mj-lt"/>
              <a:buAutoNum type="arabicPeriod"/>
            </a:pPr>
            <a:r>
              <a:rPr lang="en-US" sz="2000" dirty="0"/>
              <a:t>Program innovation</a:t>
            </a:r>
          </a:p>
          <a:p>
            <a:pPr marL="1371600" lvl="2" indent="-457200">
              <a:buFont typeface="+mj-lt"/>
              <a:buAutoNum type="arabicPeriod"/>
            </a:pPr>
            <a:r>
              <a:rPr lang="en-US" sz="2000" dirty="0"/>
              <a:t>Diversity of suppliers</a:t>
            </a:r>
          </a:p>
          <a:p>
            <a:pPr marL="1371600" lvl="2" indent="-457200">
              <a:buFont typeface="+mj-lt"/>
              <a:buAutoNum type="arabicPeriod"/>
            </a:pPr>
            <a:r>
              <a:rPr lang="en-US" sz="2000" dirty="0"/>
              <a:t>Cost-effectiveness (TBD)</a:t>
            </a:r>
          </a:p>
          <a:p>
            <a:pPr lvl="1"/>
            <a:endParaRPr lang="en-US" dirty="0"/>
          </a:p>
        </p:txBody>
      </p:sp>
    </p:spTree>
    <p:extLst>
      <p:ext uri="{BB962C8B-B14F-4D97-AF65-F5344CB8AC3E}">
        <p14:creationId xmlns:p14="http://schemas.microsoft.com/office/powerpoint/2010/main" val="190225182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65E4EF-B5CF-48D9-BE67-D864B557C181}"/>
              </a:ext>
            </a:extLst>
          </p:cNvPr>
          <p:cNvSpPr>
            <a:spLocks noGrp="1"/>
          </p:cNvSpPr>
          <p:nvPr>
            <p:ph type="title"/>
          </p:nvPr>
        </p:nvSpPr>
        <p:spPr/>
        <p:txBody>
          <a:bodyPr/>
          <a:lstStyle/>
          <a:p>
            <a:r>
              <a:rPr lang="en-US" dirty="0"/>
              <a:t>Task 4: Bidder interviews / Survey</a:t>
            </a:r>
          </a:p>
        </p:txBody>
      </p:sp>
      <p:sp>
        <p:nvSpPr>
          <p:cNvPr id="3" name="Footer Placeholder 2">
            <a:extLst>
              <a:ext uri="{FF2B5EF4-FFF2-40B4-BE49-F238E27FC236}">
                <a16:creationId xmlns:a16="http://schemas.microsoft.com/office/drawing/2014/main" id="{32F75482-EE37-40ED-A1A3-35C468CD7246}"/>
              </a:ext>
            </a:extLst>
          </p:cNvPr>
          <p:cNvSpPr>
            <a:spLocks noGrp="1"/>
          </p:cNvSpPr>
          <p:nvPr>
            <p:ph type="ftr"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D4D4F">
                    <a:lumMod val="60000"/>
                    <a:lumOff val="40000"/>
                  </a:srgbClr>
                </a:solidFill>
                <a:effectLst/>
                <a:uLnTx/>
                <a:uFillTx/>
                <a:latin typeface="Franklin Gothic Book"/>
                <a:ea typeface="+mn-ea"/>
              </a:rPr>
              <a:t>CPUC Stakeholder Meeting</a:t>
            </a:r>
          </a:p>
        </p:txBody>
      </p:sp>
      <p:sp>
        <p:nvSpPr>
          <p:cNvPr id="4" name="Slide Number Placeholder 3">
            <a:extLst>
              <a:ext uri="{FF2B5EF4-FFF2-40B4-BE49-F238E27FC236}">
                <a16:creationId xmlns:a16="http://schemas.microsoft.com/office/drawing/2014/main" id="{B45E7F31-BC8B-46CE-8C2C-4C36B421AB29}"/>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33A1AA-C032-4449-8476-4B1706E764B3}" type="slidenum">
              <a:rPr kumimoji="0" lang="en-US" sz="1000" b="0" i="0" u="none" strike="noStrike" kern="1200" cap="none" spc="0" normalizeH="0" baseline="0" noProof="0" smtClean="0">
                <a:ln>
                  <a:noFill/>
                </a:ln>
                <a:solidFill>
                  <a:srgbClr val="E0EFFA">
                    <a:lumMod val="65000"/>
                  </a:srgbClr>
                </a:solidFill>
                <a:effectLst/>
                <a:uLnTx/>
                <a:uFillTx/>
                <a:latin typeface="Franklin Gothic Book"/>
                <a:ea typeface="+mn-ea"/>
              </a:rPr>
              <a:pPr marL="0" marR="0" lvl="0" indent="0" algn="r" defTabSz="457200" rtl="0" eaLnBrk="1" fontAlgn="auto" latinLnBrk="0" hangingPunct="1">
                <a:lnSpc>
                  <a:spcPct val="100000"/>
                </a:lnSpc>
                <a:spcBef>
                  <a:spcPts val="0"/>
                </a:spcBef>
                <a:spcAft>
                  <a:spcPts val="0"/>
                </a:spcAft>
                <a:buClrTx/>
                <a:buSzTx/>
                <a:buFontTx/>
                <a:buNone/>
                <a:tabLst/>
                <a:defRPr/>
              </a:pPr>
              <a:t>53</a:t>
            </a:fld>
            <a:endParaRPr kumimoji="0" lang="en-US" sz="1000" b="0" i="0" u="none" strike="noStrike" kern="1200" cap="none" spc="0" normalizeH="0" baseline="0" noProof="0" dirty="0">
              <a:ln>
                <a:noFill/>
              </a:ln>
              <a:solidFill>
                <a:srgbClr val="E0EFFA">
                  <a:lumMod val="65000"/>
                </a:srgbClr>
              </a:solidFill>
              <a:effectLst/>
              <a:uLnTx/>
              <a:uFillTx/>
              <a:latin typeface="Franklin Gothic Book"/>
              <a:ea typeface="+mn-ea"/>
            </a:endParaRPr>
          </a:p>
        </p:txBody>
      </p:sp>
      <p:sp>
        <p:nvSpPr>
          <p:cNvPr id="5" name="Content Placeholder 4">
            <a:extLst>
              <a:ext uri="{FF2B5EF4-FFF2-40B4-BE49-F238E27FC236}">
                <a16:creationId xmlns:a16="http://schemas.microsoft.com/office/drawing/2014/main" id="{F875DEED-2B37-44A3-8126-11EDD0BE77CC}"/>
              </a:ext>
            </a:extLst>
          </p:cNvPr>
          <p:cNvSpPr>
            <a:spLocks noGrp="1"/>
          </p:cNvSpPr>
          <p:nvPr>
            <p:ph sz="quarter" idx="12"/>
          </p:nvPr>
        </p:nvSpPr>
        <p:spPr/>
        <p:txBody>
          <a:bodyPr>
            <a:normAutofit fontScale="70000" lnSpcReduction="20000"/>
          </a:bodyPr>
          <a:lstStyle/>
          <a:p>
            <a:r>
              <a:rPr lang="en-US" dirty="0"/>
              <a:t>Interviewing a sample of Bidders from four categories</a:t>
            </a:r>
          </a:p>
          <a:p>
            <a:pPr marL="914400" lvl="1" indent="-457200">
              <a:spcBef>
                <a:spcPts val="0"/>
              </a:spcBef>
              <a:spcAft>
                <a:spcPts val="0"/>
              </a:spcAft>
              <a:buFont typeface="+mj-lt"/>
              <a:buAutoNum type="arabicPeriod"/>
            </a:pPr>
            <a:r>
              <a:rPr lang="en-US" sz="2600" dirty="0"/>
              <a:t>Submitted an RFA, but not an RFP</a:t>
            </a:r>
          </a:p>
          <a:p>
            <a:pPr marL="914400" lvl="1" indent="-457200">
              <a:spcBef>
                <a:spcPts val="0"/>
              </a:spcBef>
              <a:spcAft>
                <a:spcPts val="0"/>
              </a:spcAft>
              <a:buFont typeface="+mj-lt"/>
              <a:buAutoNum type="arabicPeriod"/>
            </a:pPr>
            <a:r>
              <a:rPr lang="en-US" sz="2600" dirty="0"/>
              <a:t>Submitted an RFA and an RFP, but were not selected for contract negotiation</a:t>
            </a:r>
          </a:p>
          <a:p>
            <a:pPr marL="914400" lvl="1" indent="-457200">
              <a:spcBef>
                <a:spcPts val="0"/>
              </a:spcBef>
              <a:spcAft>
                <a:spcPts val="0"/>
              </a:spcAft>
              <a:buFont typeface="+mj-lt"/>
              <a:buAutoNum type="arabicPeriod"/>
            </a:pPr>
            <a:r>
              <a:rPr lang="en-US" sz="2600" dirty="0"/>
              <a:t>Submitted an RFP and were selected, but did not execute the contract</a:t>
            </a:r>
          </a:p>
          <a:p>
            <a:pPr marL="914400" lvl="1" indent="-457200">
              <a:spcBef>
                <a:spcPts val="0"/>
              </a:spcBef>
              <a:spcAft>
                <a:spcPts val="0"/>
              </a:spcAft>
              <a:buFont typeface="+mj-lt"/>
              <a:buAutoNum type="arabicPeriod"/>
            </a:pPr>
            <a:r>
              <a:rPr lang="en-US" sz="2600" dirty="0"/>
              <a:t>Executed the contract</a:t>
            </a:r>
          </a:p>
          <a:p>
            <a:pPr>
              <a:spcBef>
                <a:spcPts val="600"/>
              </a:spcBef>
            </a:pPr>
            <a:endParaRPr lang="en-US" dirty="0"/>
          </a:p>
          <a:p>
            <a:pPr>
              <a:spcBef>
                <a:spcPts val="600"/>
              </a:spcBef>
            </a:pPr>
            <a:r>
              <a:rPr lang="en-US" dirty="0"/>
              <a:t>Supplementary web survey to support interview data</a:t>
            </a:r>
          </a:p>
          <a:p>
            <a:pPr>
              <a:spcBef>
                <a:spcPts val="600"/>
              </a:spcBef>
            </a:pPr>
            <a:endParaRPr lang="en-US" dirty="0"/>
          </a:p>
          <a:p>
            <a:pPr>
              <a:spcBef>
                <a:spcPts val="600"/>
              </a:spcBef>
            </a:pPr>
            <a:r>
              <a:rPr lang="en-US" dirty="0"/>
              <a:t>Questions focus on 6 areas</a:t>
            </a:r>
          </a:p>
          <a:p>
            <a:pPr marL="914400" lvl="1" indent="-457200">
              <a:buFont typeface="+mj-lt"/>
              <a:buAutoNum type="arabicPeriod"/>
            </a:pPr>
            <a:r>
              <a:rPr lang="en-US" sz="2600" dirty="0"/>
              <a:t>Ease of process</a:t>
            </a:r>
          </a:p>
          <a:p>
            <a:pPr marL="914400" lvl="1" indent="-457200">
              <a:buFont typeface="+mj-lt"/>
              <a:buAutoNum type="arabicPeriod"/>
            </a:pPr>
            <a:r>
              <a:rPr lang="en-US" sz="2600" dirty="0"/>
              <a:t>Risk: Bidding, Providing innovation solutions</a:t>
            </a:r>
          </a:p>
          <a:p>
            <a:pPr marL="914400" lvl="1" indent="-457200">
              <a:buFont typeface="+mj-lt"/>
              <a:buAutoNum type="arabicPeriod"/>
            </a:pPr>
            <a:r>
              <a:rPr lang="en-US" sz="2600" dirty="0"/>
              <a:t>Competitive landscape</a:t>
            </a:r>
          </a:p>
          <a:p>
            <a:pPr marL="914400" lvl="1" indent="-457200">
              <a:buFont typeface="+mj-lt"/>
              <a:buAutoNum type="arabicPeriod"/>
            </a:pPr>
            <a:r>
              <a:rPr lang="en-US" sz="2600" dirty="0"/>
              <a:t>Opportunities for diversified / small business as prime or subcontractors</a:t>
            </a:r>
          </a:p>
          <a:p>
            <a:pPr marL="914400" lvl="1" indent="-457200">
              <a:buFont typeface="+mj-lt"/>
              <a:buAutoNum type="arabicPeriod"/>
            </a:pPr>
            <a:r>
              <a:rPr lang="en-US" sz="2600" dirty="0"/>
              <a:t>Transparency in scoring </a:t>
            </a:r>
          </a:p>
          <a:p>
            <a:pPr marL="914400" lvl="1" indent="-457200">
              <a:buFont typeface="+mj-lt"/>
              <a:buAutoNum type="arabicPeriod"/>
            </a:pPr>
            <a:r>
              <a:rPr lang="en-US" sz="2600" dirty="0"/>
              <a:t>Contract negotiation</a:t>
            </a:r>
          </a:p>
        </p:txBody>
      </p:sp>
    </p:spTree>
    <p:extLst>
      <p:ext uri="{BB962C8B-B14F-4D97-AF65-F5344CB8AC3E}">
        <p14:creationId xmlns:p14="http://schemas.microsoft.com/office/powerpoint/2010/main" val="37852165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65E4EF-B5CF-48D9-BE67-D864B557C181}"/>
              </a:ext>
            </a:extLst>
          </p:cNvPr>
          <p:cNvSpPr>
            <a:spLocks noGrp="1"/>
          </p:cNvSpPr>
          <p:nvPr>
            <p:ph type="title"/>
          </p:nvPr>
        </p:nvSpPr>
        <p:spPr/>
        <p:txBody>
          <a:bodyPr/>
          <a:lstStyle/>
          <a:p>
            <a:r>
              <a:rPr lang="en-US" dirty="0"/>
              <a:t>Questions?</a:t>
            </a:r>
          </a:p>
        </p:txBody>
      </p:sp>
      <p:sp>
        <p:nvSpPr>
          <p:cNvPr id="3" name="Footer Placeholder 2">
            <a:extLst>
              <a:ext uri="{FF2B5EF4-FFF2-40B4-BE49-F238E27FC236}">
                <a16:creationId xmlns:a16="http://schemas.microsoft.com/office/drawing/2014/main" id="{32F75482-EE37-40ED-A1A3-35C468CD7246}"/>
              </a:ext>
            </a:extLst>
          </p:cNvPr>
          <p:cNvSpPr>
            <a:spLocks noGrp="1"/>
          </p:cNvSpPr>
          <p:nvPr>
            <p:ph type="ftr"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4D4D4F">
                    <a:lumMod val="60000"/>
                    <a:lumOff val="40000"/>
                  </a:srgbClr>
                </a:solidFill>
                <a:effectLst/>
                <a:uLnTx/>
                <a:uFillTx/>
                <a:latin typeface="Franklin Gothic Book"/>
                <a:ea typeface="+mn-ea"/>
              </a:rPr>
              <a:t>CPUC Stakeholder Meeting</a:t>
            </a:r>
          </a:p>
        </p:txBody>
      </p:sp>
      <p:sp>
        <p:nvSpPr>
          <p:cNvPr id="4" name="Slide Number Placeholder 3">
            <a:extLst>
              <a:ext uri="{FF2B5EF4-FFF2-40B4-BE49-F238E27FC236}">
                <a16:creationId xmlns:a16="http://schemas.microsoft.com/office/drawing/2014/main" id="{B45E7F31-BC8B-46CE-8C2C-4C36B421AB29}"/>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233A1AA-C032-4449-8476-4B1706E764B3}" type="slidenum">
              <a:rPr kumimoji="0" lang="en-US" sz="1000" b="0" i="0" u="none" strike="noStrike" kern="1200" cap="none" spc="0" normalizeH="0" baseline="0" noProof="0" smtClean="0">
                <a:ln>
                  <a:noFill/>
                </a:ln>
                <a:solidFill>
                  <a:srgbClr val="E0EFFA">
                    <a:lumMod val="65000"/>
                  </a:srgbClr>
                </a:solidFill>
                <a:effectLst/>
                <a:uLnTx/>
                <a:uFillTx/>
                <a:latin typeface="Franklin Gothic Book"/>
                <a:ea typeface="+mn-ea"/>
              </a:rPr>
              <a:pPr marL="0" marR="0" lvl="0" indent="0" algn="r" defTabSz="457200" rtl="0" eaLnBrk="1" fontAlgn="auto" latinLnBrk="0" hangingPunct="1">
                <a:lnSpc>
                  <a:spcPct val="100000"/>
                </a:lnSpc>
                <a:spcBef>
                  <a:spcPts val="0"/>
                </a:spcBef>
                <a:spcAft>
                  <a:spcPts val="0"/>
                </a:spcAft>
                <a:buClrTx/>
                <a:buSzTx/>
                <a:buFontTx/>
                <a:buNone/>
                <a:tabLst/>
                <a:defRPr/>
              </a:pPr>
              <a:t>54</a:t>
            </a:fld>
            <a:endParaRPr kumimoji="0" lang="en-US" sz="1000" b="0" i="0" u="none" strike="noStrike" kern="1200" cap="none" spc="0" normalizeH="0" baseline="0" noProof="0" dirty="0">
              <a:ln>
                <a:noFill/>
              </a:ln>
              <a:solidFill>
                <a:srgbClr val="E0EFFA">
                  <a:lumMod val="65000"/>
                </a:srgbClr>
              </a:solidFill>
              <a:effectLst/>
              <a:uLnTx/>
              <a:uFillTx/>
              <a:latin typeface="Franklin Gothic Book"/>
              <a:ea typeface="+mn-ea"/>
            </a:endParaRPr>
          </a:p>
        </p:txBody>
      </p:sp>
      <p:sp>
        <p:nvSpPr>
          <p:cNvPr id="5" name="Content Placeholder 4">
            <a:extLst>
              <a:ext uri="{FF2B5EF4-FFF2-40B4-BE49-F238E27FC236}">
                <a16:creationId xmlns:a16="http://schemas.microsoft.com/office/drawing/2014/main" id="{F875DEED-2B37-44A3-8126-11EDD0BE77CC}"/>
              </a:ext>
            </a:extLst>
          </p:cNvPr>
          <p:cNvSpPr>
            <a:spLocks noGrp="1"/>
          </p:cNvSpPr>
          <p:nvPr>
            <p:ph sz="quarter" idx="12"/>
          </p:nvPr>
        </p:nvSpPr>
        <p:spPr/>
        <p:txBody>
          <a:bodyPr>
            <a:normAutofit/>
          </a:bodyPr>
          <a:lstStyle/>
          <a:p>
            <a:pPr marL="0" indent="0">
              <a:buNone/>
            </a:pPr>
            <a:r>
              <a:rPr lang="en-US" dirty="0"/>
              <a:t>Contact:</a:t>
            </a:r>
          </a:p>
          <a:p>
            <a:pPr marL="0" indent="0">
              <a:buNone/>
            </a:pPr>
            <a:r>
              <a:rPr lang="en-US" dirty="0"/>
              <a:t> Noel Stevens, Director</a:t>
            </a:r>
          </a:p>
          <a:p>
            <a:pPr marL="0" indent="0">
              <a:buNone/>
            </a:pPr>
            <a:r>
              <a:rPr lang="en-US" dirty="0"/>
              <a:t>Opinion Dynamics</a:t>
            </a:r>
          </a:p>
          <a:p>
            <a:pPr marL="0" indent="0">
              <a:buNone/>
            </a:pPr>
            <a:r>
              <a:rPr lang="en-US" dirty="0">
                <a:hlinkClick r:id="rId2"/>
              </a:rPr>
              <a:t>Nstevens@opiniondynamics.com</a:t>
            </a:r>
            <a:endParaRPr lang="en-US" dirty="0"/>
          </a:p>
          <a:p>
            <a:pPr marL="0" indent="0">
              <a:buNone/>
            </a:pPr>
            <a:r>
              <a:rPr lang="en-US" dirty="0"/>
              <a:t>(617) 301-4622</a:t>
            </a:r>
          </a:p>
        </p:txBody>
      </p:sp>
    </p:spTree>
    <p:extLst>
      <p:ext uri="{BB962C8B-B14F-4D97-AF65-F5344CB8AC3E}">
        <p14:creationId xmlns:p14="http://schemas.microsoft.com/office/powerpoint/2010/main" val="106838240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9674860" cy="6858000"/>
          </a:xfrm>
          <a:custGeom>
            <a:avLst/>
            <a:gdLst/>
            <a:ahLst/>
            <a:cxnLst/>
            <a:rect l="l" t="t" r="r" b="b"/>
            <a:pathLst>
              <a:path w="9674860" h="6858000">
                <a:moveTo>
                  <a:pt x="0" y="6858000"/>
                </a:moveTo>
                <a:lnTo>
                  <a:pt x="9674352" y="6858000"/>
                </a:lnTo>
                <a:lnTo>
                  <a:pt x="9674352" y="0"/>
                </a:lnTo>
                <a:lnTo>
                  <a:pt x="0" y="0"/>
                </a:lnTo>
                <a:lnTo>
                  <a:pt x="0" y="6858000"/>
                </a:lnTo>
                <a:close/>
              </a:path>
            </a:pathLst>
          </a:custGeom>
          <a:solidFill>
            <a:srgbClr val="D9D9D9"/>
          </a:solidFill>
        </p:spPr>
        <p:txBody>
          <a:bodyPr wrap="square" lIns="0" tIns="0" rIns="0" bIns="0" rtlCol="0"/>
          <a:lstStyle/>
          <a:p>
            <a:endParaRPr dirty="0"/>
          </a:p>
        </p:txBody>
      </p:sp>
      <p:grpSp>
        <p:nvGrpSpPr>
          <p:cNvPr id="3" name="object 3"/>
          <p:cNvGrpSpPr/>
          <p:nvPr/>
        </p:nvGrpSpPr>
        <p:grpSpPr>
          <a:xfrm>
            <a:off x="0" y="0"/>
            <a:ext cx="12198350" cy="6861809"/>
            <a:chOff x="0" y="0"/>
            <a:chExt cx="12198350" cy="6861809"/>
          </a:xfrm>
        </p:grpSpPr>
        <p:sp>
          <p:nvSpPr>
            <p:cNvPr id="4" name="object 4"/>
            <p:cNvSpPr/>
            <p:nvPr/>
          </p:nvSpPr>
          <p:spPr>
            <a:xfrm>
              <a:off x="0" y="6027420"/>
              <a:ext cx="9685020" cy="460375"/>
            </a:xfrm>
            <a:custGeom>
              <a:avLst/>
              <a:gdLst/>
              <a:ahLst/>
              <a:cxnLst/>
              <a:rect l="l" t="t" r="r" b="b"/>
              <a:pathLst>
                <a:path w="9685020" h="460375">
                  <a:moveTo>
                    <a:pt x="9685020" y="0"/>
                  </a:moveTo>
                  <a:lnTo>
                    <a:pt x="0" y="0"/>
                  </a:lnTo>
                  <a:lnTo>
                    <a:pt x="0" y="460247"/>
                  </a:lnTo>
                  <a:lnTo>
                    <a:pt x="9685020" y="460247"/>
                  </a:lnTo>
                  <a:lnTo>
                    <a:pt x="9685020" y="0"/>
                  </a:lnTo>
                  <a:close/>
                </a:path>
              </a:pathLst>
            </a:custGeom>
            <a:solidFill>
              <a:srgbClr val="FFD046"/>
            </a:solidFill>
          </p:spPr>
          <p:txBody>
            <a:bodyPr wrap="square" lIns="0" tIns="0" rIns="0" bIns="0" rtlCol="0"/>
            <a:lstStyle/>
            <a:p>
              <a:endParaRPr dirty="0"/>
            </a:p>
          </p:txBody>
        </p:sp>
        <p:sp>
          <p:nvSpPr>
            <p:cNvPr id="5" name="object 5"/>
            <p:cNvSpPr/>
            <p:nvPr/>
          </p:nvSpPr>
          <p:spPr>
            <a:xfrm>
              <a:off x="9674352" y="0"/>
              <a:ext cx="2517775" cy="6849109"/>
            </a:xfrm>
            <a:custGeom>
              <a:avLst/>
              <a:gdLst/>
              <a:ahLst/>
              <a:cxnLst/>
              <a:rect l="l" t="t" r="r" b="b"/>
              <a:pathLst>
                <a:path w="2517775" h="6849109">
                  <a:moveTo>
                    <a:pt x="0" y="6848855"/>
                  </a:moveTo>
                  <a:lnTo>
                    <a:pt x="2517648" y="6848855"/>
                  </a:lnTo>
                  <a:lnTo>
                    <a:pt x="2517648" y="0"/>
                  </a:lnTo>
                  <a:lnTo>
                    <a:pt x="0" y="0"/>
                  </a:lnTo>
                  <a:lnTo>
                    <a:pt x="0" y="6848855"/>
                  </a:lnTo>
                  <a:close/>
                </a:path>
              </a:pathLst>
            </a:custGeom>
            <a:solidFill>
              <a:srgbClr val="FFFFFF"/>
            </a:solidFill>
          </p:spPr>
          <p:txBody>
            <a:bodyPr wrap="square" lIns="0" tIns="0" rIns="0" bIns="0" rtlCol="0"/>
            <a:lstStyle/>
            <a:p>
              <a:endParaRPr dirty="0"/>
            </a:p>
          </p:txBody>
        </p:sp>
        <p:sp>
          <p:nvSpPr>
            <p:cNvPr id="6" name="object 6"/>
            <p:cNvSpPr/>
            <p:nvPr/>
          </p:nvSpPr>
          <p:spPr>
            <a:xfrm>
              <a:off x="9674352" y="0"/>
              <a:ext cx="2517775" cy="6849109"/>
            </a:xfrm>
            <a:custGeom>
              <a:avLst/>
              <a:gdLst/>
              <a:ahLst/>
              <a:cxnLst/>
              <a:rect l="l" t="t" r="r" b="b"/>
              <a:pathLst>
                <a:path w="2517775" h="6849109">
                  <a:moveTo>
                    <a:pt x="0" y="6848855"/>
                  </a:moveTo>
                  <a:lnTo>
                    <a:pt x="2517648" y="6848855"/>
                  </a:lnTo>
                  <a:lnTo>
                    <a:pt x="2517648" y="0"/>
                  </a:lnTo>
                </a:path>
                <a:path w="2517775" h="6849109">
                  <a:moveTo>
                    <a:pt x="0" y="0"/>
                  </a:moveTo>
                  <a:lnTo>
                    <a:pt x="0" y="6848855"/>
                  </a:lnTo>
                </a:path>
              </a:pathLst>
            </a:custGeom>
            <a:ln w="12700">
              <a:solidFill>
                <a:srgbClr val="FFFFFF"/>
              </a:solidFill>
            </a:ln>
          </p:spPr>
          <p:txBody>
            <a:bodyPr wrap="square" lIns="0" tIns="0" rIns="0" bIns="0" rtlCol="0"/>
            <a:lstStyle/>
            <a:p>
              <a:endParaRPr dirty="0"/>
            </a:p>
          </p:txBody>
        </p:sp>
      </p:grpSp>
      <p:sp>
        <p:nvSpPr>
          <p:cNvPr id="7" name="object 7"/>
          <p:cNvSpPr txBox="1">
            <a:spLocks noGrp="1"/>
          </p:cNvSpPr>
          <p:nvPr>
            <p:ph type="title"/>
          </p:nvPr>
        </p:nvSpPr>
        <p:spPr>
          <a:xfrm>
            <a:off x="76200" y="1306031"/>
            <a:ext cx="9067800" cy="1138453"/>
          </a:xfrm>
          <a:prstGeom prst="rect">
            <a:avLst/>
          </a:prstGeom>
        </p:spPr>
        <p:txBody>
          <a:bodyPr vert="horz" wrap="square" lIns="0" tIns="81280" rIns="0" bIns="0" rtlCol="0">
            <a:spAutoFit/>
          </a:bodyPr>
          <a:lstStyle/>
          <a:p>
            <a:pPr marL="12700" marR="5715">
              <a:lnSpc>
                <a:spcPts val="4320"/>
              </a:lnSpc>
              <a:spcBef>
                <a:spcPts val="640"/>
              </a:spcBef>
            </a:pPr>
            <a:r>
              <a:rPr lang="en-US" sz="2700" b="1" spc="-10" dirty="0">
                <a:solidFill>
                  <a:srgbClr val="000000"/>
                </a:solidFill>
                <a:latin typeface="Calibri Light"/>
                <a:cs typeface="Calibri Light"/>
              </a:rPr>
              <a:t>Topic 4 - Two Stage Solicitations Team Progress Report</a:t>
            </a:r>
            <a:br>
              <a:rPr lang="en-US" sz="2700" b="0" spc="-20" dirty="0">
                <a:solidFill>
                  <a:srgbClr val="000000"/>
                </a:solidFill>
                <a:latin typeface="Calibri Light"/>
                <a:cs typeface="Calibri Light"/>
              </a:rPr>
            </a:br>
            <a:endParaRPr sz="2700" dirty="0">
              <a:latin typeface="Calibri Light"/>
              <a:cs typeface="Calibri Light"/>
            </a:endParaRPr>
          </a:p>
        </p:txBody>
      </p:sp>
      <p:sp>
        <p:nvSpPr>
          <p:cNvPr id="8" name="object 8"/>
          <p:cNvSpPr txBox="1"/>
          <p:nvPr/>
        </p:nvSpPr>
        <p:spPr>
          <a:xfrm>
            <a:off x="685800" y="4194534"/>
            <a:ext cx="4114800" cy="1590179"/>
          </a:xfrm>
          <a:prstGeom prst="rect">
            <a:avLst/>
          </a:prstGeom>
        </p:spPr>
        <p:txBody>
          <a:bodyPr vert="horz" wrap="square" lIns="0" tIns="12700" rIns="0" bIns="0" rtlCol="0">
            <a:spAutoFit/>
          </a:bodyPr>
          <a:lstStyle/>
          <a:p>
            <a:pPr marL="12700">
              <a:lnSpc>
                <a:spcPct val="100000"/>
              </a:lnSpc>
              <a:spcBef>
                <a:spcPts val="100"/>
              </a:spcBef>
            </a:pPr>
            <a:r>
              <a:rPr lang="en-US" sz="2000" b="1" spc="-10" dirty="0">
                <a:latin typeface="Calibri Light"/>
                <a:cs typeface="Calibri Light"/>
              </a:rPr>
              <a:t>9:05am – 9:30am</a:t>
            </a:r>
          </a:p>
          <a:p>
            <a:pPr marL="12700">
              <a:lnSpc>
                <a:spcPct val="100000"/>
              </a:lnSpc>
              <a:spcBef>
                <a:spcPts val="100"/>
              </a:spcBef>
            </a:pPr>
            <a:endParaRPr lang="en-US" sz="2000" spc="-10" dirty="0">
              <a:latin typeface="Calibri Light"/>
              <a:cs typeface="Calibri Light"/>
            </a:endParaRPr>
          </a:p>
          <a:p>
            <a:pPr marL="12700">
              <a:lnSpc>
                <a:spcPct val="100000"/>
              </a:lnSpc>
              <a:spcBef>
                <a:spcPts val="100"/>
              </a:spcBef>
            </a:pPr>
            <a:r>
              <a:rPr lang="en-US" sz="2000" b="0" spc="-10" dirty="0">
                <a:latin typeface="Calibri Light"/>
                <a:cs typeface="Calibri Light"/>
              </a:rPr>
              <a:t>Independent Evaluator - Grey Staples</a:t>
            </a:r>
          </a:p>
          <a:p>
            <a:pPr marL="12700">
              <a:lnSpc>
                <a:spcPct val="100000"/>
              </a:lnSpc>
              <a:spcBef>
                <a:spcPts val="100"/>
              </a:spcBef>
            </a:pPr>
            <a:r>
              <a:rPr lang="en-US" sz="2000" spc="-10" dirty="0">
                <a:latin typeface="Calibri Light"/>
                <a:cs typeface="Calibri Light"/>
              </a:rPr>
              <a:t>IOUs – Roland Mollen (SDG&amp;E)</a:t>
            </a:r>
            <a:endParaRPr sz="2000" dirty="0">
              <a:latin typeface="Calibri Light"/>
              <a:cs typeface="Calibri Light"/>
            </a:endParaRPr>
          </a:p>
          <a:p>
            <a:pPr>
              <a:lnSpc>
                <a:spcPct val="100000"/>
              </a:lnSpc>
              <a:spcBef>
                <a:spcPts val="15"/>
              </a:spcBef>
            </a:pPr>
            <a:endParaRPr lang="en-US" sz="2000" dirty="0">
              <a:latin typeface="Calibri Light"/>
              <a:cs typeface="Calibri Light"/>
            </a:endParaRPr>
          </a:p>
        </p:txBody>
      </p:sp>
    </p:spTree>
    <p:extLst>
      <p:ext uri="{BB962C8B-B14F-4D97-AF65-F5344CB8AC3E}">
        <p14:creationId xmlns:p14="http://schemas.microsoft.com/office/powerpoint/2010/main" val="175195728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4" name="Rectangle 6"/>
          <p:cNvSpPr>
            <a:spLocks noGrp="1" noChangeArrowheads="1"/>
          </p:cNvSpPr>
          <p:nvPr>
            <p:ph type="subTitle" idx="1"/>
          </p:nvPr>
        </p:nvSpPr>
        <p:spPr/>
        <p:txBody>
          <a:bodyPr/>
          <a:lstStyle/>
          <a:p>
            <a:r>
              <a:rPr lang="en-US" sz="2400" dirty="0"/>
              <a:t>IOU-ED Two-Stage Task Force </a:t>
            </a:r>
          </a:p>
          <a:p>
            <a:endParaRPr lang="en-US" dirty="0"/>
          </a:p>
          <a:p>
            <a:r>
              <a:rPr lang="en-US" sz="2400" dirty="0"/>
              <a:t>July 28, 2021</a:t>
            </a:r>
          </a:p>
        </p:txBody>
      </p:sp>
      <p:sp>
        <p:nvSpPr>
          <p:cNvPr id="2055" name="Rectangle 7"/>
          <p:cNvSpPr>
            <a:spLocks noGrp="1" noChangeArrowheads="1"/>
          </p:cNvSpPr>
          <p:nvPr>
            <p:ph type="ctrTitle"/>
          </p:nvPr>
        </p:nvSpPr>
        <p:spPr>
          <a:xfrm>
            <a:off x="3558089" y="1905001"/>
            <a:ext cx="6574864" cy="1441365"/>
          </a:xfrm>
        </p:spPr>
        <p:txBody>
          <a:bodyPr/>
          <a:lstStyle/>
          <a:p>
            <a:r>
              <a:rPr lang="en-US" sz="3200" dirty="0"/>
              <a:t>Energy Efficiency Third-Party Solicitations Stakeholder Forum</a:t>
            </a:r>
          </a:p>
        </p:txBody>
      </p:sp>
    </p:spTree>
    <p:extLst>
      <p:ext uri="{BB962C8B-B14F-4D97-AF65-F5344CB8AC3E}">
        <p14:creationId xmlns:p14="http://schemas.microsoft.com/office/powerpoint/2010/main" val="155287275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ChangeArrowheads="1"/>
          </p:cNvSpPr>
          <p:nvPr>
            <p:ph type="title"/>
          </p:nvPr>
        </p:nvSpPr>
        <p:spPr/>
        <p:txBody>
          <a:bodyPr/>
          <a:lstStyle/>
          <a:p>
            <a:r>
              <a:rPr lang="en-US" altLang="en-US" sz="2800" dirty="0"/>
              <a:t>Two-Stage Task Force</a:t>
            </a:r>
          </a:p>
        </p:txBody>
      </p:sp>
      <p:sp>
        <p:nvSpPr>
          <p:cNvPr id="33795" name="Rectangle 3"/>
          <p:cNvSpPr>
            <a:spLocks noGrp="1" noChangeArrowheads="1"/>
          </p:cNvSpPr>
          <p:nvPr>
            <p:ph type="body" idx="1"/>
          </p:nvPr>
        </p:nvSpPr>
        <p:spPr/>
        <p:txBody>
          <a:bodyPr/>
          <a:lstStyle/>
          <a:p>
            <a:r>
              <a:rPr lang="en-US" altLang="en-US" sz="2400" dirty="0"/>
              <a:t>Heard from stakeholders that RFA stage is overly complex, which creates barriers to bidder participation and lengthens overall process. </a:t>
            </a:r>
          </a:p>
          <a:p>
            <a:pPr lvl="1"/>
            <a:r>
              <a:rPr lang="en-US" altLang="en-US" sz="2400" dirty="0"/>
              <a:t>CEDMC at the July 2020 All Party recommended an RFQ model to reduce requirements.</a:t>
            </a:r>
          </a:p>
          <a:p>
            <a:r>
              <a:rPr lang="en-US" altLang="en-US" sz="2400" dirty="0"/>
              <a:t>Energy Division created the Two-Stage Task Force in Feb. 2021 to address concerns and their implications for selection and implementation of third-party programs.</a:t>
            </a:r>
          </a:p>
          <a:p>
            <a:pPr lvl="1"/>
            <a:r>
              <a:rPr lang="en-US" altLang="en-US" sz="2200" dirty="0"/>
              <a:t>Task Force includes one representative from each IOU, Energy Division staff, and an Independent Evaluator (Mendota Group). Has met six times.</a:t>
            </a:r>
          </a:p>
          <a:p>
            <a:r>
              <a:rPr lang="en-US" altLang="en-US" sz="2400" dirty="0"/>
              <a:t>Group’s workplan seeks to identify ways to further streamline the solicitation process by reducing RFA requirements and establishing clear protocols for invoking single-stage (RFP) solicitations.</a:t>
            </a:r>
          </a:p>
          <a:p>
            <a:endParaRPr lang="en-US" altLang="en-US" dirty="0"/>
          </a:p>
          <a:p>
            <a:endParaRPr lang="en-US" altLang="en-US" dirty="0"/>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ChangeArrowheads="1"/>
          </p:cNvSpPr>
          <p:nvPr>
            <p:ph type="title"/>
          </p:nvPr>
        </p:nvSpPr>
        <p:spPr/>
        <p:txBody>
          <a:bodyPr/>
          <a:lstStyle/>
          <a:p>
            <a:r>
              <a:rPr lang="en-US" altLang="en-US" sz="2800" dirty="0"/>
              <a:t>Two-Stage Task Force - Process</a:t>
            </a:r>
          </a:p>
        </p:txBody>
      </p:sp>
      <p:cxnSp>
        <p:nvCxnSpPr>
          <p:cNvPr id="4" name="Elbow Connector 3">
            <a:extLst>
              <a:ext uri="{FF2B5EF4-FFF2-40B4-BE49-F238E27FC236}">
                <a16:creationId xmlns:a16="http://schemas.microsoft.com/office/drawing/2014/main" id="{7520BF82-4D3E-4B44-B1AB-4FF599ADE3FF}"/>
              </a:ext>
            </a:extLst>
          </p:cNvPr>
          <p:cNvCxnSpPr>
            <a:cxnSpLocks/>
            <a:endCxn id="19" idx="1"/>
          </p:cNvCxnSpPr>
          <p:nvPr/>
        </p:nvCxnSpPr>
        <p:spPr>
          <a:xfrm>
            <a:off x="2367650" y="4279996"/>
            <a:ext cx="5011285" cy="656700"/>
          </a:xfrm>
          <a:prstGeom prst="bentConnector3">
            <a:avLst>
              <a:gd name="adj1" fmla="val 50000"/>
            </a:avLst>
          </a:prstGeom>
          <a:ln w="34925">
            <a:solidFill>
              <a:srgbClr val="1A7810"/>
            </a:solidFill>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a:extLst>
              <a:ext uri="{FF2B5EF4-FFF2-40B4-BE49-F238E27FC236}">
                <a16:creationId xmlns:a16="http://schemas.microsoft.com/office/drawing/2014/main" id="{C008E3D0-0C1B-C744-AA74-4A997015D7C8}"/>
              </a:ext>
            </a:extLst>
          </p:cNvPr>
          <p:cNvCxnSpPr>
            <a:cxnSpLocks/>
          </p:cNvCxnSpPr>
          <p:nvPr/>
        </p:nvCxnSpPr>
        <p:spPr>
          <a:xfrm>
            <a:off x="6850094" y="3112729"/>
            <a:ext cx="528841" cy="0"/>
          </a:xfrm>
          <a:prstGeom prst="straightConnector1">
            <a:avLst/>
          </a:prstGeom>
          <a:ln w="34925">
            <a:solidFill>
              <a:srgbClr val="1A7810"/>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93D44A8A-E3A3-3249-9E29-BA5EDD220D33}"/>
              </a:ext>
            </a:extLst>
          </p:cNvPr>
          <p:cNvCxnSpPr>
            <a:cxnSpLocks/>
            <a:endCxn id="10" idx="1"/>
          </p:cNvCxnSpPr>
          <p:nvPr/>
        </p:nvCxnSpPr>
        <p:spPr>
          <a:xfrm>
            <a:off x="4549504" y="3112729"/>
            <a:ext cx="528841" cy="0"/>
          </a:xfrm>
          <a:prstGeom prst="straightConnector1">
            <a:avLst/>
          </a:prstGeom>
          <a:ln w="34925">
            <a:solidFill>
              <a:srgbClr val="1A7810"/>
            </a:solidFill>
            <a:tailEnd type="triangle"/>
          </a:ln>
        </p:spPr>
        <p:style>
          <a:lnRef idx="1">
            <a:schemeClr val="accent1"/>
          </a:lnRef>
          <a:fillRef idx="0">
            <a:schemeClr val="accent1"/>
          </a:fillRef>
          <a:effectRef idx="0">
            <a:schemeClr val="accent1"/>
          </a:effectRef>
          <a:fontRef idx="minor">
            <a:schemeClr val="tx1"/>
          </a:fontRef>
        </p:style>
      </p:cxnSp>
      <p:sp>
        <p:nvSpPr>
          <p:cNvPr id="7" name="Process 6">
            <a:extLst>
              <a:ext uri="{FF2B5EF4-FFF2-40B4-BE49-F238E27FC236}">
                <a16:creationId xmlns:a16="http://schemas.microsoft.com/office/drawing/2014/main" id="{338B71A2-86FB-7F4C-9D92-48FFDDEC3D27}"/>
              </a:ext>
            </a:extLst>
          </p:cNvPr>
          <p:cNvSpPr/>
          <p:nvPr/>
        </p:nvSpPr>
        <p:spPr>
          <a:xfrm>
            <a:off x="843536" y="2420639"/>
            <a:ext cx="1542314" cy="3164308"/>
          </a:xfrm>
          <a:prstGeom prst="flowChartProcess">
            <a:avLst/>
          </a:prstGeom>
          <a:solidFill>
            <a:srgbClr val="092C82"/>
          </a:solidFill>
          <a:ln w="9525">
            <a:solidFill>
              <a:schemeClr val="tx1"/>
            </a:solidFill>
            <a:miter lim="800000"/>
            <a:headEnd/>
            <a:tailEnd/>
          </a:ln>
          <a:effectLst/>
        </p:spPr>
        <p:txBody>
          <a:bodyPr wrap="none" lIns="89647" tIns="44824" rIns="89647" bIns="44824" anchor="ctr"/>
          <a:lstStyle/>
          <a:p>
            <a:pPr algn="ctr" eaLnBrk="0" fontAlgn="base" hangingPunct="0">
              <a:spcBef>
                <a:spcPct val="0"/>
              </a:spcBef>
              <a:spcAft>
                <a:spcPct val="0"/>
              </a:spcAft>
            </a:pPr>
            <a:endParaRPr lang="en-US" sz="2353" dirty="0">
              <a:solidFill>
                <a:srgbClr val="000000"/>
              </a:solidFill>
              <a:latin typeface="Times New Roman" pitchFamily="18" charset="0"/>
            </a:endParaRPr>
          </a:p>
        </p:txBody>
      </p:sp>
      <p:sp>
        <p:nvSpPr>
          <p:cNvPr id="8" name="Process 7">
            <a:extLst>
              <a:ext uri="{FF2B5EF4-FFF2-40B4-BE49-F238E27FC236}">
                <a16:creationId xmlns:a16="http://schemas.microsoft.com/office/drawing/2014/main" id="{E06864F6-D559-1541-B41B-9C23FABA618A}"/>
              </a:ext>
            </a:extLst>
          </p:cNvPr>
          <p:cNvSpPr/>
          <p:nvPr/>
        </p:nvSpPr>
        <p:spPr>
          <a:xfrm>
            <a:off x="2767174" y="2420638"/>
            <a:ext cx="1942171" cy="1325563"/>
          </a:xfrm>
          <a:prstGeom prst="flowChartProcess">
            <a:avLst/>
          </a:prstGeom>
          <a:solidFill>
            <a:srgbClr val="092C82"/>
          </a:solidFill>
          <a:ln w="9525">
            <a:solidFill>
              <a:schemeClr val="tx1"/>
            </a:solidFill>
            <a:miter lim="800000"/>
            <a:headEnd/>
            <a:tailEnd/>
          </a:ln>
          <a:effectLst/>
        </p:spPr>
        <p:txBody>
          <a:bodyPr wrap="none" lIns="89647" tIns="44824" rIns="89647" bIns="44824" anchor="ctr"/>
          <a:lstStyle/>
          <a:p>
            <a:pPr algn="ctr" eaLnBrk="0" fontAlgn="base" hangingPunct="0">
              <a:spcBef>
                <a:spcPct val="0"/>
              </a:spcBef>
              <a:spcAft>
                <a:spcPct val="0"/>
              </a:spcAft>
            </a:pPr>
            <a:endParaRPr lang="en-US" sz="2353" dirty="0">
              <a:solidFill>
                <a:srgbClr val="000000"/>
              </a:solidFill>
              <a:latin typeface="Times New Roman" pitchFamily="18" charset="0"/>
            </a:endParaRPr>
          </a:p>
          <a:p>
            <a:pPr algn="ctr" eaLnBrk="0" fontAlgn="base" hangingPunct="0">
              <a:spcBef>
                <a:spcPct val="0"/>
              </a:spcBef>
              <a:spcAft>
                <a:spcPct val="0"/>
              </a:spcAft>
            </a:pPr>
            <a:endParaRPr lang="en-US" sz="2353" dirty="0">
              <a:solidFill>
                <a:srgbClr val="000000"/>
              </a:solidFill>
              <a:latin typeface="Times New Roman" pitchFamily="18" charset="0"/>
            </a:endParaRPr>
          </a:p>
        </p:txBody>
      </p:sp>
      <p:sp>
        <p:nvSpPr>
          <p:cNvPr id="9" name="Content Placeholder 4">
            <a:extLst>
              <a:ext uri="{FF2B5EF4-FFF2-40B4-BE49-F238E27FC236}">
                <a16:creationId xmlns:a16="http://schemas.microsoft.com/office/drawing/2014/main" id="{323ACA5F-2543-6245-83BB-17024932041B}"/>
              </a:ext>
            </a:extLst>
          </p:cNvPr>
          <p:cNvSpPr>
            <a:spLocks noGrp="1"/>
          </p:cNvSpPr>
          <p:nvPr>
            <p:ph idx="1"/>
          </p:nvPr>
        </p:nvSpPr>
        <p:spPr>
          <a:xfrm>
            <a:off x="2847092" y="2509848"/>
            <a:ext cx="1862253" cy="1236352"/>
          </a:xfrm>
        </p:spPr>
        <p:txBody>
          <a:bodyPr>
            <a:noAutofit/>
          </a:bodyPr>
          <a:lstStyle/>
          <a:p>
            <a:pPr marL="171450" indent="-119063"/>
            <a:r>
              <a:rPr lang="en-US" sz="1400" dirty="0">
                <a:solidFill>
                  <a:schemeClr val="bg1"/>
                </a:solidFill>
              </a:rPr>
              <a:t>IOUs:</a:t>
            </a:r>
          </a:p>
          <a:p>
            <a:pPr marL="409575" lvl="1" indent="-171450"/>
            <a:r>
              <a:rPr lang="en-US" sz="1400" dirty="0">
                <a:solidFill>
                  <a:schemeClr val="bg1"/>
                </a:solidFill>
              </a:rPr>
              <a:t>Provide RFA inventories</a:t>
            </a:r>
          </a:p>
          <a:p>
            <a:pPr marL="409575" lvl="1" indent="-171450"/>
            <a:r>
              <a:rPr lang="en-US" sz="1400" dirty="0">
                <a:solidFill>
                  <a:schemeClr val="bg1"/>
                </a:solidFill>
              </a:rPr>
              <a:t>ID Must-Haves</a:t>
            </a:r>
          </a:p>
          <a:p>
            <a:pPr marL="0" indent="0">
              <a:buNone/>
            </a:pPr>
            <a:endParaRPr lang="en-US" sz="1400" dirty="0">
              <a:solidFill>
                <a:schemeClr val="bg1"/>
              </a:solidFill>
            </a:endParaRPr>
          </a:p>
        </p:txBody>
      </p:sp>
      <p:sp>
        <p:nvSpPr>
          <p:cNvPr id="10" name="Process 9">
            <a:extLst>
              <a:ext uri="{FF2B5EF4-FFF2-40B4-BE49-F238E27FC236}">
                <a16:creationId xmlns:a16="http://schemas.microsoft.com/office/drawing/2014/main" id="{9E066C15-B648-F945-94E7-E1A98CCA80FD}"/>
              </a:ext>
            </a:extLst>
          </p:cNvPr>
          <p:cNvSpPr/>
          <p:nvPr/>
        </p:nvSpPr>
        <p:spPr>
          <a:xfrm>
            <a:off x="5078345" y="2449948"/>
            <a:ext cx="1942171" cy="1325563"/>
          </a:xfrm>
          <a:prstGeom prst="flowChartProcess">
            <a:avLst/>
          </a:prstGeom>
          <a:solidFill>
            <a:srgbClr val="092C82"/>
          </a:solidFill>
          <a:ln w="9525">
            <a:solidFill>
              <a:schemeClr val="tx1"/>
            </a:solidFill>
            <a:miter lim="800000"/>
            <a:headEnd/>
            <a:tailEnd/>
          </a:ln>
          <a:effectLst/>
        </p:spPr>
        <p:txBody>
          <a:bodyPr wrap="none" lIns="89647" tIns="44824" rIns="89647" bIns="44824" anchor="ctr"/>
          <a:lstStyle/>
          <a:p>
            <a:pPr algn="ctr" eaLnBrk="0" fontAlgn="base" hangingPunct="0">
              <a:spcBef>
                <a:spcPct val="0"/>
              </a:spcBef>
              <a:spcAft>
                <a:spcPct val="0"/>
              </a:spcAft>
            </a:pPr>
            <a:endParaRPr lang="en-US" sz="2353" dirty="0">
              <a:solidFill>
                <a:srgbClr val="000000"/>
              </a:solidFill>
              <a:latin typeface="Times New Roman" pitchFamily="18" charset="0"/>
            </a:endParaRPr>
          </a:p>
          <a:p>
            <a:pPr algn="ctr" eaLnBrk="0" fontAlgn="base" hangingPunct="0">
              <a:spcBef>
                <a:spcPct val="0"/>
              </a:spcBef>
              <a:spcAft>
                <a:spcPct val="0"/>
              </a:spcAft>
            </a:pPr>
            <a:endParaRPr lang="en-US" sz="2353" dirty="0">
              <a:solidFill>
                <a:srgbClr val="000000"/>
              </a:solidFill>
              <a:latin typeface="Times New Roman" pitchFamily="18" charset="0"/>
            </a:endParaRPr>
          </a:p>
        </p:txBody>
      </p:sp>
      <p:sp>
        <p:nvSpPr>
          <p:cNvPr id="11" name="Content Placeholder 4">
            <a:extLst>
              <a:ext uri="{FF2B5EF4-FFF2-40B4-BE49-F238E27FC236}">
                <a16:creationId xmlns:a16="http://schemas.microsoft.com/office/drawing/2014/main" id="{E95C8499-FB84-954C-91D3-4B448D3F244D}"/>
              </a:ext>
            </a:extLst>
          </p:cNvPr>
          <p:cNvSpPr txBox="1">
            <a:spLocks/>
          </p:cNvSpPr>
          <p:nvPr/>
        </p:nvSpPr>
        <p:spPr>
          <a:xfrm>
            <a:off x="1078864" y="3459723"/>
            <a:ext cx="1329890" cy="1628078"/>
          </a:xfrm>
          <a:prstGeom prst="rect">
            <a:avLst/>
          </a:prstGeom>
          <a:noFill/>
        </p:spPr>
        <p:txBody>
          <a:bodyPr vert="horz" lIns="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mn-lt"/>
                <a:ea typeface="+mn-ea"/>
                <a:cs typeface="+mn-cs"/>
              </a:defRPr>
            </a:lvl1pPr>
            <a:lvl2pPr marL="571500" indent="-231775" algn="l" defTabSz="914400" rtl="0" eaLnBrk="1" latinLnBrk="0" hangingPunct="1">
              <a:lnSpc>
                <a:spcPct val="90000"/>
              </a:lnSpc>
              <a:spcBef>
                <a:spcPts val="500"/>
              </a:spcBef>
              <a:buFont typeface="Arial" panose="020B0604020202020204" pitchFamily="34" charset="0"/>
              <a:buChar char="•"/>
              <a:tabLst/>
              <a:defRPr sz="2200" kern="1200">
                <a:solidFill>
                  <a:schemeClr val="tx2"/>
                </a:solidFill>
                <a:latin typeface="+mn-lt"/>
                <a:ea typeface="+mn-ea"/>
                <a:cs typeface="+mn-cs"/>
              </a:defRPr>
            </a:lvl2pPr>
            <a:lvl3pPr marL="971550" indent="-173038" algn="l" defTabSz="914400" rtl="0" eaLnBrk="1" latinLnBrk="0" hangingPunct="1">
              <a:lnSpc>
                <a:spcPct val="90000"/>
              </a:lnSpc>
              <a:spcBef>
                <a:spcPts val="500"/>
              </a:spcBef>
              <a:buFont typeface="Arial" panose="020B0604020202020204" pitchFamily="34" charset="0"/>
              <a:buChar char="•"/>
              <a:tabLst/>
              <a:defRPr sz="2000" kern="1200">
                <a:solidFill>
                  <a:schemeClr val="tx2"/>
                </a:solidFill>
                <a:latin typeface="+mn-lt"/>
                <a:ea typeface="+mn-ea"/>
                <a:cs typeface="+mn-cs"/>
              </a:defRPr>
            </a:lvl3pPr>
            <a:lvl4pPr marL="1430338" indent="-166688" algn="l" defTabSz="914400" rtl="0" eaLnBrk="1" latinLnBrk="0" hangingPunct="1">
              <a:lnSpc>
                <a:spcPct val="90000"/>
              </a:lnSpc>
              <a:spcBef>
                <a:spcPts val="500"/>
              </a:spcBef>
              <a:buFont typeface="Arial" panose="020B0604020202020204" pitchFamily="34" charset="0"/>
              <a:buChar char="•"/>
              <a:tabLst/>
              <a:defRPr sz="1800" kern="1200">
                <a:solidFill>
                  <a:schemeClr val="tx2"/>
                </a:solidFill>
                <a:latin typeface="+mn-lt"/>
                <a:ea typeface="+mn-ea"/>
                <a:cs typeface="+mn-cs"/>
              </a:defRPr>
            </a:lvl4pPr>
            <a:lvl5pPr marL="1889125" indent="-173038" algn="l" defTabSz="914400" rtl="0" eaLnBrk="1" latinLnBrk="0" hangingPunct="1">
              <a:lnSpc>
                <a:spcPct val="90000"/>
              </a:lnSpc>
              <a:spcBef>
                <a:spcPts val="500"/>
              </a:spcBef>
              <a:buFont typeface="Arial" panose="020B0604020202020204" pitchFamily="34" charset="0"/>
              <a:buChar char="•"/>
              <a:tabLst/>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9063" indent="-119063" fontAlgn="base">
              <a:spcAft>
                <a:spcPct val="0"/>
              </a:spcAft>
            </a:pPr>
            <a:r>
              <a:rPr lang="en-US" sz="1800" dirty="0">
                <a:solidFill>
                  <a:srgbClr val="FFFFFF"/>
                </a:solidFill>
                <a:latin typeface="Helvetica"/>
              </a:rPr>
              <a:t>Define issues</a:t>
            </a:r>
          </a:p>
          <a:p>
            <a:pPr marL="119063" indent="-119063" fontAlgn="base">
              <a:spcAft>
                <a:spcPct val="0"/>
              </a:spcAft>
            </a:pPr>
            <a:r>
              <a:rPr lang="en-US" sz="1800" dirty="0">
                <a:solidFill>
                  <a:srgbClr val="FFFFFF"/>
                </a:solidFill>
                <a:latin typeface="Helvetica"/>
              </a:rPr>
              <a:t>Establish workplan</a:t>
            </a:r>
          </a:p>
          <a:p>
            <a:pPr marL="0" indent="0" fontAlgn="base">
              <a:spcAft>
                <a:spcPct val="0"/>
              </a:spcAft>
              <a:buNone/>
            </a:pPr>
            <a:endParaRPr lang="en-US" sz="1800" dirty="0">
              <a:solidFill>
                <a:srgbClr val="FFFFFF"/>
              </a:solidFill>
              <a:latin typeface="Helvetica"/>
            </a:endParaRPr>
          </a:p>
        </p:txBody>
      </p:sp>
      <p:sp>
        <p:nvSpPr>
          <p:cNvPr id="12" name="Content Placeholder 4">
            <a:extLst>
              <a:ext uri="{FF2B5EF4-FFF2-40B4-BE49-F238E27FC236}">
                <a16:creationId xmlns:a16="http://schemas.microsoft.com/office/drawing/2014/main" id="{DF8A7270-2919-7045-8636-68FBDD426F81}"/>
              </a:ext>
            </a:extLst>
          </p:cNvPr>
          <p:cNvSpPr txBox="1">
            <a:spLocks/>
          </p:cNvSpPr>
          <p:nvPr/>
        </p:nvSpPr>
        <p:spPr>
          <a:xfrm>
            <a:off x="5164424" y="2460515"/>
            <a:ext cx="1862253" cy="1325563"/>
          </a:xfrm>
          <a:prstGeom prst="rect">
            <a:avLst/>
          </a:prstGeom>
          <a:ln w="34925">
            <a:noFill/>
            <a:tailEnd type="triangle"/>
          </a:ln>
        </p:spPr>
        <p:style>
          <a:lnRef idx="1">
            <a:schemeClr val="accent1"/>
          </a:lnRef>
          <a:fillRef idx="0">
            <a:schemeClr val="accent1"/>
          </a:fillRef>
          <a:effectRef idx="0">
            <a:schemeClr val="accent1"/>
          </a:effectRef>
          <a:fontRef idx="minor">
            <a:schemeClr val="tx1"/>
          </a:fontRef>
        </p:style>
        <p:txBody>
          <a:bodyPr vert="horz" lIns="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mn-lt"/>
                <a:ea typeface="+mn-ea"/>
                <a:cs typeface="+mn-cs"/>
              </a:defRPr>
            </a:lvl1pPr>
            <a:lvl2pPr marL="571500" indent="-231775" algn="l" defTabSz="914400" rtl="0" eaLnBrk="1" latinLnBrk="0" hangingPunct="1">
              <a:lnSpc>
                <a:spcPct val="90000"/>
              </a:lnSpc>
              <a:spcBef>
                <a:spcPts val="500"/>
              </a:spcBef>
              <a:buFont typeface="Arial" panose="020B0604020202020204" pitchFamily="34" charset="0"/>
              <a:buChar char="•"/>
              <a:tabLst/>
              <a:defRPr sz="2200" kern="1200">
                <a:solidFill>
                  <a:schemeClr val="tx2"/>
                </a:solidFill>
                <a:latin typeface="+mn-lt"/>
                <a:ea typeface="+mn-ea"/>
                <a:cs typeface="+mn-cs"/>
              </a:defRPr>
            </a:lvl2pPr>
            <a:lvl3pPr marL="971550" indent="-173038" algn="l" defTabSz="914400" rtl="0" eaLnBrk="1" latinLnBrk="0" hangingPunct="1">
              <a:lnSpc>
                <a:spcPct val="90000"/>
              </a:lnSpc>
              <a:spcBef>
                <a:spcPts val="500"/>
              </a:spcBef>
              <a:buFont typeface="Arial" panose="020B0604020202020204" pitchFamily="34" charset="0"/>
              <a:buChar char="•"/>
              <a:tabLst/>
              <a:defRPr sz="2000" kern="1200">
                <a:solidFill>
                  <a:schemeClr val="tx2"/>
                </a:solidFill>
                <a:latin typeface="+mn-lt"/>
                <a:ea typeface="+mn-ea"/>
                <a:cs typeface="+mn-cs"/>
              </a:defRPr>
            </a:lvl3pPr>
            <a:lvl4pPr marL="1430338" indent="-166688" algn="l" defTabSz="914400" rtl="0" eaLnBrk="1" latinLnBrk="0" hangingPunct="1">
              <a:lnSpc>
                <a:spcPct val="90000"/>
              </a:lnSpc>
              <a:spcBef>
                <a:spcPts val="500"/>
              </a:spcBef>
              <a:buFont typeface="Arial" panose="020B0604020202020204" pitchFamily="34" charset="0"/>
              <a:buChar char="•"/>
              <a:tabLst/>
              <a:defRPr sz="1800" kern="1200">
                <a:solidFill>
                  <a:schemeClr val="tx2"/>
                </a:solidFill>
                <a:latin typeface="+mn-lt"/>
                <a:ea typeface="+mn-ea"/>
                <a:cs typeface="+mn-cs"/>
              </a:defRPr>
            </a:lvl4pPr>
            <a:lvl5pPr marL="1889125" indent="-173038" algn="l" defTabSz="914400" rtl="0" eaLnBrk="1" latinLnBrk="0" hangingPunct="1">
              <a:lnSpc>
                <a:spcPct val="90000"/>
              </a:lnSpc>
              <a:spcBef>
                <a:spcPts val="500"/>
              </a:spcBef>
              <a:buFont typeface="Arial" panose="020B0604020202020204" pitchFamily="34" charset="0"/>
              <a:buChar char="•"/>
              <a:tabLst/>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19063" fontAlgn="base">
              <a:spcAft>
                <a:spcPct val="0"/>
              </a:spcAft>
            </a:pPr>
            <a:r>
              <a:rPr lang="en-US" sz="1400" dirty="0">
                <a:solidFill>
                  <a:srgbClr val="FFFFFF"/>
                </a:solidFill>
                <a:latin typeface="Helvetica"/>
              </a:rPr>
              <a:t>Common themes</a:t>
            </a:r>
          </a:p>
          <a:p>
            <a:pPr marL="171450" indent="-119063" fontAlgn="base">
              <a:spcAft>
                <a:spcPct val="0"/>
              </a:spcAft>
            </a:pPr>
            <a:r>
              <a:rPr lang="en-US" sz="1400" dirty="0">
                <a:solidFill>
                  <a:srgbClr val="FFFFFF"/>
                </a:solidFill>
                <a:latin typeface="Helvetica"/>
              </a:rPr>
              <a:t>Impediments to streamlining</a:t>
            </a:r>
          </a:p>
          <a:p>
            <a:pPr marL="171450" indent="-119063" fontAlgn="base">
              <a:spcAft>
                <a:spcPct val="0"/>
              </a:spcAft>
            </a:pPr>
            <a:r>
              <a:rPr lang="en-US" sz="1400" dirty="0">
                <a:solidFill>
                  <a:srgbClr val="FFFFFF"/>
                </a:solidFill>
                <a:latin typeface="Helvetica"/>
              </a:rPr>
              <a:t>Proposed changes</a:t>
            </a:r>
          </a:p>
        </p:txBody>
      </p:sp>
      <p:sp>
        <p:nvSpPr>
          <p:cNvPr id="13" name="Process 12">
            <a:extLst>
              <a:ext uri="{FF2B5EF4-FFF2-40B4-BE49-F238E27FC236}">
                <a16:creationId xmlns:a16="http://schemas.microsoft.com/office/drawing/2014/main" id="{534676A7-BA14-1A40-9E98-FF1297C4B22F}"/>
              </a:ext>
            </a:extLst>
          </p:cNvPr>
          <p:cNvSpPr/>
          <p:nvPr/>
        </p:nvSpPr>
        <p:spPr>
          <a:xfrm>
            <a:off x="7378935" y="2462059"/>
            <a:ext cx="1942171" cy="1325563"/>
          </a:xfrm>
          <a:prstGeom prst="flowChartProcess">
            <a:avLst/>
          </a:prstGeom>
          <a:solidFill>
            <a:srgbClr val="092C82"/>
          </a:solidFill>
          <a:ln w="9525">
            <a:solidFill>
              <a:schemeClr val="tx1"/>
            </a:solidFill>
            <a:miter lim="800000"/>
            <a:headEnd/>
            <a:tailEnd/>
          </a:ln>
          <a:effectLst/>
        </p:spPr>
        <p:txBody>
          <a:bodyPr wrap="none" lIns="89647" tIns="44824" rIns="89647" bIns="44824" anchor="ctr"/>
          <a:lstStyle/>
          <a:p>
            <a:pPr algn="ctr" eaLnBrk="0" fontAlgn="base" hangingPunct="0">
              <a:spcBef>
                <a:spcPct val="0"/>
              </a:spcBef>
              <a:spcAft>
                <a:spcPct val="0"/>
              </a:spcAft>
            </a:pPr>
            <a:endParaRPr lang="en-US" sz="2353" dirty="0">
              <a:solidFill>
                <a:srgbClr val="000000"/>
              </a:solidFill>
              <a:latin typeface="Times New Roman" pitchFamily="18" charset="0"/>
            </a:endParaRPr>
          </a:p>
          <a:p>
            <a:pPr algn="ctr" eaLnBrk="0" fontAlgn="base" hangingPunct="0">
              <a:spcBef>
                <a:spcPct val="0"/>
              </a:spcBef>
              <a:spcAft>
                <a:spcPct val="0"/>
              </a:spcAft>
            </a:pPr>
            <a:endParaRPr lang="en-US" sz="2353" dirty="0">
              <a:solidFill>
                <a:srgbClr val="000000"/>
              </a:solidFill>
              <a:latin typeface="Times New Roman" pitchFamily="18" charset="0"/>
            </a:endParaRPr>
          </a:p>
        </p:txBody>
      </p:sp>
      <p:sp>
        <p:nvSpPr>
          <p:cNvPr id="14" name="Content Placeholder 4">
            <a:extLst>
              <a:ext uri="{FF2B5EF4-FFF2-40B4-BE49-F238E27FC236}">
                <a16:creationId xmlns:a16="http://schemas.microsoft.com/office/drawing/2014/main" id="{06B384C0-589E-7342-8C09-1E65993CFB01}"/>
              </a:ext>
            </a:extLst>
          </p:cNvPr>
          <p:cNvSpPr txBox="1">
            <a:spLocks/>
          </p:cNvSpPr>
          <p:nvPr/>
        </p:nvSpPr>
        <p:spPr>
          <a:xfrm>
            <a:off x="7451522" y="2649929"/>
            <a:ext cx="1869584" cy="1628078"/>
          </a:xfrm>
          <a:prstGeom prst="rect">
            <a:avLst/>
          </a:prstGeom>
          <a:noFill/>
        </p:spPr>
        <p:txBody>
          <a:bodyPr vert="horz" lIns="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mn-lt"/>
                <a:ea typeface="+mn-ea"/>
                <a:cs typeface="+mn-cs"/>
              </a:defRPr>
            </a:lvl1pPr>
            <a:lvl2pPr marL="571500" indent="-231775" algn="l" defTabSz="914400" rtl="0" eaLnBrk="1" latinLnBrk="0" hangingPunct="1">
              <a:lnSpc>
                <a:spcPct val="90000"/>
              </a:lnSpc>
              <a:spcBef>
                <a:spcPts val="500"/>
              </a:spcBef>
              <a:buFont typeface="Arial" panose="020B0604020202020204" pitchFamily="34" charset="0"/>
              <a:buChar char="•"/>
              <a:tabLst/>
              <a:defRPr sz="2200" kern="1200">
                <a:solidFill>
                  <a:schemeClr val="tx2"/>
                </a:solidFill>
                <a:latin typeface="+mn-lt"/>
                <a:ea typeface="+mn-ea"/>
                <a:cs typeface="+mn-cs"/>
              </a:defRPr>
            </a:lvl2pPr>
            <a:lvl3pPr marL="971550" indent="-173038" algn="l" defTabSz="914400" rtl="0" eaLnBrk="1" latinLnBrk="0" hangingPunct="1">
              <a:lnSpc>
                <a:spcPct val="90000"/>
              </a:lnSpc>
              <a:spcBef>
                <a:spcPts val="500"/>
              </a:spcBef>
              <a:buFont typeface="Arial" panose="020B0604020202020204" pitchFamily="34" charset="0"/>
              <a:buChar char="•"/>
              <a:tabLst/>
              <a:defRPr sz="2000" kern="1200">
                <a:solidFill>
                  <a:schemeClr val="tx2"/>
                </a:solidFill>
                <a:latin typeface="+mn-lt"/>
                <a:ea typeface="+mn-ea"/>
                <a:cs typeface="+mn-cs"/>
              </a:defRPr>
            </a:lvl3pPr>
            <a:lvl4pPr marL="1430338" indent="-166688" algn="l" defTabSz="914400" rtl="0" eaLnBrk="1" latinLnBrk="0" hangingPunct="1">
              <a:lnSpc>
                <a:spcPct val="90000"/>
              </a:lnSpc>
              <a:spcBef>
                <a:spcPts val="500"/>
              </a:spcBef>
              <a:buFont typeface="Arial" panose="020B0604020202020204" pitchFamily="34" charset="0"/>
              <a:buChar char="•"/>
              <a:tabLst/>
              <a:defRPr sz="1800" kern="1200">
                <a:solidFill>
                  <a:schemeClr val="tx2"/>
                </a:solidFill>
                <a:latin typeface="+mn-lt"/>
                <a:ea typeface="+mn-ea"/>
                <a:cs typeface="+mn-cs"/>
              </a:defRPr>
            </a:lvl4pPr>
            <a:lvl5pPr marL="1889125" indent="-173038" algn="l" defTabSz="914400" rtl="0" eaLnBrk="1" latinLnBrk="0" hangingPunct="1">
              <a:lnSpc>
                <a:spcPct val="90000"/>
              </a:lnSpc>
              <a:spcBef>
                <a:spcPts val="500"/>
              </a:spcBef>
              <a:buFont typeface="Arial" panose="020B0604020202020204" pitchFamily="34" charset="0"/>
              <a:buChar char="•"/>
              <a:tabLst/>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19063" fontAlgn="base">
              <a:spcAft>
                <a:spcPct val="0"/>
              </a:spcAft>
            </a:pPr>
            <a:r>
              <a:rPr lang="en-US" sz="1400" dirty="0">
                <a:solidFill>
                  <a:srgbClr val="FFFFFF"/>
                </a:solidFill>
                <a:latin typeface="Helvetica"/>
              </a:rPr>
              <a:t>Revise RFAs </a:t>
            </a:r>
          </a:p>
          <a:p>
            <a:pPr marL="171450" indent="-119063" fontAlgn="base">
              <a:spcAft>
                <a:spcPct val="0"/>
              </a:spcAft>
            </a:pPr>
            <a:r>
              <a:rPr lang="en-US" sz="1400" dirty="0">
                <a:solidFill>
                  <a:srgbClr val="FFFFFF"/>
                </a:solidFill>
                <a:latin typeface="Helvetica"/>
              </a:rPr>
              <a:t>Implement as part of next solicitations</a:t>
            </a:r>
          </a:p>
          <a:p>
            <a:pPr marL="171450" indent="-119063" fontAlgn="base">
              <a:spcAft>
                <a:spcPct val="0"/>
              </a:spcAft>
            </a:pPr>
            <a:endParaRPr lang="en-US" sz="1400" dirty="0">
              <a:solidFill>
                <a:srgbClr val="FFFFFF"/>
              </a:solidFill>
              <a:latin typeface="Helvetica"/>
            </a:endParaRPr>
          </a:p>
        </p:txBody>
      </p:sp>
      <p:sp>
        <p:nvSpPr>
          <p:cNvPr id="15" name="Process 14">
            <a:extLst>
              <a:ext uri="{FF2B5EF4-FFF2-40B4-BE49-F238E27FC236}">
                <a16:creationId xmlns:a16="http://schemas.microsoft.com/office/drawing/2014/main" id="{53207CA2-09A7-8E48-92FB-C0D5495A3D31}"/>
              </a:ext>
            </a:extLst>
          </p:cNvPr>
          <p:cNvSpPr/>
          <p:nvPr/>
        </p:nvSpPr>
        <p:spPr>
          <a:xfrm>
            <a:off x="9782347" y="3507441"/>
            <a:ext cx="1942171" cy="1325563"/>
          </a:xfrm>
          <a:prstGeom prst="flowChartProcess">
            <a:avLst/>
          </a:prstGeom>
          <a:solidFill>
            <a:srgbClr val="092C82"/>
          </a:solidFill>
          <a:ln w="9525">
            <a:solidFill>
              <a:schemeClr val="tx1"/>
            </a:solidFill>
            <a:miter lim="800000"/>
            <a:headEnd/>
            <a:tailEnd/>
          </a:ln>
          <a:effectLst/>
        </p:spPr>
        <p:txBody>
          <a:bodyPr wrap="none" lIns="89647" tIns="44824" rIns="89647" bIns="44824" anchor="ctr"/>
          <a:lstStyle/>
          <a:p>
            <a:pPr algn="ctr" eaLnBrk="0" fontAlgn="base" hangingPunct="0">
              <a:spcBef>
                <a:spcPct val="0"/>
              </a:spcBef>
              <a:spcAft>
                <a:spcPct val="0"/>
              </a:spcAft>
            </a:pPr>
            <a:endParaRPr lang="en-US" sz="2353" dirty="0">
              <a:solidFill>
                <a:srgbClr val="000000"/>
              </a:solidFill>
              <a:latin typeface="Times New Roman" pitchFamily="18" charset="0"/>
            </a:endParaRPr>
          </a:p>
          <a:p>
            <a:pPr algn="ctr" eaLnBrk="0" fontAlgn="base" hangingPunct="0">
              <a:spcBef>
                <a:spcPct val="0"/>
              </a:spcBef>
              <a:spcAft>
                <a:spcPct val="0"/>
              </a:spcAft>
            </a:pPr>
            <a:endParaRPr lang="en-US" sz="2353" dirty="0">
              <a:solidFill>
                <a:srgbClr val="000000"/>
              </a:solidFill>
              <a:latin typeface="Times New Roman" pitchFamily="18" charset="0"/>
            </a:endParaRPr>
          </a:p>
        </p:txBody>
      </p:sp>
      <p:sp>
        <p:nvSpPr>
          <p:cNvPr id="16" name="Content Placeholder 4">
            <a:extLst>
              <a:ext uri="{FF2B5EF4-FFF2-40B4-BE49-F238E27FC236}">
                <a16:creationId xmlns:a16="http://schemas.microsoft.com/office/drawing/2014/main" id="{29E3A6B9-6AD7-E745-8695-C9A7B7243E48}"/>
              </a:ext>
            </a:extLst>
          </p:cNvPr>
          <p:cNvSpPr txBox="1">
            <a:spLocks/>
          </p:cNvSpPr>
          <p:nvPr/>
        </p:nvSpPr>
        <p:spPr>
          <a:xfrm>
            <a:off x="10065819" y="3972163"/>
            <a:ext cx="1848780" cy="876135"/>
          </a:xfrm>
          <a:prstGeom prst="rect">
            <a:avLst/>
          </a:prstGeom>
          <a:noFill/>
        </p:spPr>
        <p:txBody>
          <a:bodyPr vert="horz" lIns="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mn-lt"/>
                <a:ea typeface="+mn-ea"/>
                <a:cs typeface="+mn-cs"/>
              </a:defRPr>
            </a:lvl1pPr>
            <a:lvl2pPr marL="571500" indent="-231775" algn="l" defTabSz="914400" rtl="0" eaLnBrk="1" latinLnBrk="0" hangingPunct="1">
              <a:lnSpc>
                <a:spcPct val="90000"/>
              </a:lnSpc>
              <a:spcBef>
                <a:spcPts val="500"/>
              </a:spcBef>
              <a:buFont typeface="Arial" panose="020B0604020202020204" pitchFamily="34" charset="0"/>
              <a:buChar char="•"/>
              <a:tabLst/>
              <a:defRPr sz="2200" kern="1200">
                <a:solidFill>
                  <a:schemeClr val="tx2"/>
                </a:solidFill>
                <a:latin typeface="+mn-lt"/>
                <a:ea typeface="+mn-ea"/>
                <a:cs typeface="+mn-cs"/>
              </a:defRPr>
            </a:lvl2pPr>
            <a:lvl3pPr marL="971550" indent="-173038" algn="l" defTabSz="914400" rtl="0" eaLnBrk="1" latinLnBrk="0" hangingPunct="1">
              <a:lnSpc>
                <a:spcPct val="90000"/>
              </a:lnSpc>
              <a:spcBef>
                <a:spcPts val="500"/>
              </a:spcBef>
              <a:buFont typeface="Arial" panose="020B0604020202020204" pitchFamily="34" charset="0"/>
              <a:buChar char="•"/>
              <a:tabLst/>
              <a:defRPr sz="2000" kern="1200">
                <a:solidFill>
                  <a:schemeClr val="tx2"/>
                </a:solidFill>
                <a:latin typeface="+mn-lt"/>
                <a:ea typeface="+mn-ea"/>
                <a:cs typeface="+mn-cs"/>
              </a:defRPr>
            </a:lvl3pPr>
            <a:lvl4pPr marL="1430338" indent="-166688" algn="l" defTabSz="914400" rtl="0" eaLnBrk="1" latinLnBrk="0" hangingPunct="1">
              <a:lnSpc>
                <a:spcPct val="90000"/>
              </a:lnSpc>
              <a:spcBef>
                <a:spcPts val="500"/>
              </a:spcBef>
              <a:buFont typeface="Arial" panose="020B0604020202020204" pitchFamily="34" charset="0"/>
              <a:buChar char="•"/>
              <a:tabLst/>
              <a:defRPr sz="1800" kern="1200">
                <a:solidFill>
                  <a:schemeClr val="tx2"/>
                </a:solidFill>
                <a:latin typeface="+mn-lt"/>
                <a:ea typeface="+mn-ea"/>
                <a:cs typeface="+mn-cs"/>
              </a:defRPr>
            </a:lvl4pPr>
            <a:lvl5pPr marL="1889125" indent="-173038" algn="l" defTabSz="914400" rtl="0" eaLnBrk="1" latinLnBrk="0" hangingPunct="1">
              <a:lnSpc>
                <a:spcPct val="90000"/>
              </a:lnSpc>
              <a:spcBef>
                <a:spcPts val="500"/>
              </a:spcBef>
              <a:buFont typeface="Arial" panose="020B0604020202020204" pitchFamily="34" charset="0"/>
              <a:buChar char="•"/>
              <a:tabLst/>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2387" indent="0" fontAlgn="base">
              <a:spcAft>
                <a:spcPct val="0"/>
              </a:spcAft>
              <a:buNone/>
            </a:pPr>
            <a:r>
              <a:rPr lang="en-US" sz="1800" dirty="0">
                <a:solidFill>
                  <a:srgbClr val="FFFFFF"/>
                </a:solidFill>
                <a:latin typeface="Helvetica"/>
              </a:rPr>
              <a:t>Revised RFAs</a:t>
            </a:r>
          </a:p>
          <a:p>
            <a:pPr marL="52387" indent="0" fontAlgn="base">
              <a:spcAft>
                <a:spcPct val="0"/>
              </a:spcAft>
              <a:buNone/>
            </a:pPr>
            <a:endParaRPr lang="en-US" sz="1800" dirty="0">
              <a:solidFill>
                <a:srgbClr val="FFFFFF"/>
              </a:solidFill>
              <a:latin typeface="Helvetica"/>
            </a:endParaRPr>
          </a:p>
        </p:txBody>
      </p:sp>
      <p:sp>
        <p:nvSpPr>
          <p:cNvPr id="17" name="TextBox 16">
            <a:extLst>
              <a:ext uri="{FF2B5EF4-FFF2-40B4-BE49-F238E27FC236}">
                <a16:creationId xmlns:a16="http://schemas.microsoft.com/office/drawing/2014/main" id="{A454CF90-E9C5-9949-92A7-B08296FC63B6}"/>
              </a:ext>
            </a:extLst>
          </p:cNvPr>
          <p:cNvSpPr txBox="1"/>
          <p:nvPr/>
        </p:nvSpPr>
        <p:spPr>
          <a:xfrm rot="16200000">
            <a:off x="-276918" y="2864899"/>
            <a:ext cx="1473296" cy="584775"/>
          </a:xfrm>
          <a:prstGeom prst="rect">
            <a:avLst/>
          </a:prstGeom>
          <a:noFill/>
          <a:ln w="15875">
            <a:solidFill>
              <a:srgbClr val="A35D00"/>
            </a:solidFill>
          </a:ln>
        </p:spPr>
        <p:txBody>
          <a:bodyPr wrap="square" rtlCol="0">
            <a:spAutoFit/>
          </a:bodyPr>
          <a:lstStyle/>
          <a:p>
            <a:pPr algn="ctr" eaLnBrk="0" fontAlgn="base" hangingPunct="0">
              <a:spcBef>
                <a:spcPct val="0"/>
              </a:spcBef>
              <a:spcAft>
                <a:spcPct val="0"/>
              </a:spcAft>
            </a:pPr>
            <a:r>
              <a:rPr lang="en-US" sz="1600" dirty="0">
                <a:solidFill>
                  <a:srgbClr val="000000"/>
                </a:solidFill>
                <a:latin typeface="Helvetica"/>
              </a:rPr>
              <a:t>RFA</a:t>
            </a:r>
            <a:r>
              <a:rPr lang="en-US" sz="1600" dirty="0">
                <a:solidFill>
                  <a:srgbClr val="000000"/>
                </a:solidFill>
                <a:latin typeface="Times" pitchFamily="18" charset="0"/>
              </a:rPr>
              <a:t> </a:t>
            </a:r>
            <a:r>
              <a:rPr lang="en-US" sz="1600" dirty="0">
                <a:solidFill>
                  <a:srgbClr val="000000"/>
                </a:solidFill>
                <a:latin typeface="Helvetica"/>
              </a:rPr>
              <a:t>Streamlining</a:t>
            </a:r>
          </a:p>
        </p:txBody>
      </p:sp>
      <p:sp>
        <p:nvSpPr>
          <p:cNvPr id="18" name="TextBox 17">
            <a:extLst>
              <a:ext uri="{FF2B5EF4-FFF2-40B4-BE49-F238E27FC236}">
                <a16:creationId xmlns:a16="http://schemas.microsoft.com/office/drawing/2014/main" id="{18BC92E0-955A-F642-9410-FC501C401314}"/>
              </a:ext>
            </a:extLst>
          </p:cNvPr>
          <p:cNvSpPr txBox="1"/>
          <p:nvPr/>
        </p:nvSpPr>
        <p:spPr>
          <a:xfrm rot="16200000">
            <a:off x="-260451" y="4555911"/>
            <a:ext cx="1473296" cy="584775"/>
          </a:xfrm>
          <a:prstGeom prst="rect">
            <a:avLst/>
          </a:prstGeom>
          <a:noFill/>
          <a:ln w="15875">
            <a:solidFill>
              <a:srgbClr val="A35D00"/>
            </a:solidFill>
          </a:ln>
        </p:spPr>
        <p:txBody>
          <a:bodyPr wrap="square" rtlCol="0">
            <a:spAutoFit/>
          </a:bodyPr>
          <a:lstStyle>
            <a:defPPr>
              <a:defRPr lang="en-US"/>
            </a:defPPr>
            <a:lvl1pPr algn="ctr">
              <a:defRPr sz="1600">
                <a:latin typeface="+mn-lt"/>
              </a:defRPr>
            </a:lvl1pPr>
          </a:lstStyle>
          <a:p>
            <a:pPr eaLnBrk="0" fontAlgn="base" hangingPunct="0">
              <a:spcBef>
                <a:spcPct val="0"/>
              </a:spcBef>
              <a:spcAft>
                <a:spcPct val="0"/>
              </a:spcAft>
            </a:pPr>
            <a:r>
              <a:rPr lang="en-US" dirty="0">
                <a:solidFill>
                  <a:srgbClr val="000000"/>
                </a:solidFill>
                <a:latin typeface="Helvetica"/>
              </a:rPr>
              <a:t>Policies for Two-Stage</a:t>
            </a:r>
          </a:p>
        </p:txBody>
      </p:sp>
      <p:sp>
        <p:nvSpPr>
          <p:cNvPr id="19" name="Process 18">
            <a:extLst>
              <a:ext uri="{FF2B5EF4-FFF2-40B4-BE49-F238E27FC236}">
                <a16:creationId xmlns:a16="http://schemas.microsoft.com/office/drawing/2014/main" id="{DCBEF414-F2D1-5C48-BAC6-0BEEF4C3DE44}"/>
              </a:ext>
            </a:extLst>
          </p:cNvPr>
          <p:cNvSpPr/>
          <p:nvPr/>
        </p:nvSpPr>
        <p:spPr>
          <a:xfrm>
            <a:off x="7378935" y="4273915"/>
            <a:ext cx="1942171" cy="1325563"/>
          </a:xfrm>
          <a:prstGeom prst="flowChartProcess">
            <a:avLst/>
          </a:prstGeom>
          <a:solidFill>
            <a:srgbClr val="092C82"/>
          </a:solidFill>
          <a:ln w="9525">
            <a:solidFill>
              <a:schemeClr val="tx1"/>
            </a:solidFill>
            <a:miter lim="800000"/>
            <a:headEnd/>
            <a:tailEnd/>
          </a:ln>
          <a:effectLst/>
        </p:spPr>
        <p:txBody>
          <a:bodyPr wrap="none" lIns="89647" tIns="44824" rIns="89647" bIns="44824" anchor="ctr"/>
          <a:lstStyle/>
          <a:p>
            <a:pPr algn="ctr" eaLnBrk="0" fontAlgn="base" hangingPunct="0">
              <a:spcBef>
                <a:spcPct val="0"/>
              </a:spcBef>
              <a:spcAft>
                <a:spcPct val="0"/>
              </a:spcAft>
            </a:pPr>
            <a:endParaRPr lang="en-US" sz="2353" dirty="0">
              <a:solidFill>
                <a:srgbClr val="000000"/>
              </a:solidFill>
              <a:latin typeface="Times New Roman" pitchFamily="18" charset="0"/>
            </a:endParaRPr>
          </a:p>
          <a:p>
            <a:pPr algn="ctr" eaLnBrk="0" fontAlgn="base" hangingPunct="0">
              <a:spcBef>
                <a:spcPct val="0"/>
              </a:spcBef>
              <a:spcAft>
                <a:spcPct val="0"/>
              </a:spcAft>
            </a:pPr>
            <a:endParaRPr lang="en-US" sz="2353" dirty="0">
              <a:solidFill>
                <a:srgbClr val="000000"/>
              </a:solidFill>
              <a:latin typeface="Times New Roman" pitchFamily="18" charset="0"/>
            </a:endParaRPr>
          </a:p>
        </p:txBody>
      </p:sp>
      <p:sp>
        <p:nvSpPr>
          <p:cNvPr id="20" name="Content Placeholder 4">
            <a:extLst>
              <a:ext uri="{FF2B5EF4-FFF2-40B4-BE49-F238E27FC236}">
                <a16:creationId xmlns:a16="http://schemas.microsoft.com/office/drawing/2014/main" id="{4F0C954D-71E0-5343-BF9F-BB5098856A84}"/>
              </a:ext>
            </a:extLst>
          </p:cNvPr>
          <p:cNvSpPr txBox="1">
            <a:spLocks/>
          </p:cNvSpPr>
          <p:nvPr/>
        </p:nvSpPr>
        <p:spPr>
          <a:xfrm>
            <a:off x="7451521" y="4342779"/>
            <a:ext cx="1869585" cy="1256698"/>
          </a:xfrm>
          <a:prstGeom prst="rect">
            <a:avLst/>
          </a:prstGeom>
          <a:noFill/>
        </p:spPr>
        <p:txBody>
          <a:bodyPr vert="horz" lIns="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mn-lt"/>
                <a:ea typeface="+mn-ea"/>
                <a:cs typeface="+mn-cs"/>
              </a:defRPr>
            </a:lvl1pPr>
            <a:lvl2pPr marL="571500" indent="-231775" algn="l" defTabSz="914400" rtl="0" eaLnBrk="1" latinLnBrk="0" hangingPunct="1">
              <a:lnSpc>
                <a:spcPct val="90000"/>
              </a:lnSpc>
              <a:spcBef>
                <a:spcPts val="500"/>
              </a:spcBef>
              <a:buFont typeface="Arial" panose="020B0604020202020204" pitchFamily="34" charset="0"/>
              <a:buChar char="•"/>
              <a:tabLst/>
              <a:defRPr sz="2200" kern="1200">
                <a:solidFill>
                  <a:schemeClr val="tx2"/>
                </a:solidFill>
                <a:latin typeface="+mn-lt"/>
                <a:ea typeface="+mn-ea"/>
                <a:cs typeface="+mn-cs"/>
              </a:defRPr>
            </a:lvl2pPr>
            <a:lvl3pPr marL="971550" indent="-173038" algn="l" defTabSz="914400" rtl="0" eaLnBrk="1" latinLnBrk="0" hangingPunct="1">
              <a:lnSpc>
                <a:spcPct val="90000"/>
              </a:lnSpc>
              <a:spcBef>
                <a:spcPts val="500"/>
              </a:spcBef>
              <a:buFont typeface="Arial" panose="020B0604020202020204" pitchFamily="34" charset="0"/>
              <a:buChar char="•"/>
              <a:tabLst/>
              <a:defRPr sz="2000" kern="1200">
                <a:solidFill>
                  <a:schemeClr val="tx2"/>
                </a:solidFill>
                <a:latin typeface="+mn-lt"/>
                <a:ea typeface="+mn-ea"/>
                <a:cs typeface="+mn-cs"/>
              </a:defRPr>
            </a:lvl3pPr>
            <a:lvl4pPr marL="1430338" indent="-166688" algn="l" defTabSz="914400" rtl="0" eaLnBrk="1" latinLnBrk="0" hangingPunct="1">
              <a:lnSpc>
                <a:spcPct val="90000"/>
              </a:lnSpc>
              <a:spcBef>
                <a:spcPts val="500"/>
              </a:spcBef>
              <a:buFont typeface="Arial" panose="020B0604020202020204" pitchFamily="34" charset="0"/>
              <a:buChar char="•"/>
              <a:tabLst/>
              <a:defRPr sz="1800" kern="1200">
                <a:solidFill>
                  <a:schemeClr val="tx2"/>
                </a:solidFill>
                <a:latin typeface="+mn-lt"/>
                <a:ea typeface="+mn-ea"/>
                <a:cs typeface="+mn-cs"/>
              </a:defRPr>
            </a:lvl4pPr>
            <a:lvl5pPr marL="1889125" indent="-173038" algn="l" defTabSz="914400" rtl="0" eaLnBrk="1" latinLnBrk="0" hangingPunct="1">
              <a:lnSpc>
                <a:spcPct val="90000"/>
              </a:lnSpc>
              <a:spcBef>
                <a:spcPts val="500"/>
              </a:spcBef>
              <a:buFont typeface="Arial" panose="020B0604020202020204" pitchFamily="34" charset="0"/>
              <a:buChar char="•"/>
              <a:tabLst/>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19063" fontAlgn="base">
              <a:spcAft>
                <a:spcPct val="0"/>
              </a:spcAft>
            </a:pPr>
            <a:r>
              <a:rPr lang="en-US" sz="1400" dirty="0">
                <a:solidFill>
                  <a:srgbClr val="FFFFFF"/>
                </a:solidFill>
                <a:latin typeface="Helvetica"/>
              </a:rPr>
              <a:t>Clarify parameters for invoking single-stage</a:t>
            </a:r>
          </a:p>
          <a:p>
            <a:pPr marL="171450" indent="-119063" fontAlgn="base">
              <a:spcAft>
                <a:spcPct val="0"/>
              </a:spcAft>
            </a:pPr>
            <a:r>
              <a:rPr lang="en-US" sz="1400" dirty="0">
                <a:solidFill>
                  <a:srgbClr val="FFFFFF"/>
                </a:solidFill>
                <a:latin typeface="Helvetica"/>
              </a:rPr>
              <a:t>Adopt consistently across IOUs</a:t>
            </a:r>
          </a:p>
          <a:p>
            <a:pPr marL="0" indent="0" fontAlgn="base">
              <a:spcAft>
                <a:spcPct val="0"/>
              </a:spcAft>
              <a:buNone/>
            </a:pPr>
            <a:endParaRPr lang="en-US" sz="1400" dirty="0">
              <a:solidFill>
                <a:srgbClr val="FFFFFF"/>
              </a:solidFill>
              <a:latin typeface="Helvetica"/>
            </a:endParaRPr>
          </a:p>
        </p:txBody>
      </p:sp>
      <p:sp>
        <p:nvSpPr>
          <p:cNvPr id="21" name="TextBox 20">
            <a:extLst>
              <a:ext uri="{FF2B5EF4-FFF2-40B4-BE49-F238E27FC236}">
                <a16:creationId xmlns:a16="http://schemas.microsoft.com/office/drawing/2014/main" id="{E6ECAC01-99CD-E445-A562-4D280212237C}"/>
              </a:ext>
            </a:extLst>
          </p:cNvPr>
          <p:cNvSpPr txBox="1"/>
          <p:nvPr/>
        </p:nvSpPr>
        <p:spPr>
          <a:xfrm>
            <a:off x="167342" y="5823597"/>
            <a:ext cx="9153763" cy="338554"/>
          </a:xfrm>
          <a:prstGeom prst="rect">
            <a:avLst/>
          </a:prstGeom>
          <a:noFill/>
          <a:ln w="15875">
            <a:solidFill>
              <a:srgbClr val="A35D00"/>
            </a:solidFill>
          </a:ln>
        </p:spPr>
        <p:txBody>
          <a:bodyPr wrap="square" rtlCol="0">
            <a:spAutoFit/>
          </a:bodyPr>
          <a:lstStyle>
            <a:defPPr>
              <a:defRPr lang="en-US"/>
            </a:defPPr>
            <a:lvl1pPr algn="ctr">
              <a:defRPr sz="1600">
                <a:latin typeface="+mn-lt"/>
              </a:defRPr>
            </a:lvl1pPr>
          </a:lstStyle>
          <a:p>
            <a:pPr eaLnBrk="0" fontAlgn="base" hangingPunct="0">
              <a:spcBef>
                <a:spcPct val="0"/>
              </a:spcBef>
              <a:spcAft>
                <a:spcPct val="0"/>
              </a:spcAft>
            </a:pPr>
            <a:r>
              <a:rPr lang="en-US" dirty="0">
                <a:solidFill>
                  <a:srgbClr val="000000"/>
                </a:solidFill>
                <a:latin typeface="Helvetica"/>
              </a:rPr>
              <a:t>3P Process Evaluation</a:t>
            </a:r>
          </a:p>
        </p:txBody>
      </p:sp>
      <p:cxnSp>
        <p:nvCxnSpPr>
          <p:cNvPr id="22" name="Elbow Connector 21">
            <a:extLst>
              <a:ext uri="{FF2B5EF4-FFF2-40B4-BE49-F238E27FC236}">
                <a16:creationId xmlns:a16="http://schemas.microsoft.com/office/drawing/2014/main" id="{DE236B47-075D-4D45-A008-636CD63616FE}"/>
              </a:ext>
            </a:extLst>
          </p:cNvPr>
          <p:cNvCxnSpPr>
            <a:cxnSpLocks/>
            <a:stCxn id="11" idx="3"/>
            <a:endCxn id="8" idx="1"/>
          </p:cNvCxnSpPr>
          <p:nvPr/>
        </p:nvCxnSpPr>
        <p:spPr>
          <a:xfrm flipV="1">
            <a:off x="2408755" y="3083420"/>
            <a:ext cx="358419" cy="1190343"/>
          </a:xfrm>
          <a:prstGeom prst="bentConnector3">
            <a:avLst>
              <a:gd name="adj1" fmla="val 50000"/>
            </a:avLst>
          </a:prstGeom>
          <a:ln w="34925">
            <a:solidFill>
              <a:srgbClr val="1A781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Elbow Connector 22">
            <a:extLst>
              <a:ext uri="{FF2B5EF4-FFF2-40B4-BE49-F238E27FC236}">
                <a16:creationId xmlns:a16="http://schemas.microsoft.com/office/drawing/2014/main" id="{47A8A019-2052-7343-B6C5-77554DE36D95}"/>
              </a:ext>
            </a:extLst>
          </p:cNvPr>
          <p:cNvCxnSpPr>
            <a:cxnSpLocks/>
            <a:stCxn id="13" idx="3"/>
            <a:endCxn id="15" idx="1"/>
          </p:cNvCxnSpPr>
          <p:nvPr/>
        </p:nvCxnSpPr>
        <p:spPr>
          <a:xfrm>
            <a:off x="9321106" y="3124840"/>
            <a:ext cx="461241" cy="1045382"/>
          </a:xfrm>
          <a:prstGeom prst="bentConnector3">
            <a:avLst>
              <a:gd name="adj1" fmla="val 50000"/>
            </a:avLst>
          </a:prstGeom>
          <a:ln w="34925">
            <a:solidFill>
              <a:srgbClr val="1A781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Elbow Connector 23">
            <a:extLst>
              <a:ext uri="{FF2B5EF4-FFF2-40B4-BE49-F238E27FC236}">
                <a16:creationId xmlns:a16="http://schemas.microsoft.com/office/drawing/2014/main" id="{046083DB-B7FA-044E-8954-2C9E598DF64C}"/>
              </a:ext>
            </a:extLst>
          </p:cNvPr>
          <p:cNvCxnSpPr>
            <a:cxnSpLocks/>
            <a:stCxn id="20" idx="3"/>
            <a:endCxn id="15" idx="1"/>
          </p:cNvCxnSpPr>
          <p:nvPr/>
        </p:nvCxnSpPr>
        <p:spPr>
          <a:xfrm flipV="1">
            <a:off x="9321106" y="4170222"/>
            <a:ext cx="461241" cy="800906"/>
          </a:xfrm>
          <a:prstGeom prst="bentConnector3">
            <a:avLst>
              <a:gd name="adj1" fmla="val 50000"/>
            </a:avLst>
          </a:prstGeom>
          <a:ln w="34925">
            <a:solidFill>
              <a:srgbClr val="1A781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Elbow Connector 24">
            <a:extLst>
              <a:ext uri="{FF2B5EF4-FFF2-40B4-BE49-F238E27FC236}">
                <a16:creationId xmlns:a16="http://schemas.microsoft.com/office/drawing/2014/main" id="{A0217E99-1436-E248-A46A-BD8CD8C20971}"/>
              </a:ext>
            </a:extLst>
          </p:cNvPr>
          <p:cNvCxnSpPr>
            <a:cxnSpLocks/>
            <a:stCxn id="21" idx="3"/>
            <a:endCxn id="15" idx="1"/>
          </p:cNvCxnSpPr>
          <p:nvPr/>
        </p:nvCxnSpPr>
        <p:spPr>
          <a:xfrm flipV="1">
            <a:off x="9321104" y="4170222"/>
            <a:ext cx="461242" cy="1822652"/>
          </a:xfrm>
          <a:prstGeom prst="bentConnector3">
            <a:avLst>
              <a:gd name="adj1" fmla="val 50000"/>
            </a:avLst>
          </a:prstGeom>
          <a:ln w="34925">
            <a:solidFill>
              <a:srgbClr val="1A7810"/>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0FF44710-83FA-A24F-BDF6-98D03EEFE8D4}"/>
              </a:ext>
            </a:extLst>
          </p:cNvPr>
          <p:cNvSpPr txBox="1"/>
          <p:nvPr/>
        </p:nvSpPr>
        <p:spPr>
          <a:xfrm>
            <a:off x="5057743" y="1907951"/>
            <a:ext cx="1873654" cy="461665"/>
          </a:xfrm>
          <a:prstGeom prst="rect">
            <a:avLst/>
          </a:prstGeom>
          <a:noFill/>
        </p:spPr>
        <p:txBody>
          <a:bodyPr wrap="none" rtlCol="0">
            <a:spAutoFit/>
          </a:bodyPr>
          <a:lstStyle/>
          <a:p>
            <a:pPr eaLnBrk="0" fontAlgn="base" hangingPunct="0">
              <a:spcBef>
                <a:spcPct val="0"/>
              </a:spcBef>
              <a:spcAft>
                <a:spcPct val="0"/>
              </a:spcAft>
            </a:pPr>
            <a:r>
              <a:rPr lang="en-US" sz="2400" i="1" dirty="0">
                <a:solidFill>
                  <a:srgbClr val="A35D00"/>
                </a:solidFill>
                <a:latin typeface="Helvetica"/>
              </a:rPr>
              <a:t>We are here</a:t>
            </a:r>
          </a:p>
        </p:txBody>
      </p:sp>
    </p:spTree>
    <p:extLst>
      <p:ext uri="{BB962C8B-B14F-4D97-AF65-F5344CB8AC3E}">
        <p14:creationId xmlns:p14="http://schemas.microsoft.com/office/powerpoint/2010/main" val="63383219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ChangeArrowheads="1"/>
          </p:cNvSpPr>
          <p:nvPr>
            <p:ph type="title"/>
          </p:nvPr>
        </p:nvSpPr>
        <p:spPr/>
        <p:txBody>
          <a:bodyPr/>
          <a:lstStyle/>
          <a:p>
            <a:r>
              <a:rPr lang="en-US" altLang="en-US" sz="2800" dirty="0"/>
              <a:t>Two-Stage Task Force - Observations</a:t>
            </a:r>
          </a:p>
        </p:txBody>
      </p:sp>
      <p:sp>
        <p:nvSpPr>
          <p:cNvPr id="33795" name="Rectangle 3"/>
          <p:cNvSpPr>
            <a:spLocks noGrp="1" noChangeArrowheads="1"/>
          </p:cNvSpPr>
          <p:nvPr>
            <p:ph type="body" idx="1"/>
          </p:nvPr>
        </p:nvSpPr>
        <p:spPr/>
        <p:txBody>
          <a:bodyPr/>
          <a:lstStyle/>
          <a:p>
            <a:r>
              <a:rPr lang="en-US" sz="2400" dirty="0"/>
              <a:t>RFA complexities derive from CPUC, IOU and PRG requirements and efforts to strike the appropriate balance between providing/obtaining sufficient information to facilitate a robust selection and contracting process and not overburdening bidders.</a:t>
            </a:r>
          </a:p>
          <a:p>
            <a:pPr lvl="1"/>
            <a:r>
              <a:rPr lang="en-US" sz="2200" dirty="0"/>
              <a:t>IOUs do not want RFA to be a “mini-RFP” but want to ensure that bidders selected to advance to RFP and contracting are well positioned to run a successful energy efficiency program in California under IOU and CPUC auspices</a:t>
            </a:r>
          </a:p>
          <a:p>
            <a:r>
              <a:rPr lang="en-US" sz="2400" dirty="0"/>
              <a:t>IOUs have identified ways to reduce the volume of company-specific and CPUC-related information provided to bidders (much of which is “information only” at the RFA stage) and winnow the amount of information bidders must provide to describe their proposed programs.</a:t>
            </a:r>
          </a:p>
          <a:p>
            <a:r>
              <a:rPr lang="en-US" sz="2400" dirty="0"/>
              <a:t>There has also been some “out of the box” thinking in terms of proposing new and novel approaches to obtaining relevant information streamlining the process.</a:t>
            </a:r>
          </a:p>
        </p:txBody>
      </p:sp>
    </p:spTree>
    <p:extLst>
      <p:ext uri="{BB962C8B-B14F-4D97-AF65-F5344CB8AC3E}">
        <p14:creationId xmlns:p14="http://schemas.microsoft.com/office/powerpoint/2010/main" val="40481193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E3EE6-A2B2-EC45-99E4-285A153A8482}"/>
              </a:ext>
            </a:extLst>
          </p:cNvPr>
          <p:cNvSpPr>
            <a:spLocks noGrp="1"/>
          </p:cNvSpPr>
          <p:nvPr>
            <p:ph type="title"/>
          </p:nvPr>
        </p:nvSpPr>
        <p:spPr/>
        <p:txBody>
          <a:bodyPr/>
          <a:lstStyle/>
          <a:p>
            <a:r>
              <a:rPr lang="en-US" dirty="0"/>
              <a:t>Where we’ve been</a:t>
            </a:r>
          </a:p>
        </p:txBody>
      </p:sp>
      <p:sp>
        <p:nvSpPr>
          <p:cNvPr id="3" name="Content Placeholder 2">
            <a:extLst>
              <a:ext uri="{FF2B5EF4-FFF2-40B4-BE49-F238E27FC236}">
                <a16:creationId xmlns:a16="http://schemas.microsoft.com/office/drawing/2014/main" id="{39AD9C5D-AC31-3B43-BADC-28A51175DBF1}"/>
              </a:ext>
            </a:extLst>
          </p:cNvPr>
          <p:cNvSpPr>
            <a:spLocks noGrp="1"/>
          </p:cNvSpPr>
          <p:nvPr>
            <p:ph idx="1"/>
          </p:nvPr>
        </p:nvSpPr>
        <p:spPr/>
        <p:txBody>
          <a:bodyPr>
            <a:normAutofit lnSpcReduction="10000"/>
          </a:bodyPr>
          <a:lstStyle/>
          <a:p>
            <a:pPr marL="0" indent="0">
              <a:buNone/>
            </a:pPr>
            <a:endParaRPr lang="en-US" dirty="0"/>
          </a:p>
          <a:p>
            <a:pPr marL="0" indent="0">
              <a:buNone/>
            </a:pPr>
            <a:r>
              <a:rPr lang="en-US" b="1" dirty="0"/>
              <a:t>4</a:t>
            </a:r>
            <a:r>
              <a:rPr lang="en-US" dirty="0"/>
              <a:t> semiannual workshops (July 2019, Feb 2020, July 2020, Jan 2021)</a:t>
            </a:r>
          </a:p>
          <a:p>
            <a:pPr marL="0" indent="0">
              <a:buNone/>
            </a:pPr>
            <a:r>
              <a:rPr lang="en-US" b="1" dirty="0"/>
              <a:t>1 </a:t>
            </a:r>
            <a:r>
              <a:rPr lang="en-US" dirty="0"/>
              <a:t>CPUC all party meeting (October 2020)</a:t>
            </a:r>
          </a:p>
          <a:p>
            <a:pPr marL="0" indent="0">
              <a:buNone/>
            </a:pPr>
            <a:endParaRPr lang="en-US" dirty="0"/>
          </a:p>
          <a:p>
            <a:pPr marL="0" indent="0">
              <a:buNone/>
            </a:pPr>
            <a:r>
              <a:rPr lang="en-US" dirty="0"/>
              <a:t>Identified areas for process improvement:</a:t>
            </a:r>
          </a:p>
          <a:p>
            <a:r>
              <a:rPr lang="en-US" dirty="0"/>
              <a:t>Timing: delays in solicitations, unpredictable schedule </a:t>
            </a:r>
          </a:p>
          <a:p>
            <a:r>
              <a:rPr lang="en-US" dirty="0"/>
              <a:t>Feedback to bidders: Lack thereof -&gt; lack of meaningful feedback</a:t>
            </a:r>
          </a:p>
          <a:p>
            <a:r>
              <a:rPr lang="en-US" dirty="0"/>
              <a:t>Two stage process: Complexity of RFA</a:t>
            </a:r>
          </a:p>
          <a:p>
            <a:r>
              <a:rPr lang="en-US" dirty="0"/>
              <a:t>Other: feasibility for small and diverse bidders, frequency and transparency on third party process, risk to bidder vs. IOU</a:t>
            </a:r>
          </a:p>
        </p:txBody>
      </p:sp>
    </p:spTree>
    <p:extLst>
      <p:ext uri="{BB962C8B-B14F-4D97-AF65-F5344CB8AC3E}">
        <p14:creationId xmlns:p14="http://schemas.microsoft.com/office/powerpoint/2010/main" val="254327329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ChangeArrowheads="1"/>
          </p:cNvSpPr>
          <p:nvPr>
            <p:ph type="title"/>
          </p:nvPr>
        </p:nvSpPr>
        <p:spPr/>
        <p:txBody>
          <a:bodyPr/>
          <a:lstStyle/>
          <a:p>
            <a:r>
              <a:rPr lang="en-US" altLang="en-US" sz="2800" dirty="0"/>
              <a:t>Two-Stage Task Force – Themes for Reducing RFA</a:t>
            </a:r>
          </a:p>
        </p:txBody>
      </p:sp>
      <p:sp>
        <p:nvSpPr>
          <p:cNvPr id="33795" name="Rectangle 3"/>
          <p:cNvSpPr>
            <a:spLocks noGrp="1" noChangeArrowheads="1"/>
          </p:cNvSpPr>
          <p:nvPr>
            <p:ph type="body" idx="1"/>
          </p:nvPr>
        </p:nvSpPr>
        <p:spPr/>
        <p:txBody>
          <a:bodyPr/>
          <a:lstStyle/>
          <a:p>
            <a:r>
              <a:rPr lang="en-US" sz="2400" dirty="0"/>
              <a:t>IOUs have made substantial progress in reducing the required information that bidders must submit in their Abstracts.</a:t>
            </a:r>
          </a:p>
          <a:p>
            <a:r>
              <a:rPr lang="en-US" sz="2400" dirty="0"/>
              <a:t>Further envisioned changes include:</a:t>
            </a:r>
          </a:p>
          <a:p>
            <a:pPr lvl="1"/>
            <a:r>
              <a:rPr lang="en-US" sz="2204" dirty="0"/>
              <a:t>Limiting the “information-only” portions of the RFA</a:t>
            </a:r>
          </a:p>
          <a:p>
            <a:pPr lvl="1"/>
            <a:r>
              <a:rPr lang="en-US" sz="2204" dirty="0"/>
              <a:t>Further reducing the number of and refining the content of questions posed to bidders</a:t>
            </a:r>
          </a:p>
          <a:p>
            <a:pPr lvl="1"/>
            <a:r>
              <a:rPr lang="en-US" sz="2204" dirty="0"/>
              <a:t>Designating RFA and RFP to collect different information </a:t>
            </a:r>
          </a:p>
          <a:p>
            <a:pPr lvl="1"/>
            <a:r>
              <a:rPr lang="en-US" sz="2204" dirty="0"/>
              <a:t>Potentially shifting to an RFQ in place of an RFA</a:t>
            </a:r>
          </a:p>
          <a:p>
            <a:r>
              <a:rPr lang="en-US" sz="2400" dirty="0"/>
              <a:t>Be clear about salient information requested at each stage that helps facilitate:</a:t>
            </a:r>
          </a:p>
          <a:p>
            <a:pPr lvl="1"/>
            <a:r>
              <a:rPr lang="en-US" sz="2204" dirty="0"/>
              <a:t>Streamlining the overall process</a:t>
            </a:r>
          </a:p>
          <a:p>
            <a:pPr lvl="1"/>
            <a:r>
              <a:rPr lang="en-US" sz="2200" dirty="0"/>
              <a:t>Accurate decision-making about programs and implementers</a:t>
            </a:r>
          </a:p>
          <a:p>
            <a:pPr lvl="1"/>
            <a:r>
              <a:rPr lang="en-US" sz="2200" dirty="0"/>
              <a:t>Reduced solicitation timelines, to include contracting, and</a:t>
            </a:r>
          </a:p>
          <a:p>
            <a:pPr lvl="1"/>
            <a:r>
              <a:rPr lang="en-US" sz="2200" dirty="0"/>
              <a:t>Positioning selected programs/implementers for success in implementation</a:t>
            </a:r>
          </a:p>
          <a:p>
            <a:endParaRPr lang="en-US" sz="2400" dirty="0"/>
          </a:p>
          <a:p>
            <a:endParaRPr lang="en-US" sz="2400" dirty="0"/>
          </a:p>
          <a:p>
            <a:endParaRPr lang="en-US" sz="2400" dirty="0"/>
          </a:p>
          <a:p>
            <a:endParaRPr lang="en-US" sz="2400" dirty="0"/>
          </a:p>
          <a:p>
            <a:endParaRPr lang="en-US" sz="2400" dirty="0"/>
          </a:p>
        </p:txBody>
      </p:sp>
    </p:spTree>
    <p:extLst>
      <p:ext uri="{BB962C8B-B14F-4D97-AF65-F5344CB8AC3E}">
        <p14:creationId xmlns:p14="http://schemas.microsoft.com/office/powerpoint/2010/main" val="29001343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9879EEE-3251-F340-99B3-12FAAE169668}"/>
              </a:ext>
            </a:extLst>
          </p:cNvPr>
          <p:cNvSpPr>
            <a:spLocks noGrp="1"/>
          </p:cNvSpPr>
          <p:nvPr>
            <p:ph type="title"/>
          </p:nvPr>
        </p:nvSpPr>
        <p:spPr>
          <a:xfrm>
            <a:off x="1219200" y="3048001"/>
            <a:ext cx="10337562" cy="1362075"/>
          </a:xfrm>
        </p:spPr>
        <p:txBody>
          <a:bodyPr/>
          <a:lstStyle/>
          <a:p>
            <a:r>
              <a:rPr lang="en-US" cap="none" dirty="0"/>
              <a:t>Discussion</a:t>
            </a:r>
          </a:p>
        </p:txBody>
      </p:sp>
    </p:spTree>
    <p:extLst>
      <p:ext uri="{BB962C8B-B14F-4D97-AF65-F5344CB8AC3E}">
        <p14:creationId xmlns:p14="http://schemas.microsoft.com/office/powerpoint/2010/main" val="382986288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ChangeArrowheads="1"/>
          </p:cNvSpPr>
          <p:nvPr>
            <p:ph type="title"/>
          </p:nvPr>
        </p:nvSpPr>
        <p:spPr/>
        <p:txBody>
          <a:bodyPr/>
          <a:lstStyle/>
          <a:p>
            <a:r>
              <a:rPr lang="en-US" altLang="en-US" sz="2800" dirty="0"/>
              <a:t>Questions to Prompt Discussion</a:t>
            </a:r>
          </a:p>
        </p:txBody>
      </p:sp>
      <p:sp>
        <p:nvSpPr>
          <p:cNvPr id="33795" name="Rectangle 3"/>
          <p:cNvSpPr>
            <a:spLocks noGrp="1" noChangeArrowheads="1"/>
          </p:cNvSpPr>
          <p:nvPr>
            <p:ph type="body" idx="1"/>
          </p:nvPr>
        </p:nvSpPr>
        <p:spPr/>
        <p:txBody>
          <a:bodyPr/>
          <a:lstStyle/>
          <a:p>
            <a:pPr lvl="1"/>
            <a:endParaRPr lang="en-US" sz="2200" dirty="0"/>
          </a:p>
          <a:p>
            <a:pPr lvl="1"/>
            <a:endParaRPr lang="en-US" sz="2204" dirty="0"/>
          </a:p>
          <a:p>
            <a:endParaRPr lang="en-US" sz="2400" dirty="0"/>
          </a:p>
          <a:p>
            <a:endParaRPr lang="en-US" sz="2400" dirty="0"/>
          </a:p>
        </p:txBody>
      </p:sp>
      <p:sp>
        <p:nvSpPr>
          <p:cNvPr id="2" name="Rectangle 1">
            <a:extLst>
              <a:ext uri="{FF2B5EF4-FFF2-40B4-BE49-F238E27FC236}">
                <a16:creationId xmlns:a16="http://schemas.microsoft.com/office/drawing/2014/main" id="{9BCB0FE8-AA49-0F4C-BD6E-473431F84FAC}"/>
              </a:ext>
            </a:extLst>
          </p:cNvPr>
          <p:cNvSpPr/>
          <p:nvPr/>
        </p:nvSpPr>
        <p:spPr>
          <a:xfrm>
            <a:off x="426641" y="1122977"/>
            <a:ext cx="11338719" cy="46120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marL="336194" indent="-336194" fontAlgn="base">
              <a:spcBef>
                <a:spcPct val="20000"/>
              </a:spcBef>
              <a:spcAft>
                <a:spcPct val="0"/>
              </a:spcAft>
              <a:buFontTx/>
              <a:buChar char="•"/>
            </a:pPr>
            <a:r>
              <a:rPr lang="en-US" dirty="0">
                <a:solidFill>
                  <a:srgbClr val="191919"/>
                </a:solidFill>
                <a:latin typeface="Helvetica"/>
              </a:rPr>
              <a:t>Do bidders find IOU “information-only” data (such contract templates, CPUC policy priorities, safety manuals, etc.) useful or is there something lost if this is stripped out? </a:t>
            </a:r>
          </a:p>
          <a:p>
            <a:pPr marL="336194" indent="-336194" fontAlgn="base">
              <a:spcBef>
                <a:spcPct val="20000"/>
              </a:spcBef>
              <a:spcAft>
                <a:spcPct val="0"/>
              </a:spcAft>
              <a:buFontTx/>
              <a:buChar char="•"/>
            </a:pPr>
            <a:r>
              <a:rPr lang="en-US" dirty="0">
                <a:solidFill>
                  <a:srgbClr val="191919"/>
                </a:solidFill>
                <a:latin typeface="Helvetica"/>
              </a:rPr>
              <a:t>What are the metrics/indicators that should be used to indicate whether IOUs have achieved an RFA that strikes the appropriate balance between required information and not being overly burdensome? </a:t>
            </a:r>
          </a:p>
          <a:p>
            <a:pPr marL="336194" indent="-336194" fontAlgn="base">
              <a:spcBef>
                <a:spcPct val="20000"/>
              </a:spcBef>
              <a:spcAft>
                <a:spcPct val="0"/>
              </a:spcAft>
              <a:buFontTx/>
              <a:buChar char="•"/>
            </a:pPr>
            <a:r>
              <a:rPr lang="en-US" dirty="0">
                <a:solidFill>
                  <a:srgbClr val="191919"/>
                </a:solidFill>
                <a:latin typeface="Helvetica"/>
              </a:rPr>
              <a:t>There are no currently anticipated requirements for implementing a simplified RFA ... should there be or have the IOUs demonstrated that they have made and will continue to make progress on this front (without requirements)? </a:t>
            </a:r>
          </a:p>
          <a:p>
            <a:pPr marL="336194" indent="-336194" fontAlgn="base">
              <a:spcBef>
                <a:spcPct val="20000"/>
              </a:spcBef>
              <a:spcAft>
                <a:spcPct val="0"/>
              </a:spcAft>
              <a:buFontTx/>
              <a:buChar char="•"/>
            </a:pPr>
            <a:r>
              <a:rPr lang="en-US" dirty="0">
                <a:solidFill>
                  <a:srgbClr val="191919"/>
                </a:solidFill>
                <a:latin typeface="Helvetica"/>
              </a:rPr>
              <a:t>IOUs (now):</a:t>
            </a:r>
          </a:p>
          <a:p>
            <a:pPr marL="728420" lvl="1" indent="-280162" fontAlgn="base">
              <a:spcBef>
                <a:spcPct val="20000"/>
              </a:spcBef>
              <a:spcAft>
                <a:spcPct val="0"/>
              </a:spcAft>
              <a:buFontTx/>
              <a:buChar char="–"/>
            </a:pPr>
            <a:r>
              <a:rPr lang="en-US" dirty="0">
                <a:solidFill>
                  <a:srgbClr val="191919"/>
                </a:solidFill>
                <a:latin typeface="Helvetica"/>
              </a:rPr>
              <a:t>How about having Stage 1 be an RFQ rather than an abstract to shorten the overall timeline? </a:t>
            </a:r>
          </a:p>
          <a:p>
            <a:pPr marL="728420" lvl="1" indent="-280162" fontAlgn="base">
              <a:spcBef>
                <a:spcPct val="20000"/>
              </a:spcBef>
              <a:spcAft>
                <a:spcPct val="0"/>
              </a:spcAft>
              <a:buFontTx/>
              <a:buChar char="–"/>
            </a:pPr>
            <a:r>
              <a:rPr lang="en-US" dirty="0">
                <a:solidFill>
                  <a:srgbClr val="191919"/>
                </a:solidFill>
                <a:latin typeface="Helvetica"/>
              </a:rPr>
              <a:t>Prior to participating in solicitations with a 2-stage process, what was the expectation of information level requested for abstract?</a:t>
            </a:r>
          </a:p>
          <a:p>
            <a:pPr marL="728420" lvl="1" indent="-280162" fontAlgn="base">
              <a:spcBef>
                <a:spcPct val="20000"/>
              </a:spcBef>
              <a:spcAft>
                <a:spcPct val="0"/>
              </a:spcAft>
              <a:buFontTx/>
              <a:buChar char="–"/>
            </a:pPr>
            <a:r>
              <a:rPr lang="en-US" dirty="0">
                <a:solidFill>
                  <a:srgbClr val="191919"/>
                </a:solidFill>
                <a:latin typeface="Helvetica"/>
              </a:rPr>
              <a:t>What are some alternative models of how to collect and assess program innovation? </a:t>
            </a:r>
          </a:p>
          <a:p>
            <a:pPr marL="336194" indent="-336194" fontAlgn="base">
              <a:spcBef>
                <a:spcPct val="20000"/>
              </a:spcBef>
              <a:spcAft>
                <a:spcPct val="0"/>
              </a:spcAft>
              <a:buFontTx/>
              <a:buChar char="•"/>
            </a:pPr>
            <a:r>
              <a:rPr lang="en-US" dirty="0">
                <a:solidFill>
                  <a:srgbClr val="191919"/>
                </a:solidFill>
                <a:latin typeface="Helvetica"/>
              </a:rPr>
              <a:t>IOUs (later):</a:t>
            </a:r>
          </a:p>
          <a:p>
            <a:pPr marL="728420" lvl="1" indent="-280162" fontAlgn="base">
              <a:spcBef>
                <a:spcPct val="20000"/>
              </a:spcBef>
              <a:spcAft>
                <a:spcPct val="0"/>
              </a:spcAft>
              <a:buFontTx/>
              <a:buChar char="–"/>
            </a:pPr>
            <a:r>
              <a:rPr lang="en-US" dirty="0">
                <a:solidFill>
                  <a:srgbClr val="191919"/>
                </a:solidFill>
                <a:latin typeface="Helvetica"/>
              </a:rPr>
              <a:t>What are the top process improvement priorities of bidders? (minimize RFA timeline, minimize overall timeline, minimize RFA information requirements, minimize overall information requirements, improve innovation, others?.... Please rank order)</a:t>
            </a:r>
          </a:p>
          <a:p>
            <a:pPr marL="728420" lvl="1" indent="-280162" fontAlgn="base">
              <a:spcBef>
                <a:spcPct val="20000"/>
              </a:spcBef>
              <a:spcAft>
                <a:spcPct val="0"/>
              </a:spcAft>
              <a:buFontTx/>
              <a:buChar char="–"/>
            </a:pPr>
            <a:r>
              <a:rPr lang="en-US" dirty="0">
                <a:solidFill>
                  <a:srgbClr val="191919"/>
                </a:solidFill>
                <a:latin typeface="Helvetica"/>
              </a:rPr>
              <a:t>Should subcontractor questions be deferred until RFP?</a:t>
            </a:r>
          </a:p>
          <a:p>
            <a:pPr marL="728420" lvl="1" indent="-280162" fontAlgn="base">
              <a:spcBef>
                <a:spcPct val="20000"/>
              </a:spcBef>
              <a:spcAft>
                <a:spcPct val="0"/>
              </a:spcAft>
              <a:buFontTx/>
              <a:buChar char="–"/>
            </a:pPr>
            <a:endParaRPr lang="en-US" dirty="0">
              <a:solidFill>
                <a:srgbClr val="191919"/>
              </a:solidFill>
              <a:latin typeface="Helvetica"/>
            </a:endParaRPr>
          </a:p>
          <a:p>
            <a:pPr marL="728420" lvl="1" indent="-280162" fontAlgn="base">
              <a:spcBef>
                <a:spcPct val="20000"/>
              </a:spcBef>
              <a:spcAft>
                <a:spcPct val="0"/>
              </a:spcAft>
              <a:buFontTx/>
              <a:buChar char="–"/>
            </a:pPr>
            <a:endParaRPr lang="en-US" dirty="0">
              <a:solidFill>
                <a:srgbClr val="191919"/>
              </a:solidFill>
              <a:latin typeface="Helvetica"/>
            </a:endParaRPr>
          </a:p>
          <a:p>
            <a:pPr marL="728420" lvl="1" indent="-280162" fontAlgn="base">
              <a:spcBef>
                <a:spcPct val="20000"/>
              </a:spcBef>
              <a:spcAft>
                <a:spcPct val="0"/>
              </a:spcAft>
              <a:buFontTx/>
              <a:buChar char="–"/>
            </a:pPr>
            <a:endParaRPr lang="en-US" dirty="0">
              <a:solidFill>
                <a:srgbClr val="191919"/>
              </a:solidFill>
              <a:latin typeface="Helvetica"/>
            </a:endParaRPr>
          </a:p>
          <a:p>
            <a:pPr marL="728420" lvl="1" indent="-280162" fontAlgn="base">
              <a:spcBef>
                <a:spcPct val="20000"/>
              </a:spcBef>
              <a:spcAft>
                <a:spcPct val="0"/>
              </a:spcAft>
              <a:buFontTx/>
              <a:buChar char="–"/>
            </a:pPr>
            <a:endParaRPr lang="en-US" dirty="0">
              <a:solidFill>
                <a:srgbClr val="191919"/>
              </a:solidFill>
              <a:latin typeface="Helvetica"/>
            </a:endParaRPr>
          </a:p>
          <a:p>
            <a:pPr marL="336194" indent="-336194" fontAlgn="base">
              <a:spcBef>
                <a:spcPct val="20000"/>
              </a:spcBef>
              <a:spcAft>
                <a:spcPct val="0"/>
              </a:spcAft>
              <a:buFontTx/>
              <a:buChar char="•"/>
            </a:pPr>
            <a:endParaRPr lang="en-US" sz="2000" dirty="0">
              <a:solidFill>
                <a:srgbClr val="191919"/>
              </a:solidFill>
              <a:latin typeface="Helvetica"/>
            </a:endParaRPr>
          </a:p>
        </p:txBody>
      </p:sp>
    </p:spTree>
    <p:extLst>
      <p:ext uri="{BB962C8B-B14F-4D97-AF65-F5344CB8AC3E}">
        <p14:creationId xmlns:p14="http://schemas.microsoft.com/office/powerpoint/2010/main" val="46709427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299E818-201C-FD4B-9802-E03DAAFB4FB2}"/>
              </a:ext>
            </a:extLst>
          </p:cNvPr>
          <p:cNvSpPr txBox="1">
            <a:spLocks/>
          </p:cNvSpPr>
          <p:nvPr/>
        </p:nvSpPr>
        <p:spPr>
          <a:xfrm>
            <a:off x="178419" y="466795"/>
            <a:ext cx="9070083" cy="535531"/>
          </a:xfrm>
          <a:prstGeom prst="rect">
            <a:avLst/>
          </a:prstGeom>
        </p:spPr>
        <p:txBody>
          <a:bodyPr wrap="square">
            <a:spAutoFit/>
          </a:bodyPr>
          <a:lstStyle>
            <a:lvl1pPr algn="l" defTabSz="914400" rtl="0" eaLnBrk="1" latinLnBrk="0" hangingPunct="1">
              <a:lnSpc>
                <a:spcPct val="90000"/>
              </a:lnSpc>
              <a:spcBef>
                <a:spcPct val="0"/>
              </a:spcBef>
              <a:buNone/>
              <a:defRPr sz="4400" kern="1200" baseline="0">
                <a:solidFill>
                  <a:schemeClr val="tx1"/>
                </a:solidFill>
                <a:latin typeface="Arial" panose="020B0604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Arial" panose="020B0604020202020204" pitchFamily="34" charset="0"/>
                <a:ea typeface="+mj-ea"/>
                <a:cs typeface="+mj-cs"/>
              </a:rPr>
              <a:t>SDG&amp;E – RFA Simplification</a:t>
            </a:r>
          </a:p>
        </p:txBody>
      </p:sp>
      <p:sp>
        <p:nvSpPr>
          <p:cNvPr id="7" name="Text Placeholder 5">
            <a:extLst>
              <a:ext uri="{FF2B5EF4-FFF2-40B4-BE49-F238E27FC236}">
                <a16:creationId xmlns:a16="http://schemas.microsoft.com/office/drawing/2014/main" id="{EE7685EB-6362-5B42-935E-9E7B6092F37D}"/>
              </a:ext>
            </a:extLst>
          </p:cNvPr>
          <p:cNvSpPr txBox="1">
            <a:spLocks/>
          </p:cNvSpPr>
          <p:nvPr/>
        </p:nvSpPr>
        <p:spPr>
          <a:xfrm>
            <a:off x="178420" y="1220154"/>
            <a:ext cx="9070082" cy="5171051"/>
          </a:xfrm>
          <a:prstGeom prst="rect">
            <a:avLst/>
          </a:prstGeom>
        </p:spPr>
        <p:txBody>
          <a:bodyPr/>
          <a:lstStyle>
            <a:lvl1pPr marL="0" indent="0" algn="l" defTabSz="914400" rtl="0" eaLnBrk="1" latinLnBrk="0" hangingPunct="1">
              <a:lnSpc>
                <a:spcPct val="90000"/>
              </a:lnSpc>
              <a:spcBef>
                <a:spcPts val="1000"/>
              </a:spcBef>
              <a:buFontTx/>
              <a:buNone/>
              <a:defRPr sz="1800" b="1" i="0" kern="1200" baseline="0">
                <a:solidFill>
                  <a:schemeClr val="tx1"/>
                </a:solidFill>
                <a:latin typeface="Arial" panose="020B0604020202020204" pitchFamily="34" charset="0"/>
                <a:ea typeface="+mn-ea"/>
                <a:cs typeface="+mn-cs"/>
              </a:defRPr>
            </a:lvl1pPr>
            <a:lvl2pPr marL="457200" indent="0" algn="l" defTabSz="914400" rtl="0" eaLnBrk="1" latinLnBrk="0" hangingPunct="1">
              <a:lnSpc>
                <a:spcPct val="90000"/>
              </a:lnSpc>
              <a:spcBef>
                <a:spcPts val="500"/>
              </a:spcBef>
              <a:buFontTx/>
              <a:buNone/>
              <a:defRPr sz="2400" kern="1200" baseline="0">
                <a:solidFill>
                  <a:schemeClr val="tx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Tx/>
              <a:buNone/>
              <a:defRPr sz="2000" kern="1200" baseline="0">
                <a:solidFill>
                  <a:schemeClr val="tx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Tx/>
              <a:buNone/>
              <a:defRPr sz="1800" kern="1200" baseline="0">
                <a:solidFill>
                  <a:schemeClr val="tx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Tx/>
              <a:buNone/>
              <a:defRPr sz="1800" kern="1200" baseline="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What simplifications have you recently made in the RFA?</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Reduced the number of RFA questions to 10, down from 24</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Eliminated two documents (Marketing/Co-Branding and Invoicing Requirements)</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Changed the RFA Response Form format from Excel to Word</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What principles drive what is behind your must-haves?</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Focus should be on soliciting information to allow for sound decision making on whom to move forward to the RFP phase (e.g., experience, design, compliance)</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Striking a balance between requesting bidders to review too much information and sharing enough to ensure bidders are set up for success in the RFP phase</a:t>
            </a:r>
          </a:p>
          <a:p>
            <a:pPr marL="0" marR="0" lvl="0" indent="0" algn="l" defTabSz="914400" rtl="0" eaLnBrk="1" fontAlgn="auto" latinLnBrk="0" hangingPunct="1">
              <a:lnSpc>
                <a:spcPct val="90000"/>
              </a:lnSpc>
              <a:spcBef>
                <a:spcPts val="100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What questions/ideas do you have for stakeholders?</a:t>
            </a:r>
          </a:p>
          <a:p>
            <a:pPr marL="285750" marR="0" lvl="0" indent="-28575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Is there anything in particular regarding background documentation shared that is of most importance to you? E.g., CET Guide, Allowable Costs, EE Policy Manual</a:t>
            </a:r>
          </a:p>
        </p:txBody>
      </p:sp>
    </p:spTree>
    <p:extLst>
      <p:ext uri="{BB962C8B-B14F-4D97-AF65-F5344CB8AC3E}">
        <p14:creationId xmlns:p14="http://schemas.microsoft.com/office/powerpoint/2010/main" val="363107939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C55FEC0B-286E-4FEA-AE22-96BCD1E2AAFA}"/>
              </a:ext>
            </a:extLst>
          </p:cNvPr>
          <p:cNvSpPr txBox="1"/>
          <p:nvPr/>
        </p:nvSpPr>
        <p:spPr>
          <a:xfrm>
            <a:off x="117391" y="49653"/>
            <a:ext cx="10946200"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243175"/>
                </a:solidFill>
                <a:effectLst/>
                <a:uLnTx/>
                <a:uFillTx/>
                <a:latin typeface="Arial Narrow" panose="020B0606020202030204" pitchFamily="34" charset="0"/>
                <a:ea typeface="+mn-ea"/>
                <a:cs typeface="Arial"/>
              </a:rPr>
              <a:t>SoCalGas – RFA Simplifications</a:t>
            </a:r>
          </a:p>
        </p:txBody>
      </p:sp>
      <p:sp>
        <p:nvSpPr>
          <p:cNvPr id="4" name="TextBox 3">
            <a:extLst>
              <a:ext uri="{FF2B5EF4-FFF2-40B4-BE49-F238E27FC236}">
                <a16:creationId xmlns:a16="http://schemas.microsoft.com/office/drawing/2014/main" id="{E150244F-FE5E-4EEB-8701-0B77154FD590}"/>
              </a:ext>
            </a:extLst>
          </p:cNvPr>
          <p:cNvSpPr txBox="1"/>
          <p:nvPr/>
        </p:nvSpPr>
        <p:spPr>
          <a:xfrm>
            <a:off x="557718" y="1067029"/>
            <a:ext cx="10946200" cy="4801314"/>
          </a:xfrm>
          <a:prstGeom prst="rect">
            <a:avLst/>
          </a:prstGeom>
          <a:noFill/>
        </p:spPr>
        <p:txBody>
          <a:bodyPr wrap="square" rtlCol="0">
            <a:spAutoFit/>
          </a:bodyPr>
          <a:lstStyle/>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What simplifications have you recently made in the RFA?</a:t>
            </a:r>
          </a:p>
          <a:p>
            <a:pPr marL="742950" marR="0" lvl="1" indent="-285750" algn="l" defTabSz="914400" rtl="0" eaLnBrk="1" fontAlgn="base" latinLnBrk="0" hangingPunct="1">
              <a:lnSpc>
                <a:spcPct val="100000"/>
              </a:lnSpc>
              <a:spcBef>
                <a:spcPts val="0"/>
              </a:spcBef>
              <a:spcAft>
                <a:spcPts val="0"/>
              </a:spcAft>
              <a:buClrTx/>
              <a:buSzPts val="1000"/>
              <a:buFont typeface="Courier New" panose="02070309020205020404" pitchFamily="49" charset="0"/>
              <a:buChar char="o"/>
              <a:tabLst>
                <a:tab pos="-228600" algn="l"/>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duced the number of documents and questions in the RFA submittal stage </a:t>
            </a:r>
          </a:p>
          <a:p>
            <a:pPr marL="1200150" marR="0" lvl="2" indent="-285750" algn="l" defTabSz="914400" rtl="0" eaLnBrk="1" fontAlgn="base" latinLnBrk="0" hangingPunct="1">
              <a:lnSpc>
                <a:spcPct val="100000"/>
              </a:lnSpc>
              <a:spcBef>
                <a:spcPts val="0"/>
              </a:spcBef>
              <a:spcAft>
                <a:spcPts val="0"/>
              </a:spcAft>
              <a:buClrTx/>
              <a:buSzPts val="1000"/>
              <a:buFont typeface="Courier New" panose="02070309020205020404" pitchFamily="49" charset="0"/>
              <a:buChar char="o"/>
              <a:tabLst>
                <a:tab pos="-228600" algn="l"/>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FA template from 20 questions down to 12 questions  </a:t>
            </a:r>
          </a:p>
          <a:p>
            <a:pPr marL="1200150" marR="0" lvl="2" indent="-285750" algn="l" defTabSz="914400" rtl="0" eaLnBrk="1" fontAlgn="base" latinLnBrk="0" hangingPunct="1">
              <a:lnSpc>
                <a:spcPct val="100000"/>
              </a:lnSpc>
              <a:spcBef>
                <a:spcPts val="0"/>
              </a:spcBef>
              <a:spcAft>
                <a:spcPts val="0"/>
              </a:spcAft>
              <a:buClrTx/>
              <a:buSzPts val="1000"/>
              <a:buFont typeface="Courier New" panose="02070309020205020404" pitchFamily="49" charset="0"/>
              <a:buChar char="o"/>
              <a:tabLst>
                <a:tab pos="-228600" algn="l"/>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road overview of the proposed program and budget (a total of 3 documents,15 pages)  </a:t>
            </a:r>
          </a:p>
          <a:p>
            <a:pPr marL="742950" marR="0" lvl="1" indent="-285750" algn="l" defTabSz="914400" rtl="0" eaLnBrk="1" fontAlgn="base" latinLnBrk="0" hangingPunct="1">
              <a:lnSpc>
                <a:spcPct val="100000"/>
              </a:lnSpc>
              <a:spcBef>
                <a:spcPts val="0"/>
              </a:spcBef>
              <a:spcAft>
                <a:spcPts val="0"/>
              </a:spcAft>
              <a:buClrTx/>
              <a:buSzPts val="1000"/>
              <a:buFont typeface="Arial" panose="020B0604020202020204" pitchFamily="34" charset="0"/>
              <a:buChar char="•"/>
              <a:tabLst>
                <a:tab pos="-228600" algn="l"/>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What principles drive what is behind your must-haves?</a:t>
            </a:r>
          </a:p>
          <a:p>
            <a:pPr marL="742950" marR="0" lvl="1" indent="-285750" algn="l" defTabSz="914400" rtl="0" eaLnBrk="1" fontAlgn="base" latinLnBrk="0" hangingPunct="1">
              <a:lnSpc>
                <a:spcPct val="100000"/>
              </a:lnSpc>
              <a:spcBef>
                <a:spcPts val="0"/>
              </a:spcBef>
              <a:spcAft>
                <a:spcPts val="0"/>
              </a:spcAft>
              <a:buClrTx/>
              <a:buSzPts val="1000"/>
              <a:buFont typeface="Courier New" panose="02070309020205020404" pitchFamily="49" charset="0"/>
              <a:buChar char="o"/>
              <a:tabLst>
                <a:tab pos="-228600" algn="l"/>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stablish documentation/standardization</a:t>
            </a:r>
          </a:p>
          <a:p>
            <a:pPr marL="1200150" marR="0" lvl="2" indent="-285750" algn="l" defTabSz="914400" rtl="0" eaLnBrk="1" fontAlgn="base" latinLnBrk="0" hangingPunct="1">
              <a:lnSpc>
                <a:spcPct val="100000"/>
              </a:lnSpc>
              <a:spcBef>
                <a:spcPts val="0"/>
              </a:spcBef>
              <a:spcAft>
                <a:spcPts val="0"/>
              </a:spcAft>
              <a:buClrTx/>
              <a:buSzPts val="1000"/>
              <a:buFont typeface="Courier New" panose="02070309020205020404" pitchFamily="49" charset="0"/>
              <a:buChar char="o"/>
              <a:tabLst>
                <a:tab pos="-228600" algn="l"/>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reate consistent and standard execution procedures</a:t>
            </a:r>
          </a:p>
          <a:p>
            <a:pPr marL="1200150" marR="0" lvl="2" indent="-285750" algn="l" defTabSz="914400" rtl="0" eaLnBrk="1" fontAlgn="base" latinLnBrk="0" hangingPunct="1">
              <a:lnSpc>
                <a:spcPct val="100000"/>
              </a:lnSpc>
              <a:spcBef>
                <a:spcPts val="0"/>
              </a:spcBef>
              <a:spcAft>
                <a:spcPts val="0"/>
              </a:spcAft>
              <a:buClrTx/>
              <a:buSzPts val="1000"/>
              <a:buFont typeface="Courier New" panose="02070309020205020404" pitchFamily="49" charset="0"/>
              <a:buChar char="o"/>
              <a:tabLst>
                <a:tab pos="-228600" algn="l"/>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raining on process and procedures to further ensure consistency in contract execution</a:t>
            </a:r>
          </a:p>
          <a:p>
            <a:pPr marL="1200150" marR="0" lvl="2" indent="-285750" algn="l" defTabSz="914400" rtl="0" eaLnBrk="1" fontAlgn="base" latinLnBrk="0" hangingPunct="1">
              <a:lnSpc>
                <a:spcPct val="100000"/>
              </a:lnSpc>
              <a:spcBef>
                <a:spcPts val="0"/>
              </a:spcBef>
              <a:spcAft>
                <a:spcPts val="0"/>
              </a:spcAft>
              <a:buClrTx/>
              <a:buSzPts val="1000"/>
              <a:buFont typeface="Courier New" panose="02070309020205020404" pitchFamily="49" charset="0"/>
              <a:buChar char="o"/>
              <a:tabLst>
                <a:tab pos="-228600" algn="l"/>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742950" marR="0" lvl="1" indent="-285750" algn="l" defTabSz="914400" rtl="0" eaLnBrk="1" fontAlgn="base" latinLnBrk="0" hangingPunct="1">
              <a:lnSpc>
                <a:spcPct val="100000"/>
              </a:lnSpc>
              <a:spcBef>
                <a:spcPts val="0"/>
              </a:spcBef>
              <a:spcAft>
                <a:spcPts val="0"/>
              </a:spcAft>
              <a:buClrTx/>
              <a:buSzPts val="1000"/>
              <a:buFont typeface="Courier New" panose="02070309020205020404" pitchFamily="49" charset="0"/>
              <a:buChar char="o"/>
              <a:tabLst>
                <a:tab pos="-228600" algn="l"/>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chieve time savings </a:t>
            </a:r>
          </a:p>
          <a:p>
            <a:pPr marL="1200150" marR="0" lvl="2" indent="-285750" algn="l" defTabSz="914400" rtl="0" eaLnBrk="1" fontAlgn="base" latinLnBrk="0" hangingPunct="1">
              <a:lnSpc>
                <a:spcPct val="100000"/>
              </a:lnSpc>
              <a:spcBef>
                <a:spcPts val="0"/>
              </a:spcBef>
              <a:spcAft>
                <a:spcPts val="0"/>
              </a:spcAft>
              <a:buClrTx/>
              <a:buSzPts val="1000"/>
              <a:buFont typeface="Courier New" panose="02070309020205020404" pitchFamily="49" charset="0"/>
              <a:buChar char="o"/>
              <a:tabLst>
                <a:tab pos="-228600" algn="l"/>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duce number of documents/questions</a:t>
            </a:r>
          </a:p>
          <a:p>
            <a:pPr marL="1200150" marR="0" lvl="2" indent="-285750" algn="l" defTabSz="914400" rtl="0" eaLnBrk="1" fontAlgn="base" latinLnBrk="0" hangingPunct="1">
              <a:lnSpc>
                <a:spcPct val="100000"/>
              </a:lnSpc>
              <a:spcBef>
                <a:spcPts val="0"/>
              </a:spcBef>
              <a:spcAft>
                <a:spcPts val="0"/>
              </a:spcAft>
              <a:buClrTx/>
              <a:buSzPts val="1000"/>
              <a:buFont typeface="Courier New" panose="02070309020205020404" pitchFamily="49" charset="0"/>
              <a:buChar char="o"/>
              <a:tabLst>
                <a:tab pos="-228600" algn="l"/>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duce complexity of questions and documents </a:t>
            </a:r>
          </a:p>
          <a:p>
            <a:pPr marL="1200150" marR="0" lvl="2" indent="-285750" algn="l" defTabSz="914400" rtl="0" eaLnBrk="1" fontAlgn="base" latinLnBrk="0" hangingPunct="1">
              <a:lnSpc>
                <a:spcPct val="100000"/>
              </a:lnSpc>
              <a:spcBef>
                <a:spcPts val="0"/>
              </a:spcBef>
              <a:spcAft>
                <a:spcPts val="0"/>
              </a:spcAft>
              <a:buClrTx/>
              <a:buSzPts val="1000"/>
              <a:buFont typeface="Courier New" panose="02070309020205020404" pitchFamily="49" charset="0"/>
              <a:buChar char="o"/>
              <a:tabLst>
                <a:tab pos="-228600" algn="l"/>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bility to plan and accurately forecast future contract execution utilizing the same methodolog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What questions/ideas do you have for stakeholders?</a:t>
            </a:r>
          </a:p>
          <a:p>
            <a:pPr marL="742950" marR="0" lvl="1" indent="-285750" algn="l" defTabSz="914400" rtl="0" eaLnBrk="1" fontAlgn="base" latinLnBrk="0" hangingPunct="1">
              <a:lnSpc>
                <a:spcPct val="100000"/>
              </a:lnSpc>
              <a:spcBef>
                <a:spcPts val="0"/>
              </a:spcBef>
              <a:spcAft>
                <a:spcPts val="0"/>
              </a:spcAft>
              <a:buClrTx/>
              <a:buSzPts val="1000"/>
              <a:buFont typeface="Courier New" panose="02070309020205020404" pitchFamily="49" charset="0"/>
              <a:buChar char="o"/>
              <a:tabLst>
                <a:tab pos="457200" algn="l"/>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hat do you think about making Stage 1 as an RFQ process rather than an abstract to shorten the overall timeline? The RFQ process could then move all program design/innovation/budget questions to the RFP stage. </a:t>
            </a:r>
            <a:b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12827427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26EEB01-EFBC-4D9B-888B-362729E8EDDB}"/>
              </a:ext>
            </a:extLst>
          </p:cNvPr>
          <p:cNvSpPr txBox="1"/>
          <p:nvPr/>
        </p:nvSpPr>
        <p:spPr>
          <a:xfrm>
            <a:off x="818781" y="1114272"/>
            <a:ext cx="10720076" cy="5355312"/>
          </a:xfrm>
          <a:prstGeom prst="rect">
            <a:avLst/>
          </a:prstGeom>
          <a:noFill/>
          <a:ln>
            <a:noFill/>
          </a:ln>
        </p:spPr>
        <p:txBody>
          <a:bodyPr wrap="square"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mn-cs"/>
              </a:rPr>
              <a:t>What simplifications have you recently made in the RFA?</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Future solicitations will be predominantly smaller and more targeted in scope</a:t>
            </a:r>
          </a:p>
          <a:p>
            <a:pPr marL="742950" marR="0" lvl="1"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Removes Program Function concept</a:t>
            </a:r>
          </a:p>
          <a:p>
            <a:pPr marL="742950" marR="0" lvl="1"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Identifies target customer</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Propose giving each stage a specific purpose and avoid RFA being a “mini-RFP”</a:t>
            </a:r>
          </a:p>
          <a:p>
            <a:pPr marL="742950" marR="0" lvl="1"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RFA to focus on Program Concept, Company Experience, Innovation and Small/Diverse Business</a:t>
            </a:r>
          </a:p>
          <a:p>
            <a:pPr marL="742950" marR="0" lvl="1"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RFP to focus on Program Feasibility, Implementation, Benefits, Cost Effectiveness and Compensation</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mn-cs"/>
              </a:rPr>
              <a:t>What principles drive what is behind your must-haves?</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Overall size of original RFA was reasonable (10 pages) / provided adequate flexibility to submit novel ideas</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Provide more structure within RFA to reduce response effort (smaller more specific questions)</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Optimize / balance information requested across all stages (RFA /RFP / Contracting / IP) to minimize overall solicitation timeline</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mn-cs"/>
              </a:rPr>
              <a:t>What questions/ideas do you have for stakeholders?</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highlight>
                  <a:srgbClr val="FFFF00"/>
                </a:highlight>
                <a:uLnTx/>
                <a:uFillTx/>
                <a:latin typeface="Calibri"/>
                <a:ea typeface="+mn-ea"/>
                <a:cs typeface="+mn-cs"/>
              </a:rPr>
              <a:t>What are some alternative models of how to collect and assess program innovation?</a:t>
            </a:r>
          </a:p>
          <a:p>
            <a:pPr marL="285750" marR="0" lvl="0" indent="-2857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What are the top process improvement priorities of bidders? (minimize RFA timeline, </a:t>
            </a:r>
            <a:r>
              <a:rPr kumimoji="0" lang="en-US" sz="1800" b="1" i="0" u="none" strike="noStrike" kern="1200" cap="none" spc="0" normalizeH="0" baseline="0" noProof="0" dirty="0">
                <a:ln>
                  <a:noFill/>
                </a:ln>
                <a:solidFill>
                  <a:srgbClr val="000000"/>
                </a:solidFill>
                <a:effectLst/>
                <a:uLnTx/>
                <a:uFillTx/>
                <a:latin typeface="Calibri"/>
                <a:ea typeface="+mn-ea"/>
                <a:cs typeface="+mn-cs"/>
              </a:rPr>
              <a:t>minimize overall timeline</a:t>
            </a:r>
            <a:r>
              <a:rPr kumimoji="0" lang="en-US" sz="1800" b="0" i="0" u="none" strike="noStrike" kern="1200" cap="none" spc="0" normalizeH="0" baseline="0" noProof="0" dirty="0">
                <a:ln>
                  <a:noFill/>
                </a:ln>
                <a:solidFill>
                  <a:srgbClr val="000000"/>
                </a:solidFill>
                <a:effectLst/>
                <a:uLnTx/>
                <a:uFillTx/>
                <a:latin typeface="Calibri"/>
                <a:ea typeface="+mn-ea"/>
                <a:cs typeface="+mn-cs"/>
              </a:rPr>
              <a:t>, minimize RFA information requirements, minimize overall information requirements, improve innovation, others?.... Please rank order)</a:t>
            </a:r>
          </a:p>
        </p:txBody>
      </p:sp>
      <p:sp>
        <p:nvSpPr>
          <p:cNvPr id="2" name="Title 1"/>
          <p:cNvSpPr>
            <a:spLocks noGrp="1"/>
          </p:cNvSpPr>
          <p:nvPr>
            <p:ph type="title"/>
          </p:nvPr>
        </p:nvSpPr>
        <p:spPr/>
        <p:txBody>
          <a:bodyPr/>
          <a:lstStyle/>
          <a:p>
            <a:r>
              <a:rPr lang="en-US" sz="3200" dirty="0"/>
              <a:t>PG&amp;E – RFA Simplification</a:t>
            </a:r>
          </a:p>
        </p:txBody>
      </p:sp>
    </p:spTree>
    <p:extLst>
      <p:ext uri="{BB962C8B-B14F-4D97-AF65-F5344CB8AC3E}">
        <p14:creationId xmlns:p14="http://schemas.microsoft.com/office/powerpoint/2010/main" val="258249991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0353" y="18255"/>
            <a:ext cx="11462638" cy="1325563"/>
          </a:xfrm>
        </p:spPr>
        <p:txBody>
          <a:bodyPr>
            <a:normAutofit/>
          </a:bodyPr>
          <a:lstStyle/>
          <a:p>
            <a:r>
              <a:rPr lang="en-US" b="1" dirty="0">
                <a:cs typeface="Segoe UI Light" panose="020B0502040204020203" pitchFamily="34" charset="0"/>
              </a:rPr>
              <a:t>SCE – RFA Simplification</a:t>
            </a:r>
          </a:p>
        </p:txBody>
      </p:sp>
      <p:sp>
        <p:nvSpPr>
          <p:cNvPr id="4" name="Content Placeholder 3">
            <a:extLst>
              <a:ext uri="{FF2B5EF4-FFF2-40B4-BE49-F238E27FC236}">
                <a16:creationId xmlns:a16="http://schemas.microsoft.com/office/drawing/2014/main" id="{C8815DFF-2938-44E4-99C4-17ABE54DC1CE}"/>
              </a:ext>
            </a:extLst>
          </p:cNvPr>
          <p:cNvSpPr>
            <a:spLocks noGrp="1"/>
          </p:cNvSpPr>
          <p:nvPr>
            <p:ph idx="1"/>
          </p:nvPr>
        </p:nvSpPr>
        <p:spPr>
          <a:xfrm>
            <a:off x="638629" y="1143001"/>
            <a:ext cx="10955963" cy="4956047"/>
          </a:xfrm>
          <a:solidFill>
            <a:schemeClr val="bg2">
              <a:lumMod val="40000"/>
              <a:lumOff val="60000"/>
            </a:schemeClr>
          </a:solidFill>
          <a:ln w="28575">
            <a:solidFill>
              <a:schemeClr val="accent2">
                <a:lumMod val="50000"/>
              </a:schemeClr>
            </a:solidFill>
          </a:ln>
        </p:spPr>
        <p:txBody>
          <a:bodyPr vert="horz" lIns="91440" tIns="45720" rIns="91440" bIns="45720" rtlCol="0" anchor="t">
            <a:normAutofit/>
          </a:bodyPr>
          <a:lstStyle/>
          <a:p>
            <a:pPr marR="0" indent="0" fontAlgn="base">
              <a:spcBef>
                <a:spcPts val="0"/>
              </a:spcBef>
              <a:spcAft>
                <a:spcPts val="0"/>
              </a:spcAft>
              <a:buNone/>
            </a:pPr>
            <a:r>
              <a:rPr lang="en-US" dirty="0">
                <a:effectLst/>
                <a:latin typeface="Calibri" panose="020F0502020204030204" pitchFamily="34" charset="0"/>
                <a:ea typeface="Calibri" panose="020F0502020204030204" pitchFamily="34" charset="0"/>
              </a:rPr>
              <a:t>What simplifications have you recently made in the RFA?</a:t>
            </a:r>
          </a:p>
          <a:p>
            <a:pPr marL="800100" lvl="1" indent="-342900" fontAlgn="base">
              <a:spcBef>
                <a:spcPts val="0"/>
              </a:spcBef>
              <a:buSzPts val="1000"/>
              <a:buFont typeface="Courier New" panose="02070309020205020404" pitchFamily="49" charset="0"/>
              <a:buChar char="o"/>
              <a:tabLst>
                <a:tab pos="-2286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Removed the need for the narrative by adjusting the workbook, reducing potential redundancy</a:t>
            </a:r>
          </a:p>
          <a:p>
            <a:pPr marL="800100" lvl="1" indent="-342900" fontAlgn="base">
              <a:spcBef>
                <a:spcPts val="0"/>
              </a:spcBef>
              <a:buSzPts val="1000"/>
              <a:buFont typeface="Courier New" panose="02070309020205020404" pitchFamily="49" charset="0"/>
              <a:buChar char="o"/>
              <a:tabLst>
                <a:tab pos="-2286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Adopted the word doc format for the qualitative questions </a:t>
            </a:r>
          </a:p>
          <a:p>
            <a:pPr marL="800100" lvl="1" indent="-342900" fontAlgn="base">
              <a:spcBef>
                <a:spcPts val="0"/>
              </a:spcBef>
              <a:buSzPts val="1000"/>
              <a:buFont typeface="Courier New" panose="02070309020205020404" pitchFamily="49" charset="0"/>
              <a:buChar char="o"/>
              <a:tabLst>
                <a:tab pos="-2286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Removed the financial viability check at the RFA stage </a:t>
            </a:r>
          </a:p>
          <a:p>
            <a:pPr marR="0" indent="0" fontAlgn="base">
              <a:spcBef>
                <a:spcPts val="0"/>
              </a:spcBef>
              <a:spcAft>
                <a:spcPts val="0"/>
              </a:spcAft>
              <a:buNone/>
            </a:pPr>
            <a:endParaRPr lang="en-US" dirty="0">
              <a:effectLst/>
              <a:latin typeface="Calibri" panose="020F0502020204030204" pitchFamily="34" charset="0"/>
              <a:ea typeface="Calibri" panose="020F0502020204030204" pitchFamily="34" charset="0"/>
            </a:endParaRPr>
          </a:p>
          <a:p>
            <a:pPr marR="0" indent="0" fontAlgn="base">
              <a:spcBef>
                <a:spcPts val="0"/>
              </a:spcBef>
              <a:spcAft>
                <a:spcPts val="0"/>
              </a:spcAft>
              <a:buNone/>
            </a:pPr>
            <a:r>
              <a:rPr lang="en-US" dirty="0">
                <a:effectLst/>
                <a:latin typeface="Calibri" panose="020F0502020204030204" pitchFamily="34" charset="0"/>
                <a:ea typeface="Calibri" panose="020F0502020204030204" pitchFamily="34" charset="0"/>
              </a:rPr>
              <a:t>What principles drive what is behind your must-haves?</a:t>
            </a:r>
          </a:p>
          <a:p>
            <a:pPr marL="800100" lvl="1" indent="-342900" fontAlgn="base">
              <a:spcBef>
                <a:spcPts val="0"/>
              </a:spcBef>
              <a:buSzPts val="1000"/>
              <a:buFont typeface="Courier New" panose="02070309020205020404" pitchFamily="49" charset="0"/>
              <a:buChar char="o"/>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Basic bidder and abstract information </a:t>
            </a:r>
          </a:p>
          <a:p>
            <a:pPr marL="800100" lvl="1" indent="-342900" fontAlgn="base">
              <a:spcBef>
                <a:spcPts val="0"/>
              </a:spcBef>
              <a:buSzPts val="1000"/>
              <a:buFont typeface="Courier New" panose="02070309020205020404" pitchFamily="49" charset="0"/>
              <a:buChar char="o"/>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Essential information to determine feasibility/innovation of an idea (e.g., non-EE offers such as battery storage) </a:t>
            </a:r>
          </a:p>
          <a:p>
            <a:pPr marL="800100" lvl="1" indent="-342900" fontAlgn="base">
              <a:spcBef>
                <a:spcPts val="0"/>
              </a:spcBef>
              <a:buSzPts val="1000"/>
              <a:buFont typeface="Courier New" panose="02070309020205020404" pitchFamily="49" charset="0"/>
              <a:buChar char="o"/>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Data fields required for CPUC and/or PRG reporting needs </a:t>
            </a:r>
          </a:p>
          <a:p>
            <a:pPr marL="800100" lvl="1" indent="-342900" fontAlgn="base">
              <a:spcBef>
                <a:spcPts val="0"/>
              </a:spcBef>
              <a:buSzPts val="1000"/>
              <a:buFont typeface="Courier New" panose="02070309020205020404" pitchFamily="49" charset="0"/>
              <a:buChar char="o"/>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Questions that inform the development of RFP questions.</a:t>
            </a:r>
          </a:p>
          <a:p>
            <a:pPr marL="0" marR="0" indent="0" fontAlgn="base">
              <a:spcBef>
                <a:spcPts val="0"/>
              </a:spcBef>
              <a:spcAft>
                <a:spcPts val="0"/>
              </a:spcAft>
              <a:buNone/>
            </a:pPr>
            <a:r>
              <a:rPr lang="en-US" dirty="0">
                <a:effectLst/>
                <a:latin typeface="Times New Roman" panose="02020603050405020304" pitchFamily="18" charset="0"/>
                <a:ea typeface="Calibri" panose="020F0502020204030204" pitchFamily="34" charset="0"/>
              </a:rPr>
              <a:t> </a:t>
            </a:r>
            <a:endParaRPr lang="en-US" dirty="0">
              <a:effectLst/>
              <a:latin typeface="Calibri" panose="020F0502020204030204" pitchFamily="34" charset="0"/>
              <a:ea typeface="Calibri" panose="020F0502020204030204" pitchFamily="34" charset="0"/>
            </a:endParaRPr>
          </a:p>
          <a:p>
            <a:pPr marR="0" indent="0" fontAlgn="base">
              <a:spcBef>
                <a:spcPts val="0"/>
              </a:spcBef>
              <a:spcAft>
                <a:spcPts val="0"/>
              </a:spcAft>
              <a:buNone/>
            </a:pPr>
            <a:r>
              <a:rPr lang="en-US" dirty="0">
                <a:latin typeface="Calibri" panose="020F0502020204030204" pitchFamily="34" charset="0"/>
                <a:ea typeface="Calibri" panose="020F0502020204030204" pitchFamily="34" charset="0"/>
              </a:rPr>
              <a:t>What questions/ideas do you have for stakeholders?</a:t>
            </a:r>
          </a:p>
          <a:p>
            <a:pPr marL="800100" lvl="1" indent="-342900" fontAlgn="base">
              <a:spcBef>
                <a:spcPts val="0"/>
              </a:spcBef>
              <a:buSzPts val="1000"/>
              <a:buFont typeface="Courier New" panose="02070309020205020404" pitchFamily="49" charset="0"/>
              <a:buChar char="o"/>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Should </a:t>
            </a:r>
            <a:r>
              <a:rPr lang="en-US" sz="1800" dirty="0">
                <a:solidFill>
                  <a:srgbClr val="006269"/>
                </a:solidFill>
                <a:effectLst/>
                <a:latin typeface="Calibri" panose="020F0502020204030204" pitchFamily="34" charset="0"/>
                <a:ea typeface="Calibri" panose="020F0502020204030204" pitchFamily="34" charset="0"/>
                <a:cs typeface="Times New Roman" panose="02020603050405020304" pitchFamily="18" charset="0"/>
              </a:rPr>
              <a:t>subcontractor questions be deferred until RFP?</a:t>
            </a:r>
          </a:p>
          <a:p>
            <a:pPr marL="800100" lvl="1" indent="-342900" fontAlgn="base">
              <a:spcBef>
                <a:spcPts val="0"/>
              </a:spcBef>
              <a:buSzPts val="1000"/>
              <a:buFont typeface="Courier New" panose="02070309020205020404" pitchFamily="49" charset="0"/>
              <a:buChar char="o"/>
              <a:tabLst>
                <a:tab pos="457200" algn="l"/>
              </a:tabLst>
            </a:pPr>
            <a:r>
              <a:rPr lang="en-US" sz="1800" dirty="0">
                <a:effectLst/>
                <a:highlight>
                  <a:srgbClr val="FFFF00"/>
                </a:highlight>
                <a:latin typeface="Calibri" panose="020F0502020204030204" pitchFamily="34" charset="0"/>
                <a:ea typeface="Calibri" panose="020F0502020204030204" pitchFamily="34" charset="0"/>
                <a:cs typeface="Times New Roman" panose="02020603050405020304" pitchFamily="18" charset="0"/>
              </a:rPr>
              <a:t>Prior to participating in solicitations with a 2-stage process, what was the expectation of information level requested for abstract? </a:t>
            </a: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86DC542-6CB9-419E-B49C-81182B59E367}" type="slidenum">
              <a:rPr kumimoji="0" lang="en-US" sz="1200" b="1" i="0" u="none" strike="noStrike" kern="1200" cap="none" spc="0" normalizeH="0" baseline="0" noProof="0" smtClean="0">
                <a:ln>
                  <a:noFill/>
                </a:ln>
                <a:solidFill>
                  <a:prstClr val="white">
                    <a:lumMod val="50000"/>
                  </a:prstClr>
                </a:solidFill>
                <a:effectLst/>
                <a:uLnTx/>
                <a:uFillTx/>
                <a:latin typeface="Open San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1" i="0" u="none" strike="noStrike" kern="1200" cap="none" spc="0" normalizeH="0" baseline="0" noProof="0" dirty="0">
              <a:ln>
                <a:noFill/>
              </a:ln>
              <a:solidFill>
                <a:prstClr val="white">
                  <a:lumMod val="50000"/>
                </a:prstClr>
              </a:solidFill>
              <a:effectLst/>
              <a:uLnTx/>
              <a:uFillTx/>
              <a:latin typeface="Open Sans"/>
            </a:endParaRPr>
          </a:p>
        </p:txBody>
      </p:sp>
    </p:spTree>
    <p:extLst>
      <p:ext uri="{BB962C8B-B14F-4D97-AF65-F5344CB8AC3E}">
        <p14:creationId xmlns:p14="http://schemas.microsoft.com/office/powerpoint/2010/main" val="273859242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9674860" cy="6858000"/>
          </a:xfrm>
          <a:custGeom>
            <a:avLst/>
            <a:gdLst/>
            <a:ahLst/>
            <a:cxnLst/>
            <a:rect l="l" t="t" r="r" b="b"/>
            <a:pathLst>
              <a:path w="9674860" h="6858000">
                <a:moveTo>
                  <a:pt x="0" y="6858000"/>
                </a:moveTo>
                <a:lnTo>
                  <a:pt x="9674352" y="6858000"/>
                </a:lnTo>
                <a:lnTo>
                  <a:pt x="9674352" y="0"/>
                </a:lnTo>
                <a:lnTo>
                  <a:pt x="0" y="0"/>
                </a:lnTo>
                <a:lnTo>
                  <a:pt x="0" y="6858000"/>
                </a:lnTo>
                <a:close/>
              </a:path>
            </a:pathLst>
          </a:custGeom>
          <a:solidFill>
            <a:srgbClr val="D9D9D9"/>
          </a:solidFill>
        </p:spPr>
        <p:txBody>
          <a:bodyPr wrap="square" lIns="0" tIns="0" rIns="0" bIns="0" rtlCol="0"/>
          <a:lstStyle/>
          <a:p>
            <a:endParaRPr dirty="0"/>
          </a:p>
        </p:txBody>
      </p:sp>
      <p:grpSp>
        <p:nvGrpSpPr>
          <p:cNvPr id="3" name="object 3"/>
          <p:cNvGrpSpPr/>
          <p:nvPr/>
        </p:nvGrpSpPr>
        <p:grpSpPr>
          <a:xfrm>
            <a:off x="0" y="0"/>
            <a:ext cx="12198350" cy="6861809"/>
            <a:chOff x="0" y="0"/>
            <a:chExt cx="12198350" cy="6861809"/>
          </a:xfrm>
        </p:grpSpPr>
        <p:sp>
          <p:nvSpPr>
            <p:cNvPr id="4" name="object 4"/>
            <p:cNvSpPr/>
            <p:nvPr/>
          </p:nvSpPr>
          <p:spPr>
            <a:xfrm>
              <a:off x="0" y="6027420"/>
              <a:ext cx="9685020" cy="460375"/>
            </a:xfrm>
            <a:custGeom>
              <a:avLst/>
              <a:gdLst/>
              <a:ahLst/>
              <a:cxnLst/>
              <a:rect l="l" t="t" r="r" b="b"/>
              <a:pathLst>
                <a:path w="9685020" h="460375">
                  <a:moveTo>
                    <a:pt x="9685020" y="0"/>
                  </a:moveTo>
                  <a:lnTo>
                    <a:pt x="0" y="0"/>
                  </a:lnTo>
                  <a:lnTo>
                    <a:pt x="0" y="460247"/>
                  </a:lnTo>
                  <a:lnTo>
                    <a:pt x="9685020" y="460247"/>
                  </a:lnTo>
                  <a:lnTo>
                    <a:pt x="9685020" y="0"/>
                  </a:lnTo>
                  <a:close/>
                </a:path>
              </a:pathLst>
            </a:custGeom>
            <a:solidFill>
              <a:srgbClr val="FFD046"/>
            </a:solidFill>
          </p:spPr>
          <p:txBody>
            <a:bodyPr wrap="square" lIns="0" tIns="0" rIns="0" bIns="0" rtlCol="0"/>
            <a:lstStyle/>
            <a:p>
              <a:endParaRPr dirty="0"/>
            </a:p>
          </p:txBody>
        </p:sp>
        <p:sp>
          <p:nvSpPr>
            <p:cNvPr id="5" name="object 5"/>
            <p:cNvSpPr/>
            <p:nvPr/>
          </p:nvSpPr>
          <p:spPr>
            <a:xfrm>
              <a:off x="9674352" y="0"/>
              <a:ext cx="2517775" cy="6849109"/>
            </a:xfrm>
            <a:custGeom>
              <a:avLst/>
              <a:gdLst/>
              <a:ahLst/>
              <a:cxnLst/>
              <a:rect l="l" t="t" r="r" b="b"/>
              <a:pathLst>
                <a:path w="2517775" h="6849109">
                  <a:moveTo>
                    <a:pt x="0" y="6848855"/>
                  </a:moveTo>
                  <a:lnTo>
                    <a:pt x="2517648" y="6848855"/>
                  </a:lnTo>
                  <a:lnTo>
                    <a:pt x="2517648" y="0"/>
                  </a:lnTo>
                  <a:lnTo>
                    <a:pt x="0" y="0"/>
                  </a:lnTo>
                  <a:lnTo>
                    <a:pt x="0" y="6848855"/>
                  </a:lnTo>
                  <a:close/>
                </a:path>
              </a:pathLst>
            </a:custGeom>
            <a:solidFill>
              <a:srgbClr val="FFFFFF"/>
            </a:solidFill>
          </p:spPr>
          <p:txBody>
            <a:bodyPr wrap="square" lIns="0" tIns="0" rIns="0" bIns="0" rtlCol="0"/>
            <a:lstStyle/>
            <a:p>
              <a:endParaRPr dirty="0"/>
            </a:p>
          </p:txBody>
        </p:sp>
        <p:sp>
          <p:nvSpPr>
            <p:cNvPr id="6" name="object 6"/>
            <p:cNvSpPr/>
            <p:nvPr/>
          </p:nvSpPr>
          <p:spPr>
            <a:xfrm>
              <a:off x="9674352" y="0"/>
              <a:ext cx="2517775" cy="6849109"/>
            </a:xfrm>
            <a:custGeom>
              <a:avLst/>
              <a:gdLst/>
              <a:ahLst/>
              <a:cxnLst/>
              <a:rect l="l" t="t" r="r" b="b"/>
              <a:pathLst>
                <a:path w="2517775" h="6849109">
                  <a:moveTo>
                    <a:pt x="0" y="6848855"/>
                  </a:moveTo>
                  <a:lnTo>
                    <a:pt x="2517648" y="6848855"/>
                  </a:lnTo>
                  <a:lnTo>
                    <a:pt x="2517648" y="0"/>
                  </a:lnTo>
                </a:path>
                <a:path w="2517775" h="6849109">
                  <a:moveTo>
                    <a:pt x="0" y="0"/>
                  </a:moveTo>
                  <a:lnTo>
                    <a:pt x="0" y="6848855"/>
                  </a:lnTo>
                </a:path>
              </a:pathLst>
            </a:custGeom>
            <a:ln w="12700">
              <a:solidFill>
                <a:srgbClr val="FFFFFF"/>
              </a:solidFill>
            </a:ln>
          </p:spPr>
          <p:txBody>
            <a:bodyPr wrap="square" lIns="0" tIns="0" rIns="0" bIns="0" rtlCol="0"/>
            <a:lstStyle/>
            <a:p>
              <a:endParaRPr dirty="0"/>
            </a:p>
          </p:txBody>
        </p:sp>
      </p:grpSp>
      <p:sp>
        <p:nvSpPr>
          <p:cNvPr id="7" name="object 7"/>
          <p:cNvSpPr txBox="1">
            <a:spLocks noGrp="1"/>
          </p:cNvSpPr>
          <p:nvPr>
            <p:ph type="title"/>
          </p:nvPr>
        </p:nvSpPr>
        <p:spPr>
          <a:xfrm>
            <a:off x="304800" y="1295400"/>
            <a:ext cx="9220200" cy="2241319"/>
          </a:xfrm>
          <a:prstGeom prst="rect">
            <a:avLst/>
          </a:prstGeom>
        </p:spPr>
        <p:txBody>
          <a:bodyPr vert="horz" wrap="square" lIns="0" tIns="81280" rIns="0" bIns="0" rtlCol="0">
            <a:spAutoFit/>
          </a:bodyPr>
          <a:lstStyle/>
          <a:p>
            <a:pPr marL="12700" marR="5715">
              <a:lnSpc>
                <a:spcPts val="4320"/>
              </a:lnSpc>
              <a:spcBef>
                <a:spcPts val="640"/>
              </a:spcBef>
            </a:pPr>
            <a:r>
              <a:rPr lang="en-US" sz="2700" b="1" spc="-10" dirty="0">
                <a:solidFill>
                  <a:srgbClr val="000000"/>
                </a:solidFill>
                <a:latin typeface="Calibri Light"/>
                <a:cs typeface="Calibri Light"/>
              </a:rPr>
              <a:t>Topic 5 – Overview of Engagement Touchpoints:</a:t>
            </a:r>
            <a:br>
              <a:rPr lang="en-US" sz="2700" b="1" spc="-10" dirty="0">
                <a:solidFill>
                  <a:srgbClr val="000000"/>
                </a:solidFill>
                <a:latin typeface="Calibri Light"/>
                <a:cs typeface="Calibri Light"/>
              </a:rPr>
            </a:br>
            <a:r>
              <a:rPr lang="en-US" sz="2700" spc="-10" dirty="0">
                <a:solidFill>
                  <a:srgbClr val="000000"/>
                </a:solidFill>
                <a:latin typeface="Calibri Light"/>
                <a:cs typeface="Calibri Light"/>
              </a:rPr>
              <a:t>- Options For Implementation Plan Webinars</a:t>
            </a:r>
            <a:br>
              <a:rPr lang="en-US" sz="2700" spc="-10" dirty="0">
                <a:solidFill>
                  <a:srgbClr val="000000"/>
                </a:solidFill>
                <a:latin typeface="Calibri Light"/>
                <a:cs typeface="Calibri Light"/>
              </a:rPr>
            </a:br>
            <a:r>
              <a:rPr lang="en-US" sz="2700" spc="-10" dirty="0">
                <a:solidFill>
                  <a:srgbClr val="000000"/>
                </a:solidFill>
                <a:latin typeface="Calibri Light"/>
                <a:cs typeface="Calibri Light"/>
              </a:rPr>
              <a:t>- Options For More Frequent Communication to Stakeholders</a:t>
            </a:r>
            <a:br>
              <a:rPr lang="en-US" sz="2700" b="0" spc="-20" dirty="0">
                <a:solidFill>
                  <a:srgbClr val="000000"/>
                </a:solidFill>
                <a:latin typeface="Calibri Light"/>
                <a:cs typeface="Calibri Light"/>
              </a:rPr>
            </a:br>
            <a:endParaRPr sz="2700" dirty="0">
              <a:latin typeface="Calibri Light"/>
              <a:cs typeface="Calibri Light"/>
            </a:endParaRPr>
          </a:p>
        </p:txBody>
      </p:sp>
      <p:sp>
        <p:nvSpPr>
          <p:cNvPr id="8" name="object 8"/>
          <p:cNvSpPr txBox="1"/>
          <p:nvPr/>
        </p:nvSpPr>
        <p:spPr>
          <a:xfrm>
            <a:off x="685800" y="4194534"/>
            <a:ext cx="4800600" cy="1269578"/>
          </a:xfrm>
          <a:prstGeom prst="rect">
            <a:avLst/>
          </a:prstGeom>
        </p:spPr>
        <p:txBody>
          <a:bodyPr vert="horz" wrap="square" lIns="0" tIns="12700" rIns="0" bIns="0" rtlCol="0">
            <a:spAutoFit/>
          </a:bodyPr>
          <a:lstStyle/>
          <a:p>
            <a:pPr marL="12700">
              <a:lnSpc>
                <a:spcPct val="100000"/>
              </a:lnSpc>
              <a:spcBef>
                <a:spcPts val="100"/>
              </a:spcBef>
            </a:pPr>
            <a:r>
              <a:rPr lang="en-US" sz="2000" b="1" spc="-10" dirty="0">
                <a:latin typeface="Calibri Light"/>
                <a:cs typeface="Calibri Light"/>
              </a:rPr>
              <a:t>9:30am – 10:00am</a:t>
            </a:r>
          </a:p>
          <a:p>
            <a:pPr marL="12700">
              <a:lnSpc>
                <a:spcPct val="100000"/>
              </a:lnSpc>
              <a:spcBef>
                <a:spcPts val="100"/>
              </a:spcBef>
            </a:pPr>
            <a:endParaRPr lang="en-US" sz="2000" spc="-10" dirty="0">
              <a:latin typeface="Calibri Light"/>
              <a:cs typeface="Calibri Light"/>
            </a:endParaRPr>
          </a:p>
          <a:p>
            <a:pPr marL="12700">
              <a:lnSpc>
                <a:spcPct val="100000"/>
              </a:lnSpc>
              <a:spcBef>
                <a:spcPts val="100"/>
              </a:spcBef>
            </a:pPr>
            <a:r>
              <a:rPr lang="en-US" sz="2000" b="0" spc="-10" dirty="0">
                <a:latin typeface="Calibri Light"/>
                <a:cs typeface="Calibri Light"/>
              </a:rPr>
              <a:t>Independent Evaluator – Melanie Gillette </a:t>
            </a:r>
          </a:p>
          <a:p>
            <a:pPr>
              <a:lnSpc>
                <a:spcPct val="100000"/>
              </a:lnSpc>
              <a:spcBef>
                <a:spcPts val="15"/>
              </a:spcBef>
            </a:pPr>
            <a:endParaRPr lang="en-US" sz="2000" dirty="0">
              <a:latin typeface="Calibri Light"/>
              <a:cs typeface="Calibri Light"/>
            </a:endParaRPr>
          </a:p>
        </p:txBody>
      </p:sp>
    </p:spTree>
    <p:extLst>
      <p:ext uri="{BB962C8B-B14F-4D97-AF65-F5344CB8AC3E}">
        <p14:creationId xmlns:p14="http://schemas.microsoft.com/office/powerpoint/2010/main" val="98598697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29421" y="2368152"/>
            <a:ext cx="8133159" cy="2505128"/>
          </a:xfrm>
        </p:spPr>
        <p:txBody>
          <a:bodyPr/>
          <a:lstStyle/>
          <a:p>
            <a:pPr>
              <a:lnSpc>
                <a:spcPct val="100000"/>
              </a:lnSpc>
              <a:spcAft>
                <a:spcPts val="1688"/>
              </a:spcAft>
            </a:pPr>
            <a:r>
              <a:rPr lang="en-US" sz="3375" dirty="0"/>
              <a:t>Overview of Engagement Touchpoints</a:t>
            </a:r>
            <a:br>
              <a:rPr lang="en-US" sz="3375" dirty="0"/>
            </a:br>
            <a:br>
              <a:rPr lang="en-US" sz="3375" dirty="0"/>
            </a:br>
            <a:r>
              <a:rPr lang="en-US" sz="2625" i="1" dirty="0">
                <a:latin typeface="Calibri" panose="020F0502020204030204" pitchFamily="34" charset="0"/>
                <a:ea typeface="Calibri" panose="020F0502020204030204" pitchFamily="34" charset="0"/>
                <a:cs typeface="Calibri" panose="020F0502020204030204" pitchFamily="34" charset="0"/>
              </a:rPr>
              <a:t>Options for Implementation Plan Webinars</a:t>
            </a:r>
            <a:br>
              <a:rPr lang="en-US" sz="2625" i="1" dirty="0">
                <a:latin typeface="Calibri" panose="020F0502020204030204" pitchFamily="34" charset="0"/>
                <a:ea typeface="Calibri" panose="020F0502020204030204" pitchFamily="34" charset="0"/>
              </a:rPr>
            </a:br>
            <a:r>
              <a:rPr lang="en-US" sz="2625" i="1" dirty="0">
                <a:latin typeface="Calibri" panose="020F0502020204030204" pitchFamily="34" charset="0"/>
                <a:ea typeface="Calibri" panose="020F0502020204030204" pitchFamily="34" charset="0"/>
              </a:rPr>
              <a:t>Options for More Frequent Communication to Stakeholders</a:t>
            </a:r>
            <a:br>
              <a:rPr lang="en-US" sz="2250" dirty="0"/>
            </a:br>
            <a:br>
              <a:rPr lang="en-US" sz="1688" dirty="0"/>
            </a:br>
            <a:br>
              <a:rPr lang="en-US" sz="2250" dirty="0"/>
            </a:br>
            <a:br>
              <a:rPr lang="en-US" sz="2250" dirty="0"/>
            </a:br>
            <a:br>
              <a:rPr lang="en-US" sz="2250" dirty="0"/>
            </a:br>
            <a:br>
              <a:rPr lang="en-US" sz="2250" dirty="0"/>
            </a:br>
            <a:br>
              <a:rPr lang="en-US" sz="2250" dirty="0"/>
            </a:br>
            <a:endParaRPr lang="en-US" sz="2250" dirty="0"/>
          </a:p>
        </p:txBody>
      </p:sp>
      <p:sp>
        <p:nvSpPr>
          <p:cNvPr id="3" name="Text Placeholder 2"/>
          <p:cNvSpPr>
            <a:spLocks noGrp="1"/>
          </p:cNvSpPr>
          <p:nvPr>
            <p:ph type="body" sz="quarter" idx="10"/>
          </p:nvPr>
        </p:nvSpPr>
        <p:spPr/>
        <p:txBody>
          <a:bodyPr/>
          <a:lstStyle/>
          <a:p>
            <a:r>
              <a:rPr lang="en-US" dirty="0">
                <a:solidFill>
                  <a:srgbClr val="5C646F"/>
                </a:solidFill>
              </a:rPr>
              <a:t>July 28, 2021</a:t>
            </a:r>
          </a:p>
        </p:txBody>
      </p:sp>
    </p:spTree>
    <p:extLst>
      <p:ext uri="{BB962C8B-B14F-4D97-AF65-F5344CB8AC3E}">
        <p14:creationId xmlns:p14="http://schemas.microsoft.com/office/powerpoint/2010/main" val="357086017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a:xfrm>
            <a:off x="2029421" y="1104900"/>
            <a:ext cx="8231386" cy="4953000"/>
          </a:xfrm>
        </p:spPr>
        <p:txBody>
          <a:bodyPr>
            <a:normAutofit/>
          </a:bodyPr>
          <a:lstStyle/>
          <a:p>
            <a:r>
              <a:rPr lang="en-US" sz="2438" i="1" dirty="0">
                <a:latin typeface="Calibri" panose="020F0502020204030204" pitchFamily="34" charset="0"/>
                <a:ea typeface="Calibri" panose="020F0502020204030204" pitchFamily="34" charset="0"/>
                <a:cs typeface="Calibri" panose="020F0502020204030204" pitchFamily="34" charset="0"/>
              </a:rPr>
              <a:t> Options for Implementation Plan Webinars</a:t>
            </a:r>
          </a:p>
          <a:p>
            <a:r>
              <a:rPr lang="en-US" sz="2438" i="1" dirty="0">
                <a:latin typeface="Calibri" panose="020F0502020204030204" pitchFamily="34" charset="0"/>
                <a:ea typeface="Calibri" panose="020F0502020204030204" pitchFamily="34" charset="0"/>
                <a:cs typeface="Calibri" panose="020F0502020204030204" pitchFamily="34" charset="0"/>
              </a:rPr>
              <a:t> </a:t>
            </a:r>
            <a:r>
              <a:rPr lang="en-US" sz="2438" i="1" dirty="0">
                <a:latin typeface="Calibri" panose="020F0502020204030204" pitchFamily="34" charset="0"/>
                <a:ea typeface="Calibri" panose="020F0502020204030204" pitchFamily="34" charset="0"/>
              </a:rPr>
              <a:t>Options for More Frequent Communication to Stakeholders</a:t>
            </a:r>
            <a:br>
              <a:rPr lang="en-US" sz="2063" dirty="0"/>
            </a:br>
            <a:br>
              <a:rPr lang="en-US" sz="1688" dirty="0"/>
            </a:br>
            <a:endParaRPr lang="en-US" dirty="0"/>
          </a:p>
        </p:txBody>
      </p:sp>
      <p:sp>
        <p:nvSpPr>
          <p:cNvPr id="3" name="Title 2"/>
          <p:cNvSpPr>
            <a:spLocks noGrp="1"/>
          </p:cNvSpPr>
          <p:nvPr>
            <p:ph type="title"/>
          </p:nvPr>
        </p:nvSpPr>
        <p:spPr>
          <a:xfrm>
            <a:off x="2029421" y="376781"/>
            <a:ext cx="8231386" cy="613819"/>
          </a:xfrm>
        </p:spPr>
        <p:txBody>
          <a:bodyPr>
            <a:noAutofit/>
          </a:bodyPr>
          <a:lstStyle/>
          <a:p>
            <a:br>
              <a:rPr lang="en-US" dirty="0"/>
            </a:br>
            <a:r>
              <a:rPr lang="en-US" dirty="0"/>
              <a:t>Topics:</a:t>
            </a:r>
          </a:p>
        </p:txBody>
      </p:sp>
    </p:spTree>
    <p:extLst>
      <p:ext uri="{BB962C8B-B14F-4D97-AF65-F5344CB8AC3E}">
        <p14:creationId xmlns:p14="http://schemas.microsoft.com/office/powerpoint/2010/main" val="33462612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9A1C0-B8EA-2445-A979-27E41E54E4B5}"/>
              </a:ext>
            </a:extLst>
          </p:cNvPr>
          <p:cNvSpPr>
            <a:spLocks noGrp="1"/>
          </p:cNvSpPr>
          <p:nvPr>
            <p:ph type="title"/>
          </p:nvPr>
        </p:nvSpPr>
        <p:spPr/>
        <p:txBody>
          <a:bodyPr/>
          <a:lstStyle/>
          <a:p>
            <a:r>
              <a:rPr lang="en-US" dirty="0"/>
              <a:t>Timing:</a:t>
            </a:r>
            <a:br>
              <a:rPr lang="en-US" dirty="0"/>
            </a:br>
            <a:r>
              <a:rPr lang="en-US" b="0" dirty="0"/>
              <a:t>March 11, 2020 Energy Division Letter to Utilities</a:t>
            </a:r>
          </a:p>
        </p:txBody>
      </p:sp>
      <p:sp>
        <p:nvSpPr>
          <p:cNvPr id="3" name="Content Placeholder 2">
            <a:extLst>
              <a:ext uri="{FF2B5EF4-FFF2-40B4-BE49-F238E27FC236}">
                <a16:creationId xmlns:a16="http://schemas.microsoft.com/office/drawing/2014/main" id="{635E95DE-F425-6541-9D6E-2D0FDF82444A}"/>
              </a:ext>
            </a:extLst>
          </p:cNvPr>
          <p:cNvSpPr>
            <a:spLocks noGrp="1"/>
          </p:cNvSpPr>
          <p:nvPr>
            <p:ph idx="1"/>
          </p:nvPr>
        </p:nvSpPr>
        <p:spPr/>
        <p:txBody>
          <a:bodyPr/>
          <a:lstStyle/>
          <a:p>
            <a:r>
              <a:rPr lang="en-US" dirty="0"/>
              <a:t>Reasonable durations</a:t>
            </a:r>
          </a:p>
          <a:p>
            <a:r>
              <a:rPr lang="en-US" dirty="0"/>
              <a:t>Stay on schedule (predictable events)</a:t>
            </a:r>
          </a:p>
          <a:p>
            <a:r>
              <a:rPr lang="en-US" dirty="0"/>
              <a:t>Simplified RFA</a:t>
            </a:r>
          </a:p>
          <a:p>
            <a:endParaRPr lang="en-US" dirty="0"/>
          </a:p>
        </p:txBody>
      </p:sp>
    </p:spTree>
    <p:extLst>
      <p:ext uri="{BB962C8B-B14F-4D97-AF65-F5344CB8AC3E}">
        <p14:creationId xmlns:p14="http://schemas.microsoft.com/office/powerpoint/2010/main" val="310876493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FFA32E-B86C-47B3-B297-0201BAB943AB}"/>
              </a:ext>
            </a:extLst>
          </p:cNvPr>
          <p:cNvSpPr>
            <a:spLocks noGrp="1"/>
          </p:cNvSpPr>
          <p:nvPr>
            <p:ph type="title"/>
          </p:nvPr>
        </p:nvSpPr>
        <p:spPr>
          <a:xfrm>
            <a:off x="2029421" y="2971800"/>
            <a:ext cx="8133159" cy="1538080"/>
          </a:xfrm>
        </p:spPr>
        <p:txBody>
          <a:bodyPr/>
          <a:lstStyle/>
          <a:p>
            <a:r>
              <a:rPr lang="en-US" dirty="0">
                <a:solidFill>
                  <a:schemeClr val="accent1"/>
                </a:solidFill>
              </a:rPr>
              <a:t>Discussion Topic:</a:t>
            </a:r>
            <a:br>
              <a:rPr lang="en-US" dirty="0">
                <a:solidFill>
                  <a:schemeClr val="accent1"/>
                </a:solidFill>
              </a:rPr>
            </a:br>
            <a:r>
              <a:rPr lang="en-US" dirty="0">
                <a:solidFill>
                  <a:schemeClr val="accent1"/>
                </a:solidFill>
              </a:rPr>
              <a:t>Options for Implementation Plan Webinars</a:t>
            </a:r>
          </a:p>
        </p:txBody>
      </p:sp>
    </p:spTree>
    <p:extLst>
      <p:ext uri="{BB962C8B-B14F-4D97-AF65-F5344CB8AC3E}">
        <p14:creationId xmlns:p14="http://schemas.microsoft.com/office/powerpoint/2010/main" val="35819906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a:xfrm>
            <a:off x="2029421" y="1104900"/>
            <a:ext cx="8231386" cy="4953000"/>
          </a:xfrm>
        </p:spPr>
        <p:txBody>
          <a:bodyPr>
            <a:normAutofit/>
          </a:bodyPr>
          <a:lstStyle/>
          <a:p>
            <a:r>
              <a:rPr lang="en-US" b="1" dirty="0">
                <a:solidFill>
                  <a:srgbClr val="5C646F"/>
                </a:solidFill>
              </a:rPr>
              <a:t>Previous Discussion Topics:</a:t>
            </a:r>
          </a:p>
          <a:p>
            <a:pPr lvl="1"/>
            <a:r>
              <a:rPr lang="en-US" b="1" dirty="0">
                <a:solidFill>
                  <a:srgbClr val="5C646F"/>
                </a:solidFill>
              </a:rPr>
              <a:t>What is the Goal?</a:t>
            </a:r>
          </a:p>
          <a:p>
            <a:pPr lvl="1"/>
            <a:r>
              <a:rPr lang="en-US" b="1" dirty="0">
                <a:solidFill>
                  <a:srgbClr val="5C646F"/>
                </a:solidFill>
              </a:rPr>
              <a:t>Are They Necessary?</a:t>
            </a:r>
          </a:p>
          <a:p>
            <a:pPr lvl="1"/>
            <a:r>
              <a:rPr lang="en-US" b="1" dirty="0">
                <a:solidFill>
                  <a:srgbClr val="5C646F"/>
                </a:solidFill>
              </a:rPr>
              <a:t>Should They Be Repurposed?</a:t>
            </a:r>
          </a:p>
          <a:p>
            <a:pPr lvl="1"/>
            <a:r>
              <a:rPr lang="en-US" b="1" dirty="0">
                <a:solidFill>
                  <a:srgbClr val="5C646F"/>
                </a:solidFill>
              </a:rPr>
              <a:t>Who Should Attend?</a:t>
            </a:r>
          </a:p>
          <a:p>
            <a:pPr lvl="1"/>
            <a:r>
              <a:rPr lang="en-US" b="1" dirty="0">
                <a:solidFill>
                  <a:srgbClr val="5C646F"/>
                </a:solidFill>
              </a:rPr>
              <a:t>Should IOUs Change Who/How They Notify?</a:t>
            </a:r>
          </a:p>
          <a:p>
            <a:pPr lvl="1"/>
            <a:r>
              <a:rPr lang="en-US" b="1" dirty="0">
                <a:solidFill>
                  <a:srgbClr val="5C646F"/>
                </a:solidFill>
              </a:rPr>
              <a:t>What Information is Helpful for Discussion?</a:t>
            </a:r>
          </a:p>
          <a:p>
            <a:pPr lvl="1"/>
            <a:endParaRPr lang="en-US" b="1" dirty="0">
              <a:solidFill>
                <a:srgbClr val="5C646F"/>
              </a:solidFill>
            </a:endParaRPr>
          </a:p>
          <a:p>
            <a:pPr lvl="1"/>
            <a:endParaRPr lang="en-US" dirty="0"/>
          </a:p>
        </p:txBody>
      </p:sp>
      <p:sp>
        <p:nvSpPr>
          <p:cNvPr id="3" name="Title 2"/>
          <p:cNvSpPr>
            <a:spLocks noGrp="1"/>
          </p:cNvSpPr>
          <p:nvPr>
            <p:ph type="title"/>
          </p:nvPr>
        </p:nvSpPr>
        <p:spPr>
          <a:xfrm>
            <a:off x="2029421" y="376781"/>
            <a:ext cx="8231386" cy="613819"/>
          </a:xfrm>
        </p:spPr>
        <p:txBody>
          <a:bodyPr>
            <a:noAutofit/>
          </a:bodyPr>
          <a:lstStyle/>
          <a:p>
            <a:br>
              <a:rPr lang="en-US" dirty="0"/>
            </a:br>
            <a:r>
              <a:rPr lang="en-US" dirty="0"/>
              <a:t>Options for IOU Implementation Plan Webinars</a:t>
            </a:r>
          </a:p>
        </p:txBody>
      </p:sp>
    </p:spTree>
    <p:extLst>
      <p:ext uri="{BB962C8B-B14F-4D97-AF65-F5344CB8AC3E}">
        <p14:creationId xmlns:p14="http://schemas.microsoft.com/office/powerpoint/2010/main" val="399621299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normAutofit/>
          </a:bodyPr>
          <a:lstStyle/>
          <a:p>
            <a:r>
              <a:rPr lang="en-US" dirty="0">
                <a:latin typeface="Arial" panose="020B0604020202020204" pitchFamily="34" charset="0"/>
                <a:ea typeface="Calibri" panose="020F0502020204030204" pitchFamily="34" charset="0"/>
                <a:cs typeface="Arial" panose="020B0604020202020204" pitchFamily="34" charset="0"/>
              </a:rPr>
              <a:t>The original goal of IP Webinars was to allow an opportunity for stakeholder input.</a:t>
            </a:r>
          </a:p>
          <a:p>
            <a:pPr lvl="1"/>
            <a:r>
              <a:rPr lang="en-US" dirty="0">
                <a:latin typeface="Arial" panose="020B0604020202020204" pitchFamily="34" charset="0"/>
                <a:ea typeface="Calibri" panose="020F0502020204030204" pitchFamily="34" charset="0"/>
                <a:cs typeface="Arial" panose="020B0604020202020204" pitchFamily="34" charset="0"/>
              </a:rPr>
              <a:t>Directive originally issued under assumption that IOUs would continue to design and deliver programs</a:t>
            </a:r>
          </a:p>
          <a:p>
            <a:r>
              <a:rPr lang="en-US" dirty="0">
                <a:latin typeface="Arial" panose="020B0604020202020204" pitchFamily="34" charset="0"/>
                <a:ea typeface="Calibri" panose="020F0502020204030204" pitchFamily="34" charset="0"/>
                <a:cs typeface="Arial" panose="020B0604020202020204" pitchFamily="34" charset="0"/>
              </a:rPr>
              <a:t>After discussing this issue with the PRG, ED Staff, and the IOUs there is agreement that a general and useful goal for the IP webinars could be:</a:t>
            </a:r>
          </a:p>
          <a:p>
            <a:pPr lvl="1"/>
            <a:r>
              <a:rPr lang="en-US" b="1" dirty="0">
                <a:solidFill>
                  <a:schemeClr val="accent2">
                    <a:lumMod val="60000"/>
                    <a:lumOff val="40000"/>
                  </a:schemeClr>
                </a:solidFill>
                <a:latin typeface="Arial" panose="020B0604020202020204" pitchFamily="34" charset="0"/>
                <a:ea typeface="Calibri" panose="020F0502020204030204" pitchFamily="34" charset="0"/>
                <a:cs typeface="Arial" panose="020B0604020202020204" pitchFamily="34" charset="0"/>
              </a:rPr>
              <a:t>Increased awareness among IOUs, third-parties and other engaged stakeholders regarding programs in various customer sectors. </a:t>
            </a:r>
          </a:p>
          <a:p>
            <a:pPr lvl="2"/>
            <a:r>
              <a:rPr lang="en-US" dirty="0">
                <a:latin typeface="Arial" panose="020B0604020202020204" pitchFamily="34" charset="0"/>
                <a:ea typeface="Calibri" panose="020F0502020204030204" pitchFamily="34" charset="0"/>
                <a:cs typeface="Arial" panose="020B0604020202020204" pitchFamily="34" charset="0"/>
              </a:rPr>
              <a:t>New third-party paradigm may be opportunity to examine goal(s) and redefine.</a:t>
            </a:r>
          </a:p>
          <a:p>
            <a:pPr marL="0" indent="0">
              <a:buNone/>
            </a:pPr>
            <a:endParaRPr lang="en-US" sz="1688" dirty="0">
              <a:latin typeface="Calibri" panose="020F0502020204030204" pitchFamily="34" charset="0"/>
              <a:ea typeface="Calibri" panose="020F0502020204030204" pitchFamily="34" charset="0"/>
            </a:endParaRPr>
          </a:p>
        </p:txBody>
      </p:sp>
      <p:sp>
        <p:nvSpPr>
          <p:cNvPr id="3" name="Title 2"/>
          <p:cNvSpPr>
            <a:spLocks noGrp="1"/>
          </p:cNvSpPr>
          <p:nvPr>
            <p:ph type="title"/>
          </p:nvPr>
        </p:nvSpPr>
        <p:spPr/>
        <p:txBody>
          <a:bodyPr>
            <a:noAutofit/>
          </a:bodyPr>
          <a:lstStyle/>
          <a:p>
            <a:br>
              <a:rPr lang="en-US" dirty="0"/>
            </a:br>
            <a:r>
              <a:rPr lang="en-US" dirty="0"/>
              <a:t>Goal of the IP Webinars:  Should it be changed?</a:t>
            </a:r>
          </a:p>
        </p:txBody>
      </p:sp>
    </p:spTree>
    <p:extLst>
      <p:ext uri="{BB962C8B-B14F-4D97-AF65-F5344CB8AC3E}">
        <p14:creationId xmlns:p14="http://schemas.microsoft.com/office/powerpoint/2010/main" val="216375247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568E00-0658-471C-8B0E-9698EF3D1843}"/>
              </a:ext>
            </a:extLst>
          </p:cNvPr>
          <p:cNvSpPr>
            <a:spLocks noGrp="1"/>
          </p:cNvSpPr>
          <p:nvPr>
            <p:ph type="title"/>
          </p:nvPr>
        </p:nvSpPr>
        <p:spPr/>
        <p:txBody>
          <a:bodyPr>
            <a:normAutofit/>
          </a:bodyPr>
          <a:lstStyle/>
          <a:p>
            <a:r>
              <a:rPr lang="en-US" sz="2250" dirty="0"/>
              <a:t>What does increased awareness look like…</a:t>
            </a:r>
          </a:p>
        </p:txBody>
      </p:sp>
      <p:sp>
        <p:nvSpPr>
          <p:cNvPr id="3" name="Text Placeholder 2">
            <a:extLst>
              <a:ext uri="{FF2B5EF4-FFF2-40B4-BE49-F238E27FC236}">
                <a16:creationId xmlns:a16="http://schemas.microsoft.com/office/drawing/2014/main" id="{61C87C19-03B8-4EF1-97E7-8EC9E7882B86}"/>
              </a:ext>
            </a:extLst>
          </p:cNvPr>
          <p:cNvSpPr>
            <a:spLocks noGrp="1"/>
          </p:cNvSpPr>
          <p:nvPr>
            <p:ph type="body" sz="quarter" idx="11"/>
          </p:nvPr>
        </p:nvSpPr>
        <p:spPr>
          <a:xfrm>
            <a:off x="1869099" y="1104900"/>
            <a:ext cx="8585688" cy="5199185"/>
          </a:xfrm>
        </p:spPr>
        <p:txBody>
          <a:bodyPr/>
          <a:lstStyle/>
          <a:p>
            <a:pPr algn="l"/>
            <a:r>
              <a:rPr lang="en-US" sz="2250" i="0" dirty="0">
                <a:solidFill>
                  <a:schemeClr val="tx2"/>
                </a:solidFill>
                <a:latin typeface="Arial" panose="020B0604020202020204" pitchFamily="34" charset="0"/>
                <a:ea typeface="Calibri" panose="020F0502020204030204" pitchFamily="34" charset="0"/>
                <a:cs typeface="Arial" panose="020B0604020202020204" pitchFamily="34" charset="0"/>
              </a:rPr>
              <a:t>…based on the revised IP Workshop objective:  </a:t>
            </a:r>
            <a:r>
              <a:rPr lang="en-US" sz="2250" dirty="0">
                <a:solidFill>
                  <a:schemeClr val="tx2"/>
                </a:solidFill>
                <a:latin typeface="Arial" panose="020B0604020202020204" pitchFamily="34" charset="0"/>
                <a:ea typeface="Calibri" panose="020F0502020204030204" pitchFamily="34" charset="0"/>
                <a:cs typeface="Arial" panose="020B0604020202020204" pitchFamily="34" charset="0"/>
              </a:rPr>
              <a:t>“</a:t>
            </a:r>
            <a:r>
              <a:rPr lang="en-US" sz="2250" dirty="0">
                <a:solidFill>
                  <a:schemeClr val="accent2">
                    <a:lumMod val="60000"/>
                    <a:lumOff val="40000"/>
                  </a:schemeClr>
                </a:solidFill>
                <a:latin typeface="Arial" panose="020B0604020202020204" pitchFamily="34" charset="0"/>
                <a:ea typeface="Calibri" panose="020F0502020204030204" pitchFamily="34" charset="0"/>
                <a:cs typeface="Arial" panose="020B0604020202020204" pitchFamily="34" charset="0"/>
              </a:rPr>
              <a:t>Increased awareness among IOUs, third-parties and other engaged stakeholders regarding programs in various customer sectors”</a:t>
            </a:r>
            <a:r>
              <a:rPr lang="en-US" sz="2250" i="0" dirty="0">
                <a:solidFill>
                  <a:schemeClr val="accent2">
                    <a:lumMod val="60000"/>
                    <a:lumOff val="40000"/>
                  </a:schemeClr>
                </a:solidFill>
                <a:latin typeface="Arial" panose="020B0604020202020204" pitchFamily="34" charset="0"/>
                <a:ea typeface="Calibri" panose="020F0502020204030204" pitchFamily="34" charset="0"/>
                <a:cs typeface="Arial" panose="020B0604020202020204" pitchFamily="34" charset="0"/>
              </a:rPr>
              <a:t> </a:t>
            </a:r>
          </a:p>
          <a:p>
            <a:pPr marL="750094" lvl="1" indent="-267891">
              <a:buFont typeface="Arial" panose="020B0604020202020204" pitchFamily="34" charset="0"/>
              <a:buChar char="•"/>
            </a:pPr>
            <a:r>
              <a:rPr lang="en-US" sz="2250" dirty="0"/>
              <a:t>Awareness of what kind of Energy Efficiency programs exist and for what market sectors</a:t>
            </a:r>
          </a:p>
          <a:p>
            <a:pPr marL="750094" lvl="1" indent="-267891">
              <a:buFont typeface="Arial" panose="020B0604020202020204" pitchFamily="34" charset="0"/>
              <a:buChar char="•"/>
            </a:pPr>
            <a:r>
              <a:rPr lang="en-US" sz="2250" dirty="0"/>
              <a:t>Awareness of what the outcomes are of the Third-Party Solicitation process and if the CPUC’s objectives for these programs are being met</a:t>
            </a:r>
          </a:p>
        </p:txBody>
      </p:sp>
    </p:spTree>
    <p:extLst>
      <p:ext uri="{BB962C8B-B14F-4D97-AF65-F5344CB8AC3E}">
        <p14:creationId xmlns:p14="http://schemas.microsoft.com/office/powerpoint/2010/main" val="129892107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a:xfrm>
            <a:off x="2029421" y="1104900"/>
            <a:ext cx="8231386" cy="4953000"/>
          </a:xfrm>
        </p:spPr>
        <p:txBody>
          <a:bodyPr>
            <a:noAutofit/>
          </a:bodyPr>
          <a:lstStyle/>
          <a:p>
            <a:r>
              <a:rPr lang="en-US" dirty="0"/>
              <a:t>There was consensus among those interviewed that if the webinars continue, the following groups could benefit:</a:t>
            </a:r>
          </a:p>
          <a:p>
            <a:pPr lvl="1">
              <a:spcBef>
                <a:spcPts val="1125"/>
              </a:spcBef>
            </a:pPr>
            <a:r>
              <a:rPr lang="en-US" dirty="0"/>
              <a:t>Non-lead utilities in statewide programs</a:t>
            </a:r>
          </a:p>
          <a:p>
            <a:pPr lvl="1">
              <a:spcBef>
                <a:spcPts val="1125"/>
              </a:spcBef>
            </a:pPr>
            <a:r>
              <a:rPr lang="en-US" dirty="0"/>
              <a:t>Utility account representatives and EE program staff, particularly if they are not familiar with the third-party programs that have been selected </a:t>
            </a:r>
          </a:p>
          <a:p>
            <a:pPr lvl="1">
              <a:spcBef>
                <a:spcPts val="1125"/>
              </a:spcBef>
            </a:pPr>
            <a:r>
              <a:rPr lang="en-US" dirty="0"/>
              <a:t>Unsuccessful Bidders who participated in the solicitation</a:t>
            </a:r>
          </a:p>
          <a:p>
            <a:pPr lvl="1">
              <a:spcBef>
                <a:spcPts val="1125"/>
              </a:spcBef>
            </a:pPr>
            <a:r>
              <a:rPr lang="en-US" dirty="0"/>
              <a:t>Implementers in the particular sector, particularly for statewide program presentations</a:t>
            </a:r>
          </a:p>
          <a:p>
            <a:pPr lvl="1">
              <a:spcBef>
                <a:spcPts val="1125"/>
              </a:spcBef>
            </a:pPr>
            <a:r>
              <a:rPr lang="en-US" dirty="0"/>
              <a:t>Energy Division staff – first opportunity to talk to implementers</a:t>
            </a:r>
          </a:p>
          <a:p>
            <a:endParaRPr lang="en-US" dirty="0"/>
          </a:p>
        </p:txBody>
      </p:sp>
      <p:sp>
        <p:nvSpPr>
          <p:cNvPr id="3" name="Title 2"/>
          <p:cNvSpPr>
            <a:spLocks noGrp="1"/>
          </p:cNvSpPr>
          <p:nvPr>
            <p:ph type="title"/>
          </p:nvPr>
        </p:nvSpPr>
        <p:spPr>
          <a:xfrm>
            <a:off x="2029421" y="376781"/>
            <a:ext cx="8231386" cy="613819"/>
          </a:xfrm>
        </p:spPr>
        <p:txBody>
          <a:bodyPr>
            <a:noAutofit/>
          </a:bodyPr>
          <a:lstStyle/>
          <a:p>
            <a:br>
              <a:rPr lang="en-US" dirty="0"/>
            </a:br>
            <a:r>
              <a:rPr lang="en-US" dirty="0"/>
              <a:t>Who Benefits from Implementation Plan Webinars?</a:t>
            </a:r>
          </a:p>
        </p:txBody>
      </p:sp>
    </p:spTree>
    <p:extLst>
      <p:ext uri="{BB962C8B-B14F-4D97-AF65-F5344CB8AC3E}">
        <p14:creationId xmlns:p14="http://schemas.microsoft.com/office/powerpoint/2010/main" val="372428510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a:xfrm>
            <a:off x="2029421" y="1104900"/>
            <a:ext cx="8231386" cy="4953000"/>
          </a:xfrm>
        </p:spPr>
        <p:txBody>
          <a:bodyPr>
            <a:normAutofit fontScale="92500" lnSpcReduction="20000"/>
          </a:bodyPr>
          <a:lstStyle/>
          <a:p>
            <a:r>
              <a:rPr lang="en-US" dirty="0"/>
              <a:t>There was general agreement that IOUs could provide broader notification beyond notifying service list when the IPs are posted. </a:t>
            </a:r>
          </a:p>
          <a:p>
            <a:pPr lvl="1"/>
            <a:r>
              <a:rPr lang="en-US" dirty="0"/>
              <a:t>Posting the IP and the IP Webinar notice to CAEECC and Power Advocate</a:t>
            </a:r>
          </a:p>
          <a:p>
            <a:pPr lvl="1"/>
            <a:r>
              <a:rPr lang="en-US" dirty="0"/>
              <a:t>Sending formal invitations to bidders who were not selected</a:t>
            </a:r>
          </a:p>
          <a:p>
            <a:pPr lvl="1"/>
            <a:r>
              <a:rPr lang="en-US" dirty="0"/>
              <a:t>Expanding internal IOU notification</a:t>
            </a:r>
          </a:p>
          <a:p>
            <a:r>
              <a:rPr lang="en-US" dirty="0"/>
              <a:t>Energy Division staff should attend each Webinar</a:t>
            </a:r>
          </a:p>
          <a:p>
            <a:r>
              <a:rPr lang="en-US" dirty="0"/>
              <a:t>Consider combining webinars on a quarterly basis to increase attendance (may conflict with 60-day requirement)</a:t>
            </a:r>
          </a:p>
          <a:p>
            <a:r>
              <a:rPr lang="en-US" dirty="0"/>
              <a:t>Consider adding a facilitator</a:t>
            </a:r>
          </a:p>
          <a:p>
            <a:r>
              <a:rPr lang="en-US" dirty="0"/>
              <a:t>Other thoughts?</a:t>
            </a:r>
          </a:p>
          <a:p>
            <a:endParaRPr lang="en-US" dirty="0"/>
          </a:p>
        </p:txBody>
      </p:sp>
      <p:sp>
        <p:nvSpPr>
          <p:cNvPr id="3" name="Title 2"/>
          <p:cNvSpPr>
            <a:spLocks noGrp="1"/>
          </p:cNvSpPr>
          <p:nvPr>
            <p:ph type="title"/>
          </p:nvPr>
        </p:nvSpPr>
        <p:spPr>
          <a:xfrm>
            <a:off x="2029421" y="376781"/>
            <a:ext cx="8231386" cy="613819"/>
          </a:xfrm>
        </p:spPr>
        <p:txBody>
          <a:bodyPr>
            <a:noAutofit/>
          </a:bodyPr>
          <a:lstStyle/>
          <a:p>
            <a:br>
              <a:rPr lang="en-US" dirty="0"/>
            </a:br>
            <a:r>
              <a:rPr lang="en-US" dirty="0"/>
              <a:t>Changes May be Needed</a:t>
            </a:r>
          </a:p>
        </p:txBody>
      </p:sp>
    </p:spTree>
    <p:extLst>
      <p:ext uri="{BB962C8B-B14F-4D97-AF65-F5344CB8AC3E}">
        <p14:creationId xmlns:p14="http://schemas.microsoft.com/office/powerpoint/2010/main" val="237538226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a:xfrm>
            <a:off x="2029421" y="1104900"/>
            <a:ext cx="8231386" cy="4953000"/>
          </a:xfrm>
        </p:spPr>
        <p:txBody>
          <a:bodyPr>
            <a:normAutofit/>
          </a:bodyPr>
          <a:lstStyle/>
          <a:p>
            <a:r>
              <a:rPr lang="en-US" dirty="0"/>
              <a:t>Data collection varies by IOU; IOUs expressed a desire to adopt more consistent tracking going forward</a:t>
            </a:r>
          </a:p>
          <a:p>
            <a:r>
              <a:rPr lang="en-US" dirty="0"/>
              <a:t>Types of data being collected currently:</a:t>
            </a:r>
          </a:p>
          <a:p>
            <a:pPr lvl="1"/>
            <a:r>
              <a:rPr lang="en-US" dirty="0"/>
              <a:t>Webinar Dates</a:t>
            </a:r>
          </a:p>
          <a:p>
            <a:pPr lvl="1"/>
            <a:r>
              <a:rPr lang="en-US" dirty="0"/>
              <a:t>Organization Attending</a:t>
            </a:r>
          </a:p>
          <a:p>
            <a:pPr lvl="1"/>
            <a:r>
              <a:rPr lang="en-US" dirty="0"/>
              <a:t>Attendee Counts by Organization</a:t>
            </a:r>
          </a:p>
          <a:p>
            <a:pPr lvl="1"/>
            <a:r>
              <a:rPr lang="en-US" dirty="0"/>
              <a:t>Attendee Counts by Category (IE/IOU/Vendor)</a:t>
            </a:r>
          </a:p>
          <a:p>
            <a:pPr lvl="1"/>
            <a:r>
              <a:rPr lang="en-US" dirty="0"/>
              <a:t>Total Attendee Count</a:t>
            </a:r>
          </a:p>
          <a:p>
            <a:pPr marL="0" indent="0">
              <a:buNone/>
            </a:pPr>
            <a:endParaRPr lang="en-US" dirty="0"/>
          </a:p>
        </p:txBody>
      </p:sp>
      <p:sp>
        <p:nvSpPr>
          <p:cNvPr id="3" name="Title 2"/>
          <p:cNvSpPr>
            <a:spLocks noGrp="1"/>
          </p:cNvSpPr>
          <p:nvPr>
            <p:ph type="title"/>
          </p:nvPr>
        </p:nvSpPr>
        <p:spPr>
          <a:xfrm>
            <a:off x="2030016" y="376536"/>
            <a:ext cx="8335426" cy="614660"/>
          </a:xfrm>
        </p:spPr>
        <p:txBody>
          <a:bodyPr>
            <a:noAutofit/>
          </a:bodyPr>
          <a:lstStyle/>
          <a:p>
            <a:r>
              <a:rPr lang="en-US" dirty="0"/>
              <a:t>IP Webinar Attendance Data Collected by IOUs</a:t>
            </a:r>
          </a:p>
        </p:txBody>
      </p:sp>
    </p:spTree>
    <p:extLst>
      <p:ext uri="{BB962C8B-B14F-4D97-AF65-F5344CB8AC3E}">
        <p14:creationId xmlns:p14="http://schemas.microsoft.com/office/powerpoint/2010/main" val="387949120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normAutofit/>
          </a:bodyPr>
          <a:lstStyle/>
          <a:p>
            <a:endParaRPr lang="en-US" sz="1688" dirty="0">
              <a:latin typeface="Calibri" panose="020F0502020204030204" pitchFamily="34" charset="0"/>
              <a:ea typeface="Calibri" panose="020F0502020204030204" pitchFamily="34" charset="0"/>
            </a:endParaRPr>
          </a:p>
          <a:p>
            <a:pPr marL="0" indent="0">
              <a:buNone/>
            </a:pPr>
            <a:endParaRPr lang="en-US" sz="1688" dirty="0">
              <a:latin typeface="Calibri" panose="020F0502020204030204" pitchFamily="34" charset="0"/>
              <a:ea typeface="Calibri" panose="020F0502020204030204" pitchFamily="34" charset="0"/>
            </a:endParaRPr>
          </a:p>
        </p:txBody>
      </p:sp>
      <p:sp>
        <p:nvSpPr>
          <p:cNvPr id="3" name="Title 2"/>
          <p:cNvSpPr>
            <a:spLocks noGrp="1"/>
          </p:cNvSpPr>
          <p:nvPr>
            <p:ph type="title"/>
          </p:nvPr>
        </p:nvSpPr>
        <p:spPr/>
        <p:txBody>
          <a:bodyPr>
            <a:noAutofit/>
          </a:bodyPr>
          <a:lstStyle/>
          <a:p>
            <a:br>
              <a:rPr lang="en-US" dirty="0"/>
            </a:br>
            <a:r>
              <a:rPr lang="en-US" dirty="0"/>
              <a:t>Implementation Plan Webinars</a:t>
            </a:r>
          </a:p>
        </p:txBody>
      </p:sp>
      <p:graphicFrame>
        <p:nvGraphicFramePr>
          <p:cNvPr id="4" name="Table 4">
            <a:extLst>
              <a:ext uri="{FF2B5EF4-FFF2-40B4-BE49-F238E27FC236}">
                <a16:creationId xmlns:a16="http://schemas.microsoft.com/office/drawing/2014/main" id="{9ADF132D-A7E3-40F7-8D17-13A6989EC374}"/>
              </a:ext>
            </a:extLst>
          </p:cNvPr>
          <p:cNvGraphicFramePr>
            <a:graphicFrameLocks noGrp="1"/>
          </p:cNvGraphicFramePr>
          <p:nvPr/>
        </p:nvGraphicFramePr>
        <p:xfrm>
          <a:off x="1818155" y="1266266"/>
          <a:ext cx="8580904" cy="5104619"/>
        </p:xfrm>
        <a:graphic>
          <a:graphicData uri="http://schemas.openxmlformats.org/drawingml/2006/table">
            <a:tbl>
              <a:tblPr firstRow="1" bandRow="1">
                <a:tableStyleId>{5C22544A-7EE6-4342-B048-85BDC9FD1C3A}</a:tableStyleId>
              </a:tblPr>
              <a:tblGrid>
                <a:gridCol w="1325195">
                  <a:extLst>
                    <a:ext uri="{9D8B030D-6E8A-4147-A177-3AD203B41FA5}">
                      <a16:colId xmlns:a16="http://schemas.microsoft.com/office/drawing/2014/main" val="2185196522"/>
                    </a:ext>
                  </a:extLst>
                </a:gridCol>
                <a:gridCol w="1330599">
                  <a:extLst>
                    <a:ext uri="{9D8B030D-6E8A-4147-A177-3AD203B41FA5}">
                      <a16:colId xmlns:a16="http://schemas.microsoft.com/office/drawing/2014/main" val="982086204"/>
                    </a:ext>
                  </a:extLst>
                </a:gridCol>
                <a:gridCol w="4084544">
                  <a:extLst>
                    <a:ext uri="{9D8B030D-6E8A-4147-A177-3AD203B41FA5}">
                      <a16:colId xmlns:a16="http://schemas.microsoft.com/office/drawing/2014/main" val="2451654999"/>
                    </a:ext>
                  </a:extLst>
                </a:gridCol>
                <a:gridCol w="1840566">
                  <a:extLst>
                    <a:ext uri="{9D8B030D-6E8A-4147-A177-3AD203B41FA5}">
                      <a16:colId xmlns:a16="http://schemas.microsoft.com/office/drawing/2014/main" val="2167412535"/>
                    </a:ext>
                  </a:extLst>
                </a:gridCol>
              </a:tblGrid>
              <a:tr h="372595">
                <a:tc>
                  <a:txBody>
                    <a:bodyPr/>
                    <a:lstStyle/>
                    <a:p>
                      <a:pPr algn="ctr"/>
                      <a:r>
                        <a:rPr lang="en-US" sz="1600" dirty="0"/>
                        <a:t>IOU</a:t>
                      </a:r>
                    </a:p>
                  </a:txBody>
                  <a:tcPr marL="85725" marR="85725" marT="42863" marB="42863" anchor="b"/>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 Webinars</a:t>
                      </a:r>
                    </a:p>
                  </a:txBody>
                  <a:tcPr marL="85725" marR="85725" marT="42863" marB="42863" anchor="b"/>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Sectors</a:t>
                      </a:r>
                    </a:p>
                  </a:txBody>
                  <a:tcPr marL="85725" marR="85725" marT="42863" marB="42863" anchor="b"/>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Data Collected</a:t>
                      </a:r>
                    </a:p>
                  </a:txBody>
                  <a:tcPr marL="85725" marR="85725" marT="42863" marB="42863" anchor="b"/>
                </a:tc>
                <a:extLst>
                  <a:ext uri="{0D108BD9-81ED-4DB2-BD59-A6C34878D82A}">
                    <a16:rowId xmlns:a16="http://schemas.microsoft.com/office/drawing/2014/main" val="1876316073"/>
                  </a:ext>
                </a:extLst>
              </a:tr>
              <a:tr h="10572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700" b="1" dirty="0"/>
                        <a:t>PG&amp;E</a:t>
                      </a:r>
                    </a:p>
                  </a:txBody>
                  <a:tcPr marL="85725" marR="85725" marT="42863" marB="42863" anchor="ctr"/>
                </a:tc>
                <a:tc>
                  <a:txBody>
                    <a:bodyPr/>
                    <a:lstStyle/>
                    <a:p>
                      <a:pPr algn="ctr"/>
                      <a:r>
                        <a:rPr lang="en-US" sz="1700" dirty="0"/>
                        <a:t>4</a:t>
                      </a:r>
                    </a:p>
                  </a:txBody>
                  <a:tcPr marL="85725" marR="85725" marT="42863" marB="42863" anchor="ctr"/>
                </a:tc>
                <a:tc>
                  <a:txBody>
                    <a:bodyPr/>
                    <a:lstStyle/>
                    <a:p>
                      <a:pPr marL="285750" indent="-285750">
                        <a:buFont typeface="Arial" panose="020B0604020202020204" pitchFamily="34" charset="0"/>
                        <a:buChar char="•"/>
                      </a:pPr>
                      <a:r>
                        <a:rPr lang="en-US" sz="1600" dirty="0"/>
                        <a:t>Statewide C&amp;S</a:t>
                      </a:r>
                    </a:p>
                    <a:p>
                      <a:pPr marL="285750" indent="-285750">
                        <a:buFont typeface="Arial" panose="020B0604020202020204" pitchFamily="34" charset="0"/>
                        <a:buChar char="•"/>
                      </a:pPr>
                      <a:r>
                        <a:rPr lang="en-US" sz="1600" dirty="0"/>
                        <a:t>Commercial</a:t>
                      </a:r>
                    </a:p>
                    <a:p>
                      <a:pPr marL="285750" indent="-285750">
                        <a:buFont typeface="Arial" panose="020B0604020202020204" pitchFamily="34" charset="0"/>
                        <a:buChar char="•"/>
                      </a:pPr>
                      <a:r>
                        <a:rPr lang="en-US" sz="1600" dirty="0"/>
                        <a:t>Statewide New Construction </a:t>
                      </a:r>
                    </a:p>
                    <a:p>
                      <a:pPr marL="285750" indent="-285750">
                        <a:buFont typeface="Arial" panose="020B0604020202020204" pitchFamily="34" charset="0"/>
                        <a:buChar char="•"/>
                      </a:pPr>
                      <a:r>
                        <a:rPr lang="en-US" sz="1600" dirty="0"/>
                        <a:t>Residential Behavioral</a:t>
                      </a:r>
                    </a:p>
                  </a:txBody>
                  <a:tcPr marL="85725" marR="85725" marT="42863" marB="42863" anchor="ctr"/>
                </a:tc>
                <a:tc>
                  <a:txBody>
                    <a:bodyPr/>
                    <a:lstStyle/>
                    <a:p>
                      <a:pPr marL="0" indent="0">
                        <a:buFont typeface="Arial" panose="020B0604020202020204" pitchFamily="34" charset="0"/>
                        <a:buNone/>
                      </a:pPr>
                      <a:r>
                        <a:rPr lang="en-US" sz="1700" dirty="0"/>
                        <a:t># Attendees by Category</a:t>
                      </a:r>
                    </a:p>
                  </a:txBody>
                  <a:tcPr marL="85725" marR="85725" marT="42863" marB="42863"/>
                </a:tc>
                <a:extLst>
                  <a:ext uri="{0D108BD9-81ED-4DB2-BD59-A6C34878D82A}">
                    <a16:rowId xmlns:a16="http://schemas.microsoft.com/office/drawing/2014/main" val="767189367"/>
                  </a:ext>
                </a:extLst>
              </a:tr>
              <a:tr h="814388">
                <a:tc>
                  <a:txBody>
                    <a:bodyPr/>
                    <a:lstStyle/>
                    <a:p>
                      <a:r>
                        <a:rPr lang="en-US" sz="1700" b="1" dirty="0"/>
                        <a:t>SCE</a:t>
                      </a:r>
                    </a:p>
                  </a:txBody>
                  <a:tcPr marL="85725" marR="85725" marT="42863" marB="42863" anchor="ctr"/>
                </a:tc>
                <a:tc>
                  <a:txBody>
                    <a:bodyPr/>
                    <a:lstStyle/>
                    <a:p>
                      <a:pPr algn="ctr"/>
                      <a:r>
                        <a:rPr lang="en-US" sz="1700" dirty="0"/>
                        <a:t>3</a:t>
                      </a:r>
                    </a:p>
                  </a:txBody>
                  <a:tcPr marL="85725" marR="85725" marT="42863" marB="42863" anchor="ctr"/>
                </a:tc>
                <a:tc>
                  <a:txBody>
                    <a:bodyPr/>
                    <a:lstStyle/>
                    <a:p>
                      <a:pPr marL="285750" indent="-285750">
                        <a:buFont typeface="Arial" panose="020B0604020202020204" pitchFamily="34" charset="0"/>
                        <a:buChar char="•"/>
                      </a:pPr>
                      <a:r>
                        <a:rPr lang="en-US" sz="1600" dirty="0"/>
                        <a:t>Statewide Lighting</a:t>
                      </a:r>
                    </a:p>
                    <a:p>
                      <a:pPr marL="285750" indent="-285750">
                        <a:buFont typeface="Arial" panose="020B0604020202020204" pitchFamily="34" charset="0"/>
                        <a:buChar char="•"/>
                      </a:pPr>
                      <a:r>
                        <a:rPr lang="en-US" sz="1600" dirty="0"/>
                        <a:t>Commercial Behavioral </a:t>
                      </a:r>
                    </a:p>
                    <a:p>
                      <a:pPr marL="285750" indent="-285750">
                        <a:buFont typeface="Arial" panose="020B0604020202020204" pitchFamily="34" charset="0"/>
                        <a:buChar char="•"/>
                      </a:pPr>
                      <a:r>
                        <a:rPr lang="en-US" sz="1600" dirty="0"/>
                        <a:t>Residential Behavioral</a:t>
                      </a:r>
                    </a:p>
                  </a:txBody>
                  <a:tcPr marL="85725" marR="85725" marT="42863" marB="42863"/>
                </a:tc>
                <a:tc>
                  <a:txBody>
                    <a:bodyPr/>
                    <a:lstStyle/>
                    <a:p>
                      <a:pPr marL="0" indent="0">
                        <a:buFont typeface="Arial" panose="020B0604020202020204" pitchFamily="34" charset="0"/>
                        <a:buNone/>
                      </a:pPr>
                      <a:r>
                        <a:rPr lang="en-US" sz="1700" dirty="0"/>
                        <a:t># Attendees by Organization</a:t>
                      </a:r>
                    </a:p>
                  </a:txBody>
                  <a:tcPr marL="85725" marR="85725" marT="42863" marB="42863"/>
                </a:tc>
                <a:extLst>
                  <a:ext uri="{0D108BD9-81ED-4DB2-BD59-A6C34878D82A}">
                    <a16:rowId xmlns:a16="http://schemas.microsoft.com/office/drawing/2014/main" val="2481502975"/>
                  </a:ext>
                </a:extLst>
              </a:tr>
              <a:tr h="814388">
                <a:tc>
                  <a:txBody>
                    <a:bodyPr/>
                    <a:lstStyle/>
                    <a:p>
                      <a:r>
                        <a:rPr lang="en-US" sz="1700" b="1" dirty="0"/>
                        <a:t>SDG&amp;E</a:t>
                      </a:r>
                    </a:p>
                  </a:txBody>
                  <a:tcPr marL="85725" marR="85725" marT="42863" marB="42863" anchor="ctr"/>
                </a:tc>
                <a:tc>
                  <a:txBody>
                    <a:bodyPr/>
                    <a:lstStyle/>
                    <a:p>
                      <a:pPr algn="ctr"/>
                      <a:r>
                        <a:rPr lang="en-US" sz="1700" dirty="0"/>
                        <a:t>4</a:t>
                      </a:r>
                    </a:p>
                  </a:txBody>
                  <a:tcPr marL="85725" marR="85725" marT="42863" marB="42863" anchor="ctr"/>
                </a:tc>
                <a:tc>
                  <a:txBody>
                    <a:bodyPr/>
                    <a:lstStyle/>
                    <a:p>
                      <a:pPr marL="285750" indent="-285750">
                        <a:buFont typeface="Arial" panose="020B0604020202020204" pitchFamily="34" charset="0"/>
                        <a:buChar char="•"/>
                      </a:pPr>
                      <a:r>
                        <a:rPr lang="en-US" sz="1600" dirty="0"/>
                        <a:t>Sm/Lg Commercial </a:t>
                      </a:r>
                    </a:p>
                    <a:p>
                      <a:pPr marL="285750" indent="-285750">
                        <a:buFont typeface="Arial" panose="020B0604020202020204" pitchFamily="34" charset="0"/>
                        <a:buChar char="•"/>
                      </a:pPr>
                      <a:r>
                        <a:rPr lang="en-US" sz="1600" dirty="0"/>
                        <a:t>Statewide HVAC</a:t>
                      </a:r>
                    </a:p>
                    <a:p>
                      <a:pPr marL="285750" indent="-285750">
                        <a:buFont typeface="Arial" panose="020B0604020202020204" pitchFamily="34" charset="0"/>
                        <a:buChar char="•"/>
                      </a:pPr>
                      <a:r>
                        <a:rPr lang="en-US" sz="1600" dirty="0"/>
                        <a:t>Multifamily</a:t>
                      </a:r>
                    </a:p>
                  </a:txBody>
                  <a:tcPr marL="85725" marR="85725" marT="42863" marB="42863"/>
                </a:tc>
                <a:tc>
                  <a:txBody>
                    <a:bodyPr/>
                    <a:lstStyle/>
                    <a:p>
                      <a:pPr marL="0" indent="0">
                        <a:buFont typeface="Arial" panose="020B0604020202020204" pitchFamily="34" charset="0"/>
                        <a:buNone/>
                      </a:pPr>
                      <a:r>
                        <a:rPr lang="en-US" sz="1700" dirty="0"/>
                        <a:t># Attendees  by Organization</a:t>
                      </a:r>
                    </a:p>
                  </a:txBody>
                  <a:tcPr marL="85725" marR="85725" marT="42863" marB="42863"/>
                </a:tc>
                <a:extLst>
                  <a:ext uri="{0D108BD9-81ED-4DB2-BD59-A6C34878D82A}">
                    <a16:rowId xmlns:a16="http://schemas.microsoft.com/office/drawing/2014/main" val="2937041055"/>
                  </a:ext>
                </a:extLst>
              </a:tr>
              <a:tr h="2028825">
                <a:tc>
                  <a:txBody>
                    <a:bodyPr/>
                    <a:lstStyle/>
                    <a:p>
                      <a:r>
                        <a:rPr lang="en-US" sz="1700" b="1" dirty="0"/>
                        <a:t>SoCalGas</a:t>
                      </a:r>
                    </a:p>
                  </a:txBody>
                  <a:tcPr marL="85725" marR="85725" marT="42863" marB="42863" anchor="ctr"/>
                </a:tc>
                <a:tc>
                  <a:txBody>
                    <a:bodyPr/>
                    <a:lstStyle/>
                    <a:p>
                      <a:pPr algn="ctr"/>
                      <a:r>
                        <a:rPr lang="en-US" sz="1700" dirty="0"/>
                        <a:t>8</a:t>
                      </a:r>
                    </a:p>
                  </a:txBody>
                  <a:tcPr marL="85725" marR="85725" marT="42863" marB="42863" anchor="ctr"/>
                </a:tc>
                <a:tc>
                  <a:txBody>
                    <a:bodyPr/>
                    <a:lstStyle/>
                    <a:p>
                      <a:pPr marL="285750" indent="-285750">
                        <a:buFont typeface="Arial" panose="020B0604020202020204" pitchFamily="34" charset="0"/>
                        <a:buChar char="•"/>
                      </a:pPr>
                      <a:r>
                        <a:rPr lang="en-US" sz="1600" dirty="0"/>
                        <a:t>Statewide Midstream Water Heating</a:t>
                      </a:r>
                    </a:p>
                    <a:p>
                      <a:pPr marL="285750" indent="-285750">
                        <a:buFont typeface="Arial" panose="020B0604020202020204" pitchFamily="34" charset="0"/>
                        <a:buChar char="•"/>
                      </a:pPr>
                      <a:r>
                        <a:rPr lang="en-US" sz="1600" dirty="0"/>
                        <a:t>Multifamily</a:t>
                      </a:r>
                    </a:p>
                    <a:p>
                      <a:pPr marL="285750" indent="-285750">
                        <a:buFont typeface="Arial" panose="020B0604020202020204" pitchFamily="34" charset="0"/>
                        <a:buChar char="•"/>
                      </a:pPr>
                      <a:r>
                        <a:rPr lang="en-US" sz="1600" dirty="0"/>
                        <a:t>Agricultural </a:t>
                      </a:r>
                    </a:p>
                    <a:p>
                      <a:pPr marL="285750" indent="-285750">
                        <a:buFont typeface="Arial" panose="020B0604020202020204" pitchFamily="34" charset="0"/>
                        <a:buChar char="•"/>
                      </a:pPr>
                      <a:r>
                        <a:rPr lang="en-US" sz="1600" dirty="0"/>
                        <a:t>Statewide POS Food Service </a:t>
                      </a:r>
                    </a:p>
                    <a:p>
                      <a:pPr marL="285750" indent="-285750">
                        <a:buFont typeface="Arial" panose="020B0604020202020204" pitchFamily="34" charset="0"/>
                        <a:buChar char="•"/>
                      </a:pPr>
                      <a:r>
                        <a:rPr lang="en-US" sz="1600" dirty="0"/>
                        <a:t>Sm/Med Public </a:t>
                      </a:r>
                    </a:p>
                    <a:p>
                      <a:pPr marL="285750" indent="-285750">
                        <a:buFont typeface="Arial" panose="020B0604020202020204" pitchFamily="34" charset="0"/>
                        <a:buChar char="•"/>
                      </a:pPr>
                      <a:r>
                        <a:rPr lang="en-US" sz="1600" dirty="0"/>
                        <a:t>Manufactured Homes </a:t>
                      </a:r>
                    </a:p>
                    <a:p>
                      <a:pPr marL="285750" indent="-285750">
                        <a:buFont typeface="Arial" panose="020B0604020202020204" pitchFamily="34" charset="0"/>
                        <a:buChar char="•"/>
                      </a:pPr>
                      <a:r>
                        <a:rPr lang="en-US" sz="1600" dirty="0"/>
                        <a:t>Single Family </a:t>
                      </a:r>
                    </a:p>
                    <a:p>
                      <a:pPr marL="285750" indent="-285750">
                        <a:buFont typeface="Arial" panose="020B0604020202020204" pitchFamily="34" charset="0"/>
                        <a:buChar char="•"/>
                      </a:pPr>
                      <a:r>
                        <a:rPr lang="en-US" sz="1600" dirty="0"/>
                        <a:t>Sm/Med Commercial</a:t>
                      </a:r>
                    </a:p>
                  </a:txBody>
                  <a:tcPr marL="85725" marR="85725" marT="42863" marB="42863"/>
                </a:tc>
                <a:tc>
                  <a:txBody>
                    <a:bodyPr/>
                    <a:lstStyle/>
                    <a:p>
                      <a:pPr marL="0" indent="0">
                        <a:buFont typeface="Arial" panose="020B0604020202020204" pitchFamily="34" charset="0"/>
                        <a:buNone/>
                      </a:pPr>
                      <a:r>
                        <a:rPr lang="en-US" sz="1700" dirty="0"/>
                        <a:t># Attendees by Category</a:t>
                      </a:r>
                    </a:p>
                  </a:txBody>
                  <a:tcPr marL="85725" marR="85725" marT="42863" marB="42863"/>
                </a:tc>
                <a:extLst>
                  <a:ext uri="{0D108BD9-81ED-4DB2-BD59-A6C34878D82A}">
                    <a16:rowId xmlns:a16="http://schemas.microsoft.com/office/drawing/2014/main" val="2361351932"/>
                  </a:ext>
                </a:extLst>
              </a:tr>
            </a:tbl>
          </a:graphicData>
        </a:graphic>
      </p:graphicFrame>
    </p:spTree>
    <p:extLst>
      <p:ext uri="{BB962C8B-B14F-4D97-AF65-F5344CB8AC3E}">
        <p14:creationId xmlns:p14="http://schemas.microsoft.com/office/powerpoint/2010/main" val="172861518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a:xfrm>
            <a:off x="2029421" y="1104900"/>
            <a:ext cx="8231386" cy="4953000"/>
          </a:xfrm>
        </p:spPr>
        <p:txBody>
          <a:bodyPr>
            <a:normAutofit/>
          </a:bodyPr>
          <a:lstStyle/>
          <a:p>
            <a:r>
              <a:rPr lang="en-US" dirty="0"/>
              <a:t>Report Webinar Dates/Sectors</a:t>
            </a:r>
          </a:p>
          <a:p>
            <a:r>
              <a:rPr lang="en-US" dirty="0"/>
              <a:t>Track Organizations Attending</a:t>
            </a:r>
          </a:p>
          <a:p>
            <a:r>
              <a:rPr lang="en-US" dirty="0"/>
              <a:t>Report Attendee Counts by Organization rather than by Category</a:t>
            </a:r>
          </a:p>
          <a:p>
            <a:r>
              <a:rPr lang="en-US" dirty="0"/>
              <a:t>Track emails for sending follow-up surveys</a:t>
            </a:r>
          </a:p>
          <a:p>
            <a:r>
              <a:rPr lang="en-US" dirty="0"/>
              <a:t>What other data should be tracked?</a:t>
            </a:r>
          </a:p>
        </p:txBody>
      </p:sp>
      <p:sp>
        <p:nvSpPr>
          <p:cNvPr id="3" name="Title 2"/>
          <p:cNvSpPr>
            <a:spLocks noGrp="1"/>
          </p:cNvSpPr>
          <p:nvPr>
            <p:ph type="title"/>
          </p:nvPr>
        </p:nvSpPr>
        <p:spPr>
          <a:xfrm>
            <a:off x="2113877" y="357900"/>
            <a:ext cx="8335426" cy="614660"/>
          </a:xfrm>
        </p:spPr>
        <p:txBody>
          <a:bodyPr>
            <a:noAutofit/>
          </a:bodyPr>
          <a:lstStyle/>
          <a:p>
            <a:r>
              <a:rPr lang="en-US" dirty="0"/>
              <a:t>Data Collection Recommendations</a:t>
            </a:r>
          </a:p>
        </p:txBody>
      </p:sp>
    </p:spTree>
    <p:extLst>
      <p:ext uri="{BB962C8B-B14F-4D97-AF65-F5344CB8AC3E}">
        <p14:creationId xmlns:p14="http://schemas.microsoft.com/office/powerpoint/2010/main" val="191294003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FFA32E-B86C-47B3-B297-0201BAB943AB}"/>
              </a:ext>
            </a:extLst>
          </p:cNvPr>
          <p:cNvSpPr>
            <a:spLocks noGrp="1"/>
          </p:cNvSpPr>
          <p:nvPr>
            <p:ph type="title"/>
          </p:nvPr>
        </p:nvSpPr>
        <p:spPr>
          <a:xfrm>
            <a:off x="2029421" y="2971800"/>
            <a:ext cx="8133159" cy="1538080"/>
          </a:xfrm>
        </p:spPr>
        <p:txBody>
          <a:bodyPr/>
          <a:lstStyle/>
          <a:p>
            <a:r>
              <a:rPr lang="en-US" dirty="0">
                <a:solidFill>
                  <a:schemeClr val="accent1"/>
                </a:solidFill>
              </a:rPr>
              <a:t>Discussion Topic:</a:t>
            </a:r>
            <a:br>
              <a:rPr lang="en-US" dirty="0">
                <a:solidFill>
                  <a:schemeClr val="accent1"/>
                </a:solidFill>
              </a:rPr>
            </a:br>
            <a:r>
              <a:rPr lang="en-US" dirty="0">
                <a:solidFill>
                  <a:schemeClr val="accent1"/>
                </a:solidFill>
              </a:rPr>
              <a:t>Options for More Frequent Communication to Stakeholders</a:t>
            </a:r>
          </a:p>
        </p:txBody>
      </p:sp>
    </p:spTree>
    <p:extLst>
      <p:ext uri="{BB962C8B-B14F-4D97-AF65-F5344CB8AC3E}">
        <p14:creationId xmlns:p14="http://schemas.microsoft.com/office/powerpoint/2010/main" val="14674057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DE9F65-2A70-0141-973E-4371BB0CAB9E}"/>
              </a:ext>
            </a:extLst>
          </p:cNvPr>
          <p:cNvSpPr>
            <a:spLocks noGrp="1"/>
          </p:cNvSpPr>
          <p:nvPr>
            <p:ph type="title"/>
          </p:nvPr>
        </p:nvSpPr>
        <p:spPr>
          <a:xfrm>
            <a:off x="609599" y="365125"/>
            <a:ext cx="11266449" cy="1325563"/>
          </a:xfrm>
        </p:spPr>
        <p:txBody>
          <a:bodyPr/>
          <a:lstStyle/>
          <a:p>
            <a:r>
              <a:rPr lang="en-US" dirty="0"/>
              <a:t>Duration of Solicitation Stages - reduced</a:t>
            </a:r>
          </a:p>
        </p:txBody>
      </p:sp>
      <p:sp>
        <p:nvSpPr>
          <p:cNvPr id="5" name="Content Placeholder 4">
            <a:extLst>
              <a:ext uri="{FF2B5EF4-FFF2-40B4-BE49-F238E27FC236}">
                <a16:creationId xmlns:a16="http://schemas.microsoft.com/office/drawing/2014/main" id="{0D194E48-B3C8-6C4B-AC99-E1662D9745D9}"/>
              </a:ext>
            </a:extLst>
          </p:cNvPr>
          <p:cNvSpPr>
            <a:spLocks noGrp="1"/>
          </p:cNvSpPr>
          <p:nvPr>
            <p:ph idx="1"/>
          </p:nvPr>
        </p:nvSpPr>
        <p:spPr/>
        <p:txBody>
          <a:bodyPr>
            <a:noAutofit/>
          </a:bodyPr>
          <a:lstStyle/>
          <a:p>
            <a:pPr marL="0" indent="0">
              <a:buNone/>
            </a:pPr>
            <a:r>
              <a:rPr lang="en-US" dirty="0"/>
              <a:t>Pre = RFA released pre Feb 15, 2020 and ED letter to IOUs on Schedule</a:t>
            </a:r>
          </a:p>
          <a:p>
            <a:pPr marL="0" indent="0">
              <a:buNone/>
            </a:pPr>
            <a:r>
              <a:rPr lang="en-US" dirty="0"/>
              <a:t>Post = RFA released post Feb 15, 2020</a:t>
            </a:r>
          </a:p>
          <a:p>
            <a:pPr marL="0" indent="0">
              <a:buNone/>
            </a:pPr>
            <a:endParaRPr lang="en-US" dirty="0"/>
          </a:p>
        </p:txBody>
      </p:sp>
      <p:graphicFrame>
        <p:nvGraphicFramePr>
          <p:cNvPr id="7" name="Chart 6">
            <a:extLst>
              <a:ext uri="{FF2B5EF4-FFF2-40B4-BE49-F238E27FC236}">
                <a16:creationId xmlns:a16="http://schemas.microsoft.com/office/drawing/2014/main" id="{2B1014EA-5F58-43E3-8347-A795EA164266}"/>
              </a:ext>
            </a:extLst>
          </p:cNvPr>
          <p:cNvGraphicFramePr>
            <a:graphicFrameLocks/>
          </p:cNvGraphicFramePr>
          <p:nvPr/>
        </p:nvGraphicFramePr>
        <p:xfrm>
          <a:off x="2171700" y="2806473"/>
          <a:ext cx="8382000" cy="331946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7693610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a:xfrm>
            <a:off x="2029421" y="1104900"/>
            <a:ext cx="8231386" cy="4953000"/>
          </a:xfrm>
        </p:spPr>
        <p:txBody>
          <a:bodyPr>
            <a:normAutofit fontScale="92500" lnSpcReduction="20000"/>
          </a:bodyPr>
          <a:lstStyle/>
          <a:p>
            <a:r>
              <a:rPr lang="en-US" b="1" dirty="0">
                <a:solidFill>
                  <a:schemeClr val="accent2">
                    <a:lumMod val="60000"/>
                    <a:lumOff val="40000"/>
                  </a:schemeClr>
                </a:solidFill>
              </a:rPr>
              <a:t>Goal: More Frequent Touchpoints with Stakeholders</a:t>
            </a:r>
          </a:p>
          <a:p>
            <a:pPr lvl="1"/>
            <a:r>
              <a:rPr lang="en-US" b="1" dirty="0">
                <a:solidFill>
                  <a:srgbClr val="5C646F"/>
                </a:solidFill>
              </a:rPr>
              <a:t>Option implemented to date has been creation of Stakeholder committee in 2019 led by IOU representation with participation from IEs, PRG and CEDMC</a:t>
            </a:r>
          </a:p>
          <a:p>
            <a:pPr lvl="1"/>
            <a:r>
              <a:rPr lang="en-US" b="1" dirty="0">
                <a:solidFill>
                  <a:srgbClr val="5C646F"/>
                </a:solidFill>
              </a:rPr>
              <a:t>Committee has discussed the need to provide more frequent updates to stakeholders on action items from larger semi-annual stakeholder meetings and to offer more opportunities for Stakeholder feedback</a:t>
            </a:r>
          </a:p>
          <a:p>
            <a:pPr lvl="2"/>
            <a:r>
              <a:rPr lang="en-US" b="1" dirty="0">
                <a:solidFill>
                  <a:srgbClr val="5C646F"/>
                </a:solidFill>
              </a:rPr>
              <a:t>Quarterly Meetings (One aligned with Semi Annual Report and one “off-cycle”</a:t>
            </a:r>
          </a:p>
          <a:p>
            <a:pPr lvl="2"/>
            <a:r>
              <a:rPr lang="en-US" b="1" dirty="0">
                <a:solidFill>
                  <a:srgbClr val="5C646F"/>
                </a:solidFill>
              </a:rPr>
              <a:t>Other Ideas?</a:t>
            </a:r>
          </a:p>
          <a:p>
            <a:pPr lvl="1"/>
            <a:r>
              <a:rPr lang="en-US" b="1" dirty="0">
                <a:solidFill>
                  <a:srgbClr val="5C646F"/>
                </a:solidFill>
              </a:rPr>
              <a:t>One challenge has been limited feedback from stakeholders via post meeting surveys so that identified topics have been very limited</a:t>
            </a:r>
          </a:p>
          <a:p>
            <a:pPr marL="321469" lvl="1" indent="0">
              <a:buNone/>
            </a:pPr>
            <a:endParaRPr lang="en-US" b="1" dirty="0">
              <a:solidFill>
                <a:srgbClr val="5C646F"/>
              </a:solidFill>
            </a:endParaRPr>
          </a:p>
          <a:p>
            <a:pPr lvl="1"/>
            <a:endParaRPr lang="en-US" b="1" dirty="0">
              <a:solidFill>
                <a:srgbClr val="5C646F"/>
              </a:solidFill>
            </a:endParaRPr>
          </a:p>
          <a:p>
            <a:pPr lvl="1"/>
            <a:endParaRPr lang="en-US" dirty="0"/>
          </a:p>
        </p:txBody>
      </p:sp>
      <p:sp>
        <p:nvSpPr>
          <p:cNvPr id="3" name="Title 2"/>
          <p:cNvSpPr>
            <a:spLocks noGrp="1"/>
          </p:cNvSpPr>
          <p:nvPr>
            <p:ph type="title"/>
          </p:nvPr>
        </p:nvSpPr>
        <p:spPr>
          <a:xfrm>
            <a:off x="2029421" y="376781"/>
            <a:ext cx="8352830" cy="613819"/>
          </a:xfrm>
        </p:spPr>
        <p:txBody>
          <a:bodyPr>
            <a:noAutofit/>
          </a:bodyPr>
          <a:lstStyle/>
          <a:p>
            <a:br>
              <a:rPr lang="en-US" dirty="0"/>
            </a:br>
            <a:r>
              <a:rPr lang="en-US" dirty="0"/>
              <a:t>Options for More Frequent Communication to Stakeholders</a:t>
            </a:r>
          </a:p>
        </p:txBody>
      </p:sp>
    </p:spTree>
    <p:extLst>
      <p:ext uri="{BB962C8B-B14F-4D97-AF65-F5344CB8AC3E}">
        <p14:creationId xmlns:p14="http://schemas.microsoft.com/office/powerpoint/2010/main" val="328018494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a:xfrm>
            <a:off x="2029421" y="1104900"/>
            <a:ext cx="8231386" cy="4953000"/>
          </a:xfrm>
        </p:spPr>
        <p:txBody>
          <a:bodyPr>
            <a:normAutofit/>
          </a:bodyPr>
          <a:lstStyle/>
          <a:p>
            <a:r>
              <a:rPr lang="en-US" b="1" dirty="0">
                <a:solidFill>
                  <a:schemeClr val="accent2">
                    <a:lumMod val="60000"/>
                    <a:lumOff val="40000"/>
                  </a:schemeClr>
                </a:solidFill>
              </a:rPr>
              <a:t>Goal: More Frequent Touchpoints with Stakeholders</a:t>
            </a:r>
          </a:p>
          <a:p>
            <a:pPr lvl="1"/>
            <a:r>
              <a:rPr lang="en-US" b="1" dirty="0">
                <a:solidFill>
                  <a:srgbClr val="5C646F"/>
                </a:solidFill>
              </a:rPr>
              <a:t>Commitment to continue regular stakeholder outreach meetings</a:t>
            </a:r>
          </a:p>
          <a:p>
            <a:pPr lvl="1"/>
            <a:r>
              <a:rPr lang="en-US" b="1" dirty="0">
                <a:solidFill>
                  <a:srgbClr val="5C646F"/>
                </a:solidFill>
              </a:rPr>
              <a:t>Energy Division involvement?</a:t>
            </a:r>
          </a:p>
          <a:p>
            <a:pPr lvl="1"/>
            <a:r>
              <a:rPr lang="en-US" b="1" dirty="0">
                <a:solidFill>
                  <a:srgbClr val="5C646F"/>
                </a:solidFill>
              </a:rPr>
              <a:t>Commitment to conduct surveys/outreach</a:t>
            </a:r>
          </a:p>
          <a:p>
            <a:pPr lvl="1"/>
            <a:r>
              <a:rPr lang="en-US" b="1" dirty="0">
                <a:solidFill>
                  <a:srgbClr val="5C646F"/>
                </a:solidFill>
              </a:rPr>
              <a:t>Commitment to develop a standing agenda of topics to discuss at off-cycle stakeholder meeting</a:t>
            </a:r>
          </a:p>
          <a:p>
            <a:pPr marL="638472" lvl="2" indent="0">
              <a:buNone/>
            </a:pPr>
            <a:endParaRPr lang="en-US" b="1" dirty="0">
              <a:solidFill>
                <a:srgbClr val="5C646F"/>
              </a:solidFill>
            </a:endParaRPr>
          </a:p>
          <a:p>
            <a:pPr lvl="1"/>
            <a:endParaRPr lang="en-US" b="1" dirty="0">
              <a:solidFill>
                <a:srgbClr val="5C646F"/>
              </a:solidFill>
            </a:endParaRPr>
          </a:p>
          <a:p>
            <a:pPr lvl="1"/>
            <a:endParaRPr lang="en-US" dirty="0"/>
          </a:p>
        </p:txBody>
      </p:sp>
      <p:sp>
        <p:nvSpPr>
          <p:cNvPr id="3" name="Title 2"/>
          <p:cNvSpPr>
            <a:spLocks noGrp="1"/>
          </p:cNvSpPr>
          <p:nvPr>
            <p:ph type="title"/>
          </p:nvPr>
        </p:nvSpPr>
        <p:spPr>
          <a:xfrm>
            <a:off x="1740565" y="367462"/>
            <a:ext cx="8231386" cy="613819"/>
          </a:xfrm>
        </p:spPr>
        <p:txBody>
          <a:bodyPr>
            <a:noAutofit/>
          </a:bodyPr>
          <a:lstStyle/>
          <a:p>
            <a:br>
              <a:rPr lang="en-US" dirty="0"/>
            </a:br>
            <a:r>
              <a:rPr lang="en-US" dirty="0"/>
              <a:t>What is Needed from PRG</a:t>
            </a:r>
          </a:p>
        </p:txBody>
      </p:sp>
    </p:spTree>
    <p:extLst>
      <p:ext uri="{BB962C8B-B14F-4D97-AF65-F5344CB8AC3E}">
        <p14:creationId xmlns:p14="http://schemas.microsoft.com/office/powerpoint/2010/main" val="45563238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a:xfrm>
            <a:off x="2029421" y="1104900"/>
            <a:ext cx="8231386" cy="4953000"/>
          </a:xfrm>
        </p:spPr>
        <p:txBody>
          <a:bodyPr>
            <a:normAutofit/>
          </a:bodyPr>
          <a:lstStyle/>
          <a:p>
            <a:r>
              <a:rPr lang="en-US" b="1" dirty="0">
                <a:solidFill>
                  <a:schemeClr val="accent2">
                    <a:lumMod val="60000"/>
                    <a:lumOff val="40000"/>
                  </a:schemeClr>
                </a:solidFill>
              </a:rPr>
              <a:t>Goal: More Frequent Touchpoints with Stakeholders</a:t>
            </a:r>
          </a:p>
          <a:p>
            <a:pPr lvl="1"/>
            <a:r>
              <a:rPr lang="en-US" b="1" dirty="0">
                <a:solidFill>
                  <a:srgbClr val="5C646F"/>
                </a:solidFill>
              </a:rPr>
              <a:t>Commitment to engage</a:t>
            </a:r>
          </a:p>
          <a:p>
            <a:pPr lvl="2"/>
            <a:r>
              <a:rPr lang="en-US" b="1" dirty="0">
                <a:solidFill>
                  <a:srgbClr val="5C646F"/>
                </a:solidFill>
              </a:rPr>
              <a:t>How can we address the sensitivities around addressing issues while bidding into solicitations?</a:t>
            </a:r>
          </a:p>
          <a:p>
            <a:pPr lvl="2"/>
            <a:r>
              <a:rPr lang="en-US" b="1" dirty="0">
                <a:solidFill>
                  <a:srgbClr val="5C646F"/>
                </a:solidFill>
              </a:rPr>
              <a:t>Does a trade association provide cover?</a:t>
            </a:r>
          </a:p>
          <a:p>
            <a:pPr lvl="1"/>
            <a:r>
              <a:rPr lang="en-US" b="1" dirty="0">
                <a:solidFill>
                  <a:srgbClr val="5C646F"/>
                </a:solidFill>
              </a:rPr>
              <a:t>Respond to surveys on topics that are important to you</a:t>
            </a:r>
          </a:p>
          <a:p>
            <a:pPr lvl="1"/>
            <a:r>
              <a:rPr lang="en-US" b="1" dirty="0">
                <a:solidFill>
                  <a:srgbClr val="5C646F"/>
                </a:solidFill>
              </a:rPr>
              <a:t>Help develop a standing agenda</a:t>
            </a:r>
          </a:p>
          <a:p>
            <a:pPr lvl="2"/>
            <a:endParaRPr lang="en-US" b="1" dirty="0">
              <a:solidFill>
                <a:srgbClr val="5C646F"/>
              </a:solidFill>
            </a:endParaRPr>
          </a:p>
          <a:p>
            <a:pPr marL="638472" lvl="2" indent="0">
              <a:buNone/>
            </a:pPr>
            <a:endParaRPr lang="en-US" b="1" dirty="0">
              <a:solidFill>
                <a:srgbClr val="5C646F"/>
              </a:solidFill>
            </a:endParaRPr>
          </a:p>
          <a:p>
            <a:pPr lvl="1"/>
            <a:endParaRPr lang="en-US" b="1" dirty="0">
              <a:solidFill>
                <a:srgbClr val="5C646F"/>
              </a:solidFill>
            </a:endParaRPr>
          </a:p>
          <a:p>
            <a:pPr lvl="1"/>
            <a:endParaRPr lang="en-US" dirty="0"/>
          </a:p>
        </p:txBody>
      </p:sp>
      <p:sp>
        <p:nvSpPr>
          <p:cNvPr id="3" name="Title 2"/>
          <p:cNvSpPr>
            <a:spLocks noGrp="1"/>
          </p:cNvSpPr>
          <p:nvPr>
            <p:ph type="title"/>
          </p:nvPr>
        </p:nvSpPr>
        <p:spPr>
          <a:xfrm>
            <a:off x="2029421" y="376781"/>
            <a:ext cx="8231386" cy="613819"/>
          </a:xfrm>
        </p:spPr>
        <p:txBody>
          <a:bodyPr>
            <a:noAutofit/>
          </a:bodyPr>
          <a:lstStyle/>
          <a:p>
            <a:br>
              <a:rPr lang="en-US" dirty="0"/>
            </a:br>
            <a:r>
              <a:rPr lang="en-US" dirty="0"/>
              <a:t>What is Needed from Stakeholders</a:t>
            </a:r>
          </a:p>
        </p:txBody>
      </p:sp>
    </p:spTree>
    <p:extLst>
      <p:ext uri="{BB962C8B-B14F-4D97-AF65-F5344CB8AC3E}">
        <p14:creationId xmlns:p14="http://schemas.microsoft.com/office/powerpoint/2010/main" val="172220990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029421" y="2581068"/>
            <a:ext cx="8133159" cy="847932"/>
          </a:xfrm>
        </p:spPr>
        <p:txBody>
          <a:bodyPr>
            <a:noAutofit/>
          </a:bodyPr>
          <a:lstStyle/>
          <a:p>
            <a:pPr>
              <a:lnSpc>
                <a:spcPct val="150000"/>
              </a:lnSpc>
            </a:pPr>
            <a:r>
              <a:rPr lang="en-US" i="0" dirty="0">
                <a:solidFill>
                  <a:schemeClr val="accent2">
                    <a:lumMod val="75000"/>
                  </a:schemeClr>
                </a:solidFill>
              </a:rPr>
              <a:t>Appendix</a:t>
            </a:r>
            <a:br>
              <a:rPr lang="en-US" dirty="0"/>
            </a:br>
            <a:r>
              <a:rPr lang="en-US" dirty="0"/>
              <a:t>Implementation Plan Webinar Attendance by IOU</a:t>
            </a:r>
          </a:p>
        </p:txBody>
      </p:sp>
    </p:spTree>
    <p:extLst>
      <p:ext uri="{BB962C8B-B14F-4D97-AF65-F5344CB8AC3E}">
        <p14:creationId xmlns:p14="http://schemas.microsoft.com/office/powerpoint/2010/main" val="415811275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normAutofit/>
          </a:bodyPr>
          <a:lstStyle/>
          <a:p>
            <a:endParaRPr lang="en-US" sz="1688" dirty="0">
              <a:latin typeface="Calibri" panose="020F0502020204030204" pitchFamily="34" charset="0"/>
              <a:ea typeface="Calibri" panose="020F0502020204030204" pitchFamily="34" charset="0"/>
            </a:endParaRPr>
          </a:p>
          <a:p>
            <a:pPr marL="0" indent="0">
              <a:buNone/>
            </a:pPr>
            <a:endParaRPr lang="en-US" sz="1688" dirty="0">
              <a:latin typeface="Calibri" panose="020F0502020204030204" pitchFamily="34" charset="0"/>
              <a:ea typeface="Calibri" panose="020F0502020204030204" pitchFamily="34" charset="0"/>
            </a:endParaRPr>
          </a:p>
        </p:txBody>
      </p:sp>
      <p:sp>
        <p:nvSpPr>
          <p:cNvPr id="3" name="Title 2"/>
          <p:cNvSpPr>
            <a:spLocks noGrp="1"/>
          </p:cNvSpPr>
          <p:nvPr>
            <p:ph type="title"/>
          </p:nvPr>
        </p:nvSpPr>
        <p:spPr/>
        <p:txBody>
          <a:bodyPr>
            <a:noAutofit/>
          </a:bodyPr>
          <a:lstStyle/>
          <a:p>
            <a:br>
              <a:rPr lang="en-US" dirty="0"/>
            </a:br>
            <a:r>
              <a:rPr lang="en-US" dirty="0"/>
              <a:t>SCE Implementation Plan Webinars – Attendance</a:t>
            </a:r>
          </a:p>
        </p:txBody>
      </p:sp>
      <p:graphicFrame>
        <p:nvGraphicFramePr>
          <p:cNvPr id="4" name="Table 4">
            <a:extLst>
              <a:ext uri="{FF2B5EF4-FFF2-40B4-BE49-F238E27FC236}">
                <a16:creationId xmlns:a16="http://schemas.microsoft.com/office/drawing/2014/main" id="{9ADF132D-A7E3-40F7-8D17-13A6989EC374}"/>
              </a:ext>
            </a:extLst>
          </p:cNvPr>
          <p:cNvGraphicFramePr>
            <a:graphicFrameLocks noGrp="1"/>
          </p:cNvGraphicFramePr>
          <p:nvPr/>
        </p:nvGraphicFramePr>
        <p:xfrm>
          <a:off x="2273263" y="1104900"/>
          <a:ext cx="7645473" cy="3539500"/>
        </p:xfrm>
        <a:graphic>
          <a:graphicData uri="http://schemas.openxmlformats.org/drawingml/2006/table">
            <a:tbl>
              <a:tblPr firstRow="1" bandRow="1">
                <a:tableStyleId>{5C22544A-7EE6-4342-B048-85BDC9FD1C3A}</a:tableStyleId>
              </a:tblPr>
              <a:tblGrid>
                <a:gridCol w="1903893">
                  <a:extLst>
                    <a:ext uri="{9D8B030D-6E8A-4147-A177-3AD203B41FA5}">
                      <a16:colId xmlns:a16="http://schemas.microsoft.com/office/drawing/2014/main" val="982086204"/>
                    </a:ext>
                  </a:extLst>
                </a:gridCol>
                <a:gridCol w="1913860">
                  <a:extLst>
                    <a:ext uri="{9D8B030D-6E8A-4147-A177-3AD203B41FA5}">
                      <a16:colId xmlns:a16="http://schemas.microsoft.com/office/drawing/2014/main" val="2451654999"/>
                    </a:ext>
                  </a:extLst>
                </a:gridCol>
                <a:gridCol w="1913860">
                  <a:extLst>
                    <a:ext uri="{9D8B030D-6E8A-4147-A177-3AD203B41FA5}">
                      <a16:colId xmlns:a16="http://schemas.microsoft.com/office/drawing/2014/main" val="2167412535"/>
                    </a:ext>
                  </a:extLst>
                </a:gridCol>
                <a:gridCol w="1913860">
                  <a:extLst>
                    <a:ext uri="{9D8B030D-6E8A-4147-A177-3AD203B41FA5}">
                      <a16:colId xmlns:a16="http://schemas.microsoft.com/office/drawing/2014/main" val="1554721211"/>
                    </a:ext>
                  </a:extLst>
                </a:gridCol>
              </a:tblGrid>
              <a:tr h="568047">
                <a:tc>
                  <a:txBody>
                    <a:bodyPr/>
                    <a:lstStyle/>
                    <a:p>
                      <a:pPr algn="ctr"/>
                      <a:endParaRPr lang="en-US" sz="1600" dirty="0"/>
                    </a:p>
                  </a:txBody>
                  <a:tcPr marL="85725" marR="85725" marT="42863" marB="42863"/>
                </a:tc>
                <a:tc>
                  <a:txBody>
                    <a:bodyPr/>
                    <a:lstStyle/>
                    <a:p>
                      <a:pPr algn="ctr"/>
                      <a:r>
                        <a:rPr lang="en-US" sz="1600" dirty="0"/>
                        <a:t>Statewide Lighting</a:t>
                      </a:r>
                    </a:p>
                  </a:txBody>
                  <a:tcPr marL="85725" marR="85725" marT="42863" marB="42863" anchor="b"/>
                </a:tc>
                <a:tc>
                  <a:txBody>
                    <a:bodyPr/>
                    <a:lstStyle/>
                    <a:p>
                      <a:pPr algn="ctr"/>
                      <a:r>
                        <a:rPr lang="en-US" sz="1600" dirty="0"/>
                        <a:t>Commercial Behavioral</a:t>
                      </a:r>
                    </a:p>
                  </a:txBody>
                  <a:tcPr marL="85725" marR="85725" marT="42863" marB="42863"/>
                </a:tc>
                <a:tc>
                  <a:txBody>
                    <a:bodyPr/>
                    <a:lstStyle/>
                    <a:p>
                      <a:pPr algn="ctr"/>
                      <a:r>
                        <a:rPr lang="en-US" sz="1600" dirty="0"/>
                        <a:t>Residential Behavioral</a:t>
                      </a:r>
                    </a:p>
                  </a:txBody>
                  <a:tcPr marL="85725" marR="85725" marT="42863" marB="42863" anchor="b"/>
                </a:tc>
                <a:extLst>
                  <a:ext uri="{0D108BD9-81ED-4DB2-BD59-A6C34878D82A}">
                    <a16:rowId xmlns:a16="http://schemas.microsoft.com/office/drawing/2014/main" val="1876316073"/>
                  </a:ext>
                </a:extLst>
              </a:tr>
              <a:tr h="326887">
                <a:tc>
                  <a:txBody>
                    <a:bodyPr/>
                    <a:lstStyle/>
                    <a:p>
                      <a:r>
                        <a:rPr lang="en-US" sz="1600" b="1" dirty="0"/>
                        <a:t># of Participants</a:t>
                      </a:r>
                    </a:p>
                  </a:txBody>
                  <a:tcPr marL="85725" marR="85725" marT="42863" marB="42863"/>
                </a:tc>
                <a:tc>
                  <a:txBody>
                    <a:bodyPr/>
                    <a:lstStyle/>
                    <a:p>
                      <a:pPr algn="ctr"/>
                      <a:r>
                        <a:rPr lang="en-US" sz="1600" b="1" dirty="0"/>
                        <a:t>32</a:t>
                      </a:r>
                    </a:p>
                  </a:txBody>
                  <a:tcPr marL="85725" marR="85725" marT="42863" marB="42863"/>
                </a:tc>
                <a:tc>
                  <a:txBody>
                    <a:bodyPr/>
                    <a:lstStyle/>
                    <a:p>
                      <a:pPr algn="ctr"/>
                      <a:r>
                        <a:rPr lang="en-US" sz="1600" b="1" dirty="0"/>
                        <a:t>24</a:t>
                      </a:r>
                    </a:p>
                  </a:txBody>
                  <a:tcPr marL="85725" marR="85725" marT="42863" marB="42863"/>
                </a:tc>
                <a:tc>
                  <a:txBody>
                    <a:bodyPr/>
                    <a:lstStyle/>
                    <a:p>
                      <a:pPr algn="ctr"/>
                      <a:r>
                        <a:rPr lang="en-US" sz="1600" b="1" dirty="0"/>
                        <a:t>22</a:t>
                      </a:r>
                    </a:p>
                  </a:txBody>
                  <a:tcPr marL="85725" marR="85725" marT="42863" marB="42863"/>
                </a:tc>
                <a:extLst>
                  <a:ext uri="{0D108BD9-81ED-4DB2-BD59-A6C34878D82A}">
                    <a16:rowId xmlns:a16="http://schemas.microsoft.com/office/drawing/2014/main" val="767189367"/>
                  </a:ext>
                </a:extLst>
              </a:tr>
              <a:tr h="326887">
                <a:tc>
                  <a:txBody>
                    <a:bodyPr/>
                    <a:lstStyle/>
                    <a:p>
                      <a:r>
                        <a:rPr lang="en-US" sz="1600" dirty="0"/>
                        <a:t>SCE</a:t>
                      </a:r>
                    </a:p>
                  </a:txBody>
                  <a:tcPr marL="85725" marR="85725" marT="42863" marB="42863"/>
                </a:tc>
                <a:tc>
                  <a:txBody>
                    <a:bodyPr/>
                    <a:lstStyle/>
                    <a:p>
                      <a:pPr algn="ctr"/>
                      <a:r>
                        <a:rPr lang="en-US" sz="1600" dirty="0"/>
                        <a:t>7</a:t>
                      </a:r>
                    </a:p>
                  </a:txBody>
                  <a:tcPr marL="85725" marR="85725" marT="42863" marB="42863"/>
                </a:tc>
                <a:tc>
                  <a:txBody>
                    <a:bodyPr/>
                    <a:lstStyle/>
                    <a:p>
                      <a:pPr algn="ctr"/>
                      <a:r>
                        <a:rPr lang="en-US" sz="1600" dirty="0"/>
                        <a:t>5</a:t>
                      </a:r>
                    </a:p>
                  </a:txBody>
                  <a:tcPr marL="85725" marR="85725" marT="42863" marB="42863"/>
                </a:tc>
                <a:tc>
                  <a:txBody>
                    <a:bodyPr/>
                    <a:lstStyle/>
                    <a:p>
                      <a:pPr algn="ctr"/>
                      <a:r>
                        <a:rPr lang="en-US" sz="1600" dirty="0"/>
                        <a:t>5</a:t>
                      </a:r>
                    </a:p>
                  </a:txBody>
                  <a:tcPr marL="85725" marR="85725" marT="42863" marB="42863"/>
                </a:tc>
                <a:extLst>
                  <a:ext uri="{0D108BD9-81ED-4DB2-BD59-A6C34878D82A}">
                    <a16:rowId xmlns:a16="http://schemas.microsoft.com/office/drawing/2014/main" val="2481502975"/>
                  </a:ext>
                </a:extLst>
              </a:tr>
              <a:tr h="326887">
                <a:tc>
                  <a:txBody>
                    <a:bodyPr/>
                    <a:lstStyle/>
                    <a:p>
                      <a:r>
                        <a:rPr lang="en-US" sz="1600" dirty="0"/>
                        <a:t>SDG&amp;E</a:t>
                      </a:r>
                    </a:p>
                  </a:txBody>
                  <a:tcPr marL="85725" marR="85725" marT="42863" marB="42863"/>
                </a:tc>
                <a:tc>
                  <a:txBody>
                    <a:bodyPr/>
                    <a:lstStyle/>
                    <a:p>
                      <a:pPr algn="ctr"/>
                      <a:r>
                        <a:rPr lang="en-US" sz="1600" dirty="0"/>
                        <a:t>0</a:t>
                      </a:r>
                    </a:p>
                  </a:txBody>
                  <a:tcPr marL="85725" marR="85725" marT="42863" marB="42863"/>
                </a:tc>
                <a:tc>
                  <a:txBody>
                    <a:bodyPr/>
                    <a:lstStyle/>
                    <a:p>
                      <a:pPr algn="ctr"/>
                      <a:r>
                        <a:rPr lang="en-US" sz="1600" dirty="0"/>
                        <a:t>0</a:t>
                      </a:r>
                    </a:p>
                  </a:txBody>
                  <a:tcPr marL="85725" marR="85725" marT="42863" marB="42863"/>
                </a:tc>
                <a:tc>
                  <a:txBody>
                    <a:bodyPr/>
                    <a:lstStyle/>
                    <a:p>
                      <a:pPr algn="ctr"/>
                      <a:r>
                        <a:rPr lang="en-US" sz="1600" dirty="0"/>
                        <a:t>0</a:t>
                      </a:r>
                    </a:p>
                  </a:txBody>
                  <a:tcPr marL="85725" marR="85725" marT="42863" marB="42863"/>
                </a:tc>
                <a:extLst>
                  <a:ext uri="{0D108BD9-81ED-4DB2-BD59-A6C34878D82A}">
                    <a16:rowId xmlns:a16="http://schemas.microsoft.com/office/drawing/2014/main" val="2937041055"/>
                  </a:ext>
                </a:extLst>
              </a:tr>
              <a:tr h="326887">
                <a:tc>
                  <a:txBody>
                    <a:bodyPr/>
                    <a:lstStyle/>
                    <a:p>
                      <a:r>
                        <a:rPr lang="en-US" sz="1600" dirty="0"/>
                        <a:t>SoCalGas</a:t>
                      </a:r>
                    </a:p>
                  </a:txBody>
                  <a:tcPr marL="85725" marR="85725" marT="42863" marB="42863"/>
                </a:tc>
                <a:tc>
                  <a:txBody>
                    <a:bodyPr/>
                    <a:lstStyle/>
                    <a:p>
                      <a:pPr algn="ctr"/>
                      <a:r>
                        <a:rPr lang="en-US" sz="1600" dirty="0"/>
                        <a:t>0</a:t>
                      </a:r>
                    </a:p>
                  </a:txBody>
                  <a:tcPr marL="85725" marR="85725" marT="42863" marB="42863"/>
                </a:tc>
                <a:tc>
                  <a:txBody>
                    <a:bodyPr/>
                    <a:lstStyle/>
                    <a:p>
                      <a:pPr algn="ctr"/>
                      <a:r>
                        <a:rPr lang="en-US" sz="1600" dirty="0"/>
                        <a:t>4</a:t>
                      </a:r>
                    </a:p>
                  </a:txBody>
                  <a:tcPr marL="85725" marR="85725" marT="42863" marB="42863"/>
                </a:tc>
                <a:tc>
                  <a:txBody>
                    <a:bodyPr/>
                    <a:lstStyle/>
                    <a:p>
                      <a:pPr algn="ctr"/>
                      <a:r>
                        <a:rPr lang="en-US" sz="1600" dirty="0"/>
                        <a:t>4</a:t>
                      </a:r>
                    </a:p>
                  </a:txBody>
                  <a:tcPr marL="85725" marR="85725" marT="42863" marB="42863"/>
                </a:tc>
                <a:extLst>
                  <a:ext uri="{0D108BD9-81ED-4DB2-BD59-A6C34878D82A}">
                    <a16:rowId xmlns:a16="http://schemas.microsoft.com/office/drawing/2014/main" val="2323866286"/>
                  </a:ext>
                </a:extLst>
              </a:tr>
              <a:tr h="326887">
                <a:tc>
                  <a:txBody>
                    <a:bodyPr/>
                    <a:lstStyle/>
                    <a:p>
                      <a:r>
                        <a:rPr lang="en-US" sz="1600" dirty="0"/>
                        <a:t>Implementer</a:t>
                      </a:r>
                    </a:p>
                  </a:txBody>
                  <a:tcPr marL="85725" marR="85725" marT="42863" marB="42863"/>
                </a:tc>
                <a:tc>
                  <a:txBody>
                    <a:bodyPr/>
                    <a:lstStyle/>
                    <a:p>
                      <a:pPr algn="ctr"/>
                      <a:r>
                        <a:rPr lang="en-US" sz="1600" dirty="0"/>
                        <a:t>7</a:t>
                      </a:r>
                    </a:p>
                  </a:txBody>
                  <a:tcPr marL="85725" marR="85725" marT="42863" marB="42863"/>
                </a:tc>
                <a:tc>
                  <a:txBody>
                    <a:bodyPr/>
                    <a:lstStyle/>
                    <a:p>
                      <a:pPr algn="ctr"/>
                      <a:r>
                        <a:rPr lang="en-US" sz="1600" dirty="0"/>
                        <a:t>3</a:t>
                      </a:r>
                    </a:p>
                  </a:txBody>
                  <a:tcPr marL="85725" marR="85725" marT="42863" marB="42863"/>
                </a:tc>
                <a:tc>
                  <a:txBody>
                    <a:bodyPr/>
                    <a:lstStyle/>
                    <a:p>
                      <a:pPr algn="ctr"/>
                      <a:r>
                        <a:rPr lang="en-US" sz="1600" dirty="0"/>
                        <a:t>3</a:t>
                      </a:r>
                    </a:p>
                  </a:txBody>
                  <a:tcPr marL="85725" marR="85725" marT="42863" marB="42863"/>
                </a:tc>
                <a:extLst>
                  <a:ext uri="{0D108BD9-81ED-4DB2-BD59-A6C34878D82A}">
                    <a16:rowId xmlns:a16="http://schemas.microsoft.com/office/drawing/2014/main" val="2462211577"/>
                  </a:ext>
                </a:extLst>
              </a:tr>
              <a:tr h="326887">
                <a:tc>
                  <a:txBody>
                    <a:bodyPr/>
                    <a:lstStyle/>
                    <a:p>
                      <a:r>
                        <a:rPr lang="en-US" sz="1600" dirty="0"/>
                        <a:t>PRG</a:t>
                      </a:r>
                    </a:p>
                  </a:txBody>
                  <a:tcPr marL="85725" marR="85725" marT="42863" marB="42863"/>
                </a:tc>
                <a:tc>
                  <a:txBody>
                    <a:bodyPr/>
                    <a:lstStyle/>
                    <a:p>
                      <a:pPr algn="ctr"/>
                      <a:r>
                        <a:rPr lang="en-US" sz="1600" dirty="0"/>
                        <a:t>0</a:t>
                      </a:r>
                    </a:p>
                  </a:txBody>
                  <a:tcPr marL="85725" marR="85725" marT="42863" marB="42863"/>
                </a:tc>
                <a:tc>
                  <a:txBody>
                    <a:bodyPr/>
                    <a:lstStyle/>
                    <a:p>
                      <a:pPr algn="ctr"/>
                      <a:r>
                        <a:rPr lang="en-US" sz="1600" dirty="0"/>
                        <a:t>0</a:t>
                      </a:r>
                    </a:p>
                  </a:txBody>
                  <a:tcPr marL="85725" marR="85725" marT="42863" marB="42863"/>
                </a:tc>
                <a:tc>
                  <a:txBody>
                    <a:bodyPr/>
                    <a:lstStyle/>
                    <a:p>
                      <a:pPr algn="ctr"/>
                      <a:r>
                        <a:rPr lang="en-US" sz="1600" dirty="0"/>
                        <a:t>0</a:t>
                      </a:r>
                    </a:p>
                  </a:txBody>
                  <a:tcPr marL="85725" marR="85725" marT="42863" marB="42863"/>
                </a:tc>
                <a:extLst>
                  <a:ext uri="{0D108BD9-81ED-4DB2-BD59-A6C34878D82A}">
                    <a16:rowId xmlns:a16="http://schemas.microsoft.com/office/drawing/2014/main" val="2461872219"/>
                  </a:ext>
                </a:extLst>
              </a:tr>
              <a:tr h="326887">
                <a:tc>
                  <a:txBody>
                    <a:bodyPr/>
                    <a:lstStyle/>
                    <a:p>
                      <a:r>
                        <a:rPr lang="en-US" sz="1600" dirty="0"/>
                        <a:t>ED</a:t>
                      </a:r>
                    </a:p>
                  </a:txBody>
                  <a:tcPr marL="85725" marR="85725" marT="42863" marB="42863"/>
                </a:tc>
                <a:tc>
                  <a:txBody>
                    <a:bodyPr/>
                    <a:lstStyle/>
                    <a:p>
                      <a:pPr algn="ctr"/>
                      <a:r>
                        <a:rPr lang="en-US" sz="1600" dirty="0"/>
                        <a:t>0</a:t>
                      </a:r>
                    </a:p>
                  </a:txBody>
                  <a:tcPr marL="85725" marR="85725" marT="42863" marB="42863"/>
                </a:tc>
                <a:tc>
                  <a:txBody>
                    <a:bodyPr/>
                    <a:lstStyle/>
                    <a:p>
                      <a:pPr algn="ctr"/>
                      <a:r>
                        <a:rPr lang="en-US" sz="1600" dirty="0"/>
                        <a:t>1</a:t>
                      </a:r>
                    </a:p>
                  </a:txBody>
                  <a:tcPr marL="85725" marR="85725" marT="42863" marB="42863"/>
                </a:tc>
                <a:tc>
                  <a:txBody>
                    <a:bodyPr/>
                    <a:lstStyle/>
                    <a:p>
                      <a:pPr algn="ctr"/>
                      <a:r>
                        <a:rPr lang="en-US" sz="1600" dirty="0"/>
                        <a:t>0</a:t>
                      </a:r>
                    </a:p>
                  </a:txBody>
                  <a:tcPr marL="85725" marR="85725" marT="42863" marB="42863"/>
                </a:tc>
                <a:extLst>
                  <a:ext uri="{0D108BD9-81ED-4DB2-BD59-A6C34878D82A}">
                    <a16:rowId xmlns:a16="http://schemas.microsoft.com/office/drawing/2014/main" val="3769076048"/>
                  </a:ext>
                </a:extLst>
              </a:tr>
              <a:tr h="326887">
                <a:tc>
                  <a:txBody>
                    <a:bodyPr/>
                    <a:lstStyle/>
                    <a:p>
                      <a:r>
                        <a:rPr lang="en-US" sz="1600" dirty="0"/>
                        <a:t>IE</a:t>
                      </a:r>
                    </a:p>
                  </a:txBody>
                  <a:tcPr marL="85725" marR="85725" marT="42863" marB="42863"/>
                </a:tc>
                <a:tc>
                  <a:txBody>
                    <a:bodyPr/>
                    <a:lstStyle/>
                    <a:p>
                      <a:pPr algn="ctr"/>
                      <a:r>
                        <a:rPr lang="en-US" sz="1600" dirty="0"/>
                        <a:t>1</a:t>
                      </a:r>
                    </a:p>
                  </a:txBody>
                  <a:tcPr marL="85725" marR="85725" marT="42863" marB="42863"/>
                </a:tc>
                <a:tc>
                  <a:txBody>
                    <a:bodyPr/>
                    <a:lstStyle/>
                    <a:p>
                      <a:pPr algn="ctr"/>
                      <a:r>
                        <a:rPr lang="en-US" sz="1600" dirty="0"/>
                        <a:t>2</a:t>
                      </a:r>
                    </a:p>
                  </a:txBody>
                  <a:tcPr marL="85725" marR="85725" marT="42863" marB="42863"/>
                </a:tc>
                <a:tc>
                  <a:txBody>
                    <a:bodyPr/>
                    <a:lstStyle/>
                    <a:p>
                      <a:pPr algn="ctr"/>
                      <a:r>
                        <a:rPr lang="en-US" sz="1600" dirty="0"/>
                        <a:t>2</a:t>
                      </a:r>
                    </a:p>
                  </a:txBody>
                  <a:tcPr marL="85725" marR="85725" marT="42863" marB="42863"/>
                </a:tc>
                <a:extLst>
                  <a:ext uri="{0D108BD9-81ED-4DB2-BD59-A6C34878D82A}">
                    <a16:rowId xmlns:a16="http://schemas.microsoft.com/office/drawing/2014/main" val="3859899896"/>
                  </a:ext>
                </a:extLst>
              </a:tr>
              <a:tr h="326887">
                <a:tc>
                  <a:txBody>
                    <a:bodyPr/>
                    <a:lstStyle/>
                    <a:p>
                      <a:r>
                        <a:rPr lang="en-US" sz="1600" dirty="0"/>
                        <a:t>Stakeholders</a:t>
                      </a:r>
                    </a:p>
                  </a:txBody>
                  <a:tcPr marL="85725" marR="85725" marT="42863" marB="42863"/>
                </a:tc>
                <a:tc>
                  <a:txBody>
                    <a:bodyPr/>
                    <a:lstStyle/>
                    <a:p>
                      <a:pPr algn="ctr"/>
                      <a:r>
                        <a:rPr lang="en-US" sz="1600" dirty="0"/>
                        <a:t>14</a:t>
                      </a:r>
                    </a:p>
                  </a:txBody>
                  <a:tcPr marL="85725" marR="85725" marT="42863" marB="42863"/>
                </a:tc>
                <a:tc>
                  <a:txBody>
                    <a:bodyPr/>
                    <a:lstStyle/>
                    <a:p>
                      <a:pPr algn="ctr"/>
                      <a:r>
                        <a:rPr lang="en-US" sz="1600" dirty="0"/>
                        <a:t>8</a:t>
                      </a:r>
                    </a:p>
                  </a:txBody>
                  <a:tcPr marL="85725" marR="85725" marT="42863" marB="42863"/>
                </a:tc>
                <a:tc>
                  <a:txBody>
                    <a:bodyPr/>
                    <a:lstStyle/>
                    <a:p>
                      <a:pPr algn="ctr"/>
                      <a:r>
                        <a:rPr lang="en-US" sz="1600" dirty="0"/>
                        <a:t>3</a:t>
                      </a:r>
                    </a:p>
                  </a:txBody>
                  <a:tcPr marL="85725" marR="85725" marT="42863" marB="42863"/>
                </a:tc>
                <a:extLst>
                  <a:ext uri="{0D108BD9-81ED-4DB2-BD59-A6C34878D82A}">
                    <a16:rowId xmlns:a16="http://schemas.microsoft.com/office/drawing/2014/main" val="3484198459"/>
                  </a:ext>
                </a:extLst>
              </a:tr>
            </a:tbl>
          </a:graphicData>
        </a:graphic>
      </p:graphicFrame>
    </p:spTree>
    <p:extLst>
      <p:ext uri="{BB962C8B-B14F-4D97-AF65-F5344CB8AC3E}">
        <p14:creationId xmlns:p14="http://schemas.microsoft.com/office/powerpoint/2010/main" val="123853583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normAutofit/>
          </a:bodyPr>
          <a:lstStyle/>
          <a:p>
            <a:endParaRPr lang="en-US" sz="1688" dirty="0">
              <a:latin typeface="Calibri" panose="020F0502020204030204" pitchFamily="34" charset="0"/>
              <a:ea typeface="Calibri" panose="020F0502020204030204" pitchFamily="34" charset="0"/>
            </a:endParaRPr>
          </a:p>
          <a:p>
            <a:pPr marL="0" indent="0">
              <a:buNone/>
            </a:pPr>
            <a:endParaRPr lang="en-US" sz="1688" dirty="0">
              <a:latin typeface="Calibri" panose="020F0502020204030204" pitchFamily="34" charset="0"/>
              <a:ea typeface="Calibri" panose="020F0502020204030204" pitchFamily="34" charset="0"/>
            </a:endParaRPr>
          </a:p>
        </p:txBody>
      </p:sp>
      <p:sp>
        <p:nvSpPr>
          <p:cNvPr id="3" name="Title 2"/>
          <p:cNvSpPr>
            <a:spLocks noGrp="1"/>
          </p:cNvSpPr>
          <p:nvPr>
            <p:ph type="title"/>
          </p:nvPr>
        </p:nvSpPr>
        <p:spPr/>
        <p:txBody>
          <a:bodyPr>
            <a:noAutofit/>
          </a:bodyPr>
          <a:lstStyle/>
          <a:p>
            <a:br>
              <a:rPr lang="en-US" dirty="0"/>
            </a:br>
            <a:r>
              <a:rPr lang="en-US" dirty="0"/>
              <a:t>PG&amp;E Implementation Plan Webinars – Attendance</a:t>
            </a:r>
          </a:p>
        </p:txBody>
      </p:sp>
      <p:graphicFrame>
        <p:nvGraphicFramePr>
          <p:cNvPr id="4" name="Table 4">
            <a:extLst>
              <a:ext uri="{FF2B5EF4-FFF2-40B4-BE49-F238E27FC236}">
                <a16:creationId xmlns:a16="http://schemas.microsoft.com/office/drawing/2014/main" id="{9ADF132D-A7E3-40F7-8D17-13A6989EC374}"/>
              </a:ext>
            </a:extLst>
          </p:cNvPr>
          <p:cNvGraphicFramePr>
            <a:graphicFrameLocks noGrp="1"/>
          </p:cNvGraphicFramePr>
          <p:nvPr/>
        </p:nvGraphicFramePr>
        <p:xfrm>
          <a:off x="2345860" y="1108823"/>
          <a:ext cx="7500280" cy="3869066"/>
        </p:xfrm>
        <a:graphic>
          <a:graphicData uri="http://schemas.openxmlformats.org/drawingml/2006/table">
            <a:tbl>
              <a:tblPr firstRow="1" bandRow="1">
                <a:tableStyleId>{5C22544A-7EE6-4342-B048-85BDC9FD1C3A}</a:tableStyleId>
              </a:tblPr>
              <a:tblGrid>
                <a:gridCol w="2491398">
                  <a:extLst>
                    <a:ext uri="{9D8B030D-6E8A-4147-A177-3AD203B41FA5}">
                      <a16:colId xmlns:a16="http://schemas.microsoft.com/office/drawing/2014/main" val="982086204"/>
                    </a:ext>
                  </a:extLst>
                </a:gridCol>
                <a:gridCol w="2504441">
                  <a:extLst>
                    <a:ext uri="{9D8B030D-6E8A-4147-A177-3AD203B41FA5}">
                      <a16:colId xmlns:a16="http://schemas.microsoft.com/office/drawing/2014/main" val="2451654999"/>
                    </a:ext>
                  </a:extLst>
                </a:gridCol>
                <a:gridCol w="2504441">
                  <a:extLst>
                    <a:ext uri="{9D8B030D-6E8A-4147-A177-3AD203B41FA5}">
                      <a16:colId xmlns:a16="http://schemas.microsoft.com/office/drawing/2014/main" val="1554721211"/>
                    </a:ext>
                  </a:extLst>
                </a:gridCol>
              </a:tblGrid>
              <a:tr h="568047">
                <a:tc>
                  <a:txBody>
                    <a:bodyPr/>
                    <a:lstStyle/>
                    <a:p>
                      <a:endParaRPr lang="en-US" sz="1600" dirty="0"/>
                    </a:p>
                  </a:txBody>
                  <a:tcPr marL="85725" marR="85725" marT="42863" marB="42863"/>
                </a:tc>
                <a:tc>
                  <a:txBody>
                    <a:bodyPr/>
                    <a:lstStyle/>
                    <a:p>
                      <a:pPr algn="ctr"/>
                      <a:r>
                        <a:rPr lang="en-US" sz="1600" dirty="0"/>
                        <a:t> Statewide New Construction</a:t>
                      </a:r>
                    </a:p>
                  </a:txBody>
                  <a:tcPr marL="85725" marR="85725" marT="42863" marB="42863"/>
                </a:tc>
                <a:tc>
                  <a:txBody>
                    <a:bodyPr/>
                    <a:lstStyle/>
                    <a:p>
                      <a:pPr algn="ctr"/>
                      <a:r>
                        <a:rPr lang="en-US" sz="1600" dirty="0"/>
                        <a:t>Residential </a:t>
                      </a:r>
                      <a:br>
                        <a:rPr lang="en-US" sz="1600" dirty="0"/>
                      </a:br>
                      <a:r>
                        <a:rPr lang="en-US" sz="1600" dirty="0"/>
                        <a:t>Behavioral</a:t>
                      </a:r>
                    </a:p>
                  </a:txBody>
                  <a:tcPr marL="85725" marR="85725" marT="42863" marB="42863"/>
                </a:tc>
                <a:extLst>
                  <a:ext uri="{0D108BD9-81ED-4DB2-BD59-A6C34878D82A}">
                    <a16:rowId xmlns:a16="http://schemas.microsoft.com/office/drawing/2014/main" val="1876316073"/>
                  </a:ext>
                </a:extLst>
              </a:tr>
              <a:tr h="326887">
                <a:tc>
                  <a:txBody>
                    <a:bodyPr/>
                    <a:lstStyle/>
                    <a:p>
                      <a:r>
                        <a:rPr lang="en-US" sz="1600" b="1" dirty="0"/>
                        <a:t># of Participants</a:t>
                      </a:r>
                    </a:p>
                  </a:txBody>
                  <a:tcPr marL="85725" marR="85725" marT="42863" marB="42863"/>
                </a:tc>
                <a:tc>
                  <a:txBody>
                    <a:bodyPr/>
                    <a:lstStyle/>
                    <a:p>
                      <a:pPr algn="ctr"/>
                      <a:r>
                        <a:rPr lang="en-US" sz="1600" b="1" dirty="0"/>
                        <a:t>75</a:t>
                      </a:r>
                    </a:p>
                  </a:txBody>
                  <a:tcPr marL="85725" marR="85725" marT="42863" marB="42863"/>
                </a:tc>
                <a:tc>
                  <a:txBody>
                    <a:bodyPr/>
                    <a:lstStyle/>
                    <a:p>
                      <a:pPr algn="ctr"/>
                      <a:r>
                        <a:rPr lang="en-US" sz="1600" b="1" dirty="0"/>
                        <a:t>24</a:t>
                      </a:r>
                    </a:p>
                  </a:txBody>
                  <a:tcPr marL="85725" marR="85725" marT="42863" marB="42863"/>
                </a:tc>
                <a:extLst>
                  <a:ext uri="{0D108BD9-81ED-4DB2-BD59-A6C34878D82A}">
                    <a16:rowId xmlns:a16="http://schemas.microsoft.com/office/drawing/2014/main" val="767189367"/>
                  </a:ext>
                </a:extLst>
              </a:tr>
              <a:tr h="326887">
                <a:tc>
                  <a:txBody>
                    <a:bodyPr/>
                    <a:lstStyle/>
                    <a:p>
                      <a:r>
                        <a:rPr lang="en-US" sz="1600" dirty="0"/>
                        <a:t>IOUs</a:t>
                      </a:r>
                    </a:p>
                  </a:txBody>
                  <a:tcPr marL="85725" marR="85725" marT="42863" marB="42863"/>
                </a:tc>
                <a:tc>
                  <a:txBody>
                    <a:bodyPr/>
                    <a:lstStyle/>
                    <a:p>
                      <a:pPr algn="ctr"/>
                      <a:r>
                        <a:rPr lang="en-US" sz="1600" dirty="0"/>
                        <a:t>30</a:t>
                      </a:r>
                    </a:p>
                  </a:txBody>
                  <a:tcPr marL="85725" marR="85725" marT="42863" marB="42863"/>
                </a:tc>
                <a:tc>
                  <a:txBody>
                    <a:bodyPr/>
                    <a:lstStyle/>
                    <a:p>
                      <a:pPr algn="ctr"/>
                      <a:r>
                        <a:rPr lang="en-US" sz="1600" dirty="0"/>
                        <a:t>9 (PG&amp;E)</a:t>
                      </a:r>
                    </a:p>
                  </a:txBody>
                  <a:tcPr marL="85725" marR="85725" marT="42863" marB="42863"/>
                </a:tc>
                <a:extLst>
                  <a:ext uri="{0D108BD9-81ED-4DB2-BD59-A6C34878D82A}">
                    <a16:rowId xmlns:a16="http://schemas.microsoft.com/office/drawing/2014/main" val="2481502975"/>
                  </a:ext>
                </a:extLst>
              </a:tr>
              <a:tr h="326887">
                <a:tc>
                  <a:txBody>
                    <a:bodyPr/>
                    <a:lstStyle/>
                    <a:p>
                      <a:r>
                        <a:rPr lang="en-US" sz="1600" dirty="0"/>
                        <a:t>Implementer</a:t>
                      </a:r>
                    </a:p>
                  </a:txBody>
                  <a:tcPr marL="85725" marR="85725" marT="42863" marB="42863"/>
                </a:tc>
                <a:tc>
                  <a:txBody>
                    <a:bodyPr/>
                    <a:lstStyle/>
                    <a:p>
                      <a:pPr algn="ctr"/>
                      <a:r>
                        <a:rPr lang="en-US" sz="1600" dirty="0"/>
                        <a:t>9</a:t>
                      </a:r>
                    </a:p>
                  </a:txBody>
                  <a:tcPr marL="85725" marR="85725" marT="42863" marB="42863"/>
                </a:tc>
                <a:tc>
                  <a:txBody>
                    <a:bodyPr/>
                    <a:lstStyle/>
                    <a:p>
                      <a:pPr algn="ctr"/>
                      <a:r>
                        <a:rPr lang="en-US" sz="1600" dirty="0"/>
                        <a:t>3</a:t>
                      </a:r>
                    </a:p>
                  </a:txBody>
                  <a:tcPr marL="85725" marR="85725" marT="42863" marB="42863"/>
                </a:tc>
                <a:extLst>
                  <a:ext uri="{0D108BD9-81ED-4DB2-BD59-A6C34878D82A}">
                    <a16:rowId xmlns:a16="http://schemas.microsoft.com/office/drawing/2014/main" val="2937041055"/>
                  </a:ext>
                </a:extLst>
              </a:tr>
              <a:tr h="326887">
                <a:tc>
                  <a:txBody>
                    <a:bodyPr/>
                    <a:lstStyle/>
                    <a:p>
                      <a:r>
                        <a:rPr lang="en-US" sz="1600" dirty="0"/>
                        <a:t>Unknown</a:t>
                      </a:r>
                    </a:p>
                  </a:txBody>
                  <a:tcPr marL="85725" marR="85725" marT="42863" marB="42863"/>
                </a:tc>
                <a:tc>
                  <a:txBody>
                    <a:bodyPr/>
                    <a:lstStyle/>
                    <a:p>
                      <a:pPr algn="ctr"/>
                      <a:r>
                        <a:rPr lang="en-US" sz="1600" dirty="0"/>
                        <a:t>15</a:t>
                      </a:r>
                    </a:p>
                  </a:txBody>
                  <a:tcPr marL="85725" marR="85725" marT="42863" marB="42863"/>
                </a:tc>
                <a:tc>
                  <a:txBody>
                    <a:bodyPr/>
                    <a:lstStyle/>
                    <a:p>
                      <a:pPr algn="ctr"/>
                      <a:endParaRPr lang="en-US" sz="1600" dirty="0"/>
                    </a:p>
                  </a:txBody>
                  <a:tcPr marL="85725" marR="85725" marT="42863" marB="42863"/>
                </a:tc>
                <a:extLst>
                  <a:ext uri="{0D108BD9-81ED-4DB2-BD59-A6C34878D82A}">
                    <a16:rowId xmlns:a16="http://schemas.microsoft.com/office/drawing/2014/main" val="2323866286"/>
                  </a:ext>
                </a:extLst>
              </a:tr>
              <a:tr h="326887">
                <a:tc>
                  <a:txBody>
                    <a:bodyPr/>
                    <a:lstStyle/>
                    <a:p>
                      <a:r>
                        <a:rPr lang="en-US" sz="1600" dirty="0"/>
                        <a:t>CPUC </a:t>
                      </a:r>
                    </a:p>
                  </a:txBody>
                  <a:tcPr marL="85725" marR="85725" marT="42863" marB="42863"/>
                </a:tc>
                <a:tc>
                  <a:txBody>
                    <a:bodyPr/>
                    <a:lstStyle/>
                    <a:p>
                      <a:pPr algn="ctr"/>
                      <a:r>
                        <a:rPr lang="en-US" sz="1600" dirty="0"/>
                        <a:t>2</a:t>
                      </a:r>
                    </a:p>
                  </a:txBody>
                  <a:tcPr marL="85725" marR="85725" marT="42863" marB="42863"/>
                </a:tc>
                <a:tc>
                  <a:txBody>
                    <a:bodyPr/>
                    <a:lstStyle/>
                    <a:p>
                      <a:pPr algn="ctr"/>
                      <a:endParaRPr lang="en-US" sz="1600" dirty="0"/>
                    </a:p>
                  </a:txBody>
                  <a:tcPr marL="85725" marR="85725" marT="42863" marB="42863"/>
                </a:tc>
                <a:extLst>
                  <a:ext uri="{0D108BD9-81ED-4DB2-BD59-A6C34878D82A}">
                    <a16:rowId xmlns:a16="http://schemas.microsoft.com/office/drawing/2014/main" val="2462211577"/>
                  </a:ext>
                </a:extLst>
              </a:tr>
              <a:tr h="326887">
                <a:tc>
                  <a:txBody>
                    <a:bodyPr/>
                    <a:lstStyle/>
                    <a:p>
                      <a:r>
                        <a:rPr lang="en-US" sz="1600" dirty="0"/>
                        <a:t>Other Vendors</a:t>
                      </a:r>
                    </a:p>
                  </a:txBody>
                  <a:tcPr marL="85725" marR="85725" marT="42863" marB="42863"/>
                </a:tc>
                <a:tc>
                  <a:txBody>
                    <a:bodyPr/>
                    <a:lstStyle/>
                    <a:p>
                      <a:pPr algn="ctr"/>
                      <a:r>
                        <a:rPr lang="en-US" sz="1600" dirty="0"/>
                        <a:t>13</a:t>
                      </a:r>
                    </a:p>
                  </a:txBody>
                  <a:tcPr marL="85725" marR="85725" marT="42863" marB="42863"/>
                </a:tc>
                <a:tc>
                  <a:txBody>
                    <a:bodyPr/>
                    <a:lstStyle/>
                    <a:p>
                      <a:pPr algn="ctr"/>
                      <a:r>
                        <a:rPr lang="en-US" sz="1600" dirty="0"/>
                        <a:t>11</a:t>
                      </a:r>
                    </a:p>
                  </a:txBody>
                  <a:tcPr marL="85725" marR="85725" marT="42863" marB="42863"/>
                </a:tc>
                <a:extLst>
                  <a:ext uri="{0D108BD9-81ED-4DB2-BD59-A6C34878D82A}">
                    <a16:rowId xmlns:a16="http://schemas.microsoft.com/office/drawing/2014/main" val="2461872219"/>
                  </a:ext>
                </a:extLst>
              </a:tr>
              <a:tr h="326887">
                <a:tc>
                  <a:txBody>
                    <a:bodyPr/>
                    <a:lstStyle/>
                    <a:p>
                      <a:r>
                        <a:rPr lang="en-US" sz="1600" dirty="0"/>
                        <a:t>A/E Firm</a:t>
                      </a:r>
                    </a:p>
                  </a:txBody>
                  <a:tcPr marL="85725" marR="85725" marT="42863" marB="42863"/>
                </a:tc>
                <a:tc>
                  <a:txBody>
                    <a:bodyPr/>
                    <a:lstStyle/>
                    <a:p>
                      <a:pPr algn="ctr"/>
                      <a:r>
                        <a:rPr lang="en-US" sz="1600" dirty="0"/>
                        <a:t>3</a:t>
                      </a:r>
                    </a:p>
                  </a:txBody>
                  <a:tcPr marL="85725" marR="85725" marT="42863" marB="42863"/>
                </a:tc>
                <a:tc>
                  <a:txBody>
                    <a:bodyPr/>
                    <a:lstStyle/>
                    <a:p>
                      <a:pPr algn="ctr"/>
                      <a:endParaRPr lang="en-US" sz="1600" dirty="0"/>
                    </a:p>
                  </a:txBody>
                  <a:tcPr marL="85725" marR="85725" marT="42863" marB="42863"/>
                </a:tc>
                <a:extLst>
                  <a:ext uri="{0D108BD9-81ED-4DB2-BD59-A6C34878D82A}">
                    <a16:rowId xmlns:a16="http://schemas.microsoft.com/office/drawing/2014/main" val="3769076048"/>
                  </a:ext>
                </a:extLst>
              </a:tr>
              <a:tr h="326887">
                <a:tc>
                  <a:txBody>
                    <a:bodyPr/>
                    <a:lstStyle/>
                    <a:p>
                      <a:r>
                        <a:rPr lang="en-US" sz="1600" dirty="0"/>
                        <a:t>UCOP</a:t>
                      </a:r>
                    </a:p>
                  </a:txBody>
                  <a:tcPr marL="85725" marR="85725" marT="42863" marB="42863"/>
                </a:tc>
                <a:tc>
                  <a:txBody>
                    <a:bodyPr/>
                    <a:lstStyle/>
                    <a:p>
                      <a:pPr algn="ctr"/>
                      <a:r>
                        <a:rPr lang="en-US" sz="1600" dirty="0"/>
                        <a:t>1</a:t>
                      </a:r>
                    </a:p>
                  </a:txBody>
                  <a:tcPr marL="85725" marR="85725" marT="42863" marB="42863"/>
                </a:tc>
                <a:tc>
                  <a:txBody>
                    <a:bodyPr/>
                    <a:lstStyle/>
                    <a:p>
                      <a:pPr algn="ctr"/>
                      <a:endParaRPr lang="en-US" sz="1600" dirty="0"/>
                    </a:p>
                  </a:txBody>
                  <a:tcPr marL="85725" marR="85725" marT="42863" marB="42863"/>
                </a:tc>
                <a:extLst>
                  <a:ext uri="{0D108BD9-81ED-4DB2-BD59-A6C34878D82A}">
                    <a16:rowId xmlns:a16="http://schemas.microsoft.com/office/drawing/2014/main" val="3859899896"/>
                  </a:ext>
                </a:extLst>
              </a:tr>
              <a:tr h="326887">
                <a:tc>
                  <a:txBody>
                    <a:bodyPr/>
                    <a:lstStyle/>
                    <a:p>
                      <a:r>
                        <a:rPr lang="en-US" sz="1600" dirty="0"/>
                        <a:t>NGO</a:t>
                      </a:r>
                    </a:p>
                  </a:txBody>
                  <a:tcPr marL="85725" marR="85725" marT="42863" marB="42863"/>
                </a:tc>
                <a:tc>
                  <a:txBody>
                    <a:bodyPr/>
                    <a:lstStyle/>
                    <a:p>
                      <a:pPr algn="ctr"/>
                      <a:r>
                        <a:rPr lang="en-US" sz="1600" dirty="0"/>
                        <a:t>1</a:t>
                      </a:r>
                    </a:p>
                  </a:txBody>
                  <a:tcPr marL="85725" marR="85725" marT="42863" marB="42863"/>
                </a:tc>
                <a:tc>
                  <a:txBody>
                    <a:bodyPr/>
                    <a:lstStyle/>
                    <a:p>
                      <a:pPr algn="ctr"/>
                      <a:endParaRPr lang="en-US" sz="1600" dirty="0"/>
                    </a:p>
                  </a:txBody>
                  <a:tcPr marL="85725" marR="85725" marT="42863" marB="42863"/>
                </a:tc>
                <a:extLst>
                  <a:ext uri="{0D108BD9-81ED-4DB2-BD59-A6C34878D82A}">
                    <a16:rowId xmlns:a16="http://schemas.microsoft.com/office/drawing/2014/main" val="3484198459"/>
                  </a:ext>
                </a:extLst>
              </a:tr>
              <a:tr h="326887">
                <a:tc>
                  <a:txBody>
                    <a:bodyPr/>
                    <a:lstStyle/>
                    <a:p>
                      <a:r>
                        <a:rPr lang="en-US" sz="1600" dirty="0"/>
                        <a:t>IE</a:t>
                      </a:r>
                    </a:p>
                  </a:txBody>
                  <a:tcPr marL="85725" marR="85725" marT="42863" marB="42863"/>
                </a:tc>
                <a:tc>
                  <a:txBody>
                    <a:bodyPr/>
                    <a:lstStyle/>
                    <a:p>
                      <a:pPr algn="ctr"/>
                      <a:r>
                        <a:rPr lang="en-US" sz="1600" dirty="0"/>
                        <a:t>1</a:t>
                      </a:r>
                    </a:p>
                  </a:txBody>
                  <a:tcPr marL="85725" marR="85725" marT="42863" marB="42863"/>
                </a:tc>
                <a:tc>
                  <a:txBody>
                    <a:bodyPr/>
                    <a:lstStyle/>
                    <a:p>
                      <a:pPr algn="ctr"/>
                      <a:r>
                        <a:rPr lang="en-US" sz="1600" dirty="0"/>
                        <a:t>1</a:t>
                      </a:r>
                    </a:p>
                  </a:txBody>
                  <a:tcPr marL="85725" marR="85725" marT="42863" marB="42863"/>
                </a:tc>
                <a:extLst>
                  <a:ext uri="{0D108BD9-81ED-4DB2-BD59-A6C34878D82A}">
                    <a16:rowId xmlns:a16="http://schemas.microsoft.com/office/drawing/2014/main" val="590270195"/>
                  </a:ext>
                </a:extLst>
              </a:tr>
            </a:tbl>
          </a:graphicData>
        </a:graphic>
      </p:graphicFrame>
    </p:spTree>
    <p:extLst>
      <p:ext uri="{BB962C8B-B14F-4D97-AF65-F5344CB8AC3E}">
        <p14:creationId xmlns:p14="http://schemas.microsoft.com/office/powerpoint/2010/main" val="105098323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normAutofit/>
          </a:bodyPr>
          <a:lstStyle/>
          <a:p>
            <a:endParaRPr lang="en-US" sz="1688" dirty="0">
              <a:latin typeface="Calibri" panose="020F0502020204030204" pitchFamily="34" charset="0"/>
              <a:ea typeface="Calibri" panose="020F0502020204030204" pitchFamily="34" charset="0"/>
            </a:endParaRPr>
          </a:p>
          <a:p>
            <a:pPr marL="0" indent="0">
              <a:buNone/>
            </a:pPr>
            <a:endParaRPr lang="en-US" sz="1688" dirty="0">
              <a:latin typeface="Calibri" panose="020F0502020204030204" pitchFamily="34" charset="0"/>
              <a:ea typeface="Calibri" panose="020F0502020204030204" pitchFamily="34" charset="0"/>
            </a:endParaRPr>
          </a:p>
        </p:txBody>
      </p:sp>
      <p:sp>
        <p:nvSpPr>
          <p:cNvPr id="3" name="Title 2"/>
          <p:cNvSpPr>
            <a:spLocks noGrp="1"/>
          </p:cNvSpPr>
          <p:nvPr>
            <p:ph type="title"/>
          </p:nvPr>
        </p:nvSpPr>
        <p:spPr/>
        <p:txBody>
          <a:bodyPr>
            <a:noAutofit/>
          </a:bodyPr>
          <a:lstStyle/>
          <a:p>
            <a:r>
              <a:rPr lang="en-US" dirty="0"/>
              <a:t>SoCalGas Implementation Plan Webinars – Attendance</a:t>
            </a:r>
          </a:p>
        </p:txBody>
      </p:sp>
      <p:graphicFrame>
        <p:nvGraphicFramePr>
          <p:cNvPr id="4" name="Table 4">
            <a:extLst>
              <a:ext uri="{FF2B5EF4-FFF2-40B4-BE49-F238E27FC236}">
                <a16:creationId xmlns:a16="http://schemas.microsoft.com/office/drawing/2014/main" id="{9ADF132D-A7E3-40F7-8D17-13A6989EC374}"/>
              </a:ext>
            </a:extLst>
          </p:cNvPr>
          <p:cNvGraphicFramePr>
            <a:graphicFrameLocks noGrp="1"/>
          </p:cNvGraphicFramePr>
          <p:nvPr/>
        </p:nvGraphicFramePr>
        <p:xfrm>
          <a:off x="2126784" y="1108823"/>
          <a:ext cx="7938434" cy="4692369"/>
        </p:xfrm>
        <a:graphic>
          <a:graphicData uri="http://schemas.openxmlformats.org/drawingml/2006/table">
            <a:tbl>
              <a:tblPr firstRow="1" bandRow="1">
                <a:tableStyleId>{5C22544A-7EE6-4342-B048-85BDC9FD1C3A}</a:tableStyleId>
              </a:tblPr>
              <a:tblGrid>
                <a:gridCol w="952033">
                  <a:extLst>
                    <a:ext uri="{9D8B030D-6E8A-4147-A177-3AD203B41FA5}">
                      <a16:colId xmlns:a16="http://schemas.microsoft.com/office/drawing/2014/main" val="982086204"/>
                    </a:ext>
                  </a:extLst>
                </a:gridCol>
                <a:gridCol w="808488">
                  <a:extLst>
                    <a:ext uri="{9D8B030D-6E8A-4147-A177-3AD203B41FA5}">
                      <a16:colId xmlns:a16="http://schemas.microsoft.com/office/drawing/2014/main" val="2451654999"/>
                    </a:ext>
                  </a:extLst>
                </a:gridCol>
                <a:gridCol w="882559">
                  <a:extLst>
                    <a:ext uri="{9D8B030D-6E8A-4147-A177-3AD203B41FA5}">
                      <a16:colId xmlns:a16="http://schemas.microsoft.com/office/drawing/2014/main" val="2167412535"/>
                    </a:ext>
                  </a:extLst>
                </a:gridCol>
                <a:gridCol w="882559">
                  <a:extLst>
                    <a:ext uri="{9D8B030D-6E8A-4147-A177-3AD203B41FA5}">
                      <a16:colId xmlns:a16="http://schemas.microsoft.com/office/drawing/2014/main" val="1554721211"/>
                    </a:ext>
                  </a:extLst>
                </a:gridCol>
                <a:gridCol w="882559">
                  <a:extLst>
                    <a:ext uri="{9D8B030D-6E8A-4147-A177-3AD203B41FA5}">
                      <a16:colId xmlns:a16="http://schemas.microsoft.com/office/drawing/2014/main" val="4197816125"/>
                    </a:ext>
                  </a:extLst>
                </a:gridCol>
                <a:gridCol w="882559">
                  <a:extLst>
                    <a:ext uri="{9D8B030D-6E8A-4147-A177-3AD203B41FA5}">
                      <a16:colId xmlns:a16="http://schemas.microsoft.com/office/drawing/2014/main" val="2834309596"/>
                    </a:ext>
                  </a:extLst>
                </a:gridCol>
                <a:gridCol w="882559">
                  <a:extLst>
                    <a:ext uri="{9D8B030D-6E8A-4147-A177-3AD203B41FA5}">
                      <a16:colId xmlns:a16="http://schemas.microsoft.com/office/drawing/2014/main" val="3072128999"/>
                    </a:ext>
                  </a:extLst>
                </a:gridCol>
                <a:gridCol w="882559">
                  <a:extLst>
                    <a:ext uri="{9D8B030D-6E8A-4147-A177-3AD203B41FA5}">
                      <a16:colId xmlns:a16="http://schemas.microsoft.com/office/drawing/2014/main" val="384252145"/>
                    </a:ext>
                  </a:extLst>
                </a:gridCol>
                <a:gridCol w="882559">
                  <a:extLst>
                    <a:ext uri="{9D8B030D-6E8A-4147-A177-3AD203B41FA5}">
                      <a16:colId xmlns:a16="http://schemas.microsoft.com/office/drawing/2014/main" val="4016664524"/>
                    </a:ext>
                  </a:extLst>
                </a:gridCol>
              </a:tblGrid>
              <a:tr h="677607">
                <a:tc>
                  <a:txBody>
                    <a:bodyPr/>
                    <a:lstStyle/>
                    <a:p>
                      <a:endParaRPr lang="en-US" sz="1600" dirty="0"/>
                    </a:p>
                  </a:txBody>
                  <a:tcPr marL="85725" marR="85725" marT="42863" marB="42863"/>
                </a:tc>
                <a:tc>
                  <a:txBody>
                    <a:bodyPr/>
                    <a:lstStyle/>
                    <a:p>
                      <a:pPr algn="ctr"/>
                      <a:r>
                        <a:rPr lang="en-US" sz="1600" dirty="0"/>
                        <a:t> S/M Com’l</a:t>
                      </a:r>
                    </a:p>
                  </a:txBody>
                  <a:tcPr marL="85725" marR="85725" marT="42863" marB="42863" anchor="b"/>
                </a:tc>
                <a:tc>
                  <a:txBody>
                    <a:bodyPr/>
                    <a:lstStyle/>
                    <a:p>
                      <a:pPr algn="ctr"/>
                      <a:r>
                        <a:rPr lang="en-US" sz="1600" dirty="0"/>
                        <a:t> S/M Public</a:t>
                      </a:r>
                    </a:p>
                  </a:txBody>
                  <a:tcPr marL="85725" marR="85725" marT="42863" marB="42863" anchor="b"/>
                </a:tc>
                <a:tc>
                  <a:txBody>
                    <a:bodyPr/>
                    <a:lstStyle/>
                    <a:p>
                      <a:pPr algn="ctr"/>
                      <a:r>
                        <a:rPr lang="en-US" sz="1600" dirty="0"/>
                        <a:t> Mfd Home</a:t>
                      </a:r>
                    </a:p>
                  </a:txBody>
                  <a:tcPr marL="85725" marR="85725" marT="42863" marB="42863" anchor="b"/>
                </a:tc>
                <a:tc>
                  <a:txBody>
                    <a:bodyPr/>
                    <a:lstStyle/>
                    <a:p>
                      <a:pPr algn="ctr"/>
                      <a:r>
                        <a:rPr lang="en-US" sz="1600" dirty="0"/>
                        <a:t> Single Family</a:t>
                      </a:r>
                    </a:p>
                  </a:txBody>
                  <a:tcPr marL="85725" marR="85725" marT="42863" marB="42863" anchor="b"/>
                </a:tc>
                <a:tc>
                  <a:txBody>
                    <a:bodyPr/>
                    <a:lstStyle/>
                    <a:p>
                      <a:pPr algn="ctr"/>
                      <a:r>
                        <a:rPr lang="en-US" sz="1600" dirty="0"/>
                        <a:t> Food Serv</a:t>
                      </a:r>
                    </a:p>
                  </a:txBody>
                  <a:tcPr marL="85725" marR="85725" marT="42863" marB="42863" anchor="b"/>
                </a:tc>
                <a:tc>
                  <a:txBody>
                    <a:bodyPr/>
                    <a:lstStyle/>
                    <a:p>
                      <a:pPr algn="ctr"/>
                      <a:r>
                        <a:rPr lang="en-US" sz="1600" dirty="0"/>
                        <a:t> Water Htg</a:t>
                      </a:r>
                    </a:p>
                  </a:txBody>
                  <a:tcPr marL="85725" marR="85725" marT="42863" marB="42863" anchor="b"/>
                </a:tc>
                <a:tc>
                  <a:txBody>
                    <a:bodyPr/>
                    <a:lstStyle/>
                    <a:p>
                      <a:pPr algn="ctr"/>
                      <a:r>
                        <a:rPr lang="en-US" sz="1600" dirty="0"/>
                        <a:t> Multi-family</a:t>
                      </a:r>
                    </a:p>
                  </a:txBody>
                  <a:tcPr marL="85725" marR="85725" marT="42863" marB="42863" anchor="b"/>
                </a:tc>
                <a:tc>
                  <a:txBody>
                    <a:bodyPr/>
                    <a:lstStyle/>
                    <a:p>
                      <a:pPr algn="ctr"/>
                      <a:r>
                        <a:rPr lang="en-US" sz="1600" dirty="0"/>
                        <a:t> Ag</a:t>
                      </a:r>
                    </a:p>
                  </a:txBody>
                  <a:tcPr marL="85725" marR="85725" marT="42863" marB="42863" anchor="b"/>
                </a:tc>
                <a:extLst>
                  <a:ext uri="{0D108BD9-81ED-4DB2-BD59-A6C34878D82A}">
                    <a16:rowId xmlns:a16="http://schemas.microsoft.com/office/drawing/2014/main" val="1876316073"/>
                  </a:ext>
                </a:extLst>
              </a:tr>
              <a:tr h="809209">
                <a:tc>
                  <a:txBody>
                    <a:bodyPr/>
                    <a:lstStyle/>
                    <a:p>
                      <a:r>
                        <a:rPr lang="en-US" sz="1600" b="1" dirty="0"/>
                        <a:t># of Partic-ipants</a:t>
                      </a:r>
                    </a:p>
                  </a:txBody>
                  <a:tcPr marL="85725" marR="85725" marT="42863" marB="42863" anchor="ctr"/>
                </a:tc>
                <a:tc>
                  <a:txBody>
                    <a:bodyPr/>
                    <a:lstStyle/>
                    <a:p>
                      <a:pPr algn="ctr"/>
                      <a:r>
                        <a:rPr lang="en-US" sz="1600" b="1" dirty="0"/>
                        <a:t>20</a:t>
                      </a:r>
                    </a:p>
                  </a:txBody>
                  <a:tcPr marL="85725" marR="85725" marT="42863" marB="42863" anchor="ctr"/>
                </a:tc>
                <a:tc>
                  <a:txBody>
                    <a:bodyPr/>
                    <a:lstStyle/>
                    <a:p>
                      <a:pPr algn="ctr"/>
                      <a:r>
                        <a:rPr lang="en-US" sz="1600" b="1" dirty="0"/>
                        <a:t>15</a:t>
                      </a:r>
                    </a:p>
                  </a:txBody>
                  <a:tcPr marL="85725" marR="85725" marT="42863" marB="42863" anchor="ctr"/>
                </a:tc>
                <a:tc>
                  <a:txBody>
                    <a:bodyPr/>
                    <a:lstStyle/>
                    <a:p>
                      <a:pPr algn="ctr"/>
                      <a:r>
                        <a:rPr lang="en-US" sz="1600" b="1" dirty="0"/>
                        <a:t>2</a:t>
                      </a:r>
                    </a:p>
                  </a:txBody>
                  <a:tcPr marL="85725" marR="85725" marT="42863" marB="42863" anchor="ctr"/>
                </a:tc>
                <a:tc>
                  <a:txBody>
                    <a:bodyPr/>
                    <a:lstStyle/>
                    <a:p>
                      <a:pPr algn="ctr"/>
                      <a:r>
                        <a:rPr lang="en-US" sz="1600" b="1" dirty="0"/>
                        <a:t>8</a:t>
                      </a:r>
                    </a:p>
                  </a:txBody>
                  <a:tcPr marL="85725" marR="85725" marT="42863" marB="42863" anchor="ctr"/>
                </a:tc>
                <a:tc>
                  <a:txBody>
                    <a:bodyPr/>
                    <a:lstStyle/>
                    <a:p>
                      <a:pPr algn="ctr"/>
                      <a:r>
                        <a:rPr lang="en-US" sz="1600" b="1" dirty="0"/>
                        <a:t>33</a:t>
                      </a:r>
                    </a:p>
                  </a:txBody>
                  <a:tcPr marL="85725" marR="85725" marT="42863" marB="42863" anchor="ctr"/>
                </a:tc>
                <a:tc>
                  <a:txBody>
                    <a:bodyPr/>
                    <a:lstStyle/>
                    <a:p>
                      <a:pPr algn="ctr"/>
                      <a:r>
                        <a:rPr lang="en-US" sz="1600" b="1" dirty="0"/>
                        <a:t>40</a:t>
                      </a:r>
                    </a:p>
                  </a:txBody>
                  <a:tcPr marL="85725" marR="85725" marT="42863" marB="42863" anchor="ctr"/>
                </a:tc>
                <a:tc>
                  <a:txBody>
                    <a:bodyPr/>
                    <a:lstStyle/>
                    <a:p>
                      <a:pPr algn="ctr"/>
                      <a:r>
                        <a:rPr lang="en-US" sz="1600" b="1" dirty="0"/>
                        <a:t>16</a:t>
                      </a:r>
                    </a:p>
                  </a:txBody>
                  <a:tcPr marL="85725" marR="85725" marT="42863" marB="42863" anchor="ctr"/>
                </a:tc>
                <a:tc>
                  <a:txBody>
                    <a:bodyPr/>
                    <a:lstStyle/>
                    <a:p>
                      <a:pPr algn="ctr"/>
                      <a:r>
                        <a:rPr lang="en-US" sz="1600" b="1" dirty="0"/>
                        <a:t>32</a:t>
                      </a:r>
                    </a:p>
                  </a:txBody>
                  <a:tcPr marL="85725" marR="85725" marT="42863" marB="42863" anchor="ctr"/>
                </a:tc>
                <a:extLst>
                  <a:ext uri="{0D108BD9-81ED-4DB2-BD59-A6C34878D82A}">
                    <a16:rowId xmlns:a16="http://schemas.microsoft.com/office/drawing/2014/main" val="767189367"/>
                  </a:ext>
                </a:extLst>
              </a:tr>
              <a:tr h="421309">
                <a:tc>
                  <a:txBody>
                    <a:bodyPr/>
                    <a:lstStyle/>
                    <a:p>
                      <a:r>
                        <a:rPr lang="en-US" sz="1600" dirty="0"/>
                        <a:t>IOUs</a:t>
                      </a:r>
                    </a:p>
                  </a:txBody>
                  <a:tcPr marL="85725" marR="85725" marT="42863" marB="42863" anchor="ctr"/>
                </a:tc>
                <a:tc>
                  <a:txBody>
                    <a:bodyPr/>
                    <a:lstStyle/>
                    <a:p>
                      <a:pPr algn="ctr"/>
                      <a:endParaRPr lang="en-US" sz="1600" dirty="0"/>
                    </a:p>
                  </a:txBody>
                  <a:tcPr marL="85725" marR="85725" marT="42863" marB="42863" anchor="ctr"/>
                </a:tc>
                <a:tc>
                  <a:txBody>
                    <a:bodyPr/>
                    <a:lstStyle/>
                    <a:p>
                      <a:pPr algn="ctr"/>
                      <a:endParaRPr lang="en-US" sz="1600" dirty="0"/>
                    </a:p>
                  </a:txBody>
                  <a:tcPr marL="85725" marR="85725" marT="42863" marB="42863" anchor="ctr"/>
                </a:tc>
                <a:tc>
                  <a:txBody>
                    <a:bodyPr/>
                    <a:lstStyle/>
                    <a:p>
                      <a:pPr algn="ctr"/>
                      <a:endParaRPr lang="en-US" sz="1600" dirty="0"/>
                    </a:p>
                  </a:txBody>
                  <a:tcPr marL="85725" marR="85725" marT="42863" marB="42863" anchor="ctr"/>
                </a:tc>
                <a:tc>
                  <a:txBody>
                    <a:bodyPr/>
                    <a:lstStyle/>
                    <a:p>
                      <a:pPr algn="ctr"/>
                      <a:r>
                        <a:rPr lang="en-US" sz="1600" dirty="0"/>
                        <a:t>2</a:t>
                      </a:r>
                    </a:p>
                  </a:txBody>
                  <a:tcPr marL="85725" marR="85725" marT="42863" marB="42863" anchor="ctr"/>
                </a:tc>
                <a:tc>
                  <a:txBody>
                    <a:bodyPr/>
                    <a:lstStyle/>
                    <a:p>
                      <a:pPr algn="ctr"/>
                      <a:r>
                        <a:rPr lang="en-US" sz="1600" dirty="0"/>
                        <a:t>20</a:t>
                      </a:r>
                    </a:p>
                  </a:txBody>
                  <a:tcPr marL="85725" marR="85725" marT="42863" marB="42863" anchor="ctr"/>
                </a:tc>
                <a:tc>
                  <a:txBody>
                    <a:bodyPr/>
                    <a:lstStyle/>
                    <a:p>
                      <a:pPr algn="ctr"/>
                      <a:r>
                        <a:rPr lang="en-US" sz="1600" dirty="0"/>
                        <a:t>17</a:t>
                      </a:r>
                    </a:p>
                  </a:txBody>
                  <a:tcPr marL="85725" marR="85725" marT="42863" marB="42863" anchor="ctr"/>
                </a:tc>
                <a:tc>
                  <a:txBody>
                    <a:bodyPr/>
                    <a:lstStyle/>
                    <a:p>
                      <a:pPr algn="ctr"/>
                      <a:r>
                        <a:rPr lang="en-US" sz="1600" dirty="0"/>
                        <a:t>6</a:t>
                      </a:r>
                    </a:p>
                  </a:txBody>
                  <a:tcPr marL="85725" marR="85725" marT="42863" marB="42863" anchor="ctr"/>
                </a:tc>
                <a:tc>
                  <a:txBody>
                    <a:bodyPr/>
                    <a:lstStyle/>
                    <a:p>
                      <a:pPr algn="ctr"/>
                      <a:r>
                        <a:rPr lang="en-US" sz="1600" dirty="0"/>
                        <a:t>12</a:t>
                      </a:r>
                    </a:p>
                  </a:txBody>
                  <a:tcPr marL="85725" marR="85725" marT="42863" marB="42863" anchor="ctr"/>
                </a:tc>
                <a:extLst>
                  <a:ext uri="{0D108BD9-81ED-4DB2-BD59-A6C34878D82A}">
                    <a16:rowId xmlns:a16="http://schemas.microsoft.com/office/drawing/2014/main" val="2481502975"/>
                  </a:ext>
                </a:extLst>
              </a:tr>
              <a:tr h="481335">
                <a:tc>
                  <a:txBody>
                    <a:bodyPr/>
                    <a:lstStyle/>
                    <a:p>
                      <a:r>
                        <a:rPr lang="en-US" sz="1600" dirty="0"/>
                        <a:t>PRG</a:t>
                      </a:r>
                    </a:p>
                  </a:txBody>
                  <a:tcPr marL="85725" marR="85725" marT="42863" marB="42863" anchor="ctr"/>
                </a:tc>
                <a:tc>
                  <a:txBody>
                    <a:bodyPr/>
                    <a:lstStyle/>
                    <a:p>
                      <a:pPr algn="ctr"/>
                      <a:endParaRPr lang="en-US" sz="1600" dirty="0"/>
                    </a:p>
                  </a:txBody>
                  <a:tcPr marL="85725" marR="85725" marT="42863" marB="42863" anchor="ctr"/>
                </a:tc>
                <a:tc>
                  <a:txBody>
                    <a:bodyPr/>
                    <a:lstStyle/>
                    <a:p>
                      <a:pPr algn="ctr"/>
                      <a:endParaRPr lang="en-US" sz="1600" dirty="0"/>
                    </a:p>
                  </a:txBody>
                  <a:tcPr marL="85725" marR="85725" marT="42863" marB="42863" anchor="ctr"/>
                </a:tc>
                <a:tc>
                  <a:txBody>
                    <a:bodyPr/>
                    <a:lstStyle/>
                    <a:p>
                      <a:pPr algn="ctr"/>
                      <a:endParaRPr lang="en-US" sz="1600" dirty="0"/>
                    </a:p>
                  </a:txBody>
                  <a:tcPr marL="85725" marR="85725" marT="42863" marB="42863" anchor="ctr"/>
                </a:tc>
                <a:tc>
                  <a:txBody>
                    <a:bodyPr/>
                    <a:lstStyle/>
                    <a:p>
                      <a:pPr algn="ctr"/>
                      <a:r>
                        <a:rPr lang="en-US" sz="1600" dirty="0"/>
                        <a:t>1</a:t>
                      </a:r>
                    </a:p>
                  </a:txBody>
                  <a:tcPr marL="85725" marR="85725" marT="42863" marB="42863" anchor="ctr"/>
                </a:tc>
                <a:tc>
                  <a:txBody>
                    <a:bodyPr/>
                    <a:lstStyle/>
                    <a:p>
                      <a:pPr algn="ctr"/>
                      <a:endParaRPr lang="en-US" sz="1600" dirty="0"/>
                    </a:p>
                  </a:txBody>
                  <a:tcPr marL="85725" marR="85725" marT="42863" marB="42863" anchor="ctr"/>
                </a:tc>
                <a:tc>
                  <a:txBody>
                    <a:bodyPr/>
                    <a:lstStyle/>
                    <a:p>
                      <a:pPr algn="ctr"/>
                      <a:r>
                        <a:rPr lang="en-US" sz="1600" dirty="0"/>
                        <a:t>2</a:t>
                      </a:r>
                    </a:p>
                  </a:txBody>
                  <a:tcPr marL="85725" marR="85725" marT="42863" marB="42863" anchor="ctr"/>
                </a:tc>
                <a:tc>
                  <a:txBody>
                    <a:bodyPr/>
                    <a:lstStyle/>
                    <a:p>
                      <a:pPr algn="ctr"/>
                      <a:r>
                        <a:rPr lang="en-US" sz="1600" dirty="0"/>
                        <a:t>1</a:t>
                      </a:r>
                    </a:p>
                  </a:txBody>
                  <a:tcPr marL="85725" marR="85725" marT="42863" marB="42863" anchor="ctr"/>
                </a:tc>
                <a:tc>
                  <a:txBody>
                    <a:bodyPr/>
                    <a:lstStyle/>
                    <a:p>
                      <a:pPr algn="ctr"/>
                      <a:r>
                        <a:rPr lang="en-US" sz="1600" dirty="0"/>
                        <a:t>1</a:t>
                      </a:r>
                    </a:p>
                  </a:txBody>
                  <a:tcPr marL="85725" marR="85725" marT="42863" marB="42863" anchor="ctr"/>
                </a:tc>
                <a:extLst>
                  <a:ext uri="{0D108BD9-81ED-4DB2-BD59-A6C34878D82A}">
                    <a16:rowId xmlns:a16="http://schemas.microsoft.com/office/drawing/2014/main" val="2937041055"/>
                  </a:ext>
                </a:extLst>
              </a:tr>
              <a:tr h="425755">
                <a:tc>
                  <a:txBody>
                    <a:bodyPr/>
                    <a:lstStyle/>
                    <a:p>
                      <a:r>
                        <a:rPr lang="en-US" sz="1600" dirty="0"/>
                        <a:t>Other</a:t>
                      </a:r>
                    </a:p>
                  </a:txBody>
                  <a:tcPr marL="85725" marR="85725" marT="42863" marB="42863" anchor="ctr"/>
                </a:tc>
                <a:tc>
                  <a:txBody>
                    <a:bodyPr/>
                    <a:lstStyle/>
                    <a:p>
                      <a:pPr algn="ctr"/>
                      <a:endParaRPr lang="en-US" sz="1600" dirty="0"/>
                    </a:p>
                  </a:txBody>
                  <a:tcPr marL="85725" marR="85725" marT="42863" marB="42863" anchor="ctr"/>
                </a:tc>
                <a:tc>
                  <a:txBody>
                    <a:bodyPr/>
                    <a:lstStyle/>
                    <a:p>
                      <a:pPr algn="ctr"/>
                      <a:endParaRPr lang="en-US" sz="1600" dirty="0"/>
                    </a:p>
                  </a:txBody>
                  <a:tcPr marL="85725" marR="85725" marT="42863" marB="42863" anchor="ctr"/>
                </a:tc>
                <a:tc>
                  <a:txBody>
                    <a:bodyPr/>
                    <a:lstStyle/>
                    <a:p>
                      <a:pPr algn="ctr"/>
                      <a:endParaRPr lang="en-US" sz="1600" dirty="0"/>
                    </a:p>
                  </a:txBody>
                  <a:tcPr marL="85725" marR="85725" marT="42863" marB="42863" anchor="ctr"/>
                </a:tc>
                <a:tc>
                  <a:txBody>
                    <a:bodyPr/>
                    <a:lstStyle/>
                    <a:p>
                      <a:pPr algn="ctr"/>
                      <a:r>
                        <a:rPr lang="en-US" sz="1600" dirty="0"/>
                        <a:t>5</a:t>
                      </a:r>
                    </a:p>
                  </a:txBody>
                  <a:tcPr marL="85725" marR="85725" marT="42863" marB="42863" anchor="ctr"/>
                </a:tc>
                <a:tc>
                  <a:txBody>
                    <a:bodyPr/>
                    <a:lstStyle/>
                    <a:p>
                      <a:pPr algn="ctr"/>
                      <a:r>
                        <a:rPr lang="en-US" sz="1600" dirty="0"/>
                        <a:t>2</a:t>
                      </a:r>
                    </a:p>
                  </a:txBody>
                  <a:tcPr marL="85725" marR="85725" marT="42863" marB="42863" anchor="ctr"/>
                </a:tc>
                <a:tc>
                  <a:txBody>
                    <a:bodyPr/>
                    <a:lstStyle/>
                    <a:p>
                      <a:pPr algn="ctr"/>
                      <a:r>
                        <a:rPr lang="en-US" sz="1600" dirty="0"/>
                        <a:t>6</a:t>
                      </a:r>
                    </a:p>
                  </a:txBody>
                  <a:tcPr marL="85725" marR="85725" marT="42863" marB="42863" anchor="ctr"/>
                </a:tc>
                <a:tc>
                  <a:txBody>
                    <a:bodyPr/>
                    <a:lstStyle/>
                    <a:p>
                      <a:pPr algn="ctr"/>
                      <a:r>
                        <a:rPr lang="en-US" sz="1600" dirty="0"/>
                        <a:t>2</a:t>
                      </a:r>
                    </a:p>
                  </a:txBody>
                  <a:tcPr marL="85725" marR="85725" marT="42863" marB="42863" anchor="ctr"/>
                </a:tc>
                <a:tc>
                  <a:txBody>
                    <a:bodyPr/>
                    <a:lstStyle/>
                    <a:p>
                      <a:pPr algn="ctr"/>
                      <a:r>
                        <a:rPr lang="en-US" sz="1600" dirty="0"/>
                        <a:t>13</a:t>
                      </a:r>
                    </a:p>
                  </a:txBody>
                  <a:tcPr marL="85725" marR="85725" marT="42863" marB="42863" anchor="ctr"/>
                </a:tc>
                <a:extLst>
                  <a:ext uri="{0D108BD9-81ED-4DB2-BD59-A6C34878D82A}">
                    <a16:rowId xmlns:a16="http://schemas.microsoft.com/office/drawing/2014/main" val="2323866286"/>
                  </a:ext>
                </a:extLst>
              </a:tr>
              <a:tr h="478465">
                <a:tc>
                  <a:txBody>
                    <a:bodyPr/>
                    <a:lstStyle/>
                    <a:p>
                      <a:r>
                        <a:rPr lang="en-US" sz="1600" dirty="0"/>
                        <a:t>IE</a:t>
                      </a:r>
                    </a:p>
                  </a:txBody>
                  <a:tcPr marL="85725" marR="85725" marT="42863" marB="42863" anchor="ctr"/>
                </a:tc>
                <a:tc>
                  <a:txBody>
                    <a:bodyPr/>
                    <a:lstStyle/>
                    <a:p>
                      <a:pPr algn="ctr"/>
                      <a:endParaRPr lang="en-US" sz="1600" dirty="0"/>
                    </a:p>
                  </a:txBody>
                  <a:tcPr marL="85725" marR="85725" marT="42863" marB="42863" anchor="ctr"/>
                </a:tc>
                <a:tc>
                  <a:txBody>
                    <a:bodyPr/>
                    <a:lstStyle/>
                    <a:p>
                      <a:pPr algn="ctr"/>
                      <a:endParaRPr lang="en-US" sz="1600" dirty="0"/>
                    </a:p>
                  </a:txBody>
                  <a:tcPr marL="85725" marR="85725" marT="42863" marB="42863" anchor="ctr"/>
                </a:tc>
                <a:tc>
                  <a:txBody>
                    <a:bodyPr/>
                    <a:lstStyle/>
                    <a:p>
                      <a:pPr algn="ctr"/>
                      <a:endParaRPr lang="en-US" sz="1600" dirty="0"/>
                    </a:p>
                  </a:txBody>
                  <a:tcPr marL="85725" marR="85725" marT="42863" marB="42863" anchor="ctr"/>
                </a:tc>
                <a:tc>
                  <a:txBody>
                    <a:bodyPr/>
                    <a:lstStyle/>
                    <a:p>
                      <a:pPr algn="ctr"/>
                      <a:endParaRPr lang="en-US" sz="1600" dirty="0"/>
                    </a:p>
                  </a:txBody>
                  <a:tcPr marL="85725" marR="85725" marT="42863" marB="42863" anchor="ctr"/>
                </a:tc>
                <a:tc>
                  <a:txBody>
                    <a:bodyPr/>
                    <a:lstStyle/>
                    <a:p>
                      <a:pPr algn="ctr"/>
                      <a:r>
                        <a:rPr lang="en-US" sz="1600" dirty="0"/>
                        <a:t>2</a:t>
                      </a:r>
                    </a:p>
                  </a:txBody>
                  <a:tcPr marL="85725" marR="85725" marT="42863" marB="42863" anchor="ctr"/>
                </a:tc>
                <a:tc>
                  <a:txBody>
                    <a:bodyPr/>
                    <a:lstStyle/>
                    <a:p>
                      <a:pPr algn="ctr"/>
                      <a:r>
                        <a:rPr lang="en-US" sz="1600" dirty="0"/>
                        <a:t>3</a:t>
                      </a:r>
                    </a:p>
                  </a:txBody>
                  <a:tcPr marL="85725" marR="85725" marT="42863" marB="42863" anchor="ctr"/>
                </a:tc>
                <a:tc>
                  <a:txBody>
                    <a:bodyPr/>
                    <a:lstStyle/>
                    <a:p>
                      <a:pPr algn="ctr"/>
                      <a:r>
                        <a:rPr lang="en-US" sz="1600" dirty="0"/>
                        <a:t>1</a:t>
                      </a:r>
                    </a:p>
                  </a:txBody>
                  <a:tcPr marL="85725" marR="85725" marT="42863" marB="42863" anchor="ctr"/>
                </a:tc>
                <a:tc>
                  <a:txBody>
                    <a:bodyPr/>
                    <a:lstStyle/>
                    <a:p>
                      <a:pPr algn="ctr"/>
                      <a:r>
                        <a:rPr lang="en-US" sz="1600" dirty="0"/>
                        <a:t>2</a:t>
                      </a:r>
                    </a:p>
                  </a:txBody>
                  <a:tcPr marL="85725" marR="85725" marT="42863" marB="42863" anchor="ctr"/>
                </a:tc>
                <a:extLst>
                  <a:ext uri="{0D108BD9-81ED-4DB2-BD59-A6C34878D82A}">
                    <a16:rowId xmlns:a16="http://schemas.microsoft.com/office/drawing/2014/main" val="2462211577"/>
                  </a:ext>
                </a:extLst>
              </a:tr>
              <a:tr h="809209">
                <a:tc>
                  <a:txBody>
                    <a:bodyPr/>
                    <a:lstStyle/>
                    <a:p>
                      <a:r>
                        <a:rPr lang="en-US" sz="1600" dirty="0"/>
                        <a:t>Prog Implementer</a:t>
                      </a:r>
                    </a:p>
                  </a:txBody>
                  <a:tcPr marL="85725" marR="85725" marT="42863" marB="42863" anchor="ctr"/>
                </a:tc>
                <a:tc>
                  <a:txBody>
                    <a:bodyPr/>
                    <a:lstStyle/>
                    <a:p>
                      <a:pPr algn="ctr"/>
                      <a:endParaRPr lang="en-US" sz="1600" dirty="0"/>
                    </a:p>
                  </a:txBody>
                  <a:tcPr marL="85725" marR="85725" marT="42863" marB="42863" anchor="ctr"/>
                </a:tc>
                <a:tc>
                  <a:txBody>
                    <a:bodyPr/>
                    <a:lstStyle/>
                    <a:p>
                      <a:pPr algn="ctr"/>
                      <a:endParaRPr lang="en-US" sz="1600" dirty="0"/>
                    </a:p>
                  </a:txBody>
                  <a:tcPr marL="85725" marR="85725" marT="42863" marB="42863" anchor="ctr"/>
                </a:tc>
                <a:tc>
                  <a:txBody>
                    <a:bodyPr/>
                    <a:lstStyle/>
                    <a:p>
                      <a:pPr algn="ctr"/>
                      <a:endParaRPr lang="en-US" sz="1600" dirty="0"/>
                    </a:p>
                  </a:txBody>
                  <a:tcPr marL="85725" marR="85725" marT="42863" marB="42863" anchor="ctr"/>
                </a:tc>
                <a:tc>
                  <a:txBody>
                    <a:bodyPr/>
                    <a:lstStyle/>
                    <a:p>
                      <a:pPr algn="ctr"/>
                      <a:endParaRPr lang="en-US" sz="1600" dirty="0"/>
                    </a:p>
                  </a:txBody>
                  <a:tcPr marL="85725" marR="85725" marT="42863" marB="42863" anchor="ctr"/>
                </a:tc>
                <a:tc>
                  <a:txBody>
                    <a:bodyPr/>
                    <a:lstStyle/>
                    <a:p>
                      <a:pPr algn="ctr"/>
                      <a:r>
                        <a:rPr lang="en-US" sz="1600" dirty="0"/>
                        <a:t>5</a:t>
                      </a:r>
                    </a:p>
                  </a:txBody>
                  <a:tcPr marL="85725" marR="85725" marT="42863" marB="42863" anchor="ctr"/>
                </a:tc>
                <a:tc>
                  <a:txBody>
                    <a:bodyPr/>
                    <a:lstStyle/>
                    <a:p>
                      <a:pPr algn="ctr"/>
                      <a:r>
                        <a:rPr lang="en-US" sz="1600" dirty="0"/>
                        <a:t>7</a:t>
                      </a:r>
                    </a:p>
                  </a:txBody>
                  <a:tcPr marL="85725" marR="85725" marT="42863" marB="42863" anchor="ctr"/>
                </a:tc>
                <a:tc>
                  <a:txBody>
                    <a:bodyPr/>
                    <a:lstStyle/>
                    <a:p>
                      <a:pPr algn="ctr"/>
                      <a:r>
                        <a:rPr lang="en-US" sz="1600" dirty="0"/>
                        <a:t>6</a:t>
                      </a:r>
                    </a:p>
                  </a:txBody>
                  <a:tcPr marL="85725" marR="85725" marT="42863" marB="42863" anchor="ctr"/>
                </a:tc>
                <a:tc>
                  <a:txBody>
                    <a:bodyPr/>
                    <a:lstStyle/>
                    <a:p>
                      <a:pPr algn="ctr"/>
                      <a:r>
                        <a:rPr lang="en-US" sz="1600" dirty="0"/>
                        <a:t>4</a:t>
                      </a:r>
                    </a:p>
                  </a:txBody>
                  <a:tcPr marL="85725" marR="85725" marT="42863" marB="42863" anchor="ctr"/>
                </a:tc>
                <a:extLst>
                  <a:ext uri="{0D108BD9-81ED-4DB2-BD59-A6C34878D82A}">
                    <a16:rowId xmlns:a16="http://schemas.microsoft.com/office/drawing/2014/main" val="2461872219"/>
                  </a:ext>
                </a:extLst>
              </a:tr>
              <a:tr h="568047">
                <a:tc>
                  <a:txBody>
                    <a:bodyPr/>
                    <a:lstStyle/>
                    <a:p>
                      <a:r>
                        <a:rPr lang="en-US" sz="1600" dirty="0"/>
                        <a:t>Consultant</a:t>
                      </a:r>
                    </a:p>
                  </a:txBody>
                  <a:tcPr marL="85725" marR="85725" marT="42863" marB="42863" anchor="ctr"/>
                </a:tc>
                <a:tc>
                  <a:txBody>
                    <a:bodyPr/>
                    <a:lstStyle/>
                    <a:p>
                      <a:pPr algn="ctr"/>
                      <a:endParaRPr lang="en-US" sz="1600" dirty="0"/>
                    </a:p>
                  </a:txBody>
                  <a:tcPr marL="85725" marR="85725" marT="42863" marB="42863" anchor="ctr"/>
                </a:tc>
                <a:tc>
                  <a:txBody>
                    <a:bodyPr/>
                    <a:lstStyle/>
                    <a:p>
                      <a:pPr algn="ctr"/>
                      <a:endParaRPr lang="en-US" sz="1600" dirty="0"/>
                    </a:p>
                  </a:txBody>
                  <a:tcPr marL="85725" marR="85725" marT="42863" marB="42863" anchor="ctr"/>
                </a:tc>
                <a:tc>
                  <a:txBody>
                    <a:bodyPr/>
                    <a:lstStyle/>
                    <a:p>
                      <a:pPr algn="ctr"/>
                      <a:endParaRPr lang="en-US" sz="1600" dirty="0"/>
                    </a:p>
                  </a:txBody>
                  <a:tcPr marL="85725" marR="85725" marT="42863" marB="42863" anchor="ctr"/>
                </a:tc>
                <a:tc>
                  <a:txBody>
                    <a:bodyPr/>
                    <a:lstStyle/>
                    <a:p>
                      <a:pPr algn="ctr"/>
                      <a:endParaRPr lang="en-US" sz="1600" dirty="0"/>
                    </a:p>
                  </a:txBody>
                  <a:tcPr marL="85725" marR="85725" marT="42863" marB="42863" anchor="ctr"/>
                </a:tc>
                <a:tc>
                  <a:txBody>
                    <a:bodyPr/>
                    <a:lstStyle/>
                    <a:p>
                      <a:pPr algn="ctr"/>
                      <a:r>
                        <a:rPr lang="en-US" sz="1600" dirty="0"/>
                        <a:t>4</a:t>
                      </a:r>
                    </a:p>
                  </a:txBody>
                  <a:tcPr marL="85725" marR="85725" marT="42863" marB="42863" anchor="ctr"/>
                </a:tc>
                <a:tc>
                  <a:txBody>
                    <a:bodyPr/>
                    <a:lstStyle/>
                    <a:p>
                      <a:pPr algn="ctr"/>
                      <a:r>
                        <a:rPr lang="en-US" sz="1600" dirty="0"/>
                        <a:t>5</a:t>
                      </a:r>
                    </a:p>
                  </a:txBody>
                  <a:tcPr marL="85725" marR="85725" marT="42863" marB="42863" anchor="ctr"/>
                </a:tc>
                <a:tc>
                  <a:txBody>
                    <a:bodyPr/>
                    <a:lstStyle/>
                    <a:p>
                      <a:pPr algn="ctr"/>
                      <a:endParaRPr lang="en-US" sz="1600" dirty="0"/>
                    </a:p>
                  </a:txBody>
                  <a:tcPr marL="85725" marR="85725" marT="42863" marB="42863" anchor="ctr"/>
                </a:tc>
                <a:tc>
                  <a:txBody>
                    <a:bodyPr/>
                    <a:lstStyle/>
                    <a:p>
                      <a:pPr algn="ctr"/>
                      <a:endParaRPr lang="en-US" sz="1600" dirty="0"/>
                    </a:p>
                  </a:txBody>
                  <a:tcPr marL="85725" marR="85725" marT="42863" marB="42863" anchor="ctr"/>
                </a:tc>
                <a:extLst>
                  <a:ext uri="{0D108BD9-81ED-4DB2-BD59-A6C34878D82A}">
                    <a16:rowId xmlns:a16="http://schemas.microsoft.com/office/drawing/2014/main" val="3769076048"/>
                  </a:ext>
                </a:extLst>
              </a:tr>
            </a:tbl>
          </a:graphicData>
        </a:graphic>
      </p:graphicFrame>
    </p:spTree>
    <p:extLst>
      <p:ext uri="{BB962C8B-B14F-4D97-AF65-F5344CB8AC3E}">
        <p14:creationId xmlns:p14="http://schemas.microsoft.com/office/powerpoint/2010/main" val="354908946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normAutofit/>
          </a:bodyPr>
          <a:lstStyle/>
          <a:p>
            <a:endParaRPr lang="en-US" sz="1688" dirty="0">
              <a:latin typeface="Calibri" panose="020F0502020204030204" pitchFamily="34" charset="0"/>
              <a:ea typeface="Calibri" panose="020F0502020204030204" pitchFamily="34" charset="0"/>
            </a:endParaRPr>
          </a:p>
          <a:p>
            <a:pPr marL="0" indent="0">
              <a:buNone/>
            </a:pPr>
            <a:endParaRPr lang="en-US" sz="1688" dirty="0">
              <a:latin typeface="Calibri" panose="020F0502020204030204" pitchFamily="34" charset="0"/>
              <a:ea typeface="Calibri" panose="020F0502020204030204" pitchFamily="34" charset="0"/>
            </a:endParaRPr>
          </a:p>
        </p:txBody>
      </p:sp>
      <p:sp>
        <p:nvSpPr>
          <p:cNvPr id="3" name="Title 2"/>
          <p:cNvSpPr>
            <a:spLocks noGrp="1"/>
          </p:cNvSpPr>
          <p:nvPr>
            <p:ph type="title"/>
          </p:nvPr>
        </p:nvSpPr>
        <p:spPr/>
        <p:txBody>
          <a:bodyPr>
            <a:noAutofit/>
          </a:bodyPr>
          <a:lstStyle/>
          <a:p>
            <a:r>
              <a:rPr lang="en-US" dirty="0"/>
              <a:t>SDG&amp;E Implementation Plan Webinars – Attendance</a:t>
            </a:r>
          </a:p>
        </p:txBody>
      </p:sp>
      <p:graphicFrame>
        <p:nvGraphicFramePr>
          <p:cNvPr id="4" name="Table 4">
            <a:extLst>
              <a:ext uri="{FF2B5EF4-FFF2-40B4-BE49-F238E27FC236}">
                <a16:creationId xmlns:a16="http://schemas.microsoft.com/office/drawing/2014/main" id="{9ADF132D-A7E3-40F7-8D17-13A6989EC374}"/>
              </a:ext>
            </a:extLst>
          </p:cNvPr>
          <p:cNvGraphicFramePr>
            <a:graphicFrameLocks noGrp="1"/>
          </p:cNvGraphicFramePr>
          <p:nvPr/>
        </p:nvGraphicFramePr>
        <p:xfrm>
          <a:off x="2126784" y="1108823"/>
          <a:ext cx="7699842" cy="3906313"/>
        </p:xfrm>
        <a:graphic>
          <a:graphicData uri="http://schemas.openxmlformats.org/drawingml/2006/table">
            <a:tbl>
              <a:tblPr firstRow="1" bandRow="1">
                <a:tableStyleId>{5C22544A-7EE6-4342-B048-85BDC9FD1C3A}</a:tableStyleId>
              </a:tblPr>
              <a:tblGrid>
                <a:gridCol w="4163827">
                  <a:extLst>
                    <a:ext uri="{9D8B030D-6E8A-4147-A177-3AD203B41FA5}">
                      <a16:colId xmlns:a16="http://schemas.microsoft.com/office/drawing/2014/main" val="982086204"/>
                    </a:ext>
                  </a:extLst>
                </a:gridCol>
                <a:gridCol w="3536015">
                  <a:extLst>
                    <a:ext uri="{9D8B030D-6E8A-4147-A177-3AD203B41FA5}">
                      <a16:colId xmlns:a16="http://schemas.microsoft.com/office/drawing/2014/main" val="2451654999"/>
                    </a:ext>
                  </a:extLst>
                </a:gridCol>
              </a:tblGrid>
              <a:tr h="677607">
                <a:tc>
                  <a:txBody>
                    <a:bodyPr/>
                    <a:lstStyle/>
                    <a:p>
                      <a:endParaRPr lang="en-US" sz="1600" dirty="0"/>
                    </a:p>
                  </a:txBody>
                  <a:tcPr marL="85725" marR="85725" marT="42863" marB="42863"/>
                </a:tc>
                <a:tc>
                  <a:txBody>
                    <a:bodyPr/>
                    <a:lstStyle/>
                    <a:p>
                      <a:pPr algn="ctr"/>
                      <a:r>
                        <a:rPr lang="en-US" sz="1600" dirty="0"/>
                        <a:t> Statewide HVAC</a:t>
                      </a:r>
                    </a:p>
                  </a:txBody>
                  <a:tcPr marL="85725" marR="85725" marT="42863" marB="42863" anchor="b"/>
                </a:tc>
                <a:extLst>
                  <a:ext uri="{0D108BD9-81ED-4DB2-BD59-A6C34878D82A}">
                    <a16:rowId xmlns:a16="http://schemas.microsoft.com/office/drawing/2014/main" val="1876316073"/>
                  </a:ext>
                </a:extLst>
              </a:tr>
              <a:tr h="677607">
                <a:tc>
                  <a:txBody>
                    <a:bodyPr/>
                    <a:lstStyle/>
                    <a:p>
                      <a:r>
                        <a:rPr lang="en-US" sz="1600" b="1" dirty="0"/>
                        <a:t># of Participants</a:t>
                      </a:r>
                    </a:p>
                  </a:txBody>
                  <a:tcPr marL="85725" marR="85725" marT="42863" marB="42863" anchor="ctr"/>
                </a:tc>
                <a:tc>
                  <a:txBody>
                    <a:bodyPr/>
                    <a:lstStyle/>
                    <a:p>
                      <a:pPr algn="ctr"/>
                      <a:r>
                        <a:rPr lang="en-US" sz="1600" b="1" dirty="0"/>
                        <a:t>49</a:t>
                      </a:r>
                    </a:p>
                  </a:txBody>
                  <a:tcPr marL="85725" marR="85725" marT="42863" marB="42863" anchor="ctr"/>
                </a:tc>
                <a:extLst>
                  <a:ext uri="{0D108BD9-81ED-4DB2-BD59-A6C34878D82A}">
                    <a16:rowId xmlns:a16="http://schemas.microsoft.com/office/drawing/2014/main" val="767189367"/>
                  </a:ext>
                </a:extLst>
              </a:tr>
              <a:tr h="421309">
                <a:tc>
                  <a:txBody>
                    <a:bodyPr/>
                    <a:lstStyle/>
                    <a:p>
                      <a:r>
                        <a:rPr lang="en-US" sz="1600" dirty="0"/>
                        <a:t>SDG&amp;E</a:t>
                      </a:r>
                    </a:p>
                  </a:txBody>
                  <a:tcPr marL="85725" marR="85725" marT="42863" marB="42863" anchor="ctr"/>
                </a:tc>
                <a:tc>
                  <a:txBody>
                    <a:bodyPr/>
                    <a:lstStyle/>
                    <a:p>
                      <a:pPr algn="ctr"/>
                      <a:r>
                        <a:rPr lang="en-US" sz="1600" dirty="0"/>
                        <a:t>13</a:t>
                      </a:r>
                    </a:p>
                  </a:txBody>
                  <a:tcPr marL="85725" marR="85725" marT="42863" marB="42863" anchor="ctr"/>
                </a:tc>
                <a:extLst>
                  <a:ext uri="{0D108BD9-81ED-4DB2-BD59-A6C34878D82A}">
                    <a16:rowId xmlns:a16="http://schemas.microsoft.com/office/drawing/2014/main" val="2481502975"/>
                  </a:ext>
                </a:extLst>
              </a:tr>
              <a:tr h="481335">
                <a:tc>
                  <a:txBody>
                    <a:bodyPr/>
                    <a:lstStyle/>
                    <a:p>
                      <a:r>
                        <a:rPr lang="en-US" sz="1600" dirty="0"/>
                        <a:t>Other IOUs</a:t>
                      </a:r>
                    </a:p>
                  </a:txBody>
                  <a:tcPr marL="85725" marR="85725" marT="42863" marB="42863" anchor="ctr"/>
                </a:tc>
                <a:tc>
                  <a:txBody>
                    <a:bodyPr/>
                    <a:lstStyle/>
                    <a:p>
                      <a:pPr algn="ctr"/>
                      <a:r>
                        <a:rPr lang="en-US" sz="1600" dirty="0"/>
                        <a:t>8</a:t>
                      </a:r>
                    </a:p>
                  </a:txBody>
                  <a:tcPr marL="85725" marR="85725" marT="42863" marB="42863" anchor="ctr"/>
                </a:tc>
                <a:extLst>
                  <a:ext uri="{0D108BD9-81ED-4DB2-BD59-A6C34878D82A}">
                    <a16:rowId xmlns:a16="http://schemas.microsoft.com/office/drawing/2014/main" val="2937041055"/>
                  </a:ext>
                </a:extLst>
              </a:tr>
              <a:tr h="425755">
                <a:tc>
                  <a:txBody>
                    <a:bodyPr/>
                    <a:lstStyle/>
                    <a:p>
                      <a:r>
                        <a:rPr lang="en-US" sz="1600" dirty="0"/>
                        <a:t>PRG</a:t>
                      </a:r>
                    </a:p>
                  </a:txBody>
                  <a:tcPr marL="85725" marR="85725" marT="42863" marB="42863" anchor="ctr"/>
                </a:tc>
                <a:tc>
                  <a:txBody>
                    <a:bodyPr/>
                    <a:lstStyle/>
                    <a:p>
                      <a:pPr algn="ctr"/>
                      <a:r>
                        <a:rPr lang="en-US" sz="1600" dirty="0"/>
                        <a:t>0</a:t>
                      </a:r>
                    </a:p>
                  </a:txBody>
                  <a:tcPr marL="85725" marR="85725" marT="42863" marB="42863" anchor="ctr"/>
                </a:tc>
                <a:extLst>
                  <a:ext uri="{0D108BD9-81ED-4DB2-BD59-A6C34878D82A}">
                    <a16:rowId xmlns:a16="http://schemas.microsoft.com/office/drawing/2014/main" val="2323866286"/>
                  </a:ext>
                </a:extLst>
              </a:tr>
              <a:tr h="478465">
                <a:tc>
                  <a:txBody>
                    <a:bodyPr/>
                    <a:lstStyle/>
                    <a:p>
                      <a:r>
                        <a:rPr lang="en-US" sz="1600" dirty="0"/>
                        <a:t>Other Stakeholders</a:t>
                      </a:r>
                    </a:p>
                  </a:txBody>
                  <a:tcPr marL="85725" marR="85725" marT="42863" marB="42863" anchor="ctr"/>
                </a:tc>
                <a:tc>
                  <a:txBody>
                    <a:bodyPr/>
                    <a:lstStyle/>
                    <a:p>
                      <a:pPr algn="ctr"/>
                      <a:r>
                        <a:rPr lang="en-US" sz="1600" dirty="0"/>
                        <a:t>23</a:t>
                      </a:r>
                    </a:p>
                  </a:txBody>
                  <a:tcPr marL="85725" marR="85725" marT="42863" marB="42863" anchor="ctr"/>
                </a:tc>
                <a:extLst>
                  <a:ext uri="{0D108BD9-81ED-4DB2-BD59-A6C34878D82A}">
                    <a16:rowId xmlns:a16="http://schemas.microsoft.com/office/drawing/2014/main" val="2462211577"/>
                  </a:ext>
                </a:extLst>
              </a:tr>
              <a:tr h="326887">
                <a:tc>
                  <a:txBody>
                    <a:bodyPr/>
                    <a:lstStyle/>
                    <a:p>
                      <a:r>
                        <a:rPr lang="en-US" sz="1600" dirty="0"/>
                        <a:t>IE</a:t>
                      </a:r>
                    </a:p>
                  </a:txBody>
                  <a:tcPr marL="85725" marR="85725" marT="42863" marB="42863" anchor="ctr"/>
                </a:tc>
                <a:tc>
                  <a:txBody>
                    <a:bodyPr/>
                    <a:lstStyle/>
                    <a:p>
                      <a:pPr algn="ctr"/>
                      <a:r>
                        <a:rPr lang="en-US" sz="1600" dirty="0"/>
                        <a:t>1</a:t>
                      </a:r>
                    </a:p>
                  </a:txBody>
                  <a:tcPr marL="85725" marR="85725" marT="42863" marB="42863" anchor="ctr"/>
                </a:tc>
                <a:extLst>
                  <a:ext uri="{0D108BD9-81ED-4DB2-BD59-A6C34878D82A}">
                    <a16:rowId xmlns:a16="http://schemas.microsoft.com/office/drawing/2014/main" val="2461872219"/>
                  </a:ext>
                </a:extLst>
              </a:tr>
              <a:tr h="414669">
                <a:tc>
                  <a:txBody>
                    <a:bodyPr/>
                    <a:lstStyle/>
                    <a:p>
                      <a:r>
                        <a:rPr lang="en-US" sz="1600" dirty="0"/>
                        <a:t>Program Implementer</a:t>
                      </a:r>
                    </a:p>
                  </a:txBody>
                  <a:tcPr marL="85725" marR="85725" marT="42863" marB="42863" anchor="ctr"/>
                </a:tc>
                <a:tc>
                  <a:txBody>
                    <a:bodyPr/>
                    <a:lstStyle/>
                    <a:p>
                      <a:pPr algn="ctr"/>
                      <a:r>
                        <a:rPr lang="en-US" sz="1600" dirty="0"/>
                        <a:t>4</a:t>
                      </a:r>
                    </a:p>
                  </a:txBody>
                  <a:tcPr marL="85725" marR="85725" marT="42863" marB="42863" anchor="ctr"/>
                </a:tc>
                <a:extLst>
                  <a:ext uri="{0D108BD9-81ED-4DB2-BD59-A6C34878D82A}">
                    <a16:rowId xmlns:a16="http://schemas.microsoft.com/office/drawing/2014/main" val="3769076048"/>
                  </a:ext>
                </a:extLst>
              </a:tr>
            </a:tbl>
          </a:graphicData>
        </a:graphic>
      </p:graphicFrame>
    </p:spTree>
    <p:extLst>
      <p:ext uri="{BB962C8B-B14F-4D97-AF65-F5344CB8AC3E}">
        <p14:creationId xmlns:p14="http://schemas.microsoft.com/office/powerpoint/2010/main" val="7512789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36603" y="-8891"/>
            <a:ext cx="9674860" cy="6858000"/>
          </a:xfrm>
          <a:custGeom>
            <a:avLst/>
            <a:gdLst/>
            <a:ahLst/>
            <a:cxnLst/>
            <a:rect l="l" t="t" r="r" b="b"/>
            <a:pathLst>
              <a:path w="9674860" h="6858000">
                <a:moveTo>
                  <a:pt x="0" y="6858000"/>
                </a:moveTo>
                <a:lnTo>
                  <a:pt x="9674352" y="6858000"/>
                </a:lnTo>
                <a:lnTo>
                  <a:pt x="9674352" y="0"/>
                </a:lnTo>
                <a:lnTo>
                  <a:pt x="0" y="0"/>
                </a:lnTo>
                <a:lnTo>
                  <a:pt x="0" y="6858000"/>
                </a:lnTo>
                <a:close/>
              </a:path>
            </a:pathLst>
          </a:custGeom>
          <a:solidFill>
            <a:srgbClr val="D9D9D9"/>
          </a:solidFill>
        </p:spPr>
        <p:txBody>
          <a:bodyPr wrap="square" lIns="0" tIns="0" rIns="0" bIns="0" rtlCol="0"/>
          <a:lstStyle/>
          <a:p>
            <a:endParaRPr dirty="0"/>
          </a:p>
        </p:txBody>
      </p:sp>
      <p:grpSp>
        <p:nvGrpSpPr>
          <p:cNvPr id="3" name="object 3"/>
          <p:cNvGrpSpPr/>
          <p:nvPr/>
        </p:nvGrpSpPr>
        <p:grpSpPr>
          <a:xfrm>
            <a:off x="0" y="0"/>
            <a:ext cx="12198350" cy="6861809"/>
            <a:chOff x="0" y="0"/>
            <a:chExt cx="12198350" cy="6861809"/>
          </a:xfrm>
        </p:grpSpPr>
        <p:sp>
          <p:nvSpPr>
            <p:cNvPr id="4" name="object 4"/>
            <p:cNvSpPr/>
            <p:nvPr/>
          </p:nvSpPr>
          <p:spPr>
            <a:xfrm>
              <a:off x="0" y="6027420"/>
              <a:ext cx="9685020" cy="460375"/>
            </a:xfrm>
            <a:custGeom>
              <a:avLst/>
              <a:gdLst/>
              <a:ahLst/>
              <a:cxnLst/>
              <a:rect l="l" t="t" r="r" b="b"/>
              <a:pathLst>
                <a:path w="9685020" h="460375">
                  <a:moveTo>
                    <a:pt x="9685020" y="0"/>
                  </a:moveTo>
                  <a:lnTo>
                    <a:pt x="0" y="0"/>
                  </a:lnTo>
                  <a:lnTo>
                    <a:pt x="0" y="460247"/>
                  </a:lnTo>
                  <a:lnTo>
                    <a:pt x="9685020" y="460247"/>
                  </a:lnTo>
                  <a:lnTo>
                    <a:pt x="9685020" y="0"/>
                  </a:lnTo>
                  <a:close/>
                </a:path>
              </a:pathLst>
            </a:custGeom>
            <a:solidFill>
              <a:srgbClr val="FFD046"/>
            </a:solidFill>
          </p:spPr>
          <p:txBody>
            <a:bodyPr wrap="square" lIns="0" tIns="0" rIns="0" bIns="0" rtlCol="0"/>
            <a:lstStyle/>
            <a:p>
              <a:endParaRPr dirty="0"/>
            </a:p>
          </p:txBody>
        </p:sp>
        <p:sp>
          <p:nvSpPr>
            <p:cNvPr id="5" name="object 5"/>
            <p:cNvSpPr/>
            <p:nvPr/>
          </p:nvSpPr>
          <p:spPr>
            <a:xfrm>
              <a:off x="9674352" y="0"/>
              <a:ext cx="2517775" cy="6849109"/>
            </a:xfrm>
            <a:custGeom>
              <a:avLst/>
              <a:gdLst/>
              <a:ahLst/>
              <a:cxnLst/>
              <a:rect l="l" t="t" r="r" b="b"/>
              <a:pathLst>
                <a:path w="2517775" h="6849109">
                  <a:moveTo>
                    <a:pt x="0" y="6848855"/>
                  </a:moveTo>
                  <a:lnTo>
                    <a:pt x="2517648" y="6848855"/>
                  </a:lnTo>
                  <a:lnTo>
                    <a:pt x="2517648" y="0"/>
                  </a:lnTo>
                  <a:lnTo>
                    <a:pt x="0" y="0"/>
                  </a:lnTo>
                  <a:lnTo>
                    <a:pt x="0" y="6848855"/>
                  </a:lnTo>
                  <a:close/>
                </a:path>
              </a:pathLst>
            </a:custGeom>
            <a:solidFill>
              <a:srgbClr val="FFFFFF"/>
            </a:solidFill>
          </p:spPr>
          <p:txBody>
            <a:bodyPr wrap="square" lIns="0" tIns="0" rIns="0" bIns="0" rtlCol="0"/>
            <a:lstStyle/>
            <a:p>
              <a:endParaRPr dirty="0"/>
            </a:p>
          </p:txBody>
        </p:sp>
        <p:sp>
          <p:nvSpPr>
            <p:cNvPr id="6" name="object 6"/>
            <p:cNvSpPr/>
            <p:nvPr/>
          </p:nvSpPr>
          <p:spPr>
            <a:xfrm>
              <a:off x="9674352" y="0"/>
              <a:ext cx="2517775" cy="6849109"/>
            </a:xfrm>
            <a:custGeom>
              <a:avLst/>
              <a:gdLst/>
              <a:ahLst/>
              <a:cxnLst/>
              <a:rect l="l" t="t" r="r" b="b"/>
              <a:pathLst>
                <a:path w="2517775" h="6849109">
                  <a:moveTo>
                    <a:pt x="0" y="6848855"/>
                  </a:moveTo>
                  <a:lnTo>
                    <a:pt x="2517648" y="6848855"/>
                  </a:lnTo>
                  <a:lnTo>
                    <a:pt x="2517648" y="0"/>
                  </a:lnTo>
                </a:path>
                <a:path w="2517775" h="6849109">
                  <a:moveTo>
                    <a:pt x="0" y="0"/>
                  </a:moveTo>
                  <a:lnTo>
                    <a:pt x="0" y="6848855"/>
                  </a:lnTo>
                </a:path>
              </a:pathLst>
            </a:custGeom>
            <a:ln w="12700">
              <a:solidFill>
                <a:srgbClr val="FFFFFF"/>
              </a:solidFill>
            </a:ln>
          </p:spPr>
          <p:txBody>
            <a:bodyPr wrap="square" lIns="0" tIns="0" rIns="0" bIns="0" rtlCol="0"/>
            <a:lstStyle/>
            <a:p>
              <a:endParaRPr dirty="0"/>
            </a:p>
          </p:txBody>
        </p:sp>
      </p:grpSp>
      <p:sp>
        <p:nvSpPr>
          <p:cNvPr id="7" name="object 7"/>
          <p:cNvSpPr txBox="1">
            <a:spLocks noGrp="1"/>
          </p:cNvSpPr>
          <p:nvPr>
            <p:ph type="title"/>
          </p:nvPr>
        </p:nvSpPr>
        <p:spPr>
          <a:xfrm>
            <a:off x="0" y="2037246"/>
            <a:ext cx="9638257" cy="633507"/>
          </a:xfrm>
          <a:prstGeom prst="rect">
            <a:avLst/>
          </a:prstGeom>
        </p:spPr>
        <p:txBody>
          <a:bodyPr vert="horz" wrap="square" lIns="0" tIns="81280" rIns="0" bIns="0" rtlCol="0">
            <a:spAutoFit/>
          </a:bodyPr>
          <a:lstStyle/>
          <a:p>
            <a:pPr marL="12700" marR="5715" algn="ctr">
              <a:lnSpc>
                <a:spcPts val="4320"/>
              </a:lnSpc>
              <a:spcBef>
                <a:spcPts val="640"/>
              </a:spcBef>
            </a:pPr>
            <a:r>
              <a:rPr lang="en-US" sz="4000" b="1" spc="-10" dirty="0">
                <a:solidFill>
                  <a:srgbClr val="000000"/>
                </a:solidFill>
                <a:latin typeface="Calibri Light"/>
                <a:cs typeface="Calibri Light"/>
              </a:rPr>
              <a:t>Break</a:t>
            </a:r>
            <a:endParaRPr sz="4000" dirty="0">
              <a:latin typeface="Calibri Light"/>
              <a:cs typeface="Calibri Light"/>
            </a:endParaRPr>
          </a:p>
        </p:txBody>
      </p:sp>
      <p:sp>
        <p:nvSpPr>
          <p:cNvPr id="8" name="object 8"/>
          <p:cNvSpPr txBox="1"/>
          <p:nvPr/>
        </p:nvSpPr>
        <p:spPr>
          <a:xfrm>
            <a:off x="200526" y="3449378"/>
            <a:ext cx="5331460" cy="961802"/>
          </a:xfrm>
          <a:prstGeom prst="rect">
            <a:avLst/>
          </a:prstGeom>
        </p:spPr>
        <p:txBody>
          <a:bodyPr vert="horz" wrap="square" lIns="0" tIns="12700" rIns="0" bIns="0" rtlCol="0">
            <a:spAutoFit/>
          </a:bodyPr>
          <a:lstStyle/>
          <a:p>
            <a:pPr marL="12700">
              <a:lnSpc>
                <a:spcPct val="100000"/>
              </a:lnSpc>
              <a:spcBef>
                <a:spcPts val="100"/>
              </a:spcBef>
            </a:pPr>
            <a:r>
              <a:rPr lang="en-US" sz="2000" b="1" spc="-10" dirty="0">
                <a:latin typeface="Calibri Light"/>
                <a:cs typeface="Calibri Light"/>
              </a:rPr>
              <a:t>10:00am – 10:10am</a:t>
            </a:r>
          </a:p>
          <a:p>
            <a:pPr marL="12700">
              <a:lnSpc>
                <a:spcPct val="100000"/>
              </a:lnSpc>
              <a:spcBef>
                <a:spcPts val="100"/>
              </a:spcBef>
            </a:pPr>
            <a:endParaRPr lang="en-US" sz="2000" spc="-10" dirty="0">
              <a:latin typeface="Calibri Light"/>
              <a:cs typeface="Calibri Light"/>
            </a:endParaRPr>
          </a:p>
          <a:p>
            <a:pPr marL="12700">
              <a:lnSpc>
                <a:spcPct val="100000"/>
              </a:lnSpc>
              <a:spcBef>
                <a:spcPts val="100"/>
              </a:spcBef>
            </a:pPr>
            <a:r>
              <a:rPr lang="en-US" sz="2000" spc="-10" dirty="0">
                <a:latin typeface="Calibri Light"/>
                <a:cs typeface="Calibri Light"/>
              </a:rPr>
              <a:t>Will return at 10:10am</a:t>
            </a:r>
          </a:p>
        </p:txBody>
      </p:sp>
    </p:spTree>
    <p:extLst>
      <p:ext uri="{BB962C8B-B14F-4D97-AF65-F5344CB8AC3E}">
        <p14:creationId xmlns:p14="http://schemas.microsoft.com/office/powerpoint/2010/main" val="44950507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9674860" cy="6858000"/>
          </a:xfrm>
          <a:custGeom>
            <a:avLst/>
            <a:gdLst/>
            <a:ahLst/>
            <a:cxnLst/>
            <a:rect l="l" t="t" r="r" b="b"/>
            <a:pathLst>
              <a:path w="9674860" h="6858000">
                <a:moveTo>
                  <a:pt x="0" y="6858000"/>
                </a:moveTo>
                <a:lnTo>
                  <a:pt x="9674352" y="6858000"/>
                </a:lnTo>
                <a:lnTo>
                  <a:pt x="9674352" y="0"/>
                </a:lnTo>
                <a:lnTo>
                  <a:pt x="0" y="0"/>
                </a:lnTo>
                <a:lnTo>
                  <a:pt x="0" y="6858000"/>
                </a:lnTo>
                <a:close/>
              </a:path>
            </a:pathLst>
          </a:custGeom>
          <a:solidFill>
            <a:srgbClr val="D9D9D9"/>
          </a:solidFill>
        </p:spPr>
        <p:txBody>
          <a:bodyPr wrap="square" lIns="0" tIns="0" rIns="0" bIns="0" rtlCol="0"/>
          <a:lstStyle/>
          <a:p>
            <a:endParaRPr dirty="0"/>
          </a:p>
        </p:txBody>
      </p:sp>
      <p:grpSp>
        <p:nvGrpSpPr>
          <p:cNvPr id="3" name="object 3"/>
          <p:cNvGrpSpPr/>
          <p:nvPr/>
        </p:nvGrpSpPr>
        <p:grpSpPr>
          <a:xfrm>
            <a:off x="0" y="0"/>
            <a:ext cx="12198350" cy="6861809"/>
            <a:chOff x="0" y="0"/>
            <a:chExt cx="12198350" cy="6861809"/>
          </a:xfrm>
        </p:grpSpPr>
        <p:sp>
          <p:nvSpPr>
            <p:cNvPr id="4" name="object 4"/>
            <p:cNvSpPr/>
            <p:nvPr/>
          </p:nvSpPr>
          <p:spPr>
            <a:xfrm>
              <a:off x="0" y="6027420"/>
              <a:ext cx="9685020" cy="460375"/>
            </a:xfrm>
            <a:custGeom>
              <a:avLst/>
              <a:gdLst/>
              <a:ahLst/>
              <a:cxnLst/>
              <a:rect l="l" t="t" r="r" b="b"/>
              <a:pathLst>
                <a:path w="9685020" h="460375">
                  <a:moveTo>
                    <a:pt x="9685020" y="0"/>
                  </a:moveTo>
                  <a:lnTo>
                    <a:pt x="0" y="0"/>
                  </a:lnTo>
                  <a:lnTo>
                    <a:pt x="0" y="460247"/>
                  </a:lnTo>
                  <a:lnTo>
                    <a:pt x="9685020" y="460247"/>
                  </a:lnTo>
                  <a:lnTo>
                    <a:pt x="9685020" y="0"/>
                  </a:lnTo>
                  <a:close/>
                </a:path>
              </a:pathLst>
            </a:custGeom>
            <a:solidFill>
              <a:srgbClr val="FFD046"/>
            </a:solidFill>
          </p:spPr>
          <p:txBody>
            <a:bodyPr wrap="square" lIns="0" tIns="0" rIns="0" bIns="0" rtlCol="0"/>
            <a:lstStyle/>
            <a:p>
              <a:endParaRPr dirty="0"/>
            </a:p>
          </p:txBody>
        </p:sp>
        <p:sp>
          <p:nvSpPr>
            <p:cNvPr id="5" name="object 5"/>
            <p:cNvSpPr/>
            <p:nvPr/>
          </p:nvSpPr>
          <p:spPr>
            <a:xfrm>
              <a:off x="9674352" y="0"/>
              <a:ext cx="2517775" cy="6849109"/>
            </a:xfrm>
            <a:custGeom>
              <a:avLst/>
              <a:gdLst/>
              <a:ahLst/>
              <a:cxnLst/>
              <a:rect l="l" t="t" r="r" b="b"/>
              <a:pathLst>
                <a:path w="2517775" h="6849109">
                  <a:moveTo>
                    <a:pt x="0" y="6848855"/>
                  </a:moveTo>
                  <a:lnTo>
                    <a:pt x="2517648" y="6848855"/>
                  </a:lnTo>
                  <a:lnTo>
                    <a:pt x="2517648" y="0"/>
                  </a:lnTo>
                  <a:lnTo>
                    <a:pt x="0" y="0"/>
                  </a:lnTo>
                  <a:lnTo>
                    <a:pt x="0" y="6848855"/>
                  </a:lnTo>
                  <a:close/>
                </a:path>
              </a:pathLst>
            </a:custGeom>
            <a:solidFill>
              <a:srgbClr val="FFFFFF"/>
            </a:solidFill>
          </p:spPr>
          <p:txBody>
            <a:bodyPr wrap="square" lIns="0" tIns="0" rIns="0" bIns="0" rtlCol="0"/>
            <a:lstStyle/>
            <a:p>
              <a:endParaRPr dirty="0"/>
            </a:p>
          </p:txBody>
        </p:sp>
        <p:sp>
          <p:nvSpPr>
            <p:cNvPr id="6" name="object 6"/>
            <p:cNvSpPr/>
            <p:nvPr/>
          </p:nvSpPr>
          <p:spPr>
            <a:xfrm>
              <a:off x="9674352" y="0"/>
              <a:ext cx="2517775" cy="6849109"/>
            </a:xfrm>
            <a:custGeom>
              <a:avLst/>
              <a:gdLst/>
              <a:ahLst/>
              <a:cxnLst/>
              <a:rect l="l" t="t" r="r" b="b"/>
              <a:pathLst>
                <a:path w="2517775" h="6849109">
                  <a:moveTo>
                    <a:pt x="0" y="6848855"/>
                  </a:moveTo>
                  <a:lnTo>
                    <a:pt x="2517648" y="6848855"/>
                  </a:lnTo>
                  <a:lnTo>
                    <a:pt x="2517648" y="0"/>
                  </a:lnTo>
                </a:path>
                <a:path w="2517775" h="6849109">
                  <a:moveTo>
                    <a:pt x="0" y="0"/>
                  </a:moveTo>
                  <a:lnTo>
                    <a:pt x="0" y="6848855"/>
                  </a:lnTo>
                </a:path>
              </a:pathLst>
            </a:custGeom>
            <a:ln w="12700">
              <a:solidFill>
                <a:srgbClr val="FFFFFF"/>
              </a:solidFill>
            </a:ln>
          </p:spPr>
          <p:txBody>
            <a:bodyPr wrap="square" lIns="0" tIns="0" rIns="0" bIns="0" rtlCol="0"/>
            <a:lstStyle/>
            <a:p>
              <a:endParaRPr dirty="0"/>
            </a:p>
          </p:txBody>
        </p:sp>
      </p:grpSp>
      <p:sp>
        <p:nvSpPr>
          <p:cNvPr id="7" name="object 7"/>
          <p:cNvSpPr txBox="1">
            <a:spLocks noGrp="1"/>
          </p:cNvSpPr>
          <p:nvPr>
            <p:ph type="title"/>
          </p:nvPr>
        </p:nvSpPr>
        <p:spPr>
          <a:xfrm>
            <a:off x="200526" y="-28944"/>
            <a:ext cx="9608820" cy="3895618"/>
          </a:xfrm>
          <a:prstGeom prst="rect">
            <a:avLst/>
          </a:prstGeom>
        </p:spPr>
        <p:txBody>
          <a:bodyPr vert="horz" wrap="square" lIns="0" tIns="81280" rIns="0" bIns="0" rtlCol="0">
            <a:spAutoFit/>
          </a:bodyPr>
          <a:lstStyle/>
          <a:p>
            <a:pPr marL="12700" marR="5715">
              <a:lnSpc>
                <a:spcPts val="4320"/>
              </a:lnSpc>
              <a:spcBef>
                <a:spcPts val="640"/>
              </a:spcBef>
            </a:pPr>
            <a:r>
              <a:rPr lang="en-US" sz="2700" b="1" spc="-10" dirty="0">
                <a:solidFill>
                  <a:srgbClr val="000000"/>
                </a:solidFill>
                <a:latin typeface="Calibri Light"/>
                <a:cs typeface="Calibri Light"/>
              </a:rPr>
              <a:t>Topic 6 – Cultivating Small and Diverse Businesses as 3P EE Implementers:</a:t>
            </a:r>
            <a:br>
              <a:rPr lang="en-US" sz="2700" b="1" spc="-10" dirty="0">
                <a:solidFill>
                  <a:srgbClr val="000000"/>
                </a:solidFill>
                <a:latin typeface="Calibri Light"/>
                <a:cs typeface="Calibri Light"/>
              </a:rPr>
            </a:br>
            <a:r>
              <a:rPr lang="en-US" sz="2700" spc="-10" dirty="0">
                <a:solidFill>
                  <a:srgbClr val="000000"/>
                </a:solidFill>
                <a:latin typeface="Calibri Light"/>
                <a:cs typeface="Calibri Light"/>
              </a:rPr>
              <a:t>- Small and Diverse Businesses as Drivers of Program Innovation</a:t>
            </a:r>
            <a:br>
              <a:rPr lang="en-US" sz="2700" spc="-10" dirty="0">
                <a:solidFill>
                  <a:srgbClr val="000000"/>
                </a:solidFill>
                <a:latin typeface="Calibri Light"/>
                <a:cs typeface="Calibri Light"/>
              </a:rPr>
            </a:br>
            <a:r>
              <a:rPr lang="en-US" sz="2700" spc="-10" dirty="0">
                <a:solidFill>
                  <a:srgbClr val="000000"/>
                </a:solidFill>
                <a:latin typeface="Calibri Light"/>
                <a:cs typeface="Calibri Light"/>
              </a:rPr>
              <a:t>- IOUs’ Current Practices</a:t>
            </a:r>
            <a:br>
              <a:rPr lang="en-US" sz="2700" spc="-10" dirty="0">
                <a:solidFill>
                  <a:srgbClr val="000000"/>
                </a:solidFill>
                <a:latin typeface="Calibri Light"/>
                <a:cs typeface="Calibri Light"/>
              </a:rPr>
            </a:br>
            <a:r>
              <a:rPr lang="en-US" sz="2700" spc="-10" dirty="0">
                <a:solidFill>
                  <a:srgbClr val="000000"/>
                </a:solidFill>
                <a:latin typeface="Calibri Light"/>
                <a:cs typeface="Calibri Light"/>
              </a:rPr>
              <a:t>- How Can IOUs Develop Better Strategies for the Upcoming Application</a:t>
            </a:r>
            <a:br>
              <a:rPr lang="en-US" sz="2700" b="0" spc="-20" dirty="0">
                <a:solidFill>
                  <a:srgbClr val="000000"/>
                </a:solidFill>
                <a:latin typeface="Calibri Light"/>
                <a:cs typeface="Calibri Light"/>
              </a:rPr>
            </a:br>
            <a:endParaRPr sz="2700" dirty="0">
              <a:latin typeface="Calibri Light"/>
              <a:cs typeface="Calibri Light"/>
            </a:endParaRPr>
          </a:p>
        </p:txBody>
      </p:sp>
      <p:sp>
        <p:nvSpPr>
          <p:cNvPr id="8" name="object 8"/>
          <p:cNvSpPr txBox="1"/>
          <p:nvPr/>
        </p:nvSpPr>
        <p:spPr>
          <a:xfrm>
            <a:off x="200526" y="3424554"/>
            <a:ext cx="5331460" cy="2564805"/>
          </a:xfrm>
          <a:prstGeom prst="rect">
            <a:avLst/>
          </a:prstGeom>
        </p:spPr>
        <p:txBody>
          <a:bodyPr vert="horz" wrap="square" lIns="0" tIns="12700" rIns="0" bIns="0" rtlCol="0">
            <a:spAutoFit/>
          </a:bodyPr>
          <a:lstStyle/>
          <a:p>
            <a:pPr marL="12700">
              <a:lnSpc>
                <a:spcPct val="100000"/>
              </a:lnSpc>
              <a:spcBef>
                <a:spcPts val="100"/>
              </a:spcBef>
            </a:pPr>
            <a:r>
              <a:rPr lang="en-US" sz="2000" b="1" spc="-10" dirty="0">
                <a:latin typeface="Calibri Light"/>
                <a:cs typeface="Calibri Light"/>
              </a:rPr>
              <a:t>10:10am – 10:40am</a:t>
            </a:r>
          </a:p>
          <a:p>
            <a:pPr marL="12700">
              <a:lnSpc>
                <a:spcPct val="100000"/>
              </a:lnSpc>
              <a:spcBef>
                <a:spcPts val="100"/>
              </a:spcBef>
            </a:pPr>
            <a:r>
              <a:rPr lang="en-US" sz="2000" b="0" spc="-10" dirty="0">
                <a:latin typeface="Calibri Light"/>
                <a:cs typeface="Calibri Light"/>
              </a:rPr>
              <a:t>Independent Evaluator – Kim Crossman</a:t>
            </a:r>
          </a:p>
          <a:p>
            <a:pPr marL="12700">
              <a:spcBef>
                <a:spcPts val="100"/>
              </a:spcBef>
            </a:pPr>
            <a:r>
              <a:rPr lang="en-US" sz="2000" spc="-10" dirty="0">
                <a:latin typeface="Calibri Light"/>
                <a:cs typeface="Calibri Light"/>
              </a:rPr>
              <a:t>SCE – Marissa Barrera</a:t>
            </a:r>
          </a:p>
          <a:p>
            <a:pPr marL="12700">
              <a:lnSpc>
                <a:spcPct val="100000"/>
              </a:lnSpc>
              <a:spcBef>
                <a:spcPts val="100"/>
              </a:spcBef>
            </a:pPr>
            <a:r>
              <a:rPr lang="pt-BR" sz="2000" dirty="0">
                <a:latin typeface="Calibri Light"/>
                <a:cs typeface="Calibri Light"/>
              </a:rPr>
              <a:t>SoCalGas – Emma Ponco</a:t>
            </a:r>
          </a:p>
          <a:p>
            <a:pPr marL="12700">
              <a:lnSpc>
                <a:spcPct val="100000"/>
              </a:lnSpc>
              <a:spcBef>
                <a:spcPts val="100"/>
              </a:spcBef>
            </a:pPr>
            <a:r>
              <a:rPr lang="pt-BR" sz="2000" dirty="0">
                <a:latin typeface="Calibri Light"/>
                <a:cs typeface="Calibri Light"/>
              </a:rPr>
              <a:t>SDG&amp;E – David Roellich</a:t>
            </a:r>
          </a:p>
          <a:p>
            <a:pPr marL="12700">
              <a:lnSpc>
                <a:spcPct val="100000"/>
              </a:lnSpc>
              <a:spcBef>
                <a:spcPts val="100"/>
              </a:spcBef>
            </a:pPr>
            <a:r>
              <a:rPr lang="en-US" sz="2000" dirty="0">
                <a:latin typeface="Calibri Light"/>
                <a:cs typeface="Calibri Light"/>
              </a:rPr>
              <a:t>PG&amp;E – David Pell</a:t>
            </a:r>
          </a:p>
          <a:p>
            <a:pPr marL="12700">
              <a:spcBef>
                <a:spcPts val="100"/>
              </a:spcBef>
            </a:pPr>
            <a:r>
              <a:rPr lang="en-US" sz="2000" spc="-10" dirty="0">
                <a:latin typeface="Calibri Light"/>
                <a:cs typeface="Calibri Light"/>
              </a:rPr>
              <a:t>Small Business Utility Advocates – Ted Howard</a:t>
            </a:r>
          </a:p>
          <a:p>
            <a:pPr marL="12700">
              <a:spcBef>
                <a:spcPts val="100"/>
              </a:spcBef>
            </a:pPr>
            <a:r>
              <a:rPr lang="en-US" sz="2000" spc="-10" dirty="0">
                <a:latin typeface="Calibri Light"/>
                <a:cs typeface="Calibri Light"/>
              </a:rPr>
              <a:t>Interactive Discussion with Participants</a:t>
            </a:r>
          </a:p>
        </p:txBody>
      </p:sp>
    </p:spTree>
    <p:extLst>
      <p:ext uri="{BB962C8B-B14F-4D97-AF65-F5344CB8AC3E}">
        <p14:creationId xmlns:p14="http://schemas.microsoft.com/office/powerpoint/2010/main" val="31597535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3CE2053-2E8C-7F4A-AD25-13B290D4CAA6}"/>
              </a:ext>
            </a:extLst>
          </p:cNvPr>
          <p:cNvSpPr>
            <a:spLocks noGrp="1"/>
          </p:cNvSpPr>
          <p:nvPr>
            <p:ph type="title"/>
          </p:nvPr>
        </p:nvSpPr>
        <p:spPr/>
        <p:txBody>
          <a:bodyPr/>
          <a:lstStyle/>
          <a:p>
            <a:r>
              <a:rPr lang="en-US" dirty="0"/>
              <a:t>Duration of Solicitation Stages - reduced</a:t>
            </a:r>
          </a:p>
        </p:txBody>
      </p:sp>
      <p:graphicFrame>
        <p:nvGraphicFramePr>
          <p:cNvPr id="7" name="Chart 6">
            <a:extLst>
              <a:ext uri="{FF2B5EF4-FFF2-40B4-BE49-F238E27FC236}">
                <a16:creationId xmlns:a16="http://schemas.microsoft.com/office/drawing/2014/main" id="{EF5B2E07-C0AB-4E69-B302-A893238644F3}"/>
              </a:ext>
            </a:extLst>
          </p:cNvPr>
          <p:cNvGraphicFramePr>
            <a:graphicFrameLocks/>
          </p:cNvGraphicFramePr>
          <p:nvPr/>
        </p:nvGraphicFramePr>
        <p:xfrm>
          <a:off x="643368" y="1859756"/>
          <a:ext cx="4709681" cy="377904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a:extLst>
              <a:ext uri="{FF2B5EF4-FFF2-40B4-BE49-F238E27FC236}">
                <a16:creationId xmlns:a16="http://schemas.microsoft.com/office/drawing/2014/main" id="{1C82915B-D14E-4C09-9B08-499BCF5B5724}"/>
              </a:ext>
            </a:extLst>
          </p:cNvPr>
          <p:cNvGraphicFramePr>
            <a:graphicFrameLocks/>
          </p:cNvGraphicFramePr>
          <p:nvPr/>
        </p:nvGraphicFramePr>
        <p:xfrm>
          <a:off x="5848350" y="1859756"/>
          <a:ext cx="5734049" cy="377904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98942686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 name="Subtitle 2"/>
          <p:cNvSpPr txBox="1">
            <a:spLocks/>
          </p:cNvSpPr>
          <p:nvPr/>
        </p:nvSpPr>
        <p:spPr>
          <a:xfrm>
            <a:off x="211083" y="2218065"/>
            <a:ext cx="11769834" cy="2100161"/>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defTabSz="543818"/>
            <a:r>
              <a:rPr lang="en-US" sz="3299" b="1" dirty="0">
                <a:solidFill>
                  <a:srgbClr val="000000"/>
                </a:solidFill>
                <a:latin typeface="Arial" panose="020B0604020202020204"/>
                <a:ea typeface="Montserrat SemiBold" charset="0"/>
                <a:cs typeface="Montserrat SemiBold" charset="0"/>
              </a:rPr>
              <a:t>Cultivating Small and Diverse Businesses </a:t>
            </a:r>
          </a:p>
          <a:p>
            <a:pPr defTabSz="543818"/>
            <a:r>
              <a:rPr lang="en-US" sz="3299" b="1" dirty="0">
                <a:solidFill>
                  <a:srgbClr val="000000"/>
                </a:solidFill>
                <a:latin typeface="Arial" panose="020B0604020202020204"/>
                <a:ea typeface="Montserrat SemiBold" charset="0"/>
                <a:cs typeface="Montserrat SemiBold" charset="0"/>
              </a:rPr>
              <a:t>as 3P EE Implementers</a:t>
            </a:r>
          </a:p>
          <a:p>
            <a:pPr defTabSz="543818"/>
            <a:endParaRPr lang="en-US" sz="3299" b="1" dirty="0">
              <a:solidFill>
                <a:srgbClr val="03A99C"/>
              </a:solidFill>
              <a:latin typeface="Montserrat SemiBold" charset="0"/>
              <a:ea typeface="Montserrat SemiBold" charset="0"/>
              <a:cs typeface="Montserrat SemiBold" charset="0"/>
            </a:endParaRPr>
          </a:p>
        </p:txBody>
      </p:sp>
      <p:sp>
        <p:nvSpPr>
          <p:cNvPr id="8" name="Subtitle 2"/>
          <p:cNvSpPr txBox="1">
            <a:spLocks/>
          </p:cNvSpPr>
          <p:nvPr/>
        </p:nvSpPr>
        <p:spPr>
          <a:xfrm>
            <a:off x="4450712" y="3963404"/>
            <a:ext cx="3611172" cy="1022622"/>
          </a:xfrm>
          <a:prstGeom prst="rect">
            <a:avLst/>
          </a:prstGeom>
        </p:spPr>
        <p:txBody>
          <a:bodyPr vert="horz" wrap="square" lIns="108745" tIns="54373" rIns="108745" bIns="54373"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defTabSz="543818"/>
            <a:r>
              <a:rPr lang="en-US" sz="1600" dirty="0">
                <a:solidFill>
                  <a:srgbClr val="000000"/>
                </a:solidFill>
                <a:latin typeface="Lato"/>
                <a:ea typeface="Lato" charset="0"/>
                <a:cs typeface="Lato" charset="0"/>
              </a:rPr>
              <a:t>Stakeholder Engagement Forum</a:t>
            </a:r>
          </a:p>
          <a:p>
            <a:pPr defTabSz="543818"/>
            <a:r>
              <a:rPr lang="en-US" sz="1600" dirty="0">
                <a:solidFill>
                  <a:srgbClr val="000000"/>
                </a:solidFill>
                <a:latin typeface="Lato"/>
                <a:ea typeface="Lato" charset="0"/>
                <a:cs typeface="Lato" charset="0"/>
              </a:rPr>
              <a:t>July 28, 2021</a:t>
            </a:r>
          </a:p>
          <a:p>
            <a:pPr defTabSz="543818"/>
            <a:endParaRPr lang="en-US" sz="1375" dirty="0">
              <a:solidFill>
                <a:srgbClr val="000000"/>
              </a:solidFill>
              <a:latin typeface="Lato"/>
              <a:ea typeface="Lato" charset="0"/>
              <a:cs typeface="Lato" charset="0"/>
            </a:endParaRPr>
          </a:p>
        </p:txBody>
      </p:sp>
    </p:spTree>
    <p:extLst>
      <p:ext uri="{BB962C8B-B14F-4D97-AF65-F5344CB8AC3E}">
        <p14:creationId xmlns:p14="http://schemas.microsoft.com/office/powerpoint/2010/main" val="30377702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9570" y="365928"/>
            <a:ext cx="11046121" cy="1325218"/>
          </a:xfrm>
        </p:spPr>
        <p:txBody>
          <a:bodyPr>
            <a:normAutofit/>
          </a:bodyPr>
          <a:lstStyle/>
          <a:p>
            <a:r>
              <a:rPr lang="en-US" sz="2700" b="1" dirty="0">
                <a:solidFill>
                  <a:schemeClr val="tx2"/>
                </a:solidFill>
                <a:ea typeface="Montserrat SemiBold" charset="0"/>
                <a:cs typeface="Montserrat SemiBold" charset="0"/>
              </a:rPr>
              <a:t>Session Objectives</a:t>
            </a:r>
          </a:p>
        </p:txBody>
      </p:sp>
      <p:sp>
        <p:nvSpPr>
          <p:cNvPr id="3" name="Content Placeholder 2"/>
          <p:cNvSpPr>
            <a:spLocks noGrp="1"/>
          </p:cNvSpPr>
          <p:nvPr>
            <p:ph idx="1"/>
          </p:nvPr>
        </p:nvSpPr>
        <p:spPr>
          <a:xfrm>
            <a:off x="837150" y="1419864"/>
            <a:ext cx="11046121" cy="4917874"/>
          </a:xfrm>
        </p:spPr>
        <p:txBody>
          <a:bodyPr vert="horz" lIns="91422" tIns="45711" rIns="91422" bIns="45711" rtlCol="0" anchor="t">
            <a:noAutofit/>
          </a:bodyPr>
          <a:lstStyle/>
          <a:p>
            <a:pPr marL="571183" lvl="1" indent="-342900">
              <a:lnSpc>
                <a:spcPct val="100000"/>
              </a:lnSpc>
              <a:spcAft>
                <a:spcPts val="600"/>
              </a:spcAft>
            </a:pPr>
            <a:r>
              <a:rPr lang="en-US" sz="2400" dirty="0">
                <a:latin typeface="+mn-lt"/>
              </a:rPr>
              <a:t>Purpose: Gather stakeholder input to help identify and prioritize potential improvements. </a:t>
            </a:r>
          </a:p>
          <a:p>
            <a:pPr marL="571183" lvl="1" indent="-342900">
              <a:lnSpc>
                <a:spcPct val="100000"/>
              </a:lnSpc>
              <a:spcAft>
                <a:spcPts val="600"/>
              </a:spcAft>
            </a:pPr>
            <a:r>
              <a:rPr lang="en-US" sz="2400" dirty="0">
                <a:latin typeface="+mn-lt"/>
              </a:rPr>
              <a:t>We will: </a:t>
            </a:r>
          </a:p>
          <a:p>
            <a:pPr marL="913991" lvl="2" indent="-228283">
              <a:lnSpc>
                <a:spcPct val="100000"/>
              </a:lnSpc>
              <a:spcAft>
                <a:spcPts val="600"/>
              </a:spcAft>
            </a:pPr>
            <a:r>
              <a:rPr lang="en-US" sz="2000" dirty="0">
                <a:latin typeface="+mn-lt"/>
              </a:rPr>
              <a:t>Provide a brief update on IOU current practices and their near-term plans/ ideas. </a:t>
            </a:r>
          </a:p>
          <a:p>
            <a:pPr marL="913991" lvl="2" indent="-228283">
              <a:lnSpc>
                <a:spcPct val="100000"/>
              </a:lnSpc>
              <a:spcAft>
                <a:spcPts val="600"/>
              </a:spcAft>
            </a:pPr>
            <a:r>
              <a:rPr lang="en-US" sz="2000" dirty="0">
                <a:latin typeface="+mn-lt"/>
              </a:rPr>
              <a:t>Acknowledge challenges faced by small and diverse bidders and provide examples of opportunities for improvement in the 3P solicitation process. </a:t>
            </a:r>
          </a:p>
          <a:p>
            <a:pPr marL="913991" lvl="2" indent="-228283">
              <a:lnSpc>
                <a:spcPct val="100000"/>
              </a:lnSpc>
              <a:spcAft>
                <a:spcPts val="600"/>
              </a:spcAft>
            </a:pPr>
            <a:r>
              <a:rPr lang="en-US" sz="2000" dirty="0"/>
              <a:t>Gather stakeholder input on this question:</a:t>
            </a:r>
            <a:endParaRPr lang="en-US" sz="2400" i="1" dirty="0">
              <a:latin typeface="+mn-lt"/>
            </a:endParaRPr>
          </a:p>
          <a:p>
            <a:pPr marL="228600" lvl="1" indent="0">
              <a:lnSpc>
                <a:spcPct val="100000"/>
              </a:lnSpc>
              <a:spcBef>
                <a:spcPts val="800"/>
              </a:spcBef>
              <a:spcAft>
                <a:spcPts val="600"/>
              </a:spcAft>
              <a:buNone/>
            </a:pPr>
            <a:r>
              <a:rPr lang="en-US" sz="2400" i="1" dirty="0">
                <a:latin typeface="+mn-lt"/>
              </a:rPr>
              <a:t>What are the most important strategies that IOUs should consider to better enable small and diverse businesses to fairly compete and be successful as 3P EE Implementers in California?  </a:t>
            </a:r>
          </a:p>
          <a:p>
            <a:pPr marL="456883" lvl="1" indent="-228283">
              <a:lnSpc>
                <a:spcPct val="100000"/>
              </a:lnSpc>
              <a:spcAft>
                <a:spcPts val="600"/>
              </a:spcAft>
            </a:pPr>
            <a:endParaRPr lang="en-US" sz="2200" dirty="0">
              <a:latin typeface="+mn-lt"/>
            </a:endParaRPr>
          </a:p>
          <a:p>
            <a:pPr marL="456883" lvl="1" indent="-228283">
              <a:lnSpc>
                <a:spcPct val="100000"/>
              </a:lnSpc>
              <a:spcAft>
                <a:spcPts val="600"/>
              </a:spcAft>
            </a:pPr>
            <a:endParaRPr lang="en-US" sz="1800" dirty="0">
              <a:solidFill>
                <a:schemeClr val="accent2"/>
              </a:solidFill>
              <a:latin typeface="Lato" charset="0"/>
              <a:ea typeface="Lato" charset="0"/>
              <a:cs typeface="Lato" charset="0"/>
            </a:endParaRPr>
          </a:p>
          <a:p>
            <a:pPr marL="685483" lvl="1" indent="-228283">
              <a:lnSpc>
                <a:spcPct val="100000"/>
              </a:lnSpc>
              <a:spcAft>
                <a:spcPts val="600"/>
              </a:spcAft>
            </a:pPr>
            <a:endParaRPr lang="en-US" b="1" dirty="0">
              <a:solidFill>
                <a:schemeClr val="accent1"/>
              </a:solidFill>
              <a:latin typeface="Lato" panose="020F0502020204030203" pitchFamily="34" charset="77"/>
            </a:endParaRPr>
          </a:p>
          <a:p>
            <a:pPr marL="228283" indent="-228283">
              <a:lnSpc>
                <a:spcPct val="100000"/>
              </a:lnSpc>
              <a:spcAft>
                <a:spcPts val="600"/>
              </a:spcAft>
            </a:pPr>
            <a:endParaRPr lang="en-US" sz="2200" dirty="0">
              <a:solidFill>
                <a:schemeClr val="accent2"/>
              </a:solidFill>
              <a:latin typeface="Lato" charset="0"/>
              <a:ea typeface="Lato" charset="0"/>
              <a:cs typeface="Lato" charset="0"/>
            </a:endParaRPr>
          </a:p>
          <a:p>
            <a:pPr marL="0" indent="0">
              <a:lnSpc>
                <a:spcPct val="100000"/>
              </a:lnSpc>
              <a:spcAft>
                <a:spcPts val="600"/>
              </a:spcAft>
              <a:buNone/>
            </a:pPr>
            <a:endParaRPr lang="en-US" b="1" dirty="0">
              <a:solidFill>
                <a:schemeClr val="accent2"/>
              </a:solidFill>
              <a:latin typeface="Lato" charset="0"/>
              <a:ea typeface="Lato" charset="0"/>
              <a:cs typeface="Lato" charset="0"/>
            </a:endParaRPr>
          </a:p>
          <a:p>
            <a:pPr marL="228283" indent="-228283">
              <a:lnSpc>
                <a:spcPct val="100000"/>
              </a:lnSpc>
              <a:spcAft>
                <a:spcPts val="600"/>
              </a:spcAft>
            </a:pPr>
            <a:endParaRPr lang="en-US" b="1" dirty="0">
              <a:solidFill>
                <a:schemeClr val="accent2"/>
              </a:solidFill>
              <a:latin typeface="Lato" charset="0"/>
              <a:ea typeface="Lato" charset="0"/>
              <a:cs typeface="Lato" charset="0"/>
            </a:endParaRPr>
          </a:p>
          <a:p>
            <a:pPr marL="228283" indent="-228283">
              <a:lnSpc>
                <a:spcPct val="100000"/>
              </a:lnSpc>
              <a:spcAft>
                <a:spcPts val="600"/>
              </a:spcAft>
            </a:pPr>
            <a:endParaRPr lang="en-US" b="1" dirty="0">
              <a:solidFill>
                <a:schemeClr val="accent2"/>
              </a:solidFill>
              <a:latin typeface="Lato" charset="0"/>
              <a:ea typeface="Lato" charset="0"/>
              <a:cs typeface="Lato" charset="0"/>
            </a:endParaRPr>
          </a:p>
          <a:p>
            <a:pPr marL="456883" lvl="1" indent="0">
              <a:lnSpc>
                <a:spcPct val="100000"/>
              </a:lnSpc>
              <a:spcAft>
                <a:spcPts val="600"/>
              </a:spcAft>
              <a:buNone/>
            </a:pPr>
            <a:r>
              <a:rPr lang="en-US" sz="2200" b="1" dirty="0">
                <a:solidFill>
                  <a:schemeClr val="accent2"/>
                </a:solidFill>
                <a:latin typeface="Lato" charset="0"/>
                <a:ea typeface="Lato" charset="0"/>
                <a:cs typeface="Lato" charset="0"/>
              </a:rPr>
              <a:t>.</a:t>
            </a:r>
          </a:p>
          <a:p>
            <a:pPr marL="228283" indent="-228283">
              <a:lnSpc>
                <a:spcPct val="100000"/>
              </a:lnSpc>
              <a:spcAft>
                <a:spcPts val="600"/>
              </a:spcAft>
            </a:pPr>
            <a:endParaRPr lang="en-US" sz="2000" b="1" dirty="0">
              <a:solidFill>
                <a:schemeClr val="accent2"/>
              </a:solidFill>
              <a:latin typeface="Lato" charset="0"/>
              <a:ea typeface="Lato" charset="0"/>
              <a:cs typeface="Lato" charset="0"/>
            </a:endParaRPr>
          </a:p>
          <a:p>
            <a:pPr marL="228283" indent="-228283">
              <a:lnSpc>
                <a:spcPct val="100000"/>
              </a:lnSpc>
              <a:spcAft>
                <a:spcPts val="600"/>
              </a:spcAft>
            </a:pPr>
            <a:endParaRPr lang="en-US" sz="2000" b="1" dirty="0">
              <a:solidFill>
                <a:schemeClr val="accent2"/>
              </a:solidFill>
              <a:latin typeface="Lato" charset="0"/>
              <a:ea typeface="Lato" charset="0"/>
              <a:cs typeface="Lato" charset="0"/>
            </a:endParaRPr>
          </a:p>
          <a:p>
            <a:pPr marL="228283" indent="-228283">
              <a:lnSpc>
                <a:spcPct val="100000"/>
              </a:lnSpc>
              <a:spcAft>
                <a:spcPts val="600"/>
              </a:spcAft>
            </a:pPr>
            <a:endParaRPr lang="en-US" sz="2000" b="1" dirty="0">
              <a:solidFill>
                <a:schemeClr val="accent2"/>
              </a:solidFill>
              <a:latin typeface="Lato" charset="0"/>
              <a:ea typeface="Lato" charset="0"/>
              <a:cs typeface="Lato" charset="0"/>
            </a:endParaRPr>
          </a:p>
          <a:p>
            <a:pPr marL="228283" indent="-228283">
              <a:lnSpc>
                <a:spcPct val="100000"/>
              </a:lnSpc>
              <a:spcAft>
                <a:spcPts val="600"/>
              </a:spcAft>
            </a:pPr>
            <a:endParaRPr lang="en-US" b="1" dirty="0">
              <a:solidFill>
                <a:schemeClr val="accent1"/>
              </a:solidFill>
              <a:latin typeface="Lato" charset="0"/>
              <a:ea typeface="Lato" charset="0"/>
              <a:cs typeface="Lato" charset="0"/>
            </a:endParaRPr>
          </a:p>
          <a:p>
            <a:pPr marL="228283" indent="-228283">
              <a:lnSpc>
                <a:spcPct val="100000"/>
              </a:lnSpc>
              <a:spcAft>
                <a:spcPts val="600"/>
              </a:spcAft>
            </a:pPr>
            <a:endParaRPr lang="en-US" b="1" dirty="0">
              <a:solidFill>
                <a:schemeClr val="accent2"/>
              </a:solidFill>
              <a:latin typeface="Lato" charset="0"/>
              <a:ea typeface="Lato" charset="0"/>
              <a:cs typeface="Lato" charset="0"/>
            </a:endParaRPr>
          </a:p>
        </p:txBody>
      </p:sp>
    </p:spTree>
    <p:extLst>
      <p:ext uri="{BB962C8B-B14F-4D97-AF65-F5344CB8AC3E}">
        <p14:creationId xmlns:p14="http://schemas.microsoft.com/office/powerpoint/2010/main" val="241962069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D4FD55-D7C2-CF43-A91D-9D4502803AB0}"/>
              </a:ext>
            </a:extLst>
          </p:cNvPr>
          <p:cNvSpPr>
            <a:spLocks noGrp="1"/>
          </p:cNvSpPr>
          <p:nvPr>
            <p:ph type="title"/>
          </p:nvPr>
        </p:nvSpPr>
        <p:spPr/>
        <p:txBody>
          <a:bodyPr/>
          <a:lstStyle/>
          <a:p>
            <a:r>
              <a:rPr lang="en-US" dirty="0"/>
              <a:t>Definitions</a:t>
            </a:r>
          </a:p>
        </p:txBody>
      </p:sp>
      <p:sp>
        <p:nvSpPr>
          <p:cNvPr id="3" name="Content Placeholder 2">
            <a:extLst>
              <a:ext uri="{FF2B5EF4-FFF2-40B4-BE49-F238E27FC236}">
                <a16:creationId xmlns:a16="http://schemas.microsoft.com/office/drawing/2014/main" id="{032CF205-51FE-E547-A565-827D514DD80F}"/>
              </a:ext>
            </a:extLst>
          </p:cNvPr>
          <p:cNvSpPr>
            <a:spLocks noGrp="1"/>
          </p:cNvSpPr>
          <p:nvPr>
            <p:ph idx="1"/>
          </p:nvPr>
        </p:nvSpPr>
        <p:spPr>
          <a:xfrm>
            <a:off x="671439" y="1825625"/>
            <a:ext cx="11132289" cy="4351338"/>
          </a:xfrm>
        </p:spPr>
        <p:txBody>
          <a:bodyPr>
            <a:normAutofit fontScale="92500" lnSpcReduction="10000"/>
          </a:bodyPr>
          <a:lstStyle/>
          <a:p>
            <a:r>
              <a:rPr lang="en-US" dirty="0"/>
              <a:t>Diverse Business Enterprise (DBE):</a:t>
            </a:r>
          </a:p>
          <a:p>
            <a:pPr lvl="1"/>
            <a:r>
              <a:rPr lang="en-US" dirty="0"/>
              <a:t>Governed by CPUC </a:t>
            </a:r>
            <a:r>
              <a:rPr lang="en-US" dirty="0">
                <a:hlinkClick r:id="rId2"/>
              </a:rPr>
              <a:t>General Order 156</a:t>
            </a:r>
            <a:r>
              <a:rPr lang="en-US" dirty="0"/>
              <a:t> </a:t>
            </a:r>
          </a:p>
          <a:p>
            <a:pPr lvl="1"/>
            <a:r>
              <a:rPr lang="en-US" dirty="0"/>
              <a:t>A business entity that has been certified by the </a:t>
            </a:r>
            <a:r>
              <a:rPr lang="en-US" dirty="0">
                <a:hlinkClick r:id="rId3"/>
              </a:rPr>
              <a:t>CPUC Supplier Clearinghouse </a:t>
            </a:r>
            <a:r>
              <a:rPr lang="en-US" dirty="0"/>
              <a:t>as being majority owned and controlled by one or more diverse groups (women, minorities, service-disabled veterans, LGBT).</a:t>
            </a:r>
          </a:p>
          <a:p>
            <a:pPr marL="457109" lvl="1" indent="0">
              <a:buNone/>
            </a:pPr>
            <a:endParaRPr lang="en-US" dirty="0"/>
          </a:p>
          <a:p>
            <a:r>
              <a:rPr lang="en-US" dirty="0"/>
              <a:t>Small Business Enterprise (SBE): Certified by </a:t>
            </a:r>
            <a:r>
              <a:rPr lang="en-US" dirty="0">
                <a:hlinkClick r:id="rId4"/>
              </a:rPr>
              <a:t>CA DGS</a:t>
            </a:r>
            <a:r>
              <a:rPr lang="en-US" dirty="0"/>
              <a:t>.</a:t>
            </a:r>
          </a:p>
          <a:p>
            <a:pPr lvl="1"/>
            <a:r>
              <a:rPr lang="en-US" dirty="0"/>
              <a:t>CCR Title 2, Section 1986.12 Eligibility for Certification as a Small Business</a:t>
            </a:r>
          </a:p>
          <a:p>
            <a:pPr lvl="2"/>
            <a:r>
              <a:rPr lang="en-US" dirty="0"/>
              <a:t>Independently owned and operated; and</a:t>
            </a:r>
          </a:p>
          <a:p>
            <a:pPr lvl="2"/>
            <a:r>
              <a:rPr lang="en-US" dirty="0"/>
              <a:t>Principal office located in California; and</a:t>
            </a:r>
          </a:p>
          <a:p>
            <a:pPr lvl="2"/>
            <a:r>
              <a:rPr lang="en-US" dirty="0"/>
              <a:t>Officers, managers, members, partners or owners (depending on business structure) live in CA; and </a:t>
            </a:r>
          </a:p>
          <a:p>
            <a:pPr lvl="2"/>
            <a:r>
              <a:rPr lang="en-US" dirty="0"/>
              <a:t>It is not dominant in its field of operation(s), and</a:t>
            </a:r>
          </a:p>
          <a:p>
            <a:pPr lvl="2"/>
            <a:r>
              <a:rPr lang="en-US" dirty="0"/>
              <a:t>It is either a business that has 100 or fewer employees, and annual gross receipts of fifteen million dollars ($15,000,000) or less as averaged for the previous three (3) tax years or a manufacturer as defined herein that, together with all affiliates, that has 100 or fewer employees.</a:t>
            </a:r>
          </a:p>
          <a:p>
            <a:pPr lvl="1"/>
            <a:endParaRPr lang="en-US" dirty="0"/>
          </a:p>
          <a:p>
            <a:endParaRPr lang="en-US" dirty="0"/>
          </a:p>
        </p:txBody>
      </p:sp>
    </p:spTree>
    <p:extLst>
      <p:ext uri="{BB962C8B-B14F-4D97-AF65-F5344CB8AC3E}">
        <p14:creationId xmlns:p14="http://schemas.microsoft.com/office/powerpoint/2010/main" val="423085651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2213" y="19144"/>
            <a:ext cx="11521487" cy="1325218"/>
          </a:xfrm>
        </p:spPr>
        <p:txBody>
          <a:bodyPr>
            <a:normAutofit/>
          </a:bodyPr>
          <a:lstStyle/>
          <a:p>
            <a:r>
              <a:rPr lang="en-US" b="1" dirty="0">
                <a:cs typeface="Segoe UI Light" panose="020B0502040204020203" pitchFamily="34" charset="0"/>
              </a:rPr>
              <a:t>Cultivating Small and Diverse Businesses as 3P EE Implementers</a:t>
            </a:r>
          </a:p>
        </p:txBody>
      </p:sp>
      <p:sp>
        <p:nvSpPr>
          <p:cNvPr id="4" name="Content Placeholder 3">
            <a:extLst>
              <a:ext uri="{FF2B5EF4-FFF2-40B4-BE49-F238E27FC236}">
                <a16:creationId xmlns:a16="http://schemas.microsoft.com/office/drawing/2014/main" id="{7761EC29-66BB-42F2-988B-430F8040E0D2}"/>
              </a:ext>
            </a:extLst>
          </p:cNvPr>
          <p:cNvSpPr>
            <a:spLocks noGrp="1"/>
          </p:cNvSpPr>
          <p:nvPr>
            <p:ph idx="1"/>
          </p:nvPr>
        </p:nvSpPr>
        <p:spPr>
          <a:xfrm>
            <a:off x="839570" y="1508625"/>
            <a:ext cx="10512862" cy="4350205"/>
          </a:xfrm>
          <a:ln w="28575">
            <a:solidFill>
              <a:srgbClr val="006269"/>
            </a:solidFill>
          </a:ln>
        </p:spPr>
        <p:txBody>
          <a:bodyPr vert="horz" lIns="91416" tIns="45708" rIns="91416" bIns="45708" rtlCol="0" anchor="t">
            <a:normAutofit/>
          </a:bodyPr>
          <a:lstStyle/>
          <a:p>
            <a:r>
              <a:rPr lang="en-US" dirty="0">
                <a:latin typeface="Segoe UI"/>
                <a:cs typeface="Segoe UI"/>
              </a:rPr>
              <a:t>IOU current practices to support Small Business Enterprises and Diverse Business Enterprises   </a:t>
            </a:r>
            <a:endParaRPr lang="en-US" dirty="0"/>
          </a:p>
          <a:p>
            <a:r>
              <a:rPr lang="en-US" dirty="0">
                <a:latin typeface="Segoe UI"/>
                <a:cs typeface="Segoe UI"/>
              </a:rPr>
              <a:t>Solicitation plans for small solicitations (&lt;$10M)</a:t>
            </a:r>
          </a:p>
          <a:p>
            <a:r>
              <a:rPr lang="en-US" dirty="0">
                <a:latin typeface="Segoe UI"/>
                <a:cs typeface="Segoe UI"/>
              </a:rPr>
              <a:t>Percent of 3P contract value awarded to small or diverse primes &amp; subs, to date</a:t>
            </a:r>
          </a:p>
          <a:p>
            <a:r>
              <a:rPr lang="en-US" dirty="0">
                <a:latin typeface="Segoe UI"/>
                <a:cs typeface="Segoe UI"/>
              </a:rPr>
              <a:t>Process improvements in progress</a:t>
            </a:r>
          </a:p>
          <a:p>
            <a:endParaRPr lang="en-US" dirty="0"/>
          </a:p>
        </p:txBody>
      </p:sp>
      <p:sp>
        <p:nvSpPr>
          <p:cNvPr id="5" name="Slide Number Placeholder 4"/>
          <p:cNvSpPr>
            <a:spLocks noGrp="1"/>
          </p:cNvSpPr>
          <p:nvPr>
            <p:ph type="sldNum" sz="quarter" idx="12"/>
          </p:nvPr>
        </p:nvSpPr>
        <p:spPr/>
        <p:txBody>
          <a:bodyPr/>
          <a:lstStyle/>
          <a:p>
            <a:pPr defTabSz="914172">
              <a:defRPr/>
            </a:pPr>
            <a:fld id="{186DC542-6CB9-419E-B49C-81182B59E367}" type="slidenum">
              <a:rPr lang="en-US">
                <a:solidFill>
                  <a:prstClr val="white">
                    <a:lumMod val="50000"/>
                  </a:prstClr>
                </a:solidFill>
              </a:rPr>
              <a:pPr defTabSz="914172">
                <a:defRPr/>
              </a:pPr>
              <a:t>93</a:t>
            </a:fld>
            <a:endParaRPr lang="en-US" dirty="0">
              <a:solidFill>
                <a:prstClr val="white">
                  <a:lumMod val="50000"/>
                </a:prstClr>
              </a:solidFill>
            </a:endParaRPr>
          </a:p>
        </p:txBody>
      </p:sp>
    </p:spTree>
    <p:extLst>
      <p:ext uri="{BB962C8B-B14F-4D97-AF65-F5344CB8AC3E}">
        <p14:creationId xmlns:p14="http://schemas.microsoft.com/office/powerpoint/2010/main" val="285804598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7895" y="19144"/>
            <a:ext cx="11343561" cy="945040"/>
          </a:xfrm>
        </p:spPr>
        <p:txBody>
          <a:bodyPr>
            <a:normAutofit/>
          </a:bodyPr>
          <a:lstStyle/>
          <a:p>
            <a:r>
              <a:rPr lang="en-US" b="1" dirty="0">
                <a:cs typeface="Segoe UI Light" panose="020B0502040204020203" pitchFamily="34" charset="0"/>
              </a:rPr>
              <a:t>SCE Current Practices</a:t>
            </a:r>
          </a:p>
        </p:txBody>
      </p:sp>
      <p:sp>
        <p:nvSpPr>
          <p:cNvPr id="4" name="Content Placeholder 3">
            <a:extLst>
              <a:ext uri="{FF2B5EF4-FFF2-40B4-BE49-F238E27FC236}">
                <a16:creationId xmlns:a16="http://schemas.microsoft.com/office/drawing/2014/main" id="{C8815DFF-2938-44E4-99C4-17ABE54DC1CE}"/>
              </a:ext>
            </a:extLst>
          </p:cNvPr>
          <p:cNvSpPr>
            <a:spLocks noGrp="1"/>
          </p:cNvSpPr>
          <p:nvPr>
            <p:ph idx="1"/>
          </p:nvPr>
        </p:nvSpPr>
        <p:spPr>
          <a:xfrm>
            <a:off x="647895" y="964184"/>
            <a:ext cx="10896210" cy="5230311"/>
          </a:xfrm>
          <a:solidFill>
            <a:schemeClr val="bg2">
              <a:lumMod val="40000"/>
              <a:lumOff val="60000"/>
            </a:schemeClr>
          </a:solidFill>
          <a:ln w="28575">
            <a:solidFill>
              <a:schemeClr val="accent2">
                <a:lumMod val="50000"/>
              </a:schemeClr>
            </a:solidFill>
          </a:ln>
        </p:spPr>
        <p:txBody>
          <a:bodyPr vert="horz" lIns="91416" tIns="45708" rIns="91416" bIns="45708" rtlCol="0" anchor="t">
            <a:normAutofit/>
          </a:bodyPr>
          <a:lstStyle/>
          <a:p>
            <a:r>
              <a:rPr lang="en-US" sz="1600" dirty="0">
                <a:latin typeface="Segoe UI"/>
                <a:cs typeface="Segoe UI"/>
              </a:rPr>
              <a:t>4/15/21</a:t>
            </a:r>
            <a:r>
              <a:rPr lang="en-US" sz="1600" dirty="0">
                <a:solidFill>
                  <a:srgbClr val="006269"/>
                </a:solidFill>
                <a:latin typeface="Segoe UI"/>
                <a:cs typeface="Segoe UI"/>
              </a:rPr>
              <a:t> held a bidder webinar, included a </a:t>
            </a:r>
            <a:r>
              <a:rPr lang="en-US" sz="1600" b="1" dirty="0">
                <a:solidFill>
                  <a:srgbClr val="006269"/>
                </a:solidFill>
                <a:latin typeface="Segoe UI"/>
                <a:cs typeface="Segoe UI"/>
              </a:rPr>
              <a:t>30</a:t>
            </a:r>
            <a:r>
              <a:rPr lang="en-US" sz="1600" b="1" dirty="0">
                <a:latin typeface="Segoe UI"/>
                <a:cs typeface="Segoe UI"/>
              </a:rPr>
              <a:t>-minute introduction to SCE’s EE solicitations</a:t>
            </a:r>
          </a:p>
          <a:p>
            <a:pPr lvl="1"/>
            <a:r>
              <a:rPr lang="en-US" sz="1400" dirty="0">
                <a:latin typeface="Segoe UI"/>
                <a:cs typeface="Segoe UI"/>
              </a:rPr>
              <a:t>Over 100 attendees with about 20% identified as DBE</a:t>
            </a:r>
          </a:p>
          <a:p>
            <a:pPr lvl="1"/>
            <a:r>
              <a:rPr lang="en-US" sz="1400" dirty="0">
                <a:latin typeface="Segoe UI"/>
                <a:cs typeface="Segoe UI"/>
              </a:rPr>
              <a:t>Presentation and Q&amp;A available on PEPMA  </a:t>
            </a:r>
          </a:p>
          <a:p>
            <a:r>
              <a:rPr lang="en-US" sz="1600" dirty="0">
                <a:latin typeface="Segoe UI"/>
                <a:cs typeface="Segoe UI"/>
              </a:rPr>
              <a:t>Supplier diversity team markets to different DBE/SME trade groups when new solicitations are available. </a:t>
            </a:r>
            <a:endParaRPr lang="en-US" sz="1600" dirty="0"/>
          </a:p>
          <a:p>
            <a:pPr lvl="1"/>
            <a:r>
              <a:rPr lang="en-US" sz="1400" dirty="0">
                <a:latin typeface="Segoe UI"/>
                <a:cs typeface="Segoe UI"/>
              </a:rPr>
              <a:t>Outreach conducted 02/21 to Community Based Organizations</a:t>
            </a:r>
          </a:p>
          <a:p>
            <a:pPr lvl="1"/>
            <a:r>
              <a:rPr lang="en-US" sz="1400" dirty="0">
                <a:latin typeface="Segoe UI"/>
                <a:cs typeface="Segoe UI"/>
              </a:rPr>
              <a:t>SM/DBE companies encouraged to go through trade associations for partnership opportunities</a:t>
            </a:r>
          </a:p>
          <a:p>
            <a:pPr lvl="1"/>
            <a:r>
              <a:rPr lang="en-US" sz="1400" b="1" dirty="0">
                <a:latin typeface="Segoe UI"/>
                <a:cs typeface="Segoe UI"/>
              </a:rPr>
              <a:t>Meet and greets suspended due to COVID, may resume when safe to do so</a:t>
            </a:r>
            <a:r>
              <a:rPr lang="en-US" sz="1400" dirty="0">
                <a:latin typeface="Segoe UI"/>
                <a:cs typeface="Segoe UI"/>
              </a:rPr>
              <a:t>. </a:t>
            </a:r>
            <a:endParaRPr lang="en-US" sz="1400" dirty="0"/>
          </a:p>
          <a:p>
            <a:r>
              <a:rPr lang="en-US" sz="1600" dirty="0">
                <a:latin typeface="Segoe UI"/>
                <a:cs typeface="Segoe UI"/>
              </a:rPr>
              <a:t>Surveys conducted for webinar participants to gather ideas on improving the solicitation process</a:t>
            </a:r>
          </a:p>
          <a:p>
            <a:pPr lvl="1"/>
            <a:r>
              <a:rPr lang="en-US" sz="1400" dirty="0">
                <a:latin typeface="Segoe UI"/>
                <a:cs typeface="Segoe UI"/>
              </a:rPr>
              <a:t>Targeted survey conducted May/June to understand barriers to solicitation participation </a:t>
            </a:r>
            <a:endParaRPr lang="en-US" sz="1400" dirty="0"/>
          </a:p>
          <a:p>
            <a:r>
              <a:rPr lang="en-US" sz="1600" dirty="0">
                <a:latin typeface="Segoe UI"/>
                <a:cs typeface="Segoe UI"/>
              </a:rPr>
              <a:t>SCE has DBE commitment goals that is publicly reported </a:t>
            </a:r>
          </a:p>
          <a:p>
            <a:r>
              <a:rPr lang="en-US" sz="1600" dirty="0">
                <a:latin typeface="Segoe UI"/>
                <a:cs typeface="Segoe UI"/>
              </a:rPr>
              <a:t>EE solicitation documents have DBE preferences</a:t>
            </a:r>
          </a:p>
          <a:p>
            <a:pPr lvl="1"/>
            <a:r>
              <a:rPr lang="en-US" sz="1400" dirty="0">
                <a:latin typeface="Segoe UI"/>
                <a:cs typeface="Segoe UI"/>
              </a:rPr>
              <a:t>SCE collects DBE percent pledges from primes </a:t>
            </a:r>
            <a:endParaRPr lang="en-US" sz="1400" dirty="0"/>
          </a:p>
          <a:p>
            <a:r>
              <a:rPr lang="en-US" sz="1600" b="1" dirty="0">
                <a:latin typeface="Segoe UI"/>
                <a:cs typeface="Segoe UI"/>
              </a:rPr>
              <a:t>Recorded training for CET and other technical topics that are accessible to the market</a:t>
            </a:r>
          </a:p>
          <a:p>
            <a:r>
              <a:rPr lang="en-US" sz="1600" b="1" dirty="0">
                <a:latin typeface="Segoe UI"/>
                <a:cs typeface="Segoe UI"/>
              </a:rPr>
              <a:t>CET cure process for bidders that submit bids at the RFP stage</a:t>
            </a:r>
          </a:p>
          <a:p>
            <a:r>
              <a:rPr lang="en-US" sz="1600" dirty="0">
                <a:latin typeface="Segoe UI"/>
                <a:cs typeface="Segoe UI"/>
              </a:rPr>
              <a:t>Solicitation has open Q&amp;A periods for RFA/RFP that the bidders have an opportunity to submit questions </a:t>
            </a:r>
            <a:endParaRPr lang="en-US" sz="1600" dirty="0">
              <a:solidFill>
                <a:srgbClr val="FF0000"/>
              </a:solidFill>
            </a:endParaRPr>
          </a:p>
        </p:txBody>
      </p:sp>
      <p:sp>
        <p:nvSpPr>
          <p:cNvPr id="5" name="Slide Number Placeholder 4"/>
          <p:cNvSpPr>
            <a:spLocks noGrp="1"/>
          </p:cNvSpPr>
          <p:nvPr>
            <p:ph type="sldNum" sz="quarter" idx="12"/>
          </p:nvPr>
        </p:nvSpPr>
        <p:spPr/>
        <p:txBody>
          <a:bodyPr/>
          <a:lstStyle/>
          <a:p>
            <a:pPr defTabSz="914172">
              <a:defRPr/>
            </a:pPr>
            <a:fld id="{186DC542-6CB9-419E-B49C-81182B59E367}" type="slidenum">
              <a:rPr lang="en-US">
                <a:solidFill>
                  <a:prstClr val="white">
                    <a:lumMod val="50000"/>
                  </a:prstClr>
                </a:solidFill>
              </a:rPr>
              <a:pPr defTabSz="914172">
                <a:defRPr/>
              </a:pPr>
              <a:t>94</a:t>
            </a:fld>
            <a:endParaRPr lang="en-US" dirty="0">
              <a:solidFill>
                <a:prstClr val="white">
                  <a:lumMod val="50000"/>
                </a:prstClr>
              </a:solidFill>
            </a:endParaRPr>
          </a:p>
        </p:txBody>
      </p:sp>
      <p:pic>
        <p:nvPicPr>
          <p:cNvPr id="3" name="Picture 2">
            <a:extLst>
              <a:ext uri="{FF2B5EF4-FFF2-40B4-BE49-F238E27FC236}">
                <a16:creationId xmlns:a16="http://schemas.microsoft.com/office/drawing/2014/main" id="{53BA6386-7E0E-4E38-979C-E10E3D98C649}"/>
              </a:ext>
            </a:extLst>
          </p:cNvPr>
          <p:cNvPicPr>
            <a:picLocks noChangeAspect="1"/>
          </p:cNvPicPr>
          <p:nvPr/>
        </p:nvPicPr>
        <p:blipFill>
          <a:blip r:embed="rId3"/>
          <a:stretch>
            <a:fillRect/>
          </a:stretch>
        </p:blipFill>
        <p:spPr>
          <a:xfrm>
            <a:off x="647895" y="6305856"/>
            <a:ext cx="1324186" cy="365125"/>
          </a:xfrm>
          <a:prstGeom prst="rect">
            <a:avLst/>
          </a:prstGeom>
        </p:spPr>
      </p:pic>
    </p:spTree>
    <p:extLst>
      <p:ext uri="{BB962C8B-B14F-4D97-AF65-F5344CB8AC3E}">
        <p14:creationId xmlns:p14="http://schemas.microsoft.com/office/powerpoint/2010/main" val="371185927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1137" y="1007"/>
            <a:ext cx="11194057" cy="1080578"/>
          </a:xfrm>
        </p:spPr>
        <p:txBody>
          <a:bodyPr>
            <a:normAutofit/>
          </a:bodyPr>
          <a:lstStyle/>
          <a:p>
            <a:r>
              <a:rPr lang="en-US" b="1" dirty="0">
                <a:cs typeface="Segoe UI Light" panose="020B0502040204020203" pitchFamily="34" charset="0"/>
              </a:rPr>
              <a:t>SCE Solicitation Plans </a:t>
            </a:r>
          </a:p>
        </p:txBody>
      </p:sp>
      <p:sp>
        <p:nvSpPr>
          <p:cNvPr id="3" name="Content Placeholder 2">
            <a:extLst>
              <a:ext uri="{FF2B5EF4-FFF2-40B4-BE49-F238E27FC236}">
                <a16:creationId xmlns:a16="http://schemas.microsoft.com/office/drawing/2014/main" id="{B41E52F0-9205-4645-9E06-071D41E9E47D}"/>
              </a:ext>
            </a:extLst>
          </p:cNvPr>
          <p:cNvSpPr>
            <a:spLocks noGrp="1"/>
          </p:cNvSpPr>
          <p:nvPr>
            <p:ph idx="1"/>
          </p:nvPr>
        </p:nvSpPr>
        <p:spPr>
          <a:xfrm>
            <a:off x="521138" y="1081585"/>
            <a:ext cx="11276259" cy="5090616"/>
          </a:xfrm>
          <a:solidFill>
            <a:schemeClr val="bg2">
              <a:lumMod val="40000"/>
              <a:lumOff val="60000"/>
            </a:schemeClr>
          </a:solidFill>
          <a:ln w="28575">
            <a:solidFill>
              <a:srgbClr val="006269"/>
            </a:solidFill>
          </a:ln>
        </p:spPr>
        <p:txBody>
          <a:bodyPr vert="horz" lIns="91416" tIns="45708" rIns="91416" bIns="45708" rtlCol="0" anchor="t">
            <a:normAutofit/>
          </a:bodyPr>
          <a:lstStyle/>
          <a:p>
            <a:pPr marL="0" indent="0">
              <a:spcBef>
                <a:spcPts val="600"/>
              </a:spcBef>
              <a:spcAft>
                <a:spcPts val="600"/>
              </a:spcAft>
              <a:buNone/>
            </a:pPr>
            <a:r>
              <a:rPr lang="en-US" sz="2800" dirty="0">
                <a:latin typeface="Segoe UI"/>
                <a:cs typeface="Segoe UI"/>
              </a:rPr>
              <a:t>Solicitation plans for small (&lt;$10M) solicitations</a:t>
            </a:r>
            <a:endParaRPr lang="en-US" sz="2800" dirty="0"/>
          </a:p>
          <a:p>
            <a:pPr>
              <a:spcBef>
                <a:spcPts val="600"/>
              </a:spcBef>
              <a:spcAft>
                <a:spcPts val="600"/>
              </a:spcAft>
            </a:pPr>
            <a:r>
              <a:rPr lang="en-US" dirty="0">
                <a:latin typeface="Segoe UI"/>
                <a:cs typeface="Segoe UI"/>
              </a:rPr>
              <a:t>Targeted solicitations based on portfolio analysis to fill any gaps in coverage</a:t>
            </a:r>
            <a:r>
              <a:rPr lang="en-US" sz="2800" dirty="0">
                <a:latin typeface="Segoe UI"/>
                <a:cs typeface="Segoe UI"/>
              </a:rPr>
              <a:t> </a:t>
            </a:r>
            <a:r>
              <a:rPr lang="en-US" sz="2000" dirty="0">
                <a:latin typeface="Segoe UI"/>
                <a:cs typeface="Segoe UI"/>
              </a:rPr>
              <a:t>(e.g., HTR, DACs, Small or medium business customers) </a:t>
            </a:r>
            <a:endParaRPr lang="en-US" sz="2000" dirty="0"/>
          </a:p>
          <a:p>
            <a:pPr>
              <a:spcBef>
                <a:spcPts val="600"/>
              </a:spcBef>
              <a:spcAft>
                <a:spcPts val="600"/>
              </a:spcAft>
            </a:pPr>
            <a:r>
              <a:rPr lang="en-US" dirty="0">
                <a:latin typeface="Segoe UI"/>
                <a:cs typeface="Segoe UI"/>
              </a:rPr>
              <a:t>More focused scope solicitations</a:t>
            </a:r>
            <a:r>
              <a:rPr lang="en-US" sz="2800" dirty="0">
                <a:latin typeface="Segoe UI"/>
                <a:cs typeface="Segoe UI"/>
              </a:rPr>
              <a:t> </a:t>
            </a:r>
            <a:r>
              <a:rPr lang="en-US" sz="2000" dirty="0">
                <a:latin typeface="Segoe UI"/>
                <a:cs typeface="Segoe UI"/>
              </a:rPr>
              <a:t>(e.g., targeting DAC, innovation) </a:t>
            </a:r>
            <a:endParaRPr lang="en-US" sz="2000" dirty="0"/>
          </a:p>
          <a:p>
            <a:pPr>
              <a:spcBef>
                <a:spcPts val="600"/>
              </a:spcBef>
              <a:spcAft>
                <a:spcPts val="600"/>
              </a:spcAft>
            </a:pPr>
            <a:r>
              <a:rPr lang="en-US" dirty="0"/>
              <a:t>Modify solicitation process to fit needs</a:t>
            </a:r>
            <a:r>
              <a:rPr lang="en-US" sz="2800" dirty="0"/>
              <a:t> </a:t>
            </a:r>
          </a:p>
          <a:p>
            <a:pPr>
              <a:spcBef>
                <a:spcPts val="600"/>
              </a:spcBef>
              <a:spcAft>
                <a:spcPts val="600"/>
              </a:spcAft>
            </a:pPr>
            <a:r>
              <a:rPr lang="en-US" dirty="0"/>
              <a:t>Custom T&amp;Cs based on negotiations</a:t>
            </a:r>
            <a:r>
              <a:rPr lang="en-US" sz="2800" dirty="0"/>
              <a:t> </a:t>
            </a:r>
          </a:p>
          <a:p>
            <a:pPr>
              <a:spcBef>
                <a:spcPts val="600"/>
              </a:spcBef>
              <a:spcAft>
                <a:spcPts val="600"/>
              </a:spcAft>
            </a:pPr>
            <a:r>
              <a:rPr lang="en-US" dirty="0"/>
              <a:t>Provide extension of bid submittal time frame when possible </a:t>
            </a:r>
          </a:p>
          <a:p>
            <a:pPr>
              <a:spcBef>
                <a:spcPts val="600"/>
              </a:spcBef>
              <a:spcAft>
                <a:spcPts val="600"/>
              </a:spcAft>
            </a:pPr>
            <a:r>
              <a:rPr lang="en-US" dirty="0"/>
              <a:t>Multiple contractors awarded for a program </a:t>
            </a:r>
          </a:p>
        </p:txBody>
      </p:sp>
      <p:sp>
        <p:nvSpPr>
          <p:cNvPr id="5" name="Slide Number Placeholder 4"/>
          <p:cNvSpPr>
            <a:spLocks noGrp="1"/>
          </p:cNvSpPr>
          <p:nvPr>
            <p:ph type="sldNum" sz="quarter" idx="12"/>
          </p:nvPr>
        </p:nvSpPr>
        <p:spPr/>
        <p:txBody>
          <a:bodyPr/>
          <a:lstStyle/>
          <a:p>
            <a:pPr defTabSz="914172">
              <a:defRPr/>
            </a:pPr>
            <a:fld id="{186DC542-6CB9-419E-B49C-81182B59E367}" type="slidenum">
              <a:rPr lang="en-US">
                <a:solidFill>
                  <a:prstClr val="white">
                    <a:lumMod val="50000"/>
                  </a:prstClr>
                </a:solidFill>
              </a:rPr>
              <a:pPr defTabSz="914172">
                <a:defRPr/>
              </a:pPr>
              <a:t>95</a:t>
            </a:fld>
            <a:endParaRPr lang="en-US" dirty="0">
              <a:solidFill>
                <a:prstClr val="white">
                  <a:lumMod val="50000"/>
                </a:prstClr>
              </a:solidFill>
            </a:endParaRPr>
          </a:p>
        </p:txBody>
      </p:sp>
      <p:pic>
        <p:nvPicPr>
          <p:cNvPr id="6" name="Picture 5">
            <a:extLst>
              <a:ext uri="{FF2B5EF4-FFF2-40B4-BE49-F238E27FC236}">
                <a16:creationId xmlns:a16="http://schemas.microsoft.com/office/drawing/2014/main" id="{8F6ACCF0-1526-4839-8F20-071F8019913A}"/>
              </a:ext>
            </a:extLst>
          </p:cNvPr>
          <p:cNvPicPr>
            <a:picLocks noChangeAspect="1"/>
          </p:cNvPicPr>
          <p:nvPr/>
        </p:nvPicPr>
        <p:blipFill>
          <a:blip r:embed="rId3"/>
          <a:stretch>
            <a:fillRect/>
          </a:stretch>
        </p:blipFill>
        <p:spPr>
          <a:xfrm>
            <a:off x="647895" y="6305856"/>
            <a:ext cx="1324186" cy="365125"/>
          </a:xfrm>
          <a:prstGeom prst="rect">
            <a:avLst/>
          </a:prstGeom>
        </p:spPr>
      </p:pic>
    </p:spTree>
    <p:extLst>
      <p:ext uri="{BB962C8B-B14F-4D97-AF65-F5344CB8AC3E}">
        <p14:creationId xmlns:p14="http://schemas.microsoft.com/office/powerpoint/2010/main" val="168021668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1137" y="1007"/>
            <a:ext cx="11194057" cy="1080579"/>
          </a:xfrm>
        </p:spPr>
        <p:txBody>
          <a:bodyPr>
            <a:normAutofit/>
          </a:bodyPr>
          <a:lstStyle/>
          <a:p>
            <a:r>
              <a:rPr lang="en-US" b="1" dirty="0">
                <a:cs typeface="Segoe UI Light" panose="020B0502040204020203" pitchFamily="34" charset="0"/>
              </a:rPr>
              <a:t>SCE Primes and Subcontractors</a:t>
            </a:r>
          </a:p>
        </p:txBody>
      </p:sp>
      <p:sp>
        <p:nvSpPr>
          <p:cNvPr id="3" name="Content Placeholder 2">
            <a:extLst>
              <a:ext uri="{FF2B5EF4-FFF2-40B4-BE49-F238E27FC236}">
                <a16:creationId xmlns:a16="http://schemas.microsoft.com/office/drawing/2014/main" id="{B41E52F0-9205-4645-9E06-071D41E9E47D}"/>
              </a:ext>
            </a:extLst>
          </p:cNvPr>
          <p:cNvSpPr>
            <a:spLocks noGrp="1"/>
          </p:cNvSpPr>
          <p:nvPr>
            <p:ph idx="1"/>
          </p:nvPr>
        </p:nvSpPr>
        <p:spPr>
          <a:xfrm>
            <a:off x="521138" y="1081585"/>
            <a:ext cx="11276259" cy="1936043"/>
          </a:xfrm>
          <a:solidFill>
            <a:schemeClr val="bg2">
              <a:lumMod val="40000"/>
              <a:lumOff val="60000"/>
            </a:schemeClr>
          </a:solidFill>
          <a:ln w="28575">
            <a:solidFill>
              <a:srgbClr val="006269"/>
            </a:solidFill>
          </a:ln>
        </p:spPr>
        <p:txBody>
          <a:bodyPr vert="horz" lIns="91416" tIns="45708" rIns="91416" bIns="45708" rtlCol="0" anchor="t">
            <a:normAutofit/>
          </a:bodyPr>
          <a:lstStyle/>
          <a:p>
            <a:pPr marL="0" indent="0">
              <a:spcBef>
                <a:spcPts val="600"/>
              </a:spcBef>
              <a:spcAft>
                <a:spcPts val="600"/>
              </a:spcAft>
              <a:buNone/>
            </a:pPr>
            <a:r>
              <a:rPr lang="en-US" sz="2000" dirty="0">
                <a:latin typeface="Segoe UI"/>
                <a:cs typeface="Segoe UI"/>
              </a:rPr>
              <a:t>Percent of 3P contract amount awarded to small, diverse primes or estimated for subcontractors</a:t>
            </a:r>
          </a:p>
          <a:p>
            <a:pPr>
              <a:spcBef>
                <a:spcPts val="600"/>
              </a:spcBef>
              <a:spcAft>
                <a:spcPts val="600"/>
              </a:spcAft>
            </a:pPr>
            <a:r>
              <a:rPr lang="en-US" sz="2000" dirty="0">
                <a:latin typeface="Segoe UI"/>
                <a:cs typeface="Segoe UI"/>
              </a:rPr>
              <a:t>Tier 2 subcontractor DBE pledge spend ranges from </a:t>
            </a:r>
            <a:r>
              <a:rPr lang="en-US" sz="2000" dirty="0">
                <a:solidFill>
                  <a:srgbClr val="006269"/>
                </a:solidFill>
                <a:latin typeface="Segoe UI"/>
                <a:cs typeface="Segoe UI"/>
              </a:rPr>
              <a:t>0-40</a:t>
            </a:r>
            <a:r>
              <a:rPr lang="en-US" sz="2000" dirty="0">
                <a:latin typeface="Segoe UI"/>
                <a:cs typeface="Segoe UI"/>
              </a:rPr>
              <a:t>% of contract value. </a:t>
            </a:r>
          </a:p>
          <a:p>
            <a:pPr>
              <a:spcBef>
                <a:spcPts val="600"/>
              </a:spcBef>
              <a:spcAft>
                <a:spcPts val="600"/>
              </a:spcAft>
            </a:pPr>
            <a:r>
              <a:rPr lang="en-US" sz="2000" dirty="0">
                <a:latin typeface="Segoe UI"/>
                <a:cs typeface="Segoe UI"/>
              </a:rPr>
              <a:t>One prime under contract is a small business entity </a:t>
            </a:r>
          </a:p>
          <a:p>
            <a:pPr>
              <a:spcBef>
                <a:spcPts val="600"/>
              </a:spcBef>
              <a:spcAft>
                <a:spcPts val="600"/>
              </a:spcAft>
            </a:pPr>
            <a:endParaRPr lang="en-US" sz="2000" dirty="0">
              <a:solidFill>
                <a:srgbClr val="006269"/>
              </a:solidFill>
            </a:endParaRPr>
          </a:p>
        </p:txBody>
      </p:sp>
      <p:sp>
        <p:nvSpPr>
          <p:cNvPr id="5" name="Slide Number Placeholder 4"/>
          <p:cNvSpPr>
            <a:spLocks noGrp="1"/>
          </p:cNvSpPr>
          <p:nvPr>
            <p:ph type="sldNum" sz="quarter" idx="12"/>
          </p:nvPr>
        </p:nvSpPr>
        <p:spPr/>
        <p:txBody>
          <a:bodyPr/>
          <a:lstStyle/>
          <a:p>
            <a:pPr defTabSz="914172">
              <a:defRPr/>
            </a:pPr>
            <a:fld id="{186DC542-6CB9-419E-B49C-81182B59E367}" type="slidenum">
              <a:rPr lang="en-US">
                <a:solidFill>
                  <a:prstClr val="white">
                    <a:lumMod val="50000"/>
                  </a:prstClr>
                </a:solidFill>
              </a:rPr>
              <a:pPr defTabSz="914172">
                <a:defRPr/>
              </a:pPr>
              <a:t>96</a:t>
            </a:fld>
            <a:endParaRPr lang="en-US" dirty="0">
              <a:solidFill>
                <a:prstClr val="white">
                  <a:lumMod val="50000"/>
                </a:prstClr>
              </a:solidFill>
            </a:endParaRPr>
          </a:p>
        </p:txBody>
      </p:sp>
      <p:pic>
        <p:nvPicPr>
          <p:cNvPr id="6" name="Picture 5">
            <a:extLst>
              <a:ext uri="{FF2B5EF4-FFF2-40B4-BE49-F238E27FC236}">
                <a16:creationId xmlns:a16="http://schemas.microsoft.com/office/drawing/2014/main" id="{AADD02AF-D38C-45DF-85F1-6228BAD44876}"/>
              </a:ext>
            </a:extLst>
          </p:cNvPr>
          <p:cNvPicPr>
            <a:picLocks noChangeAspect="1"/>
          </p:cNvPicPr>
          <p:nvPr/>
        </p:nvPicPr>
        <p:blipFill>
          <a:blip r:embed="rId3"/>
          <a:stretch>
            <a:fillRect/>
          </a:stretch>
        </p:blipFill>
        <p:spPr>
          <a:xfrm>
            <a:off x="647895" y="6305856"/>
            <a:ext cx="1324186" cy="365125"/>
          </a:xfrm>
          <a:prstGeom prst="rect">
            <a:avLst/>
          </a:prstGeom>
        </p:spPr>
      </p:pic>
    </p:spTree>
    <p:extLst>
      <p:ext uri="{BB962C8B-B14F-4D97-AF65-F5344CB8AC3E}">
        <p14:creationId xmlns:p14="http://schemas.microsoft.com/office/powerpoint/2010/main" val="287000896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FF3E2E-1C81-48C5-ABFC-BC1F8A6C53B6}"/>
              </a:ext>
            </a:extLst>
          </p:cNvPr>
          <p:cNvSpPr>
            <a:spLocks noGrp="1"/>
          </p:cNvSpPr>
          <p:nvPr>
            <p:ph sz="half" idx="1"/>
          </p:nvPr>
        </p:nvSpPr>
        <p:spPr>
          <a:xfrm>
            <a:off x="231119" y="1140627"/>
            <a:ext cx="6015264" cy="4855744"/>
          </a:xfrm>
          <a:solidFill>
            <a:srgbClr val="243175"/>
          </a:solidFill>
        </p:spPr>
        <p:txBody>
          <a:bodyPr>
            <a:normAutofit/>
          </a:bodyPr>
          <a:lstStyle/>
          <a:p>
            <a:r>
              <a:rPr lang="en-US" sz="2400" b="1" dirty="0">
                <a:solidFill>
                  <a:schemeClr val="bg1"/>
                </a:solidFill>
                <a:latin typeface="Arial Narrow" panose="020B0606020202030204" pitchFamily="34" charset="0"/>
              </a:rPr>
              <a:t>IOU Current Practice to support SBE/DBE</a:t>
            </a:r>
          </a:p>
          <a:p>
            <a:pPr lvl="1"/>
            <a:r>
              <a:rPr lang="en-US" sz="1800" dirty="0">
                <a:solidFill>
                  <a:schemeClr val="bg1"/>
                </a:solidFill>
                <a:latin typeface="Arial Narrow" panose="020B0606020202030204" pitchFamily="34" charset="0"/>
              </a:rPr>
              <a:t>SoCalGas EE Solicitations currently works with SoCalGas Supplier Diversity to share the PEPMA marketing/outreach communications with SBEs/DBEs based on the scope of work for each Solicitation.</a:t>
            </a:r>
          </a:p>
          <a:p>
            <a:pPr lvl="1"/>
            <a:r>
              <a:rPr lang="en-US" sz="1800" dirty="0">
                <a:solidFill>
                  <a:schemeClr val="bg1"/>
                </a:solidFill>
                <a:latin typeface="Arial Narrow" panose="020B0606020202030204" pitchFamily="34" charset="0"/>
              </a:rPr>
              <a:t>Supplier Diversity works from a pool of registered SBE/DBEs. Based on interest, DBE/SBE may decide to register via PowerAdvocate for the Solicitation.</a:t>
            </a:r>
          </a:p>
          <a:p>
            <a:pPr lvl="1"/>
            <a:r>
              <a:rPr lang="en-US" sz="1800" dirty="0">
                <a:solidFill>
                  <a:schemeClr val="bg1"/>
                </a:solidFill>
                <a:latin typeface="Arial Narrow" panose="020B0606020202030204" pitchFamily="34" charset="0"/>
              </a:rPr>
              <a:t>Currently potential bid information is kept confidential and not shared with other participants for potentially prime/sub matchmaking. SoCalGas is looking into the option of sharing this information, but it would be based on approval and written confirmation from the bidder. </a:t>
            </a:r>
          </a:p>
          <a:p>
            <a:pPr lvl="1"/>
            <a:r>
              <a:rPr lang="en-US" sz="1800" dirty="0">
                <a:solidFill>
                  <a:schemeClr val="bg1"/>
                </a:solidFill>
                <a:latin typeface="Arial Narrow" panose="020B0606020202030204" pitchFamily="34" charset="0"/>
              </a:rPr>
              <a:t>SoCalGas does not change practices based on size/scope of the solicitation, but may conduct additional outreach/marketing opportunities for niche/small solicitations</a:t>
            </a:r>
          </a:p>
        </p:txBody>
      </p:sp>
      <p:sp>
        <p:nvSpPr>
          <p:cNvPr id="7" name="TextBox 6">
            <a:extLst>
              <a:ext uri="{FF2B5EF4-FFF2-40B4-BE49-F238E27FC236}">
                <a16:creationId xmlns:a16="http://schemas.microsoft.com/office/drawing/2014/main" id="{B218CBFC-8577-4285-B372-20127BF7568D}"/>
              </a:ext>
            </a:extLst>
          </p:cNvPr>
          <p:cNvSpPr txBox="1"/>
          <p:nvPr/>
        </p:nvSpPr>
        <p:spPr>
          <a:xfrm>
            <a:off x="1588" y="893"/>
            <a:ext cx="8091537" cy="769313"/>
          </a:xfrm>
          <a:prstGeom prst="rect">
            <a:avLst/>
          </a:prstGeom>
          <a:noFill/>
        </p:spPr>
        <p:txBody>
          <a:bodyPr wrap="square" rtlCol="0">
            <a:spAutoFit/>
          </a:bodyPr>
          <a:lstStyle/>
          <a:p>
            <a:pPr defTabSz="914172">
              <a:defRPr/>
            </a:pPr>
            <a:r>
              <a:rPr lang="en-US" sz="4399" b="1" dirty="0">
                <a:solidFill>
                  <a:srgbClr val="243175"/>
                </a:solidFill>
                <a:latin typeface="Arial Narrow" panose="020B0606020202030204" pitchFamily="34" charset="0"/>
                <a:cs typeface="Arial"/>
              </a:rPr>
              <a:t>SoCalGas – 3P EE Implementers  </a:t>
            </a:r>
          </a:p>
        </p:txBody>
      </p:sp>
      <p:sp>
        <p:nvSpPr>
          <p:cNvPr id="9" name="Subtitle 1">
            <a:extLst>
              <a:ext uri="{FF2B5EF4-FFF2-40B4-BE49-F238E27FC236}">
                <a16:creationId xmlns:a16="http://schemas.microsoft.com/office/drawing/2014/main" id="{C5CB26C4-74AC-442B-BE70-DA21B601DC15}"/>
              </a:ext>
            </a:extLst>
          </p:cNvPr>
          <p:cNvSpPr txBox="1">
            <a:spLocks/>
          </p:cNvSpPr>
          <p:nvPr/>
        </p:nvSpPr>
        <p:spPr>
          <a:xfrm>
            <a:off x="1588" y="556159"/>
            <a:ext cx="12092772" cy="1100898"/>
          </a:xfrm>
          <a:prstGeom prst="rect">
            <a:avLst/>
          </a:prstGeom>
        </p:spPr>
        <p:txBody>
          <a:bodyPr vert="horz" lIns="91416" tIns="45708" rIns="91416" bIns="45708" rtlCol="0" anchor="t">
            <a:normAutofit/>
          </a:bodyPr>
          <a:lstStyle>
            <a:lvl1pPr marL="342900" indent="-342900" algn="l" defTabSz="914400" rtl="0" eaLnBrk="1" latinLnBrk="0" hangingPunct="1">
              <a:spcBef>
                <a:spcPct val="20000"/>
              </a:spcBef>
              <a:buClr>
                <a:schemeClr val="tx2"/>
              </a:buClr>
              <a:buSzTx/>
              <a:buFont typeface="Arial" pitchFamily="34" charset="0"/>
              <a:buChar char="»"/>
              <a:defRPr sz="28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chemeClr val="tx2"/>
              </a:buClr>
              <a:buFont typeface="Wingdings" pitchFamily="2" charset="2"/>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chemeClr val="tx2"/>
              </a:buClr>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chemeClr val="tx2"/>
              </a:buClr>
              <a:buFont typeface="Arial" pitchFamily="34" charset="0"/>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Clr>
                <a:schemeClr val="tx2"/>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172">
              <a:buClr>
                <a:srgbClr val="004B91"/>
              </a:buClr>
              <a:buNone/>
              <a:defRPr/>
            </a:pPr>
            <a:r>
              <a:rPr lang="en-US" dirty="0">
                <a:solidFill>
                  <a:prstClr val="white">
                    <a:lumMod val="50000"/>
                  </a:prstClr>
                </a:solidFill>
                <a:latin typeface="Arial Narrow" panose="020B0606020202030204" pitchFamily="34" charset="0"/>
                <a:cs typeface="Arial"/>
              </a:rPr>
              <a:t>Small Businesses &amp; Diverse Business Enterprises</a:t>
            </a:r>
            <a:endParaRPr lang="en-US" dirty="0">
              <a:solidFill>
                <a:prstClr val="white">
                  <a:lumMod val="50000"/>
                </a:prstClr>
              </a:solidFill>
              <a:highlight>
                <a:srgbClr val="FFFF00"/>
              </a:highlight>
              <a:latin typeface="Arial Narrow" panose="020B0606020202030204" pitchFamily="34" charset="0"/>
              <a:cs typeface="Arial"/>
            </a:endParaRPr>
          </a:p>
        </p:txBody>
      </p:sp>
      <p:sp>
        <p:nvSpPr>
          <p:cNvPr id="10" name="Content Placeholder 9">
            <a:extLst>
              <a:ext uri="{FF2B5EF4-FFF2-40B4-BE49-F238E27FC236}">
                <a16:creationId xmlns:a16="http://schemas.microsoft.com/office/drawing/2014/main" id="{2443A156-A409-4171-88F7-81ADDEAFDF19}"/>
              </a:ext>
            </a:extLst>
          </p:cNvPr>
          <p:cNvSpPr>
            <a:spLocks noGrp="1"/>
          </p:cNvSpPr>
          <p:nvPr>
            <p:ph sz="half" idx="2"/>
          </p:nvPr>
        </p:nvSpPr>
        <p:spPr>
          <a:xfrm>
            <a:off x="6246383" y="1140627"/>
            <a:ext cx="5714500" cy="4855744"/>
          </a:xfrm>
          <a:solidFill>
            <a:schemeClr val="bg1">
              <a:lumMod val="85000"/>
            </a:schemeClr>
          </a:solidFill>
        </p:spPr>
        <p:txBody>
          <a:bodyPr>
            <a:normAutofit/>
          </a:bodyPr>
          <a:lstStyle/>
          <a:p>
            <a:r>
              <a:rPr lang="en-US" sz="2400" b="1" dirty="0">
                <a:latin typeface="Arial Narrow" panose="020B0606020202030204" pitchFamily="34" charset="0"/>
              </a:rPr>
              <a:t>Solicitation plans for small (&lt;$10M) solicitations.  </a:t>
            </a:r>
          </a:p>
          <a:p>
            <a:pPr lvl="1"/>
            <a:r>
              <a:rPr lang="en-US" sz="1800" dirty="0">
                <a:latin typeface="Arial Narrow" panose="020B0606020202030204" pitchFamily="34" charset="0"/>
              </a:rPr>
              <a:t>Almost all SoCalGas solicitations are below $10M.  Moving forward, all future solicitations are planned to be below $10M.</a:t>
            </a:r>
          </a:p>
          <a:p>
            <a:pPr lvl="1"/>
            <a:r>
              <a:rPr lang="en-US" sz="1800" dirty="0">
                <a:latin typeface="Arial Narrow" panose="020B0606020202030204" pitchFamily="34" charset="0"/>
              </a:rPr>
              <a:t>SoCalGas does not change practice based on size or budget of the Solicitation.</a:t>
            </a:r>
          </a:p>
          <a:p>
            <a:r>
              <a:rPr lang="en-US" sz="2400" b="1" dirty="0">
                <a:latin typeface="Arial Narrow" panose="020B0606020202030204" pitchFamily="34" charset="0"/>
              </a:rPr>
              <a:t>% of 3P contract $ to date that has been awarded to small, diverse primes (or estimated for subcontractors).</a:t>
            </a:r>
          </a:p>
          <a:p>
            <a:pPr lvl="1"/>
            <a:r>
              <a:rPr lang="en-US" sz="1800" dirty="0">
                <a:latin typeface="Arial Narrow" panose="020B0606020202030204" pitchFamily="34" charset="0"/>
              </a:rPr>
              <a:t>Approximately 15% of contracts awarded to DBEs primes/subs combined.  This includes SW contracts where SoCalGas is the lead administrator.</a:t>
            </a:r>
          </a:p>
          <a:p>
            <a:pPr lvl="1"/>
            <a:r>
              <a:rPr lang="en-US" sz="1800" dirty="0">
                <a:latin typeface="Arial Narrow" panose="020B0606020202030204" pitchFamily="34" charset="0"/>
              </a:rPr>
              <a:t>SoCalGas is aiming to increasing this percentage.</a:t>
            </a:r>
          </a:p>
          <a:p>
            <a:pPr marL="0" indent="0">
              <a:buNone/>
            </a:pPr>
            <a:endParaRPr lang="en-US" dirty="0"/>
          </a:p>
        </p:txBody>
      </p:sp>
      <p:sp>
        <p:nvSpPr>
          <p:cNvPr id="6" name="Slide Number Placeholder 4">
            <a:extLst>
              <a:ext uri="{FF2B5EF4-FFF2-40B4-BE49-F238E27FC236}">
                <a16:creationId xmlns:a16="http://schemas.microsoft.com/office/drawing/2014/main" id="{EB1B5CF5-7F2D-4BFB-8FD1-D14E99C4641C}"/>
              </a:ext>
            </a:extLst>
          </p:cNvPr>
          <p:cNvSpPr txBox="1">
            <a:spLocks/>
          </p:cNvSpPr>
          <p:nvPr/>
        </p:nvSpPr>
        <p:spPr>
          <a:xfrm>
            <a:off x="11708228" y="6254594"/>
            <a:ext cx="386132" cy="326245"/>
          </a:xfrm>
          <a:prstGeom prst="rect">
            <a:avLst/>
          </a:prstGeom>
        </p:spPr>
        <p:txBody>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defTabSz="914172">
              <a:defRPr/>
            </a:pPr>
            <a:fld id="{186DC542-6CB9-419E-B49C-81182B59E367}" type="slidenum">
              <a:rPr lang="en-US" sz="1200">
                <a:solidFill>
                  <a:prstClr val="white">
                    <a:lumMod val="50000"/>
                  </a:prstClr>
                </a:solidFill>
                <a:latin typeface="Open Sans"/>
                <a:cs typeface="Arial"/>
              </a:rPr>
              <a:pPr defTabSz="914172">
                <a:defRPr/>
              </a:pPr>
              <a:t>97</a:t>
            </a:fld>
            <a:endParaRPr lang="en-US" sz="1400" dirty="0">
              <a:solidFill>
                <a:prstClr val="white">
                  <a:lumMod val="50000"/>
                </a:prstClr>
              </a:solidFill>
              <a:latin typeface="Open Sans"/>
              <a:cs typeface="Arial"/>
            </a:endParaRPr>
          </a:p>
        </p:txBody>
      </p:sp>
    </p:spTree>
    <p:extLst>
      <p:ext uri="{BB962C8B-B14F-4D97-AF65-F5344CB8AC3E}">
        <p14:creationId xmlns:p14="http://schemas.microsoft.com/office/powerpoint/2010/main" val="737329325"/>
      </p:ext>
    </p:extLst>
  </p:cSld>
  <p:clrMapOvr>
    <a:masterClrMapping/>
  </p:clrMapOvr>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itle 1">
            <a:extLst>
              <a:ext uri="{FF2B5EF4-FFF2-40B4-BE49-F238E27FC236}">
                <a16:creationId xmlns:a16="http://schemas.microsoft.com/office/drawing/2014/main" id="{D906DE00-59CC-42D9-9FBC-D9575A28913C}"/>
              </a:ext>
            </a:extLst>
          </p:cNvPr>
          <p:cNvSpPr txBox="1">
            <a:spLocks/>
          </p:cNvSpPr>
          <p:nvPr/>
        </p:nvSpPr>
        <p:spPr>
          <a:xfrm>
            <a:off x="632524" y="234599"/>
            <a:ext cx="10292048" cy="484813"/>
          </a:xfrm>
          <a:prstGeom prst="rect">
            <a:avLst/>
          </a:prstGeom>
        </p:spPr>
        <p:txBody>
          <a:bodyPr/>
          <a:lstStyle>
            <a:lvl1pPr marL="0" indent="0" algn="l" defTabSz="914377" rtl="0" eaLnBrk="1" latinLnBrk="0" hangingPunct="1">
              <a:lnSpc>
                <a:spcPct val="70000"/>
              </a:lnSpc>
              <a:spcBef>
                <a:spcPct val="0"/>
              </a:spcBef>
              <a:buNone/>
              <a:defRPr sz="2800" b="0" kern="1200" cap="all" spc="-150" baseline="0">
                <a:solidFill>
                  <a:schemeClr val="tx1"/>
                </a:solidFill>
                <a:latin typeface="+mj-lt"/>
                <a:ea typeface="+mj-ea"/>
                <a:cs typeface="+mj-cs"/>
              </a:defRPr>
            </a:lvl1pPr>
          </a:lstStyle>
          <a:p>
            <a:pPr algn="ctr" defTabSz="914149">
              <a:defRPr/>
            </a:pPr>
            <a:r>
              <a:rPr lang="en-US" b="1" cap="none" spc="-133" dirty="0">
                <a:solidFill>
                  <a:srgbClr val="003F6E"/>
                </a:solidFill>
                <a:latin typeface="Arial" panose="020B0604020202020204"/>
                <a:cs typeface="Arial" panose="020B0604020202020204" pitchFamily="34" charset="0"/>
              </a:rPr>
              <a:t>2021 SCG Supplier Diversity Hosted Events</a:t>
            </a:r>
            <a:endParaRPr lang="en-US" b="1" cap="none" dirty="0">
              <a:solidFill>
                <a:srgbClr val="003F6E"/>
              </a:solidFill>
              <a:latin typeface="Arial" panose="020B0604020202020204"/>
              <a:cs typeface="Arial"/>
            </a:endParaRPr>
          </a:p>
        </p:txBody>
      </p:sp>
      <p:graphicFrame>
        <p:nvGraphicFramePr>
          <p:cNvPr id="13" name="Table 13">
            <a:extLst>
              <a:ext uri="{FF2B5EF4-FFF2-40B4-BE49-F238E27FC236}">
                <a16:creationId xmlns:a16="http://schemas.microsoft.com/office/drawing/2014/main" id="{C9F14D31-DE93-4FD5-8648-233E9B662C30}"/>
              </a:ext>
            </a:extLst>
          </p:cNvPr>
          <p:cNvGraphicFramePr>
            <a:graphicFrameLocks noGrp="1"/>
          </p:cNvGraphicFramePr>
          <p:nvPr>
            <p:extLst>
              <p:ext uri="{D42A27DB-BD31-4B8C-83A1-F6EECF244321}">
                <p14:modId xmlns:p14="http://schemas.microsoft.com/office/powerpoint/2010/main" val="898200703"/>
              </p:ext>
            </p:extLst>
          </p:nvPr>
        </p:nvGraphicFramePr>
        <p:xfrm>
          <a:off x="504508" y="719412"/>
          <a:ext cx="11219689" cy="5462506"/>
        </p:xfrm>
        <a:graphic>
          <a:graphicData uri="http://schemas.openxmlformats.org/drawingml/2006/table">
            <a:tbl>
              <a:tblPr firstRow="1" bandRow="1">
                <a:tableStyleId>{5C22544A-7EE6-4342-B048-85BDC9FD1C3A}</a:tableStyleId>
              </a:tblPr>
              <a:tblGrid>
                <a:gridCol w="3272183">
                  <a:extLst>
                    <a:ext uri="{9D8B030D-6E8A-4147-A177-3AD203B41FA5}">
                      <a16:colId xmlns:a16="http://schemas.microsoft.com/office/drawing/2014/main" val="1097494377"/>
                    </a:ext>
                  </a:extLst>
                </a:gridCol>
                <a:gridCol w="4476061">
                  <a:extLst>
                    <a:ext uri="{9D8B030D-6E8A-4147-A177-3AD203B41FA5}">
                      <a16:colId xmlns:a16="http://schemas.microsoft.com/office/drawing/2014/main" val="1672233427"/>
                    </a:ext>
                  </a:extLst>
                </a:gridCol>
                <a:gridCol w="3471445">
                  <a:extLst>
                    <a:ext uri="{9D8B030D-6E8A-4147-A177-3AD203B41FA5}">
                      <a16:colId xmlns:a16="http://schemas.microsoft.com/office/drawing/2014/main" val="4064778166"/>
                    </a:ext>
                  </a:extLst>
                </a:gridCol>
              </a:tblGrid>
              <a:tr h="488067">
                <a:tc>
                  <a:txBody>
                    <a:bodyPr/>
                    <a:lstStyle/>
                    <a:p>
                      <a:pPr algn="ctr"/>
                      <a:r>
                        <a:rPr lang="en-US" sz="2000" dirty="0"/>
                        <a:t>Event </a:t>
                      </a:r>
                    </a:p>
                  </a:txBody>
                  <a:tcPr marL="91416" marR="91416" marT="45708" marB="45708"/>
                </a:tc>
                <a:tc>
                  <a:txBody>
                    <a:bodyPr/>
                    <a:lstStyle/>
                    <a:p>
                      <a:pPr algn="ctr"/>
                      <a:r>
                        <a:rPr lang="en-US" sz="2000" dirty="0"/>
                        <a:t>Proposed Date/Timeline</a:t>
                      </a:r>
                    </a:p>
                  </a:txBody>
                  <a:tcPr marL="91416" marR="91416" marT="45708" marB="45708"/>
                </a:tc>
                <a:tc>
                  <a:txBody>
                    <a:bodyPr/>
                    <a:lstStyle/>
                    <a:p>
                      <a:pPr algn="ctr"/>
                      <a:r>
                        <a:rPr lang="en-US" sz="2000" dirty="0"/>
                        <a:t>Executive Participation </a:t>
                      </a:r>
                    </a:p>
                  </a:txBody>
                  <a:tcPr marL="91416" marR="91416" marT="45708" marB="45708"/>
                </a:tc>
                <a:extLst>
                  <a:ext uri="{0D108BD9-81ED-4DB2-BD59-A6C34878D82A}">
                    <a16:rowId xmlns:a16="http://schemas.microsoft.com/office/drawing/2014/main" val="1954047981"/>
                  </a:ext>
                </a:extLst>
              </a:tr>
              <a:tr h="548616">
                <a:tc>
                  <a:txBody>
                    <a:bodyPr/>
                    <a:lstStyle/>
                    <a:p>
                      <a:pPr algn="l"/>
                      <a:r>
                        <a:rPr lang="en-US" sz="1500" b="1" dirty="0"/>
                        <a:t>Supplier Showcases</a:t>
                      </a:r>
                    </a:p>
                  </a:txBody>
                  <a:tcPr marL="91416" marR="91416" marT="45708" marB="45708"/>
                </a:tc>
                <a:tc>
                  <a:txBody>
                    <a:bodyPr/>
                    <a:lstStyle/>
                    <a:p>
                      <a:r>
                        <a:rPr lang="en-US" sz="1500" dirty="0"/>
                        <a:t>Ongoing throughout 2021</a:t>
                      </a:r>
                    </a:p>
                    <a:p>
                      <a:endParaRPr lang="en-US" sz="1500" dirty="0"/>
                    </a:p>
                  </a:txBody>
                  <a:tcPr marL="91416" marR="91416" marT="45708" marB="45708"/>
                </a:tc>
                <a:tc>
                  <a:txBody>
                    <a:bodyPr/>
                    <a:lstStyle/>
                    <a:p>
                      <a:endParaRPr lang="en-US" sz="1500" dirty="0"/>
                    </a:p>
                  </a:txBody>
                  <a:tcPr marL="91416" marR="91416" marT="45708" marB="45708"/>
                </a:tc>
                <a:extLst>
                  <a:ext uri="{0D108BD9-81ED-4DB2-BD59-A6C34878D82A}">
                    <a16:rowId xmlns:a16="http://schemas.microsoft.com/office/drawing/2014/main" val="741545684"/>
                  </a:ext>
                </a:extLst>
              </a:tr>
              <a:tr h="1463016">
                <a:tc>
                  <a:txBody>
                    <a:bodyPr/>
                    <a:lstStyle/>
                    <a:p>
                      <a:pPr algn="l"/>
                      <a:r>
                        <a:rPr lang="en-US" sz="1500" b="1" dirty="0"/>
                        <a:t>Meet the Primes</a:t>
                      </a:r>
                    </a:p>
                  </a:txBody>
                  <a:tcPr marL="91416" marR="91416" marT="45708" marB="45708"/>
                </a:tc>
                <a:tc>
                  <a:txBody>
                    <a:bodyPr/>
                    <a:lstStyle/>
                    <a:p>
                      <a:r>
                        <a:rPr lang="en-US" sz="1500" u="sng" dirty="0"/>
                        <a:t>Five Events - To begin 2nd Quarter</a:t>
                      </a:r>
                    </a:p>
                    <a:p>
                      <a:pPr marL="285750" indent="-285750">
                        <a:buFont typeface="Arial" panose="020B0604020202020204" pitchFamily="34" charset="0"/>
                        <a:buChar char="•"/>
                      </a:pPr>
                      <a:r>
                        <a:rPr lang="en-US" sz="1500" dirty="0"/>
                        <a:t>Engineering (TBD)</a:t>
                      </a:r>
                    </a:p>
                    <a:p>
                      <a:pPr marL="285750" indent="-285750">
                        <a:buFont typeface="Arial" panose="020B0604020202020204" pitchFamily="34" charset="0"/>
                        <a:buChar char="•"/>
                      </a:pPr>
                      <a:r>
                        <a:rPr lang="en-US" sz="1500" dirty="0"/>
                        <a:t>Construction (07/14/2021)</a:t>
                      </a:r>
                    </a:p>
                    <a:p>
                      <a:pPr marL="285750" indent="-285750">
                        <a:buFont typeface="Arial" panose="020B0604020202020204" pitchFamily="34" charset="0"/>
                        <a:buChar char="•"/>
                      </a:pPr>
                      <a:r>
                        <a:rPr lang="en-US" sz="1500" dirty="0"/>
                        <a:t>Environmental (TBD)</a:t>
                      </a:r>
                    </a:p>
                    <a:p>
                      <a:pPr marL="285750" indent="-285750">
                        <a:buFont typeface="Arial" panose="020B0604020202020204" pitchFamily="34" charset="0"/>
                        <a:buChar char="•"/>
                      </a:pPr>
                      <a:r>
                        <a:rPr lang="en-US" sz="1500" dirty="0"/>
                        <a:t>IT (TBD)</a:t>
                      </a:r>
                    </a:p>
                    <a:p>
                      <a:pPr marL="285750" indent="-285750">
                        <a:buFont typeface="Arial" panose="020B0604020202020204" pitchFamily="34" charset="0"/>
                        <a:buChar char="•"/>
                      </a:pPr>
                      <a:r>
                        <a:rPr lang="en-US" sz="1500" dirty="0">
                          <a:solidFill>
                            <a:schemeClr val="tx1"/>
                          </a:solidFill>
                        </a:rPr>
                        <a:t>Customer Programs (TBD)</a:t>
                      </a:r>
                    </a:p>
                  </a:txBody>
                  <a:tcPr marL="91416" marR="91416" marT="45708" marB="45708"/>
                </a:tc>
                <a:tc>
                  <a:txBody>
                    <a:bodyPr/>
                    <a:lstStyle/>
                    <a:p>
                      <a:endParaRPr lang="en-US" sz="1500" dirty="0"/>
                    </a:p>
                  </a:txBody>
                  <a:tcPr marL="91416" marR="91416" marT="45708" marB="45708"/>
                </a:tc>
                <a:extLst>
                  <a:ext uri="{0D108BD9-81ED-4DB2-BD59-A6C34878D82A}">
                    <a16:rowId xmlns:a16="http://schemas.microsoft.com/office/drawing/2014/main" val="961389423"/>
                  </a:ext>
                </a:extLst>
              </a:tr>
              <a:tr h="548616">
                <a:tc>
                  <a:txBody>
                    <a:bodyPr/>
                    <a:lstStyle/>
                    <a:p>
                      <a:pPr algn="l"/>
                      <a:r>
                        <a:rPr lang="en-US" sz="1500" b="1" dirty="0"/>
                        <a:t>DBE Awards</a:t>
                      </a:r>
                    </a:p>
                  </a:txBody>
                  <a:tcPr marL="91416" marR="91416" marT="45708" marB="45708"/>
                </a:tc>
                <a:tc>
                  <a:txBody>
                    <a:bodyPr/>
                    <a:lstStyle/>
                    <a:p>
                      <a:r>
                        <a:rPr lang="en-US" sz="1500" dirty="0"/>
                        <a:t>September 2021</a:t>
                      </a:r>
                    </a:p>
                    <a:p>
                      <a:endParaRPr lang="en-US" sz="1500" dirty="0"/>
                    </a:p>
                  </a:txBody>
                  <a:tcPr marL="91416" marR="91416" marT="45708" marB="45708"/>
                </a:tc>
                <a:tc>
                  <a:txBody>
                    <a:bodyPr/>
                    <a:lstStyle/>
                    <a:p>
                      <a:endParaRPr lang="en-US" sz="1500" dirty="0"/>
                    </a:p>
                  </a:txBody>
                  <a:tcPr marL="91416" marR="91416" marT="45708" marB="45708"/>
                </a:tc>
                <a:extLst>
                  <a:ext uri="{0D108BD9-81ED-4DB2-BD59-A6C34878D82A}">
                    <a16:rowId xmlns:a16="http://schemas.microsoft.com/office/drawing/2014/main" val="1813210078"/>
                  </a:ext>
                </a:extLst>
              </a:tr>
              <a:tr h="470251">
                <a:tc>
                  <a:txBody>
                    <a:bodyPr/>
                    <a:lstStyle/>
                    <a:p>
                      <a:pPr algn="l"/>
                      <a:r>
                        <a:rPr lang="en-US" sz="1500" b="1" dirty="0"/>
                        <a:t>CBO Forum</a:t>
                      </a:r>
                    </a:p>
                  </a:txBody>
                  <a:tcPr marL="91416" marR="91416" marT="45708" marB="45708"/>
                </a:tc>
                <a:tc>
                  <a:txBody>
                    <a:bodyPr/>
                    <a:lstStyle/>
                    <a:p>
                      <a:r>
                        <a:rPr lang="en-US" sz="1500" dirty="0"/>
                        <a:t>Mid April 2021</a:t>
                      </a:r>
                    </a:p>
                  </a:txBody>
                  <a:tcPr marL="91416" marR="91416" marT="45708" marB="45708"/>
                </a:tc>
                <a:tc>
                  <a:txBody>
                    <a:bodyPr/>
                    <a:lstStyle/>
                    <a:p>
                      <a:endParaRPr lang="en-US" sz="1500" dirty="0"/>
                    </a:p>
                  </a:txBody>
                  <a:tcPr marL="91416" marR="91416" marT="45708" marB="45708"/>
                </a:tc>
                <a:extLst>
                  <a:ext uri="{0D108BD9-81ED-4DB2-BD59-A6C34878D82A}">
                    <a16:rowId xmlns:a16="http://schemas.microsoft.com/office/drawing/2014/main" val="2269016218"/>
                  </a:ext>
                </a:extLst>
              </a:tr>
              <a:tr h="548616">
                <a:tc>
                  <a:txBody>
                    <a:bodyPr/>
                    <a:lstStyle/>
                    <a:p>
                      <a:pPr algn="l"/>
                      <a:r>
                        <a:rPr lang="en-US" sz="1500" b="1" dirty="0"/>
                        <a:t>Champions Meeting and Event</a:t>
                      </a:r>
                    </a:p>
                  </a:txBody>
                  <a:tcPr marL="91416" marR="91416" marT="45708" marB="45708"/>
                </a:tc>
                <a:tc>
                  <a:txBody>
                    <a:bodyPr/>
                    <a:lstStyle/>
                    <a:p>
                      <a:r>
                        <a:rPr lang="en-US" sz="1500" dirty="0"/>
                        <a:t>Summer 2021</a:t>
                      </a:r>
                    </a:p>
                    <a:p>
                      <a:endParaRPr lang="en-US" sz="1500" dirty="0"/>
                    </a:p>
                  </a:txBody>
                  <a:tcPr marL="91416" marR="91416" marT="45708" marB="45708"/>
                </a:tc>
                <a:tc>
                  <a:txBody>
                    <a:bodyPr/>
                    <a:lstStyle/>
                    <a:p>
                      <a:endParaRPr lang="en-US" sz="1500" dirty="0"/>
                    </a:p>
                  </a:txBody>
                  <a:tcPr marL="91416" marR="91416" marT="45708" marB="45708"/>
                </a:tc>
                <a:extLst>
                  <a:ext uri="{0D108BD9-81ED-4DB2-BD59-A6C34878D82A}">
                    <a16:rowId xmlns:a16="http://schemas.microsoft.com/office/drawing/2014/main" val="2934265649"/>
                  </a:ext>
                </a:extLst>
              </a:tr>
              <a:tr h="542553">
                <a:tc>
                  <a:txBody>
                    <a:bodyPr/>
                    <a:lstStyle/>
                    <a:p>
                      <a:pPr algn="l"/>
                      <a:r>
                        <a:rPr lang="en-US" sz="1500" b="1" dirty="0"/>
                        <a:t>Technical Assistance Programs</a:t>
                      </a:r>
                    </a:p>
                  </a:txBody>
                  <a:tcPr marL="91416" marR="91416" marT="45708" marB="45708"/>
                </a:tc>
                <a:tc>
                  <a:txBody>
                    <a:bodyPr/>
                    <a:lstStyle/>
                    <a:p>
                      <a:r>
                        <a:rPr lang="en-US" sz="1500" dirty="0"/>
                        <a:t>Ongoing throughout 2021</a:t>
                      </a:r>
                    </a:p>
                  </a:txBody>
                  <a:tcPr marL="91416" marR="91416" marT="45708" marB="45708"/>
                </a:tc>
                <a:tc>
                  <a:txBody>
                    <a:bodyPr/>
                    <a:lstStyle/>
                    <a:p>
                      <a:endParaRPr lang="en-US" sz="1500" dirty="0"/>
                    </a:p>
                  </a:txBody>
                  <a:tcPr marL="91416" marR="91416" marT="45708" marB="45708"/>
                </a:tc>
                <a:extLst>
                  <a:ext uri="{0D108BD9-81ED-4DB2-BD59-A6C34878D82A}">
                    <a16:rowId xmlns:a16="http://schemas.microsoft.com/office/drawing/2014/main" val="3684592668"/>
                  </a:ext>
                </a:extLst>
              </a:tr>
              <a:tr h="382520">
                <a:tc>
                  <a:txBody>
                    <a:bodyPr/>
                    <a:lstStyle/>
                    <a:p>
                      <a:pPr algn="l"/>
                      <a:r>
                        <a:rPr lang="en-US" sz="1500" b="1" dirty="0"/>
                        <a:t>Bootcamps</a:t>
                      </a:r>
                    </a:p>
                  </a:txBody>
                  <a:tcPr marL="91416" marR="91416" marT="45708" marB="45708"/>
                </a:tc>
                <a:tc>
                  <a:txBody>
                    <a:bodyPr/>
                    <a:lstStyle/>
                    <a:p>
                      <a:r>
                        <a:rPr lang="en-US" sz="1500" dirty="0"/>
                        <a:t>Ongoing throughout 2021</a:t>
                      </a:r>
                    </a:p>
                  </a:txBody>
                  <a:tcPr marL="91416" marR="91416" marT="45708" marB="45708"/>
                </a:tc>
                <a:tc>
                  <a:txBody>
                    <a:bodyPr/>
                    <a:lstStyle/>
                    <a:p>
                      <a:endParaRPr lang="en-US" sz="1500" dirty="0"/>
                    </a:p>
                  </a:txBody>
                  <a:tcPr marL="91416" marR="91416" marT="45708" marB="45708"/>
                </a:tc>
                <a:extLst>
                  <a:ext uri="{0D108BD9-81ED-4DB2-BD59-A6C34878D82A}">
                    <a16:rowId xmlns:a16="http://schemas.microsoft.com/office/drawing/2014/main" val="2894971857"/>
                  </a:ext>
                </a:extLst>
              </a:tr>
              <a:tr h="470251">
                <a:tc>
                  <a:txBody>
                    <a:bodyPr/>
                    <a:lstStyle/>
                    <a:p>
                      <a:pPr algn="l"/>
                      <a:r>
                        <a:rPr lang="en-US" sz="1500" b="1" kern="1200" dirty="0">
                          <a:solidFill>
                            <a:schemeClr val="dk1"/>
                          </a:solidFill>
                        </a:rPr>
                        <a:t>En Banc</a:t>
                      </a:r>
                      <a:endParaRPr lang="en-US" sz="1500" b="1" kern="1200" dirty="0">
                        <a:solidFill>
                          <a:schemeClr val="dk1"/>
                        </a:solidFill>
                        <a:latin typeface="+mn-lt"/>
                        <a:ea typeface="+mn-ea"/>
                        <a:cs typeface="+mn-cs"/>
                      </a:endParaRPr>
                    </a:p>
                  </a:txBody>
                  <a:tcPr marL="91416" marR="91416" marT="45708" marB="45708"/>
                </a:tc>
                <a:tc>
                  <a:txBody>
                    <a:bodyPr/>
                    <a:lstStyle/>
                    <a:p>
                      <a:r>
                        <a:rPr lang="en-US" sz="1500" dirty="0"/>
                        <a:t>October 14, 2021</a:t>
                      </a:r>
                    </a:p>
                  </a:txBody>
                  <a:tcPr marL="91416" marR="91416" marT="45708" marB="45708"/>
                </a:tc>
                <a:tc>
                  <a:txBody>
                    <a:bodyPr/>
                    <a:lstStyle/>
                    <a:p>
                      <a:endParaRPr lang="en-US" sz="1500" dirty="0"/>
                    </a:p>
                  </a:txBody>
                  <a:tcPr marL="91416" marR="91416" marT="45708" marB="45708"/>
                </a:tc>
                <a:extLst>
                  <a:ext uri="{0D108BD9-81ED-4DB2-BD59-A6C34878D82A}">
                    <a16:rowId xmlns:a16="http://schemas.microsoft.com/office/drawing/2014/main" val="1572687231"/>
                  </a:ext>
                </a:extLst>
              </a:tr>
            </a:tbl>
          </a:graphicData>
        </a:graphic>
      </p:graphicFrame>
      <p:pic>
        <p:nvPicPr>
          <p:cNvPr id="38" name="Picture 37">
            <a:extLst>
              <a:ext uri="{FF2B5EF4-FFF2-40B4-BE49-F238E27FC236}">
                <a16:creationId xmlns:a16="http://schemas.microsoft.com/office/drawing/2014/main" id="{75AE8236-BF9F-4729-A1FD-7F58733645B4}"/>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225766" y="4280527"/>
            <a:ext cx="504145" cy="413144"/>
          </a:xfrm>
          <a:prstGeom prst="rect">
            <a:avLst/>
          </a:prstGeom>
        </p:spPr>
      </p:pic>
      <p:sp>
        <p:nvSpPr>
          <p:cNvPr id="44" name="object 5">
            <a:extLst>
              <a:ext uri="{FF2B5EF4-FFF2-40B4-BE49-F238E27FC236}">
                <a16:creationId xmlns:a16="http://schemas.microsoft.com/office/drawing/2014/main" id="{67816E0C-D6AB-47A6-9021-F9828677EF1E}"/>
              </a:ext>
            </a:extLst>
          </p:cNvPr>
          <p:cNvSpPr/>
          <p:nvPr/>
        </p:nvSpPr>
        <p:spPr>
          <a:xfrm>
            <a:off x="-19217" y="6725758"/>
            <a:ext cx="12251240" cy="198955"/>
          </a:xfrm>
          <a:custGeom>
            <a:avLst/>
            <a:gdLst/>
            <a:ahLst/>
            <a:cxnLst/>
            <a:rect l="l" t="t" r="r" b="b"/>
            <a:pathLst>
              <a:path w="12192000" h="198120">
                <a:moveTo>
                  <a:pt x="0" y="198119"/>
                </a:moveTo>
                <a:lnTo>
                  <a:pt x="12192000" y="198119"/>
                </a:lnTo>
                <a:lnTo>
                  <a:pt x="12192000" y="0"/>
                </a:lnTo>
                <a:lnTo>
                  <a:pt x="0" y="0"/>
                </a:lnTo>
                <a:lnTo>
                  <a:pt x="0" y="198119"/>
                </a:lnTo>
                <a:close/>
              </a:path>
            </a:pathLst>
          </a:custGeom>
          <a:solidFill>
            <a:srgbClr val="2E5496"/>
          </a:solidFill>
        </p:spPr>
        <p:txBody>
          <a:bodyPr wrap="square" lIns="0" tIns="0" rIns="0" bIns="0" rtlCol="0"/>
          <a:lstStyle/>
          <a:p>
            <a:pPr defTabSz="914172">
              <a:defRPr/>
            </a:pPr>
            <a:endParaRPr dirty="0">
              <a:solidFill>
                <a:prstClr val="black"/>
              </a:solidFill>
              <a:latin typeface="Arial"/>
              <a:cs typeface="Arial"/>
            </a:endParaRPr>
          </a:p>
        </p:txBody>
      </p:sp>
      <p:sp>
        <p:nvSpPr>
          <p:cNvPr id="45" name="object 8">
            <a:extLst>
              <a:ext uri="{FF2B5EF4-FFF2-40B4-BE49-F238E27FC236}">
                <a16:creationId xmlns:a16="http://schemas.microsoft.com/office/drawing/2014/main" id="{28FBA7A4-BA3C-4E24-84D0-E319F76885CF}"/>
              </a:ext>
            </a:extLst>
          </p:cNvPr>
          <p:cNvSpPr/>
          <p:nvPr/>
        </p:nvSpPr>
        <p:spPr>
          <a:xfrm>
            <a:off x="-764" y="528822"/>
            <a:ext cx="12188190" cy="10792"/>
          </a:xfrm>
          <a:custGeom>
            <a:avLst/>
            <a:gdLst/>
            <a:ahLst/>
            <a:cxnLst/>
            <a:rect l="l" t="t" r="r" b="b"/>
            <a:pathLst>
              <a:path w="12191365" h="10795">
                <a:moveTo>
                  <a:pt x="0" y="10795"/>
                </a:moveTo>
                <a:lnTo>
                  <a:pt x="12191238" y="0"/>
                </a:lnTo>
              </a:path>
            </a:pathLst>
          </a:custGeom>
          <a:ln w="25908">
            <a:solidFill>
              <a:srgbClr val="2E5496"/>
            </a:solidFill>
          </a:ln>
        </p:spPr>
        <p:txBody>
          <a:bodyPr wrap="square" lIns="0" tIns="0" rIns="0" bIns="0" rtlCol="0"/>
          <a:lstStyle/>
          <a:p>
            <a:pPr defTabSz="914172">
              <a:defRPr/>
            </a:pPr>
            <a:endParaRPr dirty="0">
              <a:solidFill>
                <a:prstClr val="black"/>
              </a:solidFill>
              <a:latin typeface="Arial"/>
              <a:cs typeface="Arial"/>
            </a:endParaRPr>
          </a:p>
        </p:txBody>
      </p:sp>
      <p:pic>
        <p:nvPicPr>
          <p:cNvPr id="47" name="Picture 46">
            <a:extLst>
              <a:ext uri="{FF2B5EF4-FFF2-40B4-BE49-F238E27FC236}">
                <a16:creationId xmlns:a16="http://schemas.microsoft.com/office/drawing/2014/main" id="{C33B04F3-A825-4F77-9FFB-A4112693B189}"/>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224073" y="3743536"/>
            <a:ext cx="504145" cy="413144"/>
          </a:xfrm>
          <a:prstGeom prst="rect">
            <a:avLst/>
          </a:prstGeom>
        </p:spPr>
      </p:pic>
      <p:pic>
        <p:nvPicPr>
          <p:cNvPr id="48" name="Picture 47">
            <a:extLst>
              <a:ext uri="{FF2B5EF4-FFF2-40B4-BE49-F238E27FC236}">
                <a16:creationId xmlns:a16="http://schemas.microsoft.com/office/drawing/2014/main" id="{F26FD0E8-5964-4A08-B335-DCE8645C3713}"/>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224073" y="3134365"/>
            <a:ext cx="504145" cy="413144"/>
          </a:xfrm>
          <a:prstGeom prst="rect">
            <a:avLst/>
          </a:prstGeom>
        </p:spPr>
      </p:pic>
      <p:pic>
        <p:nvPicPr>
          <p:cNvPr id="49" name="Picture 48">
            <a:extLst>
              <a:ext uri="{FF2B5EF4-FFF2-40B4-BE49-F238E27FC236}">
                <a16:creationId xmlns:a16="http://schemas.microsoft.com/office/drawing/2014/main" id="{3BD1D242-35B8-46C6-A300-B34EFD8CA704}"/>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224072" y="2004041"/>
            <a:ext cx="504145" cy="413144"/>
          </a:xfrm>
          <a:prstGeom prst="rect">
            <a:avLst/>
          </a:prstGeom>
        </p:spPr>
      </p:pic>
      <p:pic>
        <p:nvPicPr>
          <p:cNvPr id="14" name="Picture 13">
            <a:extLst>
              <a:ext uri="{FF2B5EF4-FFF2-40B4-BE49-F238E27FC236}">
                <a16:creationId xmlns:a16="http://schemas.microsoft.com/office/drawing/2014/main" id="{159054A7-F703-4A97-A30D-2B46E0754A3F}"/>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224072" y="5667742"/>
            <a:ext cx="504145" cy="413144"/>
          </a:xfrm>
          <a:prstGeom prst="rect">
            <a:avLst/>
          </a:prstGeom>
        </p:spPr>
      </p:pic>
      <p:sp>
        <p:nvSpPr>
          <p:cNvPr id="16" name="Slide Number Placeholder 4">
            <a:extLst>
              <a:ext uri="{FF2B5EF4-FFF2-40B4-BE49-F238E27FC236}">
                <a16:creationId xmlns:a16="http://schemas.microsoft.com/office/drawing/2014/main" id="{DD10C9F7-73FD-4AB6-B30C-AFC31AFD00F4}"/>
              </a:ext>
            </a:extLst>
          </p:cNvPr>
          <p:cNvSpPr txBox="1">
            <a:spLocks/>
          </p:cNvSpPr>
          <p:nvPr/>
        </p:nvSpPr>
        <p:spPr>
          <a:xfrm>
            <a:off x="11708228" y="6254594"/>
            <a:ext cx="386132" cy="326245"/>
          </a:xfrm>
          <a:prstGeom prst="rect">
            <a:avLst/>
          </a:prstGeom>
        </p:spPr>
        <p:txBody>
          <a:bodyPr/>
          <a:lstStyle>
            <a:defPPr>
              <a:defRPr lang="en-US"/>
            </a:defPPr>
            <a:lvl1pPr marL="0" algn="l" defTabSz="1828434" rtl="0" eaLnBrk="1" latinLnBrk="0" hangingPunct="1">
              <a:defRPr sz="3600" kern="1200">
                <a:solidFill>
                  <a:schemeClr val="tx1"/>
                </a:solidFill>
                <a:latin typeface="+mn-lt"/>
                <a:ea typeface="+mn-ea"/>
                <a:cs typeface="+mn-cs"/>
              </a:defRPr>
            </a:lvl1pPr>
            <a:lvl2pPr marL="914217" algn="l" defTabSz="1828434" rtl="0" eaLnBrk="1" latinLnBrk="0" hangingPunct="1">
              <a:defRPr sz="3600" kern="1200">
                <a:solidFill>
                  <a:schemeClr val="tx1"/>
                </a:solidFill>
                <a:latin typeface="+mn-lt"/>
                <a:ea typeface="+mn-ea"/>
                <a:cs typeface="+mn-cs"/>
              </a:defRPr>
            </a:lvl2pPr>
            <a:lvl3pPr marL="1828434" algn="l" defTabSz="1828434" rtl="0" eaLnBrk="1" latinLnBrk="0" hangingPunct="1">
              <a:defRPr sz="3600" kern="1200">
                <a:solidFill>
                  <a:schemeClr val="tx1"/>
                </a:solidFill>
                <a:latin typeface="+mn-lt"/>
                <a:ea typeface="+mn-ea"/>
                <a:cs typeface="+mn-cs"/>
              </a:defRPr>
            </a:lvl3pPr>
            <a:lvl4pPr marL="2742651" algn="l" defTabSz="1828434" rtl="0" eaLnBrk="1" latinLnBrk="0" hangingPunct="1">
              <a:defRPr sz="3600" kern="1200">
                <a:solidFill>
                  <a:schemeClr val="tx1"/>
                </a:solidFill>
                <a:latin typeface="+mn-lt"/>
                <a:ea typeface="+mn-ea"/>
                <a:cs typeface="+mn-cs"/>
              </a:defRPr>
            </a:lvl4pPr>
            <a:lvl5pPr marL="3656868" algn="l" defTabSz="1828434" rtl="0" eaLnBrk="1" latinLnBrk="0" hangingPunct="1">
              <a:defRPr sz="3600" kern="1200">
                <a:solidFill>
                  <a:schemeClr val="tx1"/>
                </a:solidFill>
                <a:latin typeface="+mn-lt"/>
                <a:ea typeface="+mn-ea"/>
                <a:cs typeface="+mn-cs"/>
              </a:defRPr>
            </a:lvl5pPr>
            <a:lvl6pPr marL="4571086" algn="l" defTabSz="1828434" rtl="0" eaLnBrk="1" latinLnBrk="0" hangingPunct="1">
              <a:defRPr sz="3600" kern="1200">
                <a:solidFill>
                  <a:schemeClr val="tx1"/>
                </a:solidFill>
                <a:latin typeface="+mn-lt"/>
                <a:ea typeface="+mn-ea"/>
                <a:cs typeface="+mn-cs"/>
              </a:defRPr>
            </a:lvl6pPr>
            <a:lvl7pPr marL="5485303" algn="l" defTabSz="1828434" rtl="0" eaLnBrk="1" latinLnBrk="0" hangingPunct="1">
              <a:defRPr sz="3600" kern="1200">
                <a:solidFill>
                  <a:schemeClr val="tx1"/>
                </a:solidFill>
                <a:latin typeface="+mn-lt"/>
                <a:ea typeface="+mn-ea"/>
                <a:cs typeface="+mn-cs"/>
              </a:defRPr>
            </a:lvl7pPr>
            <a:lvl8pPr marL="6399520" algn="l" defTabSz="1828434" rtl="0" eaLnBrk="1" latinLnBrk="0" hangingPunct="1">
              <a:defRPr sz="3600" kern="1200">
                <a:solidFill>
                  <a:schemeClr val="tx1"/>
                </a:solidFill>
                <a:latin typeface="+mn-lt"/>
                <a:ea typeface="+mn-ea"/>
                <a:cs typeface="+mn-cs"/>
              </a:defRPr>
            </a:lvl8pPr>
            <a:lvl9pPr marL="7313737" algn="l" defTabSz="1828434" rtl="0" eaLnBrk="1" latinLnBrk="0" hangingPunct="1">
              <a:defRPr sz="3600" kern="1200">
                <a:solidFill>
                  <a:schemeClr val="tx1"/>
                </a:solidFill>
                <a:latin typeface="+mn-lt"/>
                <a:ea typeface="+mn-ea"/>
                <a:cs typeface="+mn-cs"/>
              </a:defRPr>
            </a:lvl9pPr>
          </a:lstStyle>
          <a:p>
            <a:pPr defTabSz="914172">
              <a:defRPr/>
            </a:pPr>
            <a:fld id="{186DC542-6CB9-419E-B49C-81182B59E367}" type="slidenum">
              <a:rPr lang="en-US" sz="1200">
                <a:solidFill>
                  <a:prstClr val="white">
                    <a:lumMod val="50000"/>
                  </a:prstClr>
                </a:solidFill>
                <a:latin typeface="Open Sans"/>
                <a:cs typeface="Arial"/>
              </a:rPr>
              <a:pPr defTabSz="914172">
                <a:defRPr/>
              </a:pPr>
              <a:t>98</a:t>
            </a:fld>
            <a:endParaRPr lang="en-US" sz="1400" dirty="0">
              <a:solidFill>
                <a:prstClr val="white">
                  <a:lumMod val="50000"/>
                </a:prstClr>
              </a:solidFill>
              <a:latin typeface="Open Sans"/>
              <a:cs typeface="Arial"/>
            </a:endParaRPr>
          </a:p>
        </p:txBody>
      </p:sp>
    </p:spTree>
    <p:extLst>
      <p:ext uri="{BB962C8B-B14F-4D97-AF65-F5344CB8AC3E}">
        <p14:creationId xmlns:p14="http://schemas.microsoft.com/office/powerpoint/2010/main" val="1082157250"/>
      </p:ext>
    </p:extLst>
  </p:cSld>
  <p:clrMapOvr>
    <a:masterClrMapping/>
  </p:clrMapOvr>
  <p:transition spd="slow">
    <p:push dir="u"/>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299E818-201C-FD4B-9802-E03DAAFB4FB2}"/>
              </a:ext>
            </a:extLst>
          </p:cNvPr>
          <p:cNvSpPr txBox="1">
            <a:spLocks/>
          </p:cNvSpPr>
          <p:nvPr/>
        </p:nvSpPr>
        <p:spPr>
          <a:xfrm>
            <a:off x="179961" y="467567"/>
            <a:ext cx="5008846" cy="535403"/>
          </a:xfrm>
          <a:prstGeom prst="rect">
            <a:avLst/>
          </a:prstGeom>
        </p:spPr>
        <p:txBody>
          <a:bodyPr>
            <a:spAutoFit/>
          </a:bodyPr>
          <a:lstStyle>
            <a:lvl1pPr algn="l" defTabSz="914400" rtl="0" eaLnBrk="1" latinLnBrk="0" hangingPunct="1">
              <a:lnSpc>
                <a:spcPct val="90000"/>
              </a:lnSpc>
              <a:spcBef>
                <a:spcPct val="0"/>
              </a:spcBef>
              <a:buNone/>
              <a:defRPr sz="4400" kern="1200" baseline="0">
                <a:solidFill>
                  <a:schemeClr val="tx1"/>
                </a:solidFill>
                <a:latin typeface="Arial" panose="020B0604020202020204" pitchFamily="34" charset="0"/>
                <a:ea typeface="+mj-ea"/>
                <a:cs typeface="+mj-cs"/>
              </a:defRPr>
            </a:lvl1pPr>
          </a:lstStyle>
          <a:p>
            <a:pPr defTabSz="914172"/>
            <a:r>
              <a:rPr lang="en-US" sz="3199" b="1" dirty="0">
                <a:solidFill>
                  <a:srgbClr val="060C28"/>
                </a:solidFill>
              </a:rPr>
              <a:t>SDG&amp;E Current Practice</a:t>
            </a:r>
          </a:p>
        </p:txBody>
      </p:sp>
      <p:sp>
        <p:nvSpPr>
          <p:cNvPr id="7" name="Text Placeholder 5">
            <a:extLst>
              <a:ext uri="{FF2B5EF4-FFF2-40B4-BE49-F238E27FC236}">
                <a16:creationId xmlns:a16="http://schemas.microsoft.com/office/drawing/2014/main" id="{EE7685EB-6362-5B42-935E-9E7B6092F37D}"/>
              </a:ext>
            </a:extLst>
          </p:cNvPr>
          <p:cNvSpPr txBox="1">
            <a:spLocks/>
          </p:cNvSpPr>
          <p:nvPr/>
        </p:nvSpPr>
        <p:spPr>
          <a:xfrm>
            <a:off x="179961" y="1220730"/>
            <a:ext cx="6832684" cy="338049"/>
          </a:xfrm>
          <a:prstGeom prst="rect">
            <a:avLst/>
          </a:prstGeom>
        </p:spPr>
        <p:txBody>
          <a:bodyPr/>
          <a:lstStyle>
            <a:lvl1pPr marL="0" indent="0" algn="l" defTabSz="914400" rtl="0" eaLnBrk="1" latinLnBrk="0" hangingPunct="1">
              <a:lnSpc>
                <a:spcPct val="90000"/>
              </a:lnSpc>
              <a:spcBef>
                <a:spcPts val="1000"/>
              </a:spcBef>
              <a:buFontTx/>
              <a:buNone/>
              <a:defRPr sz="1800" b="1" i="0" kern="1200" baseline="0">
                <a:solidFill>
                  <a:schemeClr val="tx1"/>
                </a:solidFill>
                <a:latin typeface="Arial" panose="020B0604020202020204" pitchFamily="34" charset="0"/>
                <a:ea typeface="+mn-ea"/>
                <a:cs typeface="+mn-cs"/>
              </a:defRPr>
            </a:lvl1pPr>
            <a:lvl2pPr marL="457200" indent="0" algn="l" defTabSz="914400" rtl="0" eaLnBrk="1" latinLnBrk="0" hangingPunct="1">
              <a:lnSpc>
                <a:spcPct val="90000"/>
              </a:lnSpc>
              <a:spcBef>
                <a:spcPts val="500"/>
              </a:spcBef>
              <a:buFontTx/>
              <a:buNone/>
              <a:defRPr sz="2400" kern="1200" baseline="0">
                <a:solidFill>
                  <a:schemeClr val="tx1"/>
                </a:solidFill>
                <a:latin typeface="Arial" panose="020B0604020202020204" pitchFamily="34" charset="0"/>
                <a:ea typeface="+mn-ea"/>
                <a:cs typeface="+mn-cs"/>
              </a:defRPr>
            </a:lvl2pPr>
            <a:lvl3pPr marL="914400" indent="0" algn="l" defTabSz="914400" rtl="0" eaLnBrk="1" latinLnBrk="0" hangingPunct="1">
              <a:lnSpc>
                <a:spcPct val="90000"/>
              </a:lnSpc>
              <a:spcBef>
                <a:spcPts val="500"/>
              </a:spcBef>
              <a:buFontTx/>
              <a:buNone/>
              <a:defRPr sz="2000" kern="1200" baseline="0">
                <a:solidFill>
                  <a:schemeClr val="tx1"/>
                </a:solidFill>
                <a:latin typeface="Arial" panose="020B0604020202020204" pitchFamily="34" charset="0"/>
                <a:ea typeface="+mn-ea"/>
                <a:cs typeface="+mn-cs"/>
              </a:defRPr>
            </a:lvl3pPr>
            <a:lvl4pPr marL="1371600" indent="0" algn="l" defTabSz="914400" rtl="0" eaLnBrk="1" latinLnBrk="0" hangingPunct="1">
              <a:lnSpc>
                <a:spcPct val="90000"/>
              </a:lnSpc>
              <a:spcBef>
                <a:spcPts val="500"/>
              </a:spcBef>
              <a:buFontTx/>
              <a:buNone/>
              <a:defRPr sz="1800" kern="1200" baseline="0">
                <a:solidFill>
                  <a:schemeClr val="tx1"/>
                </a:solidFill>
                <a:latin typeface="Arial" panose="020B0604020202020204" pitchFamily="34" charset="0"/>
                <a:ea typeface="+mn-ea"/>
                <a:cs typeface="+mn-cs"/>
              </a:defRPr>
            </a:lvl4pPr>
            <a:lvl5pPr marL="1828800" indent="0" algn="l" defTabSz="914400" rtl="0" eaLnBrk="1" latinLnBrk="0" hangingPunct="1">
              <a:lnSpc>
                <a:spcPct val="90000"/>
              </a:lnSpc>
              <a:spcBef>
                <a:spcPts val="500"/>
              </a:spcBef>
              <a:buFontTx/>
              <a:buNone/>
              <a:defRPr sz="1800" kern="1200" baseline="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172"/>
            <a:r>
              <a:rPr lang="en-US" dirty="0">
                <a:solidFill>
                  <a:srgbClr val="060C28"/>
                </a:solidFill>
              </a:rPr>
              <a:t>Support of Small and Diverse Suppliers outreach </a:t>
            </a:r>
          </a:p>
        </p:txBody>
      </p:sp>
      <p:graphicFrame>
        <p:nvGraphicFramePr>
          <p:cNvPr id="2" name="Table 2">
            <a:extLst>
              <a:ext uri="{FF2B5EF4-FFF2-40B4-BE49-F238E27FC236}">
                <a16:creationId xmlns:a16="http://schemas.microsoft.com/office/drawing/2014/main" id="{8CE69FF2-A7D3-4867-92E5-0C99B4EAEA01}"/>
              </a:ext>
            </a:extLst>
          </p:cNvPr>
          <p:cNvGraphicFramePr>
            <a:graphicFrameLocks noGrp="1"/>
          </p:cNvGraphicFramePr>
          <p:nvPr/>
        </p:nvGraphicFramePr>
        <p:xfrm>
          <a:off x="212292" y="1715495"/>
          <a:ext cx="9232588" cy="4894789"/>
        </p:xfrm>
        <a:graphic>
          <a:graphicData uri="http://schemas.openxmlformats.org/drawingml/2006/table">
            <a:tbl>
              <a:tblPr firstRow="1" bandRow="1">
                <a:tableStyleId>{5C22544A-7EE6-4342-B048-85BDC9FD1C3A}</a:tableStyleId>
              </a:tblPr>
              <a:tblGrid>
                <a:gridCol w="3099764">
                  <a:extLst>
                    <a:ext uri="{9D8B030D-6E8A-4147-A177-3AD203B41FA5}">
                      <a16:colId xmlns:a16="http://schemas.microsoft.com/office/drawing/2014/main" val="1088664422"/>
                    </a:ext>
                  </a:extLst>
                </a:gridCol>
                <a:gridCol w="3591455">
                  <a:extLst>
                    <a:ext uri="{9D8B030D-6E8A-4147-A177-3AD203B41FA5}">
                      <a16:colId xmlns:a16="http://schemas.microsoft.com/office/drawing/2014/main" val="169911746"/>
                    </a:ext>
                  </a:extLst>
                </a:gridCol>
                <a:gridCol w="2541369">
                  <a:extLst>
                    <a:ext uri="{9D8B030D-6E8A-4147-A177-3AD203B41FA5}">
                      <a16:colId xmlns:a16="http://schemas.microsoft.com/office/drawing/2014/main" val="4117520934"/>
                    </a:ext>
                  </a:extLst>
                </a:gridCol>
              </a:tblGrid>
              <a:tr h="368970">
                <a:tc>
                  <a:txBody>
                    <a:bodyPr/>
                    <a:lstStyle/>
                    <a:p>
                      <a:pPr marL="0" algn="l" defTabSz="914400" rtl="0" eaLnBrk="1" latinLnBrk="0" hangingPunct="1"/>
                      <a:r>
                        <a:rPr lang="en-US" sz="1800" b="1" kern="1200" dirty="0">
                          <a:solidFill>
                            <a:schemeClr val="lt1"/>
                          </a:solidFill>
                          <a:latin typeface="+mj-lt"/>
                          <a:ea typeface="+mn-ea"/>
                          <a:cs typeface="+mn-cs"/>
                        </a:rPr>
                        <a:t>Event Name</a:t>
                      </a:r>
                    </a:p>
                  </a:txBody>
                  <a:tcPr marL="91416" marR="91416" marT="45708" marB="45708"/>
                </a:tc>
                <a:tc>
                  <a:txBody>
                    <a:bodyPr/>
                    <a:lstStyle/>
                    <a:p>
                      <a:pPr marL="0" algn="l" defTabSz="914400" rtl="0" eaLnBrk="1" latinLnBrk="0" hangingPunct="1"/>
                      <a:r>
                        <a:rPr lang="en-US" sz="1800" b="1" kern="1200" dirty="0">
                          <a:solidFill>
                            <a:schemeClr val="lt1"/>
                          </a:solidFill>
                          <a:latin typeface="+mj-lt"/>
                          <a:ea typeface="+mn-ea"/>
                          <a:cs typeface="+mn-cs"/>
                        </a:rPr>
                        <a:t>Action</a:t>
                      </a:r>
                    </a:p>
                  </a:txBody>
                  <a:tcPr marL="91416" marR="91416" marT="45708" marB="45708"/>
                </a:tc>
                <a:tc>
                  <a:txBody>
                    <a:bodyPr/>
                    <a:lstStyle/>
                    <a:p>
                      <a:pPr marL="0" algn="l" defTabSz="914400" rtl="0" eaLnBrk="1" latinLnBrk="0" hangingPunct="1"/>
                      <a:r>
                        <a:rPr lang="en-US" sz="1800" b="1" kern="1200" dirty="0">
                          <a:solidFill>
                            <a:schemeClr val="lt1"/>
                          </a:solidFill>
                          <a:latin typeface="+mj-lt"/>
                          <a:ea typeface="+mn-ea"/>
                          <a:cs typeface="+mn-cs"/>
                        </a:rPr>
                        <a:t>Date</a:t>
                      </a:r>
                    </a:p>
                  </a:txBody>
                  <a:tcPr marL="91416" marR="91416" marT="45708" marB="45708"/>
                </a:tc>
                <a:extLst>
                  <a:ext uri="{0D108BD9-81ED-4DB2-BD59-A6C34878D82A}">
                    <a16:rowId xmlns:a16="http://schemas.microsoft.com/office/drawing/2014/main" val="2551179877"/>
                  </a:ext>
                </a:extLst>
              </a:tr>
              <a:tr h="845602">
                <a:tc>
                  <a:txBody>
                    <a:bodyPr/>
                    <a:lstStyle/>
                    <a:p>
                      <a:r>
                        <a:rPr lang="en-US" sz="1600" b="0" i="0" dirty="0">
                          <a:solidFill>
                            <a:srgbClr val="060C28"/>
                          </a:solidFill>
                          <a:effectLst/>
                          <a:latin typeface="+mj-lt"/>
                        </a:rPr>
                        <a:t>Women's Business Enterprise Council (WBEC) West 17</a:t>
                      </a:r>
                      <a:r>
                        <a:rPr lang="en-US" sz="1600" b="0" i="0" baseline="30000" dirty="0">
                          <a:solidFill>
                            <a:srgbClr val="060C28"/>
                          </a:solidFill>
                          <a:effectLst/>
                          <a:latin typeface="+mj-lt"/>
                        </a:rPr>
                        <a:t>th</a:t>
                      </a:r>
                      <a:r>
                        <a:rPr lang="en-US" sz="1600" b="0" i="0" dirty="0">
                          <a:solidFill>
                            <a:srgbClr val="060C28"/>
                          </a:solidFill>
                          <a:effectLst/>
                          <a:latin typeface="+mj-lt"/>
                        </a:rPr>
                        <a:t> Annual Strategic Conference </a:t>
                      </a:r>
                      <a:endParaRPr lang="en-US" sz="1600" dirty="0">
                        <a:solidFill>
                          <a:srgbClr val="060C28"/>
                        </a:solidFill>
                        <a:latin typeface="+mj-lt"/>
                      </a:endParaRPr>
                    </a:p>
                  </a:txBody>
                  <a:tcPr marL="91416" marR="91416" marT="45708" marB="45708" anchor="ctr"/>
                </a:tc>
                <a:tc>
                  <a:txBody>
                    <a:bodyPr/>
                    <a:lstStyle/>
                    <a:p>
                      <a:pPr marL="285750" indent="-285750">
                        <a:buFont typeface="Arial" panose="020B0604020202020204" pitchFamily="34" charset="0"/>
                        <a:buChar char="•"/>
                      </a:pPr>
                      <a:r>
                        <a:rPr lang="en-US" sz="1600" b="0" i="0" dirty="0">
                          <a:solidFill>
                            <a:srgbClr val="060C28"/>
                          </a:solidFill>
                          <a:effectLst/>
                          <a:latin typeface="+mj-lt"/>
                        </a:rPr>
                        <a:t>Matchmaker Madness Event </a:t>
                      </a:r>
                      <a:endParaRPr lang="en-US" sz="1600" dirty="0">
                        <a:solidFill>
                          <a:srgbClr val="060C28"/>
                        </a:solidFill>
                        <a:latin typeface="+mj-lt"/>
                      </a:endParaRPr>
                    </a:p>
                  </a:txBody>
                  <a:tcPr marL="91416" marR="91416" marT="45708" marB="457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solidFill>
                            <a:srgbClr val="060C28"/>
                          </a:solidFill>
                          <a:effectLst/>
                          <a:latin typeface="+mj-lt"/>
                        </a:rPr>
                        <a:t>December 8, 2020</a:t>
                      </a:r>
                    </a:p>
                  </a:txBody>
                  <a:tcPr marL="91416" marR="91416" marT="45708" marB="45708" anchor="ctr"/>
                </a:tc>
                <a:extLst>
                  <a:ext uri="{0D108BD9-81ED-4DB2-BD59-A6C34878D82A}">
                    <a16:rowId xmlns:a16="http://schemas.microsoft.com/office/drawing/2014/main" val="2501493306"/>
                  </a:ext>
                </a:extLst>
              </a:tr>
              <a:tr h="987512">
                <a:tc>
                  <a:txBody>
                    <a:bodyPr/>
                    <a:lstStyle/>
                    <a:p>
                      <a:r>
                        <a:rPr lang="en-US" sz="1600" b="0" i="0" dirty="0">
                          <a:solidFill>
                            <a:srgbClr val="060C28"/>
                          </a:solidFill>
                          <a:effectLst/>
                          <a:latin typeface="+mj-lt"/>
                        </a:rPr>
                        <a:t>Supplier Relationship Management Meetings </a:t>
                      </a:r>
                      <a:endParaRPr lang="en-US" sz="1600" dirty="0">
                        <a:solidFill>
                          <a:srgbClr val="060C28"/>
                        </a:solidFill>
                        <a:latin typeface="+mj-lt"/>
                      </a:endParaRPr>
                    </a:p>
                  </a:txBody>
                  <a:tcPr marL="91416" marR="91416" marT="45708" marB="45708" anchor="ctr"/>
                </a:tc>
                <a:tc>
                  <a:txBody>
                    <a:bodyPr/>
                    <a:lstStyle/>
                    <a:p>
                      <a:pPr marL="285750" indent="-285750">
                        <a:buFont typeface="Arial" panose="020B0604020202020204" pitchFamily="34" charset="0"/>
                        <a:buChar char="•"/>
                      </a:pPr>
                      <a:r>
                        <a:rPr lang="en-US" sz="1600" dirty="0">
                          <a:solidFill>
                            <a:srgbClr val="060C28"/>
                          </a:solidFill>
                          <a:effectLst/>
                          <a:latin typeface="+mj-lt"/>
                        </a:rPr>
                        <a:t>Strategic Partnership</a:t>
                      </a:r>
                      <a:endParaRPr lang="en-US" sz="1600" dirty="0">
                        <a:solidFill>
                          <a:srgbClr val="060C28"/>
                        </a:solidFill>
                        <a:latin typeface="+mj-lt"/>
                      </a:endParaRPr>
                    </a:p>
                  </a:txBody>
                  <a:tcPr marL="91416" marR="91416" marT="45708" marB="457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kern="1200" dirty="0">
                          <a:solidFill>
                            <a:srgbClr val="060C28"/>
                          </a:solidFill>
                          <a:effectLst/>
                          <a:latin typeface="+mj-lt"/>
                          <a:ea typeface="+mn-ea"/>
                          <a:cs typeface="+mn-cs"/>
                        </a:rPr>
                        <a:t>February 9, 202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kern="1200" dirty="0">
                          <a:solidFill>
                            <a:srgbClr val="060C28"/>
                          </a:solidFill>
                          <a:effectLst/>
                          <a:latin typeface="+mj-lt"/>
                          <a:ea typeface="+mn-ea"/>
                          <a:cs typeface="+mn-cs"/>
                        </a:rPr>
                        <a:t>June 15, 202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kern="1200" dirty="0">
                          <a:solidFill>
                            <a:srgbClr val="060C28"/>
                          </a:solidFill>
                          <a:effectLst/>
                          <a:latin typeface="+mj-lt"/>
                          <a:ea typeface="+mn-ea"/>
                          <a:cs typeface="+mn-cs"/>
                        </a:rPr>
                        <a:t>June 16, 2021</a:t>
                      </a:r>
                    </a:p>
                  </a:txBody>
                  <a:tcPr marL="91416" marR="91416" marT="45708" marB="45708" anchor="ctr"/>
                </a:tc>
                <a:extLst>
                  <a:ext uri="{0D108BD9-81ED-4DB2-BD59-A6C34878D82A}">
                    <a16:rowId xmlns:a16="http://schemas.microsoft.com/office/drawing/2014/main" val="4256177019"/>
                  </a:ext>
                </a:extLst>
              </a:tr>
              <a:tr h="591921">
                <a:tc>
                  <a:txBody>
                    <a:bodyPr/>
                    <a:lstStyle/>
                    <a:p>
                      <a:r>
                        <a:rPr lang="en-US" sz="1600" b="0" i="0" dirty="0">
                          <a:solidFill>
                            <a:srgbClr val="060C28"/>
                          </a:solidFill>
                          <a:effectLst/>
                          <a:latin typeface="+mj-lt"/>
                        </a:rPr>
                        <a:t>American Indian Chamber of Commerce </a:t>
                      </a:r>
                      <a:endParaRPr lang="en-US" sz="1600" dirty="0">
                        <a:solidFill>
                          <a:srgbClr val="060C28"/>
                        </a:solidFill>
                        <a:latin typeface="+mj-lt"/>
                      </a:endParaRPr>
                    </a:p>
                  </a:txBody>
                  <a:tcPr marL="91416" marR="91416" marT="45708" marB="45708" anchor="ctr"/>
                </a:tc>
                <a:tc>
                  <a:txBody>
                    <a:bodyPr/>
                    <a:lstStyle/>
                    <a:p>
                      <a:pPr marL="285750" indent="-285750" algn="l" defTabSz="914400" rtl="0" eaLnBrk="1" latinLnBrk="0" hangingPunct="1">
                        <a:buFont typeface="Arial" panose="020B0604020202020204" pitchFamily="34" charset="0"/>
                        <a:buChar char="•"/>
                      </a:pPr>
                      <a:r>
                        <a:rPr lang="en-US" sz="1600" kern="1200" dirty="0">
                          <a:solidFill>
                            <a:srgbClr val="060C28"/>
                          </a:solidFill>
                          <a:effectLst/>
                          <a:latin typeface="+mj-lt"/>
                          <a:ea typeface="+mn-ea"/>
                          <a:cs typeface="+mn-cs"/>
                        </a:rPr>
                        <a:t>Matchmaking Event</a:t>
                      </a:r>
                    </a:p>
                  </a:txBody>
                  <a:tcPr marL="91416" marR="91416" marT="45708" marB="457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kern="1200" dirty="0">
                          <a:solidFill>
                            <a:srgbClr val="060C28"/>
                          </a:solidFill>
                          <a:effectLst/>
                          <a:latin typeface="+mj-lt"/>
                          <a:ea typeface="+mn-ea"/>
                          <a:cs typeface="+mn-cs"/>
                        </a:rPr>
                        <a:t>July 13, 2021</a:t>
                      </a:r>
                    </a:p>
                  </a:txBody>
                  <a:tcPr marL="91416" marR="91416" marT="45708" marB="45708" anchor="ctr"/>
                </a:tc>
                <a:extLst>
                  <a:ext uri="{0D108BD9-81ED-4DB2-BD59-A6C34878D82A}">
                    <a16:rowId xmlns:a16="http://schemas.microsoft.com/office/drawing/2014/main" val="2441978954"/>
                  </a:ext>
                </a:extLst>
              </a:tr>
              <a:tr h="663261">
                <a:tc>
                  <a:txBody>
                    <a:bodyPr/>
                    <a:lstStyle/>
                    <a:p>
                      <a:pPr marL="0" algn="l" defTabSz="914400" rtl="0" eaLnBrk="1" latinLnBrk="0" hangingPunct="1"/>
                      <a:r>
                        <a:rPr lang="en-US" sz="1600" b="0" i="0" kern="1200" dirty="0">
                          <a:solidFill>
                            <a:srgbClr val="060C28"/>
                          </a:solidFill>
                          <a:effectLst/>
                          <a:latin typeface="+mj-lt"/>
                          <a:ea typeface="+mn-ea"/>
                          <a:cs typeface="+mn-cs"/>
                        </a:rPr>
                        <a:t>CEDMC Forum</a:t>
                      </a:r>
                    </a:p>
                  </a:txBody>
                  <a:tcPr marL="91416" marR="91416" marT="45708" marB="45708" anchor="ctr"/>
                </a:tc>
                <a:tc>
                  <a:txBody>
                    <a:bodyPr/>
                    <a:lstStyle/>
                    <a:p>
                      <a:pPr marL="285750" indent="-285750" algn="l" defTabSz="914400" rtl="0" eaLnBrk="1" latinLnBrk="0" hangingPunct="1">
                        <a:buFont typeface="Arial" panose="020B0604020202020204" pitchFamily="34" charset="0"/>
                        <a:buChar char="•"/>
                      </a:pPr>
                      <a:r>
                        <a:rPr lang="en-US" sz="1600" kern="1200" dirty="0">
                          <a:solidFill>
                            <a:srgbClr val="060C28"/>
                          </a:solidFill>
                          <a:effectLst/>
                          <a:latin typeface="+mj-lt"/>
                          <a:ea typeface="+mn-ea"/>
                          <a:cs typeface="+mn-cs"/>
                        </a:rPr>
                        <a:t>SDGE Solicitation Opportunities for small business</a:t>
                      </a:r>
                    </a:p>
                  </a:txBody>
                  <a:tcPr marL="91416" marR="91416" marT="45708" marB="457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kern="1200" dirty="0">
                          <a:solidFill>
                            <a:srgbClr val="060C28"/>
                          </a:solidFill>
                          <a:effectLst/>
                          <a:latin typeface="+mj-lt"/>
                          <a:ea typeface="+mn-ea"/>
                          <a:cs typeface="+mn-cs"/>
                        </a:rPr>
                        <a:t>March 11, 2021</a:t>
                      </a:r>
                    </a:p>
                  </a:txBody>
                  <a:tcPr marL="91416" marR="91416" marT="45708" marB="45708" anchor="ctr"/>
                </a:tc>
                <a:extLst>
                  <a:ext uri="{0D108BD9-81ED-4DB2-BD59-A6C34878D82A}">
                    <a16:rowId xmlns:a16="http://schemas.microsoft.com/office/drawing/2014/main" val="2405748066"/>
                  </a:ext>
                </a:extLst>
              </a:tr>
              <a:tr h="338241">
                <a:tc>
                  <a:txBody>
                    <a:bodyPr/>
                    <a:lstStyle/>
                    <a:p>
                      <a:pPr marL="0" algn="l" defTabSz="914400" rtl="0" eaLnBrk="1" latinLnBrk="0" hangingPunct="1"/>
                      <a:r>
                        <a:rPr lang="en-US" sz="1600" b="0" i="0" kern="1200" dirty="0">
                          <a:solidFill>
                            <a:srgbClr val="060C28"/>
                          </a:solidFill>
                          <a:effectLst/>
                          <a:latin typeface="+mj-lt"/>
                          <a:ea typeface="+mn-ea"/>
                          <a:cs typeface="+mn-cs"/>
                        </a:rPr>
                        <a:t>Veterans in Business VIB</a:t>
                      </a:r>
                    </a:p>
                  </a:txBody>
                  <a:tcPr marL="91416" marR="91416" marT="45708" marB="45708" anchor="ctr"/>
                </a:tc>
                <a:tc>
                  <a:txBody>
                    <a:bodyPr/>
                    <a:lstStyle/>
                    <a:p>
                      <a:pPr marL="285750" indent="-285750" algn="l" defTabSz="914400" rtl="0" eaLnBrk="1" latinLnBrk="0" hangingPunct="1">
                        <a:buFont typeface="Arial" panose="020B0604020202020204" pitchFamily="34" charset="0"/>
                        <a:buChar char="•"/>
                      </a:pPr>
                      <a:r>
                        <a:rPr lang="en-US" sz="1600" kern="1200" dirty="0">
                          <a:solidFill>
                            <a:srgbClr val="060C28"/>
                          </a:solidFill>
                          <a:effectLst/>
                          <a:latin typeface="+mj-lt"/>
                          <a:ea typeface="+mn-ea"/>
                          <a:cs typeface="+mn-cs"/>
                        </a:rPr>
                        <a:t>Networking for Success</a:t>
                      </a:r>
                    </a:p>
                  </a:txBody>
                  <a:tcPr marL="91416" marR="91416" marT="45708" marB="457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kern="1200" dirty="0">
                          <a:solidFill>
                            <a:srgbClr val="060C28"/>
                          </a:solidFill>
                          <a:effectLst/>
                          <a:latin typeface="+mj-lt"/>
                          <a:ea typeface="+mn-ea"/>
                          <a:cs typeface="+mn-cs"/>
                        </a:rPr>
                        <a:t>November 2021</a:t>
                      </a:r>
                    </a:p>
                  </a:txBody>
                  <a:tcPr marL="91416" marR="91416" marT="45708" marB="45708" anchor="ctr"/>
                </a:tc>
                <a:extLst>
                  <a:ext uri="{0D108BD9-81ED-4DB2-BD59-A6C34878D82A}">
                    <a16:rowId xmlns:a16="http://schemas.microsoft.com/office/drawing/2014/main" val="199355799"/>
                  </a:ext>
                </a:extLst>
              </a:tr>
              <a:tr h="109928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solidFill>
                            <a:srgbClr val="060C28"/>
                          </a:solidFill>
                          <a:effectLst/>
                          <a:latin typeface="+mj-lt"/>
                        </a:rPr>
                        <a:t>Women's Business Enterprise Council (WBEC) West 18</a:t>
                      </a:r>
                      <a:r>
                        <a:rPr lang="en-US" sz="1600" b="0" i="0" baseline="30000" dirty="0">
                          <a:solidFill>
                            <a:srgbClr val="060C28"/>
                          </a:solidFill>
                          <a:effectLst/>
                          <a:latin typeface="+mj-lt"/>
                        </a:rPr>
                        <a:t>th</a:t>
                      </a:r>
                      <a:r>
                        <a:rPr lang="en-US" sz="1600" b="0" i="0" dirty="0">
                          <a:solidFill>
                            <a:srgbClr val="060C28"/>
                          </a:solidFill>
                          <a:effectLst/>
                          <a:latin typeface="+mj-lt"/>
                        </a:rPr>
                        <a:t> Annual Strategic Conference</a:t>
                      </a:r>
                      <a:endParaRPr lang="en-US" sz="1600" dirty="0">
                        <a:solidFill>
                          <a:srgbClr val="060C28"/>
                        </a:solidFill>
                        <a:latin typeface="+mj-lt"/>
                      </a:endParaRPr>
                    </a:p>
                  </a:txBody>
                  <a:tcPr marL="91416" marR="91416" marT="45708" marB="45708" anchor="ct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i="0" dirty="0">
                          <a:solidFill>
                            <a:srgbClr val="060C28"/>
                          </a:solidFill>
                          <a:effectLst/>
                          <a:latin typeface="+mj-lt"/>
                        </a:rPr>
                        <a:t>Matchmaker Madness Event </a:t>
                      </a:r>
                      <a:endParaRPr lang="en-US" sz="1600" dirty="0">
                        <a:solidFill>
                          <a:srgbClr val="060C28"/>
                        </a:solidFill>
                        <a:latin typeface="+mj-lt"/>
                      </a:endParaRPr>
                    </a:p>
                    <a:p>
                      <a:pPr marL="0" indent="0" algn="l" defTabSz="914400" rtl="0" eaLnBrk="1" latinLnBrk="0" hangingPunct="1">
                        <a:buFont typeface="Arial" panose="020B0604020202020204" pitchFamily="34" charset="0"/>
                        <a:buNone/>
                      </a:pPr>
                      <a:endParaRPr lang="en-US" sz="1600" kern="1200" dirty="0">
                        <a:solidFill>
                          <a:srgbClr val="060C28"/>
                        </a:solidFill>
                        <a:effectLst/>
                        <a:latin typeface="+mj-lt"/>
                        <a:ea typeface="+mn-ea"/>
                        <a:cs typeface="+mn-cs"/>
                      </a:endParaRPr>
                    </a:p>
                  </a:txBody>
                  <a:tcPr marL="91416" marR="91416" marT="45708" marB="45708"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kern="1200" dirty="0">
                          <a:solidFill>
                            <a:srgbClr val="060C28"/>
                          </a:solidFill>
                          <a:effectLst/>
                          <a:latin typeface="+mj-lt"/>
                          <a:ea typeface="+mn-ea"/>
                          <a:cs typeface="+mn-cs"/>
                        </a:rPr>
                        <a:t>December 2021</a:t>
                      </a:r>
                    </a:p>
                  </a:txBody>
                  <a:tcPr marL="91416" marR="91416" marT="45708" marB="45708" anchor="ctr"/>
                </a:tc>
                <a:extLst>
                  <a:ext uri="{0D108BD9-81ED-4DB2-BD59-A6C34878D82A}">
                    <a16:rowId xmlns:a16="http://schemas.microsoft.com/office/drawing/2014/main" val="4293100598"/>
                  </a:ext>
                </a:extLst>
              </a:tr>
            </a:tbl>
          </a:graphicData>
        </a:graphic>
      </p:graphicFrame>
      <p:pic>
        <p:nvPicPr>
          <p:cNvPr id="4" name="Graphic 3" descr="Checkmark with solid fill">
            <a:extLst>
              <a:ext uri="{FF2B5EF4-FFF2-40B4-BE49-F238E27FC236}">
                <a16:creationId xmlns:a16="http://schemas.microsoft.com/office/drawing/2014/main" id="{657DDC44-4AFA-4611-8EE1-6CEA5871642A}"/>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21282" y="2231883"/>
            <a:ext cx="402667" cy="402667"/>
          </a:xfrm>
          <a:prstGeom prst="rect">
            <a:avLst/>
          </a:prstGeom>
        </p:spPr>
      </p:pic>
      <p:pic>
        <p:nvPicPr>
          <p:cNvPr id="8" name="Graphic 7" descr="Checkmark with solid fill">
            <a:extLst>
              <a:ext uri="{FF2B5EF4-FFF2-40B4-BE49-F238E27FC236}">
                <a16:creationId xmlns:a16="http://schemas.microsoft.com/office/drawing/2014/main" id="{9DDEC6D2-E5BD-4C22-9BD3-5BC0E138164D}"/>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21282" y="2938721"/>
            <a:ext cx="402667" cy="402667"/>
          </a:xfrm>
          <a:prstGeom prst="rect">
            <a:avLst/>
          </a:prstGeom>
        </p:spPr>
      </p:pic>
      <p:pic>
        <p:nvPicPr>
          <p:cNvPr id="10" name="Graphic 9" descr="Checkmark with solid fill">
            <a:extLst>
              <a:ext uri="{FF2B5EF4-FFF2-40B4-BE49-F238E27FC236}">
                <a16:creationId xmlns:a16="http://schemas.microsoft.com/office/drawing/2014/main" id="{DA73D72E-5775-428D-BA34-90EE10AE9EB0}"/>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21284" y="3167260"/>
            <a:ext cx="402667" cy="402667"/>
          </a:xfrm>
          <a:prstGeom prst="rect">
            <a:avLst/>
          </a:prstGeom>
        </p:spPr>
      </p:pic>
      <p:pic>
        <p:nvPicPr>
          <p:cNvPr id="11" name="Graphic 10" descr="Checkmark with solid fill">
            <a:extLst>
              <a:ext uri="{FF2B5EF4-FFF2-40B4-BE49-F238E27FC236}">
                <a16:creationId xmlns:a16="http://schemas.microsoft.com/office/drawing/2014/main" id="{AEECB26B-310B-4CFF-BEFD-696A39BEE2A2}"/>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32165" y="3384920"/>
            <a:ext cx="402667" cy="402667"/>
          </a:xfrm>
          <a:prstGeom prst="rect">
            <a:avLst/>
          </a:prstGeom>
        </p:spPr>
      </p:pic>
      <p:pic>
        <p:nvPicPr>
          <p:cNvPr id="12" name="Graphic 11" descr="Checkmark with solid fill">
            <a:extLst>
              <a:ext uri="{FF2B5EF4-FFF2-40B4-BE49-F238E27FC236}">
                <a16:creationId xmlns:a16="http://schemas.microsoft.com/office/drawing/2014/main" id="{302A7FB2-B7EF-4EDD-B23B-A9E8980A3F34}"/>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721282" y="3929062"/>
            <a:ext cx="402667" cy="402667"/>
          </a:xfrm>
          <a:prstGeom prst="rect">
            <a:avLst/>
          </a:prstGeom>
        </p:spPr>
      </p:pic>
    </p:spTree>
    <p:extLst>
      <p:ext uri="{BB962C8B-B14F-4D97-AF65-F5344CB8AC3E}">
        <p14:creationId xmlns:p14="http://schemas.microsoft.com/office/powerpoint/2010/main" val="19782143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ISLEGEND" val="true"/>
</p:tagLst>
</file>

<file path=ppt/tags/tag11.xml><?xml version="1.0" encoding="utf-8"?>
<p:tagLst xmlns:a="http://schemas.openxmlformats.org/drawingml/2006/main" xmlns:r="http://schemas.openxmlformats.org/officeDocument/2006/relationships" xmlns:p="http://schemas.openxmlformats.org/presentationml/2006/main">
  <p:tag name="ISLEGEND" val="true"/>
</p:tagLst>
</file>

<file path=ppt/tags/tag12.xml><?xml version="1.0" encoding="utf-8"?>
<p:tagLst xmlns:a="http://schemas.openxmlformats.org/drawingml/2006/main" xmlns:r="http://schemas.openxmlformats.org/officeDocument/2006/relationships" xmlns:p="http://schemas.openxmlformats.org/presentationml/2006/main">
  <p:tag name="ISLEGEND" val="true"/>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ISLEGEND" val="true"/>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9.xml><?xml version="1.0" encoding="utf-8"?>
<p:tagLst xmlns:a="http://schemas.openxmlformats.org/drawingml/2006/main" xmlns:r="http://schemas.openxmlformats.org/officeDocument/2006/relationships" xmlns:p="http://schemas.openxmlformats.org/presentationml/2006/main">
  <p:tag name="ISLEGEND" val="tru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ISLEGEND" val="true"/>
</p:tagLst>
</file>

<file path=ppt/tags/tag9.xml><?xml version="1.0" encoding="utf-8"?>
<p:tagLst xmlns:a="http://schemas.openxmlformats.org/drawingml/2006/main" xmlns:r="http://schemas.openxmlformats.org/officeDocument/2006/relationships" xmlns:p="http://schemas.openxmlformats.org/presentationml/2006/main">
  <p:tag name="ISLEGEND" val="tru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3_Office Theme">
  <a:themeElements>
    <a:clrScheme name="PG&amp;E Color Scheme">
      <a:dk1>
        <a:srgbClr val="0082AA"/>
      </a:dk1>
      <a:lt1>
        <a:srgbClr val="FFFFFF"/>
      </a:lt1>
      <a:dk2>
        <a:srgbClr val="777777"/>
      </a:dk2>
      <a:lt2>
        <a:srgbClr val="0089C4"/>
      </a:lt2>
      <a:accent1>
        <a:srgbClr val="00A7C2"/>
      </a:accent1>
      <a:accent2>
        <a:srgbClr val="FFA100"/>
      </a:accent2>
      <a:accent3>
        <a:srgbClr val="BBBBBB"/>
      </a:accent3>
      <a:accent4>
        <a:srgbClr val="44C8F5"/>
      </a:accent4>
      <a:accent5>
        <a:srgbClr val="8CD2E0"/>
      </a:accent5>
      <a:accent6>
        <a:srgbClr val="FFC766"/>
      </a:accent6>
      <a:hlink>
        <a:srgbClr val="8CD2E0"/>
      </a:hlink>
      <a:folHlink>
        <a:srgbClr val="FFC76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1_Blank Slid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Times New Roman">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_SCE 16x9 White Template">
  <a:themeElements>
    <a:clrScheme name="Brand Colors">
      <a:dk1>
        <a:srgbClr val="006269"/>
      </a:dk1>
      <a:lt1>
        <a:sysClr val="window" lastClr="FFFFFF"/>
      </a:lt1>
      <a:dk2>
        <a:srgbClr val="FED141"/>
      </a:dk2>
      <a:lt2>
        <a:srgbClr val="B1B3B3"/>
      </a:lt2>
      <a:accent1>
        <a:srgbClr val="00A9E0"/>
      </a:accent1>
      <a:accent2>
        <a:srgbClr val="3CDBC0"/>
      </a:accent2>
      <a:accent3>
        <a:srgbClr val="658D1B"/>
      </a:accent3>
      <a:accent4>
        <a:srgbClr val="722257"/>
      </a:accent4>
      <a:accent5>
        <a:srgbClr val="F0B323"/>
      </a:accent5>
      <a:accent6>
        <a:srgbClr val="D2D755"/>
      </a:accent6>
      <a:hlink>
        <a:srgbClr val="0563C1"/>
      </a:hlink>
      <a:folHlink>
        <a:srgbClr val="FF0000"/>
      </a:folHlink>
    </a:clrScheme>
    <a:fontScheme name="Custom 2">
      <a:majorFont>
        <a:latin typeface="Segoe UI Light"/>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and Guidelines.potx" id="{30045ACF-AAE3-460A-9933-965EF3C49868}" vid="{329C0C72-CDA0-4F4F-BD5A-8598C0C0A678}"/>
    </a:ext>
  </a:extLst>
</a:theme>
</file>

<file path=ppt/theme/theme13.xml><?xml version="1.0" encoding="utf-8"?>
<a:theme xmlns:a="http://schemas.openxmlformats.org/drawingml/2006/main" name="4_Office Theme">
  <a:themeElements>
    <a:clrScheme name="PG&amp;E Color Scheme">
      <a:dk1>
        <a:srgbClr val="0082AA"/>
      </a:dk1>
      <a:lt1>
        <a:srgbClr val="FFFFFF"/>
      </a:lt1>
      <a:dk2>
        <a:srgbClr val="777777"/>
      </a:dk2>
      <a:lt2>
        <a:srgbClr val="0089C4"/>
      </a:lt2>
      <a:accent1>
        <a:srgbClr val="00A7C2"/>
      </a:accent1>
      <a:accent2>
        <a:srgbClr val="FFA100"/>
      </a:accent2>
      <a:accent3>
        <a:srgbClr val="BBBBBB"/>
      </a:accent3>
      <a:accent4>
        <a:srgbClr val="44C8F5"/>
      </a:accent4>
      <a:accent5>
        <a:srgbClr val="8CD2E0"/>
      </a:accent5>
      <a:accent6>
        <a:srgbClr val="FFC766"/>
      </a:accent6>
      <a:hlink>
        <a:srgbClr val="8CD2E0"/>
      </a:hlink>
      <a:folHlink>
        <a:srgbClr val="FFC76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Blank Slid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Times New Roman">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4_PG&amp;E_CF_PGE150">
  <a:themeElements>
    <a:clrScheme name="Current">
      <a:dk1>
        <a:srgbClr val="000000"/>
      </a:dk1>
      <a:lt1>
        <a:srgbClr val="FFFFFF"/>
      </a:lt1>
      <a:dk2>
        <a:srgbClr val="005D86"/>
      </a:dk2>
      <a:lt2>
        <a:srgbClr val="FFFFFF"/>
      </a:lt2>
      <a:accent1>
        <a:srgbClr val="BDEBFF"/>
      </a:accent1>
      <a:accent2>
        <a:srgbClr val="43C6FF"/>
      </a:accent2>
      <a:accent3>
        <a:srgbClr val="0089C4"/>
      </a:accent3>
      <a:accent4>
        <a:srgbClr val="005D86"/>
      </a:accent4>
      <a:accent5>
        <a:srgbClr val="FFA100"/>
      </a:accent5>
      <a:accent6>
        <a:srgbClr val="808080"/>
      </a:accent6>
      <a:hlink>
        <a:srgbClr val="0089C4"/>
      </a:hlink>
      <a:folHlink>
        <a:srgbClr val="005D86"/>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5D86"/>
        </a:dk2>
        <a:lt2>
          <a:srgbClr val="FFFFFF"/>
        </a:lt2>
        <a:accent1>
          <a:srgbClr val="BDEBFF"/>
        </a:accent1>
        <a:accent2>
          <a:srgbClr val="43C6FF"/>
        </a:accent2>
        <a:accent3>
          <a:srgbClr val="0089C4"/>
        </a:accent3>
        <a:accent4>
          <a:srgbClr val="005D86"/>
        </a:accent4>
        <a:accent5>
          <a:srgbClr val="FFA100"/>
        </a:accent5>
        <a:accent6>
          <a:srgbClr val="808080"/>
        </a:accent6>
        <a:hlink>
          <a:srgbClr val="0089C4"/>
        </a:hlink>
        <a:folHlink>
          <a:srgbClr val="005D8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G&amp;E_CF_PGE150.potx" id="{BCF4B7EC-B48A-46EE-AC8E-86566C4798ED}" vid="{E830433F-8A6A-405D-8A97-0409B6BF1BF6}"/>
    </a:ext>
  </a:extLst>
</a:theme>
</file>

<file path=ppt/theme/theme17.xml><?xml version="1.0" encoding="utf-8"?>
<a:theme xmlns:a="http://schemas.openxmlformats.org/drawingml/2006/main" name="OD_PPT Template Larger Font v120170802">
  <a:themeElements>
    <a:clrScheme name="Opinion-Dynamics-2">
      <a:dk1>
        <a:srgbClr val="4D4D4F"/>
      </a:dk1>
      <a:lt1>
        <a:srgbClr val="FFFFFF"/>
      </a:lt1>
      <a:dk2>
        <a:srgbClr val="053572"/>
      </a:dk2>
      <a:lt2>
        <a:srgbClr val="E0EFFA"/>
      </a:lt2>
      <a:accent1>
        <a:srgbClr val="053572"/>
      </a:accent1>
      <a:accent2>
        <a:srgbClr val="0069B6"/>
      </a:accent2>
      <a:accent3>
        <a:srgbClr val="64B3E8"/>
      </a:accent3>
      <a:accent4>
        <a:srgbClr val="4555A5"/>
      </a:accent4>
      <a:accent5>
        <a:srgbClr val="7E83C0"/>
      </a:accent5>
      <a:accent6>
        <a:srgbClr val="265EAC"/>
      </a:accent6>
      <a:hlink>
        <a:srgbClr val="3AABFF"/>
      </a:hlink>
      <a:folHlink>
        <a:srgbClr val="A2B6CC"/>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华文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 id="{C4B66205-2AFF-4C20-A336-87E9A900F6D1}" vid="{9CB57992-EF88-4409-9DF0-893786F96959}"/>
    </a:ext>
  </a:extLst>
</a:theme>
</file>

<file path=ppt/theme/theme18.xml><?xml version="1.0" encoding="utf-8"?>
<a:theme xmlns:a="http://schemas.openxmlformats.org/drawingml/2006/main" name="Default Theme">
  <a:themeElements>
    <a:clrScheme name="GWE">
      <a:dk1>
        <a:srgbClr val="000000"/>
      </a:dk1>
      <a:lt1>
        <a:srgbClr val="FEFFFF"/>
      </a:lt1>
      <a:dk2>
        <a:srgbClr val="000000"/>
      </a:dk2>
      <a:lt2>
        <a:srgbClr val="FFFFFF"/>
      </a:lt2>
      <a:accent1>
        <a:srgbClr val="03A99C"/>
      </a:accent1>
      <a:accent2>
        <a:srgbClr val="351B51"/>
      </a:accent2>
      <a:accent3>
        <a:srgbClr val="C8D1CD"/>
      </a:accent3>
      <a:accent4>
        <a:srgbClr val="91969B"/>
      </a:accent4>
      <a:accent5>
        <a:srgbClr val="4B5050"/>
      </a:accent5>
      <a:accent6>
        <a:srgbClr val="91969B"/>
      </a:accent6>
      <a:hlink>
        <a:srgbClr val="03A99C"/>
      </a:hlink>
      <a:folHlink>
        <a:srgbClr val="C8D1C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WE - 16x9 -Slide Template" id="{684BE5DA-B67E-0344-8D5C-E2AD3403F4CF}" vid="{70F13175-4D9A-8F4E-9CED-DFABE694D9CD}"/>
    </a:ext>
  </a:extLst>
</a:theme>
</file>

<file path=ppt/theme/theme19.xml><?xml version="1.0" encoding="utf-8"?>
<a:theme xmlns:a="http://schemas.openxmlformats.org/drawingml/2006/main" name="2_SCE 16x9 White Template">
  <a:themeElements>
    <a:clrScheme name="Brand Colors">
      <a:dk1>
        <a:srgbClr val="006269"/>
      </a:dk1>
      <a:lt1>
        <a:sysClr val="window" lastClr="FFFFFF"/>
      </a:lt1>
      <a:dk2>
        <a:srgbClr val="FED141"/>
      </a:dk2>
      <a:lt2>
        <a:srgbClr val="B1B3B3"/>
      </a:lt2>
      <a:accent1>
        <a:srgbClr val="00A9E0"/>
      </a:accent1>
      <a:accent2>
        <a:srgbClr val="3CDBC0"/>
      </a:accent2>
      <a:accent3>
        <a:srgbClr val="658D1B"/>
      </a:accent3>
      <a:accent4>
        <a:srgbClr val="722257"/>
      </a:accent4>
      <a:accent5>
        <a:srgbClr val="F0B323"/>
      </a:accent5>
      <a:accent6>
        <a:srgbClr val="D2D755"/>
      </a:accent6>
      <a:hlink>
        <a:srgbClr val="0563C1"/>
      </a:hlink>
      <a:folHlink>
        <a:srgbClr val="FF0000"/>
      </a:folHlink>
    </a:clrScheme>
    <a:fontScheme name="Custom 2">
      <a:majorFont>
        <a:latin typeface="Segoe UI Light"/>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and Guidelines.potx" id="{30045ACF-AAE3-460A-9933-965EF3C49868}" vid="{329C0C72-CDA0-4F4F-BD5A-8598C0C0A678}"/>
    </a:ext>
  </a:extLst>
</a:theme>
</file>

<file path=ppt/theme/theme2.xml><?xml version="1.0" encoding="utf-8"?>
<a:theme xmlns:a="http://schemas.openxmlformats.org/drawingml/2006/main" name="MCR Title Slide 2021">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June 18 IP Discussion slides" id="{2CBE16C3-C8BB-4514-8FEB-61ABB284D4F2}" vid="{EFA204C6-6D9A-447B-86C4-432036942CAC}"/>
    </a:ext>
  </a:extLst>
</a:theme>
</file>

<file path=ppt/theme/theme20.xml><?xml version="1.0" encoding="utf-8"?>
<a:theme xmlns:a="http://schemas.openxmlformats.org/drawingml/2006/main" name="5_Office Theme">
  <a:themeElements>
    <a:clrScheme name="SoCalGas - fonts">
      <a:dk1>
        <a:sysClr val="windowText" lastClr="000000"/>
      </a:dk1>
      <a:lt1>
        <a:sysClr val="window" lastClr="FFFFFF"/>
      </a:lt1>
      <a:dk2>
        <a:srgbClr val="004B91"/>
      </a:dk2>
      <a:lt2>
        <a:srgbClr val="EEECE1"/>
      </a:lt2>
      <a:accent1>
        <a:srgbClr val="639EC8"/>
      </a:accent1>
      <a:accent2>
        <a:srgbClr val="72CCD2"/>
      </a:accent2>
      <a:accent3>
        <a:srgbClr val="54B948"/>
      </a:accent3>
      <a:accent4>
        <a:srgbClr val="B4D88B"/>
      </a:accent4>
      <a:accent5>
        <a:srgbClr val="FFE363"/>
      </a:accent5>
      <a:accent6>
        <a:srgbClr val="FDB913"/>
      </a:accent6>
      <a:hlink>
        <a:srgbClr val="084992"/>
      </a:hlink>
      <a:folHlink>
        <a:srgbClr val="639EC8"/>
      </a:folHlink>
    </a:clrScheme>
    <a:fontScheme name="Office Classic 2">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1.xml><?xml version="1.0" encoding="utf-8"?>
<a:theme xmlns:a="http://schemas.openxmlformats.org/drawingml/2006/main" name="CPUC White">
  <a:themeElements>
    <a:clrScheme name="CPUC Custom">
      <a:dk1>
        <a:srgbClr val="000000"/>
      </a:dk1>
      <a:lt1>
        <a:srgbClr val="FFFFFF"/>
      </a:lt1>
      <a:dk2>
        <a:srgbClr val="2A3C50"/>
      </a:dk2>
      <a:lt2>
        <a:srgbClr val="FFDAA2"/>
      </a:lt2>
      <a:accent1>
        <a:srgbClr val="6996C9"/>
      </a:accent1>
      <a:accent2>
        <a:srgbClr val="FBAD22"/>
      </a:accent2>
      <a:accent3>
        <a:srgbClr val="70AD45"/>
      </a:accent3>
      <a:accent4>
        <a:srgbClr val="E66425"/>
      </a:accent4>
      <a:accent5>
        <a:srgbClr val="403193"/>
      </a:accent5>
      <a:accent6>
        <a:srgbClr val="652B14"/>
      </a:accent6>
      <a:hlink>
        <a:srgbClr val="6996C9"/>
      </a:hlink>
      <a:folHlink>
        <a:srgbClr val="403193"/>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0920" id="{01D2FC12-8E3A-5342-ACA3-330D06A65749}" vid="{42B3F9DE-34D3-0544-A1FF-31CDC3CA3173}"/>
    </a:ext>
  </a:extLst>
</a:theme>
</file>

<file path=ppt/theme/theme22.xml><?xml version="1.0" encoding="utf-8"?>
<a:theme xmlns:a="http://schemas.openxmlformats.org/drawingml/2006/main" name="CPUC Blue">
  <a:themeElements>
    <a:clrScheme name="CPUC Custom">
      <a:dk1>
        <a:srgbClr val="000000"/>
      </a:dk1>
      <a:lt1>
        <a:srgbClr val="FFFFFF"/>
      </a:lt1>
      <a:dk2>
        <a:srgbClr val="2A3C50"/>
      </a:dk2>
      <a:lt2>
        <a:srgbClr val="FFDAA2"/>
      </a:lt2>
      <a:accent1>
        <a:srgbClr val="6996C9"/>
      </a:accent1>
      <a:accent2>
        <a:srgbClr val="FBAD22"/>
      </a:accent2>
      <a:accent3>
        <a:srgbClr val="70AD45"/>
      </a:accent3>
      <a:accent4>
        <a:srgbClr val="E66425"/>
      </a:accent4>
      <a:accent5>
        <a:srgbClr val="403193"/>
      </a:accent5>
      <a:accent6>
        <a:srgbClr val="652B14"/>
      </a:accent6>
      <a:hlink>
        <a:srgbClr val="6996C9"/>
      </a:hlink>
      <a:folHlink>
        <a:srgbClr val="403193"/>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0920" id="{01D2FC12-8E3A-5342-ACA3-330D06A65749}" vid="{C7450548-8A04-7646-8387-060C2CC7328B}"/>
    </a:ext>
  </a:extLst>
</a:theme>
</file>

<file path=ppt/theme/theme23.xml><?xml version="1.0" encoding="utf-8"?>
<a:theme xmlns:a="http://schemas.openxmlformats.org/drawingml/2006/main" name="Retrospect">
  <a:themeElements>
    <a:clrScheme name="Retrospect">
      <a:dk1>
        <a:srgbClr val="000000"/>
      </a:dk1>
      <a:lt1>
        <a:sysClr val="window" lastClr="FFFFFF"/>
      </a:lt1>
      <a:dk2>
        <a:srgbClr val="637052"/>
      </a:dk2>
      <a:lt2>
        <a:srgbClr val="CCDDEA"/>
      </a:lt2>
      <a:accent1>
        <a:srgbClr val="E48312"/>
      </a:accent1>
      <a:accent2>
        <a:srgbClr val="BD582C"/>
      </a:accent2>
      <a:accent3>
        <a:srgbClr val="865640"/>
      </a:accent3>
      <a:accent4>
        <a:srgbClr val="9B8357"/>
      </a:accent4>
      <a:accent5>
        <a:srgbClr val="C2BC80"/>
      </a:accent5>
      <a:accent6>
        <a:srgbClr val="94A088"/>
      </a:accent6>
      <a:hlink>
        <a:srgbClr val="2998E3"/>
      </a:hlink>
      <a:folHlink>
        <a:srgbClr val="8C8C8C"/>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24.xml><?xml version="1.0" encoding="utf-8"?>
<a:theme xmlns:a="http://schemas.openxmlformats.org/drawingml/2006/main" name="PGE Tab Theme">
  <a:themeElements>
    <a:clrScheme name="PGE - Custom">
      <a:dk1>
        <a:srgbClr val="0089C4"/>
      </a:dk1>
      <a:lt1>
        <a:sysClr val="window" lastClr="FFFFFF"/>
      </a:lt1>
      <a:dk2>
        <a:srgbClr val="777777"/>
      </a:dk2>
      <a:lt2>
        <a:srgbClr val="BBBBBB"/>
      </a:lt2>
      <a:accent1>
        <a:srgbClr val="0089C4"/>
      </a:accent1>
      <a:accent2>
        <a:srgbClr val="FFA100"/>
      </a:accent2>
      <a:accent3>
        <a:srgbClr val="70A489"/>
      </a:accent3>
      <a:accent4>
        <a:srgbClr val="CAB575"/>
      </a:accent4>
      <a:accent5>
        <a:srgbClr val="44C8F5"/>
      </a:accent5>
      <a:accent6>
        <a:srgbClr val="FFC766"/>
      </a:accent6>
      <a:hlink>
        <a:srgbClr val="0089C4"/>
      </a:hlink>
      <a:folHlink>
        <a:srgbClr val="696C4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16 9 Alt_Color_pge_presentation_template_2016-opt.potx" id="{53740241-B3AF-489A-9E73-1948C41092CE}" vid="{A31DAB9A-1AFA-4DBD-9E9B-F37FC5B359B9}"/>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CR Section Break Slide 2021">
  <a:themeElements>
    <a:clrScheme name="MCR Colors">
      <a:dk1>
        <a:sysClr val="windowText" lastClr="000000"/>
      </a:dk1>
      <a:lt1>
        <a:srgbClr val="FFFFFF"/>
      </a:lt1>
      <a:dk2>
        <a:srgbClr val="000000"/>
      </a:dk2>
      <a:lt2>
        <a:srgbClr val="FFAF00"/>
      </a:lt2>
      <a:accent1>
        <a:srgbClr val="005CA7"/>
      </a:accent1>
      <a:accent2>
        <a:srgbClr val="101878"/>
      </a:accent2>
      <a:accent3>
        <a:srgbClr val="005A00"/>
      </a:accent3>
      <a:accent4>
        <a:srgbClr val="4E9527"/>
      </a:accent4>
      <a:accent5>
        <a:srgbClr val="DC4A38"/>
      </a:accent5>
      <a:accent6>
        <a:srgbClr val="B0071F"/>
      </a:accent6>
      <a:hlink>
        <a:srgbClr val="101878"/>
      </a:hlink>
      <a:folHlink>
        <a:srgbClr val="FF66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June 18 IP Discussion slides" id="{2CBE16C3-C8BB-4514-8FEB-61ABB284D4F2}" vid="{5B92A81C-69CC-497E-ABB2-E68B1819FE7A}"/>
    </a:ext>
  </a:extLst>
</a:theme>
</file>

<file path=ppt/theme/theme4.xml><?xml version="1.0" encoding="utf-8"?>
<a:theme xmlns:a="http://schemas.openxmlformats.org/drawingml/2006/main" name="MCR Slides 2021">
  <a:themeElements>
    <a:clrScheme name="MCR Colors">
      <a:dk1>
        <a:sysClr val="windowText" lastClr="000000"/>
      </a:dk1>
      <a:lt1>
        <a:srgbClr val="FFFFFF"/>
      </a:lt1>
      <a:dk2>
        <a:srgbClr val="000000"/>
      </a:dk2>
      <a:lt2>
        <a:srgbClr val="FFAF00"/>
      </a:lt2>
      <a:accent1>
        <a:srgbClr val="005CA7"/>
      </a:accent1>
      <a:accent2>
        <a:srgbClr val="101878"/>
      </a:accent2>
      <a:accent3>
        <a:srgbClr val="005A00"/>
      </a:accent3>
      <a:accent4>
        <a:srgbClr val="4E9527"/>
      </a:accent4>
      <a:accent5>
        <a:srgbClr val="DC4A38"/>
      </a:accent5>
      <a:accent6>
        <a:srgbClr val="B0071F"/>
      </a:accent6>
      <a:hlink>
        <a:srgbClr val="101878"/>
      </a:hlink>
      <a:folHlink>
        <a:srgbClr val="FF66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June 18 IP Discussion slides" id="{2CBE16C3-C8BB-4514-8FEB-61ABB284D4F2}" vid="{799C721B-DAEE-4B70-A6D6-505976F846FA}"/>
    </a:ext>
  </a:extLst>
</a:theme>
</file>

<file path=ppt/theme/theme5.xml><?xml version="1.0" encoding="utf-8"?>
<a:theme xmlns:a="http://schemas.openxmlformats.org/drawingml/2006/main" name="Basis">
  <a:themeElements>
    <a:clrScheme name="Basis">
      <a:dk1>
        <a:srgbClr val="000000"/>
      </a:dk1>
      <a:lt1>
        <a:srgbClr val="FFFFFF"/>
      </a:lt1>
      <a:dk2>
        <a:srgbClr val="565349"/>
      </a:dk2>
      <a:lt2>
        <a:srgbClr val="DDDDDD"/>
      </a:lt2>
      <a:accent1>
        <a:srgbClr val="A6B727"/>
      </a:accent1>
      <a:accent2>
        <a:srgbClr val="DF5327"/>
      </a:accent2>
      <a:accent3>
        <a:srgbClr val="FE9E00"/>
      </a:accent3>
      <a:accent4>
        <a:srgbClr val="418AB3"/>
      </a:accent4>
      <a:accent5>
        <a:srgbClr val="D7D447"/>
      </a:accent5>
      <a:accent6>
        <a:srgbClr val="818183"/>
      </a:accent6>
      <a:hlink>
        <a:srgbClr val="F59E00"/>
      </a:hlink>
      <a:folHlink>
        <a:srgbClr val="B2B2B2"/>
      </a:folHlink>
    </a:clrScheme>
    <a:fontScheme name="Basis">
      <a:maj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Basis">
      <a:fillStyleLst>
        <a:solidFill>
          <a:schemeClr val="phClr"/>
        </a:solidFill>
        <a:solidFill>
          <a:schemeClr val="phClr">
            <a:tint val="55000"/>
            <a:satMod val="130000"/>
          </a:schemeClr>
        </a:solidFill>
        <a:gradFill rotWithShape="1">
          <a:gsLst>
            <a:gs pos="0">
              <a:schemeClr val="phClr"/>
            </a:gs>
            <a:gs pos="90000">
              <a:schemeClr val="phClr">
                <a:shade val="100000"/>
                <a:satMod val="105000"/>
              </a:schemeClr>
            </a:gs>
            <a:gs pos="100000">
              <a:schemeClr val="phClr">
                <a:shade val="80000"/>
                <a:satMod val="120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53975" cap="flat" cmpd="dbl"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27000"/>
                <a:satMod val="120000"/>
              </a:schemeClr>
            </a:contourClr>
          </a:sp3d>
        </a:effectStyle>
      </a:effectStyleLst>
      <a:bgFillStyleLst>
        <a:solidFill>
          <a:schemeClr val="phClr"/>
        </a:solidFill>
        <a:solidFill>
          <a:schemeClr val="phClr">
            <a:tint val="95000"/>
            <a:shade val="95000"/>
            <a:satMod val="140000"/>
          </a:schemeClr>
        </a:solidFill>
        <a:solidFill>
          <a:schemeClr val="phClr">
            <a:tint val="90000"/>
            <a:shade val="85000"/>
            <a:satMod val="160000"/>
            <a:lumMod val="110000"/>
          </a:schemeClr>
        </a:solidFill>
      </a:bgFillStyleLst>
    </a:fmtScheme>
  </a:themeElements>
  <a:objectDefaults/>
  <a:extraClrSchemeLst/>
  <a:extLst>
    <a:ext uri="{05A4C25C-085E-4340-85A3-A5531E510DB2}">
      <thm15:themeFamily xmlns:thm15="http://schemas.microsoft.com/office/thememl/2012/main" name="Basis" id="{5665723A-49BA-4B57-8411-A56F8F207965}" vid="{90E45F77-AEFC-46EF-A7C1-5B338C297B02}"/>
    </a:ext>
  </a:extLst>
</a:theme>
</file>

<file path=ppt/theme/theme6.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SCE 16x9 White Templat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and Guidelines.potx" id="{30045ACF-AAE3-460A-9933-965EF3C49868}" vid="{329C0C72-CDA0-4F4F-BD5A-8598C0C0A678}"/>
    </a:ext>
  </a:extLst>
</a:theme>
</file>

<file path=ppt/theme/theme8.xml><?xml version="1.0" encoding="utf-8"?>
<a:theme xmlns:a="http://schemas.openxmlformats.org/drawingml/2006/main" name="2_Office Theme">
  <a:themeElements>
    <a:clrScheme name="SoCalGas - fonts">
      <a:dk1>
        <a:sysClr val="windowText" lastClr="000000"/>
      </a:dk1>
      <a:lt1>
        <a:sysClr val="window" lastClr="FFFFFF"/>
      </a:lt1>
      <a:dk2>
        <a:srgbClr val="004B91"/>
      </a:dk2>
      <a:lt2>
        <a:srgbClr val="EEECE1"/>
      </a:lt2>
      <a:accent1>
        <a:srgbClr val="639EC8"/>
      </a:accent1>
      <a:accent2>
        <a:srgbClr val="72CCD2"/>
      </a:accent2>
      <a:accent3>
        <a:srgbClr val="54B948"/>
      </a:accent3>
      <a:accent4>
        <a:srgbClr val="B4D88B"/>
      </a:accent4>
      <a:accent5>
        <a:srgbClr val="FFE363"/>
      </a:accent5>
      <a:accent6>
        <a:srgbClr val="FDB913"/>
      </a:accent6>
      <a:hlink>
        <a:srgbClr val="084992"/>
      </a:hlink>
      <a:folHlink>
        <a:srgbClr val="639EC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4B9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9.xml><?xml version="1.0" encoding="utf-8"?>
<a:theme xmlns:a="http://schemas.openxmlformats.org/drawingml/2006/main" name="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Helvetic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en-US" sz="2400" b="0" i="0" u="none" strike="noStrike" cap="none" normalizeH="0" baseline="0" smtClean="0">
            <a:ln>
              <a:noFill/>
            </a:ln>
            <a:solidFill>
              <a:schemeClr val="tx1"/>
            </a:solidFill>
            <a:effectLst/>
            <a:latin typeface="Times"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altLang="en-US" sz="2400" b="0" i="0" u="none" strike="noStrike" cap="none" normalizeH="0" baseline="0" smtClean="0">
            <a:ln>
              <a:noFill/>
            </a:ln>
            <a:solidFill>
              <a:schemeClr val="tx1"/>
            </a:solidFill>
            <a:effectLst/>
            <a:latin typeface="Times" pitchFamily="18" charset="0"/>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G Presentation Template 2021 Wide" id="{1E46B52B-9521-4145-A46A-652A8397663D}" vid="{0580EBEB-1249-A340-A2A5-5E750B27F9CC}"/>
    </a:ext>
  </a:extLst>
</a:theme>
</file>

<file path=docProps/app.xml><?xml version="1.0" encoding="utf-8"?>
<Properties xmlns="http://schemas.openxmlformats.org/officeDocument/2006/extended-properties" xmlns:vt="http://schemas.openxmlformats.org/officeDocument/2006/docPropsVTypes">
  <Template/>
  <TotalTime>1030</TotalTime>
  <Words>11185</Words>
  <Application>Microsoft Office PowerPoint</Application>
  <PresentationFormat>Widescreen</PresentationFormat>
  <Paragraphs>1577</Paragraphs>
  <Slides>127</Slides>
  <Notes>55</Notes>
  <HiddenSlides>0</HiddenSlides>
  <MMClips>0</MMClips>
  <ScaleCrop>false</ScaleCrop>
  <HeadingPairs>
    <vt:vector size="8" baseType="variant">
      <vt:variant>
        <vt:lpstr>Fonts Used</vt:lpstr>
      </vt:variant>
      <vt:variant>
        <vt:i4>26</vt:i4>
      </vt:variant>
      <vt:variant>
        <vt:lpstr>Theme</vt:lpstr>
      </vt:variant>
      <vt:variant>
        <vt:i4>24</vt:i4>
      </vt:variant>
      <vt:variant>
        <vt:lpstr>Embedded OLE Servers</vt:lpstr>
      </vt:variant>
      <vt:variant>
        <vt:i4>1</vt:i4>
      </vt:variant>
      <vt:variant>
        <vt:lpstr>Slide Titles</vt:lpstr>
      </vt:variant>
      <vt:variant>
        <vt:i4>127</vt:i4>
      </vt:variant>
    </vt:vector>
  </HeadingPairs>
  <TitlesOfParts>
    <vt:vector size="178" baseType="lpstr">
      <vt:lpstr>Arial</vt:lpstr>
      <vt:lpstr>Arial Narrow</vt:lpstr>
      <vt:lpstr>Arial Nova</vt:lpstr>
      <vt:lpstr>Arial Regular</vt:lpstr>
      <vt:lpstr>Calibri</vt:lpstr>
      <vt:lpstr>Calibri (Body)</vt:lpstr>
      <vt:lpstr>Calibri Light</vt:lpstr>
      <vt:lpstr>Century Gothic</vt:lpstr>
      <vt:lpstr>Corbel</vt:lpstr>
      <vt:lpstr>Courier New</vt:lpstr>
      <vt:lpstr>Franklin Gothic Book</vt:lpstr>
      <vt:lpstr>Franklin Gothic Medium</vt:lpstr>
      <vt:lpstr>Garamond</vt:lpstr>
      <vt:lpstr>Helvetica</vt:lpstr>
      <vt:lpstr>Lato</vt:lpstr>
      <vt:lpstr>Montserrat SemiBold</vt:lpstr>
      <vt:lpstr>Open Sans</vt:lpstr>
      <vt:lpstr>Segoe UI</vt:lpstr>
      <vt:lpstr>Segoe UI Light</vt:lpstr>
      <vt:lpstr>Segoe UI Semibold</vt:lpstr>
      <vt:lpstr>Tahoma</vt:lpstr>
      <vt:lpstr>Times</vt:lpstr>
      <vt:lpstr>Times New Roman</vt:lpstr>
      <vt:lpstr>TradeGothic</vt:lpstr>
      <vt:lpstr>Verdana</vt:lpstr>
      <vt:lpstr>Wingdings</vt:lpstr>
      <vt:lpstr>Office Theme</vt:lpstr>
      <vt:lpstr>MCR Title Slide 2021</vt:lpstr>
      <vt:lpstr>MCR Section Break Slide 2021</vt:lpstr>
      <vt:lpstr>MCR Slides 2021</vt:lpstr>
      <vt:lpstr>Basis</vt:lpstr>
      <vt:lpstr>Custom Design</vt:lpstr>
      <vt:lpstr>SCE 16x9 White Template</vt:lpstr>
      <vt:lpstr>2_Office Theme</vt:lpstr>
      <vt:lpstr>Blank Presentation</vt:lpstr>
      <vt:lpstr>3_Office Theme</vt:lpstr>
      <vt:lpstr>1_Blank Slide</vt:lpstr>
      <vt:lpstr>1_SCE 16x9 White Template</vt:lpstr>
      <vt:lpstr>4_Office Theme</vt:lpstr>
      <vt:lpstr>Blank Slide</vt:lpstr>
      <vt:lpstr>1_Office Theme</vt:lpstr>
      <vt:lpstr>4_PG&amp;E_CF_PGE150</vt:lpstr>
      <vt:lpstr>OD_PPT Template Larger Font v120170802</vt:lpstr>
      <vt:lpstr>Default Theme</vt:lpstr>
      <vt:lpstr>2_SCE 16x9 White Template</vt:lpstr>
      <vt:lpstr>5_Office Theme</vt:lpstr>
      <vt:lpstr>CPUC White</vt:lpstr>
      <vt:lpstr>CPUC Blue</vt:lpstr>
      <vt:lpstr>Retrospect</vt:lpstr>
      <vt:lpstr>PGE Tab Theme</vt:lpstr>
      <vt:lpstr>think-cell Slide</vt:lpstr>
      <vt:lpstr>EE Third Party Solicitations Stakeholder Forum                   July 28, 2021                                                                                                 8 am – 12 noon        </vt:lpstr>
      <vt:lpstr>PowerPoint Presentation</vt:lpstr>
      <vt:lpstr>Meeting Reminders</vt:lpstr>
      <vt:lpstr>Introduction</vt:lpstr>
      <vt:lpstr>Purpose and Goal</vt:lpstr>
      <vt:lpstr>Where we’ve been</vt:lpstr>
      <vt:lpstr>Timing: March 11, 2020 Energy Division Letter to Utilities</vt:lpstr>
      <vt:lpstr>Duration of Solicitation Stages - reduced</vt:lpstr>
      <vt:lpstr>Duration of Solicitation Stages - reduced</vt:lpstr>
      <vt:lpstr>Transparency/predictability of schedules</vt:lpstr>
      <vt:lpstr>Where we’ve been</vt:lpstr>
      <vt:lpstr>Parallel efforts launched to identify and make improvements </vt:lpstr>
      <vt:lpstr>Emerging areas we see in future as IOUs approach meeting 60% of budget 3P solicited</vt:lpstr>
      <vt:lpstr>Agenda</vt:lpstr>
      <vt:lpstr>Antitrust Guidelines</vt:lpstr>
      <vt:lpstr>PowerPoint Presentation</vt:lpstr>
      <vt:lpstr>Topic 1 - IOU Update   - Portfolio Update, Budget Advice Letters, and EE Applications  - Total System Benefit (TSB) Goal and Impacts on Bidder Community</vt:lpstr>
      <vt:lpstr>PowerPoint Presentation</vt:lpstr>
      <vt:lpstr>PowerPoint Presentation</vt:lpstr>
      <vt:lpstr>SCE Update</vt:lpstr>
      <vt:lpstr>PowerPoint Presentation</vt:lpstr>
      <vt:lpstr>Topic 2 - Independent Evaluators’ Semi-  Annual Reports - IE Update - Redactions to the Semi-Annual Reports Before Made Public</vt:lpstr>
      <vt:lpstr>Independent Evaluators’ observations</vt:lpstr>
      <vt:lpstr>Observations </vt:lpstr>
      <vt:lpstr>PG&amp;E</vt:lpstr>
      <vt:lpstr>PG&amp;E Solicitations</vt:lpstr>
      <vt:lpstr>PG&amp;E Solicitations (Continued)</vt:lpstr>
      <vt:lpstr>PG&amp;E – IE Observations</vt:lpstr>
      <vt:lpstr>SDG&amp;E</vt:lpstr>
      <vt:lpstr>SDG&amp;E Solicitations</vt:lpstr>
      <vt:lpstr>SDG&amp;E – IE Observations</vt:lpstr>
      <vt:lpstr>SCE</vt:lpstr>
      <vt:lpstr>SCE Solicitations</vt:lpstr>
      <vt:lpstr>SCE – IE Observations</vt:lpstr>
      <vt:lpstr>SoCalGas</vt:lpstr>
      <vt:lpstr>SoCalGas Solicitations</vt:lpstr>
      <vt:lpstr>SoCalGas – IE Observations</vt:lpstr>
      <vt:lpstr>Effective solicitation practices</vt:lpstr>
      <vt:lpstr>Effective Solicitation Practices</vt:lpstr>
      <vt:lpstr>Effective Solicitation Practices – continued</vt:lpstr>
      <vt:lpstr>Effective Solicitation Practices – continued</vt:lpstr>
      <vt:lpstr>discussion</vt:lpstr>
      <vt:lpstr>Independent Evaluators’ Semiannual Report</vt:lpstr>
      <vt:lpstr>IE Semiannual Report: Redaction Process</vt:lpstr>
      <vt:lpstr>IE Semiannual Report: Redaction Process (Cont’d)</vt:lpstr>
      <vt:lpstr>Topic 3 - 3P Process Evaluation Study Update </vt:lpstr>
      <vt:lpstr>CPUC Third party program evaluation</vt:lpstr>
      <vt:lpstr>Agenda</vt:lpstr>
      <vt:lpstr>Research objectives and questions</vt:lpstr>
      <vt:lpstr>Research tasks</vt:lpstr>
      <vt:lpstr>Content analysis: Wrapping up</vt:lpstr>
      <vt:lpstr>IOU Staff / IE Interviews - Complete</vt:lpstr>
      <vt:lpstr>Task 4: Bidder interviews / Survey</vt:lpstr>
      <vt:lpstr>Questions?</vt:lpstr>
      <vt:lpstr>Topic 4 - Two Stage Solicitations Team Progress Report </vt:lpstr>
      <vt:lpstr>Energy Efficiency Third-Party Solicitations Stakeholder Forum</vt:lpstr>
      <vt:lpstr>Two-Stage Task Force</vt:lpstr>
      <vt:lpstr>Two-Stage Task Force - Process</vt:lpstr>
      <vt:lpstr>Two-Stage Task Force - Observations</vt:lpstr>
      <vt:lpstr>Two-Stage Task Force – Themes for Reducing RFA</vt:lpstr>
      <vt:lpstr>Discussion</vt:lpstr>
      <vt:lpstr>Questions to Prompt Discussion</vt:lpstr>
      <vt:lpstr>PowerPoint Presentation</vt:lpstr>
      <vt:lpstr>PowerPoint Presentation</vt:lpstr>
      <vt:lpstr>PG&amp;E – RFA Simplification</vt:lpstr>
      <vt:lpstr>SCE – RFA Simplification</vt:lpstr>
      <vt:lpstr>Topic 5 – Overview of Engagement Touchpoints: - Options For Implementation Plan Webinars - Options For More Frequent Communication to Stakeholders </vt:lpstr>
      <vt:lpstr>Overview of Engagement Touchpoints  Options for Implementation Plan Webinars Options for More Frequent Communication to Stakeholders       </vt:lpstr>
      <vt:lpstr> Topics:</vt:lpstr>
      <vt:lpstr>Discussion Topic: Options for Implementation Plan Webinars</vt:lpstr>
      <vt:lpstr> Options for IOU Implementation Plan Webinars</vt:lpstr>
      <vt:lpstr> Goal of the IP Webinars:  Should it be changed?</vt:lpstr>
      <vt:lpstr>What does increased awareness look like…</vt:lpstr>
      <vt:lpstr> Who Benefits from Implementation Plan Webinars?</vt:lpstr>
      <vt:lpstr> Changes May be Needed</vt:lpstr>
      <vt:lpstr>IP Webinar Attendance Data Collected by IOUs</vt:lpstr>
      <vt:lpstr> Implementation Plan Webinars</vt:lpstr>
      <vt:lpstr>Data Collection Recommendations</vt:lpstr>
      <vt:lpstr>Discussion Topic: Options for More Frequent Communication to Stakeholders</vt:lpstr>
      <vt:lpstr> Options for More Frequent Communication to Stakeholders</vt:lpstr>
      <vt:lpstr> What is Needed from PRG</vt:lpstr>
      <vt:lpstr> What is Needed from Stakeholders</vt:lpstr>
      <vt:lpstr>Appendix Implementation Plan Webinar Attendance by IOU</vt:lpstr>
      <vt:lpstr> SCE Implementation Plan Webinars – Attendance</vt:lpstr>
      <vt:lpstr> PG&amp;E Implementation Plan Webinars – Attendance</vt:lpstr>
      <vt:lpstr>SoCalGas Implementation Plan Webinars – Attendance</vt:lpstr>
      <vt:lpstr>SDG&amp;E Implementation Plan Webinars – Attendance</vt:lpstr>
      <vt:lpstr>Break</vt:lpstr>
      <vt:lpstr>Topic 6 – Cultivating Small and Diverse Businesses as 3P EE Implementers: - Small and Diverse Businesses as Drivers of Program Innovation - IOUs’ Current Practices - How Can IOUs Develop Better Strategies for the Upcoming Application </vt:lpstr>
      <vt:lpstr>PowerPoint Presentation</vt:lpstr>
      <vt:lpstr>Session Objectives</vt:lpstr>
      <vt:lpstr>Definitions</vt:lpstr>
      <vt:lpstr>Cultivating Small and Diverse Businesses as 3P EE Implementers</vt:lpstr>
      <vt:lpstr>SCE Current Practices</vt:lpstr>
      <vt:lpstr>SCE Solicitation Plans </vt:lpstr>
      <vt:lpstr>SCE Primes and Subcontractors</vt:lpstr>
      <vt:lpstr>PowerPoint Presentation</vt:lpstr>
      <vt:lpstr>PowerPoint Presentation</vt:lpstr>
      <vt:lpstr>PowerPoint Presentation</vt:lpstr>
      <vt:lpstr>PowerPoint Presentation</vt:lpstr>
      <vt:lpstr>PowerPoint Presentation</vt:lpstr>
      <vt:lpstr>SBE/DBE Current Practices</vt:lpstr>
      <vt:lpstr>SBE/DBE Solicitation Plans</vt:lpstr>
      <vt:lpstr> Solicitation and SBE/DBE Awarded Contracts</vt:lpstr>
      <vt:lpstr>SBE/ DBE Challenges</vt:lpstr>
      <vt:lpstr>Efforts Underway Alleviate Challenges</vt:lpstr>
      <vt:lpstr>Other Opportunities for Improvement to Consider</vt:lpstr>
      <vt:lpstr>PowerPoint Presentation</vt:lpstr>
      <vt:lpstr>Topic 7 – Bidder Feedback  - IOU Stats / Status on Feedback / Lessons Learned   - Participants Discussion    </vt:lpstr>
      <vt:lpstr>IE Observations on  Bidder feedback</vt:lpstr>
      <vt:lpstr>Bidder Feedback – IE Observations</vt:lpstr>
      <vt:lpstr>IOU Approaches</vt:lpstr>
      <vt:lpstr>IOU Presentations</vt:lpstr>
      <vt:lpstr> PGE: Solicitation Process Feedback   </vt:lpstr>
      <vt:lpstr>Feedback Sessions</vt:lpstr>
      <vt:lpstr>Feedback Process Improvements</vt:lpstr>
      <vt:lpstr>SCE - Bidder Feedback  July 28, 2021  Customer Programs &amp; Services</vt:lpstr>
      <vt:lpstr>Bidder Debrief Sessions after RFAs &amp; RFPs</vt:lpstr>
      <vt:lpstr>Bidders’ Webinar on April 15, 2021</vt:lpstr>
      <vt:lpstr>Bidders’ Webinar Survey </vt:lpstr>
      <vt:lpstr>PowerPoint Presentation</vt:lpstr>
      <vt:lpstr>PowerPoint Presentation</vt:lpstr>
      <vt:lpstr>PowerPoint Presentation</vt:lpstr>
      <vt:lpstr>Open Discussion / Q&amp;A </vt:lpstr>
      <vt:lpstr>Closing - Next Steps - Closing Remarks </vt:lpstr>
      <vt:lpstr>Next Steps</vt:lpstr>
      <vt:lpstr>Closing Remark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dison Int'l Template</dc:title>
  <dc:creator>Douglas Olivieri</dc:creator>
  <cp:lastModifiedBy>Shamoun, Bella</cp:lastModifiedBy>
  <cp:revision>872</cp:revision>
  <dcterms:created xsi:type="dcterms:W3CDTF">2021-07-14T21:06:22Z</dcterms:created>
  <dcterms:modified xsi:type="dcterms:W3CDTF">2021-07-26T19:41: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1-02-09T00:00:00Z</vt:filetime>
  </property>
  <property fmtid="{D5CDD505-2E9C-101B-9397-08002B2CF9AE}" pid="3" name="Creator">
    <vt:lpwstr>Microsoft® PowerPoint® for Microsoft 365</vt:lpwstr>
  </property>
  <property fmtid="{D5CDD505-2E9C-101B-9397-08002B2CF9AE}" pid="4" name="LastSaved">
    <vt:filetime>2021-07-14T00:00:00Z</vt:filetime>
  </property>
</Properties>
</file>